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3.xml" ContentType="application/vnd.openxmlformats-officedocument.theme+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4.xml" ContentType="application/vnd.openxmlformats-officedocument.theme+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theme/theme5.xml" ContentType="application/vnd.openxmlformats-officedocument.theme+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theme/theme6.xml" ContentType="application/vnd.openxmlformats-officedocument.theme+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theme/theme7.xml" ContentType="application/vnd.openxmlformats-officedocument.theme+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theme/theme8.xml" ContentType="application/vnd.openxmlformats-officedocument.theme+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theme/theme9.xml" ContentType="application/vnd.openxmlformats-officedocument.theme+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theme/theme10.xml" ContentType="application/vnd.openxmlformats-officedocument.theme+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theme/theme11.xml" ContentType="application/vnd.openxmlformats-officedocument.theme+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theme/theme12.xml" ContentType="application/vnd.openxmlformats-officedocument.theme+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theme/theme13.xml" ContentType="application/vnd.openxmlformats-officedocument.theme+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theme/theme14.xml" ContentType="application/vnd.openxmlformats-officedocument.theme+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theme/theme15.xml" ContentType="application/vnd.openxmlformats-officedocument.theme+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theme/theme16.xml" ContentType="application/vnd.openxmlformats-officedocument.theme+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theme/theme17.xml" ContentType="application/vnd.openxmlformats-officedocument.theme+xml"/>
  <Override PartName="/ppt/theme/theme18.xml" ContentType="application/vnd.openxmlformats-officedocument.theme+xml"/>
  <Override PartName="/ppt/theme/theme1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082" r:id="rId4"/>
    <p:sldMasterId id="2147484046" r:id="rId5"/>
    <p:sldMasterId id="2147484161" r:id="rId6"/>
    <p:sldMasterId id="2147484199" r:id="rId7"/>
    <p:sldMasterId id="2147484252" r:id="rId8"/>
    <p:sldMasterId id="2147484305" r:id="rId9"/>
    <p:sldMasterId id="2147484339" r:id="rId10"/>
    <p:sldMasterId id="2147484370" r:id="rId11"/>
    <p:sldMasterId id="2147484404" r:id="rId12"/>
    <p:sldMasterId id="2147484438" r:id="rId13"/>
    <p:sldMasterId id="2147484472" r:id="rId14"/>
    <p:sldMasterId id="2147484509" r:id="rId15"/>
    <p:sldMasterId id="2147484546" r:id="rId16"/>
    <p:sldMasterId id="2147484583" r:id="rId17"/>
    <p:sldMasterId id="2147484614" r:id="rId18"/>
    <p:sldMasterId id="2147484649" r:id="rId19"/>
    <p:sldMasterId id="2147484683" r:id="rId20"/>
  </p:sldMasterIdLst>
  <p:notesMasterIdLst>
    <p:notesMasterId r:id="rId71"/>
  </p:notesMasterIdLst>
  <p:handoutMasterIdLst>
    <p:handoutMasterId r:id="rId72"/>
  </p:handoutMasterIdLst>
  <p:sldIdLst>
    <p:sldId id="684" r:id="rId21"/>
    <p:sldId id="735" r:id="rId22"/>
    <p:sldId id="737" r:id="rId23"/>
    <p:sldId id="738" r:id="rId24"/>
    <p:sldId id="739" r:id="rId25"/>
    <p:sldId id="718" r:id="rId26"/>
    <p:sldId id="749" r:id="rId27"/>
    <p:sldId id="719" r:id="rId28"/>
    <p:sldId id="770" r:id="rId29"/>
    <p:sldId id="729" r:id="rId30"/>
    <p:sldId id="693" r:id="rId31"/>
    <p:sldId id="740" r:id="rId32"/>
    <p:sldId id="763" r:id="rId33"/>
    <p:sldId id="752" r:id="rId34"/>
    <p:sldId id="753" r:id="rId35"/>
    <p:sldId id="754" r:id="rId36"/>
    <p:sldId id="755" r:id="rId37"/>
    <p:sldId id="666" r:id="rId38"/>
    <p:sldId id="756" r:id="rId39"/>
    <p:sldId id="757" r:id="rId40"/>
    <p:sldId id="758" r:id="rId41"/>
    <p:sldId id="764" r:id="rId42"/>
    <p:sldId id="712" r:id="rId43"/>
    <p:sldId id="751" r:id="rId44"/>
    <p:sldId id="759" r:id="rId45"/>
    <p:sldId id="741" r:id="rId46"/>
    <p:sldId id="742" r:id="rId47"/>
    <p:sldId id="760" r:id="rId48"/>
    <p:sldId id="761" r:id="rId49"/>
    <p:sldId id="671" r:id="rId50"/>
    <p:sldId id="672" r:id="rId51"/>
    <p:sldId id="708" r:id="rId52"/>
    <p:sldId id="728" r:id="rId53"/>
    <p:sldId id="743" r:id="rId54"/>
    <p:sldId id="744" r:id="rId55"/>
    <p:sldId id="746" r:id="rId56"/>
    <p:sldId id="747" r:id="rId57"/>
    <p:sldId id="748" r:id="rId58"/>
    <p:sldId id="696" r:id="rId59"/>
    <p:sldId id="716" r:id="rId60"/>
    <p:sldId id="698" r:id="rId61"/>
    <p:sldId id="765" r:id="rId62"/>
    <p:sldId id="700" r:id="rId63"/>
    <p:sldId id="701" r:id="rId64"/>
    <p:sldId id="724" r:id="rId65"/>
    <p:sldId id="766" r:id="rId66"/>
    <p:sldId id="767" r:id="rId67"/>
    <p:sldId id="733" r:id="rId68"/>
    <p:sldId id="762" r:id="rId69"/>
    <p:sldId id="688" r:id="rId70"/>
  </p:sldIdLst>
  <p:sldSz cx="12188825" cy="6858000"/>
  <p:notesSz cx="6858000" cy="9144000"/>
  <p:defaultTex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722E2FDD-D9FD-407C-B20D-7FC854F5722A}">
          <p14:sldIdLst>
            <p14:sldId id="684"/>
            <p14:sldId id="735"/>
            <p14:sldId id="737"/>
          </p14:sldIdLst>
        </p14:section>
        <p14:section name="Journey" id="{3AD75538-93E7-46AD-9D95-A32AF3C8EDAC}">
          <p14:sldIdLst>
            <p14:sldId id="738"/>
            <p14:sldId id="739"/>
            <p14:sldId id="718"/>
            <p14:sldId id="749"/>
            <p14:sldId id="719"/>
            <p14:sldId id="770"/>
            <p14:sldId id="729"/>
          </p14:sldIdLst>
        </p14:section>
        <p14:section name="Extend" id="{5B89658F-EDDA-482C-8F5D-3C0747122F59}">
          <p14:sldIdLst>
            <p14:sldId id="693"/>
            <p14:sldId id="740"/>
            <p14:sldId id="763"/>
            <p14:sldId id="752"/>
            <p14:sldId id="753"/>
            <p14:sldId id="754"/>
            <p14:sldId id="755"/>
            <p14:sldId id="666"/>
            <p14:sldId id="756"/>
            <p14:sldId id="757"/>
            <p14:sldId id="758"/>
            <p14:sldId id="764"/>
            <p14:sldId id="712"/>
            <p14:sldId id="751"/>
          </p14:sldIdLst>
        </p14:section>
        <p14:section name="Connect" id="{A8FF181F-61E0-4444-B9FD-C64ABD35307F}">
          <p14:sldIdLst>
            <p14:sldId id="759"/>
            <p14:sldId id="741"/>
            <p14:sldId id="742"/>
            <p14:sldId id="760"/>
            <p14:sldId id="761"/>
            <p14:sldId id="671"/>
            <p14:sldId id="672"/>
            <p14:sldId id="708"/>
            <p14:sldId id="728"/>
            <p14:sldId id="743"/>
            <p14:sldId id="744"/>
          </p14:sldIdLst>
        </p14:section>
        <p14:section name="Open" id="{CED4F074-2ECD-4D8F-94EA-DD8F915A9CBD}">
          <p14:sldIdLst>
            <p14:sldId id="746"/>
            <p14:sldId id="747"/>
            <p14:sldId id="748"/>
            <p14:sldId id="696"/>
          </p14:sldIdLst>
        </p14:section>
        <p14:section name="Untitled Section" id="{63A54735-E27F-40E5-B504-4467DF82F56A}">
          <p14:sldIdLst>
            <p14:sldId id="716"/>
          </p14:sldIdLst>
        </p14:section>
        <p14:section name="Resources" id="{339CD99B-EA0D-4277-BA18-9E27AF191526}">
          <p14:sldIdLst>
            <p14:sldId id="698"/>
            <p14:sldId id="765"/>
            <p14:sldId id="700"/>
            <p14:sldId id="701"/>
            <p14:sldId id="724"/>
            <p14:sldId id="766"/>
            <p14:sldId id="767"/>
          </p14:sldIdLst>
        </p14:section>
        <p14:section name="Summary" id="{30B19A6B-E0AA-4873-B77D-7290A4B8FAF4}">
          <p14:sldIdLst>
            <p14:sldId id="733"/>
            <p14:sldId id="762"/>
            <p14:sldId id="688"/>
          </p14:sldIdLst>
        </p14:section>
      </p14:sectionLst>
    </p:ext>
    <p:ext uri="{EFAFB233-063F-42B5-8137-9DF3F51BA10A}">
      <p15:sldGuideLst xmlns:p15="http://schemas.microsoft.com/office/powerpoint/2012/main">
        <p15:guide id="1" orient="horz" pos="142">
          <p15:clr>
            <a:srgbClr val="A4A3A4"/>
          </p15:clr>
        </p15:guide>
        <p15:guide id="2" orient="horz" pos="4176">
          <p15:clr>
            <a:srgbClr val="A4A3A4"/>
          </p15:clr>
        </p15:guide>
        <p15:guide id="3" orient="horz" pos="912">
          <p15:clr>
            <a:srgbClr val="A4A3A4"/>
          </p15:clr>
        </p15:guide>
        <p15:guide id="4" orient="horz" pos="1197">
          <p15:clr>
            <a:srgbClr val="A4A3A4"/>
          </p15:clr>
        </p15:guide>
        <p15:guide id="5" orient="horz" pos="1957">
          <p15:clr>
            <a:srgbClr val="A4A3A4"/>
          </p15:clr>
        </p15:guide>
        <p15:guide id="6" orient="horz" pos="2723">
          <p15:clr>
            <a:srgbClr val="A4A3A4"/>
          </p15:clr>
        </p15:guide>
        <p15:guide id="7" orient="horz" pos="2159">
          <p15:clr>
            <a:srgbClr val="A4A3A4"/>
          </p15:clr>
        </p15:guide>
        <p15:guide id="8" orient="horz" pos="3869">
          <p15:clr>
            <a:srgbClr val="A4A3A4"/>
          </p15:clr>
        </p15:guide>
        <p15:guide id="9" orient="horz" pos="3572">
          <p15:clr>
            <a:srgbClr val="A4A3A4"/>
          </p15:clr>
        </p15:guide>
        <p15:guide id="10" pos="128">
          <p15:clr>
            <a:srgbClr val="A4A3A4"/>
          </p15:clr>
        </p15:guide>
        <p15:guide id="11" pos="1767">
          <p15:clr>
            <a:srgbClr val="A4A3A4"/>
          </p15:clr>
        </p15:guide>
        <p15:guide id="12" pos="7548">
          <p15:clr>
            <a:srgbClr val="A4A3A4"/>
          </p15:clr>
        </p15:guide>
        <p15:guide id="13" pos="328">
          <p15:clr>
            <a:srgbClr val="A4A3A4"/>
          </p15:clr>
        </p15:guide>
        <p15:guide id="14" pos="7353">
          <p15:clr>
            <a:srgbClr val="A4A3A4"/>
          </p15:clr>
        </p15:guide>
        <p15:guide id="15" pos="613">
          <p15:clr>
            <a:srgbClr val="A4A3A4"/>
          </p15:clr>
        </p15:guide>
        <p15:guide id="16" pos="7062">
          <p15:clr>
            <a:srgbClr val="A4A3A4"/>
          </p15:clr>
        </p15:guide>
        <p15:guide id="17" pos="3837">
          <p15:clr>
            <a:srgbClr val="A4A3A4"/>
          </p15:clr>
        </p15:guide>
        <p15:guide id="18" pos="2216">
          <p15:clr>
            <a:srgbClr val="A4A3A4"/>
          </p15:clr>
        </p15:guide>
        <p15:guide id="19" pos="377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6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2C6"/>
    <a:srgbClr val="2D82FF"/>
    <a:srgbClr val="0088EE"/>
    <a:srgbClr val="0042AC"/>
    <a:srgbClr val="D2D2D2"/>
    <a:srgbClr val="969696"/>
    <a:srgbClr val="505050"/>
    <a:srgbClr val="00188F"/>
    <a:srgbClr val="EB3C00"/>
    <a:srgbClr val="68217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90" autoAdjust="0"/>
    <p:restoredTop sz="94625" autoAdjust="0"/>
  </p:normalViewPr>
  <p:slideViewPr>
    <p:cSldViewPr snapToGrid="0">
      <p:cViewPr varScale="1">
        <p:scale>
          <a:sx n="92" d="100"/>
          <a:sy n="92" d="100"/>
        </p:scale>
        <p:origin x="444" y="90"/>
      </p:cViewPr>
      <p:guideLst>
        <p:guide orient="horz" pos="142"/>
        <p:guide orient="horz" pos="4176"/>
        <p:guide orient="horz" pos="912"/>
        <p:guide orient="horz" pos="1197"/>
        <p:guide orient="horz" pos="1957"/>
        <p:guide orient="horz" pos="2723"/>
        <p:guide orient="horz" pos="2159"/>
        <p:guide orient="horz" pos="3869"/>
        <p:guide orient="horz" pos="3572"/>
        <p:guide pos="128"/>
        <p:guide pos="1767"/>
        <p:guide pos="7548"/>
        <p:guide pos="328"/>
        <p:guide pos="7353"/>
        <p:guide pos="613"/>
        <p:guide pos="7062"/>
        <p:guide pos="3837"/>
        <p:guide pos="2216"/>
        <p:guide pos="3771"/>
      </p:guideLst>
    </p:cSldViewPr>
  </p:slideViewPr>
  <p:notesTextViewPr>
    <p:cViewPr>
      <p:scale>
        <a:sx n="100" d="100"/>
        <a:sy n="100" d="100"/>
      </p:scale>
      <p:origin x="0" y="0"/>
    </p:cViewPr>
  </p:notesTextViewPr>
  <p:sorterViewPr>
    <p:cViewPr>
      <p:scale>
        <a:sx n="80" d="100"/>
        <a:sy n="80" d="100"/>
      </p:scale>
      <p:origin x="0" y="-3560"/>
    </p:cViewPr>
  </p:sorterViewPr>
  <p:notesViewPr>
    <p:cSldViewPr snapToGrid="0" showGuides="1">
      <p:cViewPr varScale="1">
        <p:scale>
          <a:sx n="82" d="100"/>
          <a:sy n="82" d="100"/>
        </p:scale>
        <p:origin x="-3132"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6.xml"/><Relationship Id="rId39" Type="http://schemas.openxmlformats.org/officeDocument/2006/relationships/slide" Target="slides/slide19.xml"/><Relationship Id="rId21" Type="http://schemas.openxmlformats.org/officeDocument/2006/relationships/slide" Target="slides/slide1.xml"/><Relationship Id="rId34" Type="http://schemas.openxmlformats.org/officeDocument/2006/relationships/slide" Target="slides/slide14.xml"/><Relationship Id="rId42" Type="http://schemas.openxmlformats.org/officeDocument/2006/relationships/slide" Target="slides/slide22.xml"/><Relationship Id="rId47" Type="http://schemas.openxmlformats.org/officeDocument/2006/relationships/slide" Target="slides/slide27.xml"/><Relationship Id="rId50" Type="http://schemas.openxmlformats.org/officeDocument/2006/relationships/slide" Target="slides/slide30.xml"/><Relationship Id="rId55" Type="http://schemas.openxmlformats.org/officeDocument/2006/relationships/slide" Target="slides/slide35.xml"/><Relationship Id="rId63" Type="http://schemas.openxmlformats.org/officeDocument/2006/relationships/slide" Target="slides/slide43.xml"/><Relationship Id="rId68" Type="http://schemas.openxmlformats.org/officeDocument/2006/relationships/slide" Target="slides/slide48.xml"/><Relationship Id="rId76" Type="http://schemas.openxmlformats.org/officeDocument/2006/relationships/theme" Target="theme/theme1.xml"/><Relationship Id="rId7" Type="http://schemas.openxmlformats.org/officeDocument/2006/relationships/slideMaster" Target="slideMasters/slideMaster4.xml"/><Relationship Id="rId71"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9.xml"/><Relationship Id="rId11" Type="http://schemas.openxmlformats.org/officeDocument/2006/relationships/slideMaster" Target="slideMasters/slideMaster8.xml"/><Relationship Id="rId24" Type="http://schemas.openxmlformats.org/officeDocument/2006/relationships/slide" Target="slides/slide4.xml"/><Relationship Id="rId32" Type="http://schemas.openxmlformats.org/officeDocument/2006/relationships/slide" Target="slides/slide12.xml"/><Relationship Id="rId37" Type="http://schemas.openxmlformats.org/officeDocument/2006/relationships/slide" Target="slides/slide17.xml"/><Relationship Id="rId40" Type="http://schemas.openxmlformats.org/officeDocument/2006/relationships/slide" Target="slides/slide20.xml"/><Relationship Id="rId45" Type="http://schemas.openxmlformats.org/officeDocument/2006/relationships/slide" Target="slides/slide25.xml"/><Relationship Id="rId53" Type="http://schemas.openxmlformats.org/officeDocument/2006/relationships/slide" Target="slides/slide33.xml"/><Relationship Id="rId58" Type="http://schemas.openxmlformats.org/officeDocument/2006/relationships/slide" Target="slides/slide38.xml"/><Relationship Id="rId66" Type="http://schemas.openxmlformats.org/officeDocument/2006/relationships/slide" Target="slides/slide46.xml"/><Relationship Id="rId7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3.xml"/><Relationship Id="rId28" Type="http://schemas.openxmlformats.org/officeDocument/2006/relationships/slide" Target="slides/slide8.xml"/><Relationship Id="rId36" Type="http://schemas.openxmlformats.org/officeDocument/2006/relationships/slide" Target="slides/slide16.xml"/><Relationship Id="rId49" Type="http://schemas.openxmlformats.org/officeDocument/2006/relationships/slide" Target="slides/slide29.xml"/><Relationship Id="rId57" Type="http://schemas.openxmlformats.org/officeDocument/2006/relationships/slide" Target="slides/slide37.xml"/><Relationship Id="rId61" Type="http://schemas.openxmlformats.org/officeDocument/2006/relationships/slide" Target="slides/slide41.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11.xml"/><Relationship Id="rId44" Type="http://schemas.openxmlformats.org/officeDocument/2006/relationships/slide" Target="slides/slide24.xml"/><Relationship Id="rId52" Type="http://schemas.openxmlformats.org/officeDocument/2006/relationships/slide" Target="slides/slide32.xml"/><Relationship Id="rId60" Type="http://schemas.openxmlformats.org/officeDocument/2006/relationships/slide" Target="slides/slide40.xml"/><Relationship Id="rId65" Type="http://schemas.openxmlformats.org/officeDocument/2006/relationships/slide" Target="slides/slide45.xml"/><Relationship Id="rId73"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2.xml"/><Relationship Id="rId27" Type="http://schemas.openxmlformats.org/officeDocument/2006/relationships/slide" Target="slides/slide7.xml"/><Relationship Id="rId30" Type="http://schemas.openxmlformats.org/officeDocument/2006/relationships/slide" Target="slides/slide10.xml"/><Relationship Id="rId35" Type="http://schemas.openxmlformats.org/officeDocument/2006/relationships/slide" Target="slides/slide15.xml"/><Relationship Id="rId43" Type="http://schemas.openxmlformats.org/officeDocument/2006/relationships/slide" Target="slides/slide23.xml"/><Relationship Id="rId48" Type="http://schemas.openxmlformats.org/officeDocument/2006/relationships/slide" Target="slides/slide28.xml"/><Relationship Id="rId56" Type="http://schemas.openxmlformats.org/officeDocument/2006/relationships/slide" Target="slides/slide36.xml"/><Relationship Id="rId64" Type="http://schemas.openxmlformats.org/officeDocument/2006/relationships/slide" Target="slides/slide44.xml"/><Relationship Id="rId69" Type="http://schemas.openxmlformats.org/officeDocument/2006/relationships/slide" Target="slides/slide49.xml"/><Relationship Id="rId77"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slide" Target="slides/slide31.xml"/><Relationship Id="rId72" Type="http://schemas.openxmlformats.org/officeDocument/2006/relationships/handoutMaster" Target="handoutMasters/handoutMaster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5.xml"/><Relationship Id="rId33" Type="http://schemas.openxmlformats.org/officeDocument/2006/relationships/slide" Target="slides/slide13.xml"/><Relationship Id="rId38" Type="http://schemas.openxmlformats.org/officeDocument/2006/relationships/slide" Target="slides/slide18.xml"/><Relationship Id="rId46" Type="http://schemas.openxmlformats.org/officeDocument/2006/relationships/slide" Target="slides/slide26.xml"/><Relationship Id="rId59" Type="http://schemas.openxmlformats.org/officeDocument/2006/relationships/slide" Target="slides/slide39.xml"/><Relationship Id="rId67" Type="http://schemas.openxmlformats.org/officeDocument/2006/relationships/slide" Target="slides/slide47.xml"/><Relationship Id="rId20" Type="http://schemas.openxmlformats.org/officeDocument/2006/relationships/slideMaster" Target="slideMasters/slideMaster17.xml"/><Relationship Id="rId41" Type="http://schemas.openxmlformats.org/officeDocument/2006/relationships/slide" Target="slides/slide21.xml"/><Relationship Id="rId54" Type="http://schemas.openxmlformats.org/officeDocument/2006/relationships/slide" Target="slides/slide34.xml"/><Relationship Id="rId62" Type="http://schemas.openxmlformats.org/officeDocument/2006/relationships/slide" Target="slides/slide42.xml"/><Relationship Id="rId70" Type="http://schemas.openxmlformats.org/officeDocument/2006/relationships/slide" Target="slides/slide50.xml"/><Relationship Id="rId75"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smtClean="0"/>
              <a:t>Microsoft Office</a:t>
            </a:r>
            <a:endParaRPr lang="en-US" dirty="0"/>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E219B1A-AE41-483B-A766-69B9363DDA6A}" type="datetimeFigureOut">
              <a:rPr lang="en-US" smtClean="0"/>
              <a:t>2/9/2015</a:t>
            </a:fld>
            <a:endParaRPr lang="en-US"/>
          </a:p>
        </p:txBody>
      </p:sp>
      <p:sp>
        <p:nvSpPr>
          <p:cNvPr id="8" name="Footer Placeholder 7"/>
          <p:cNvSpPr>
            <a:spLocks noGrp="1"/>
          </p:cNvSpPr>
          <p:nvPr>
            <p:ph type="ftr" sz="quarter" idx="2"/>
          </p:nvPr>
        </p:nvSpPr>
        <p:spPr>
          <a:xfrm>
            <a:off x="0" y="8685212"/>
            <a:ext cx="5795010" cy="366191"/>
          </a:xfrm>
          <a:prstGeom prst="rect">
            <a:avLst/>
          </a:prstGeom>
        </p:spPr>
        <p:txBody>
          <a:bodyPr vert="horz" lIns="0" tIns="45720" rIns="91440" bIns="45720" rtlCol="0" anchor="b"/>
          <a:lstStyle>
            <a:lvl1pPr algn="l">
              <a:defRPr sz="1200"/>
            </a:lvl1pPr>
          </a:lstStyle>
          <a:p>
            <a:pPr marL="231775" defTabSz="914099" eaLnBrk="0" hangingPunct="0"/>
            <a:r>
              <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1775" defTabSz="914099" eaLnBrk="0" hangingPunct="0"/>
            <a:r>
              <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a:t>
            </a:r>
            <a:r>
              <a:rPr lang="en-US" sz="5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part </a:t>
            </a:r>
            <a:r>
              <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rPr>
              <a:t>of Microsoft, and Microsoft cannot guarantee the accuracy of any information provided after the date of this presentation.  MICROSOFT MAKES NO WARRANTIES, EXPRESS, IMPLIED OR STATUTORY, AS TO THE INFORMATION IN THIS PRESENTATION</a:t>
            </a:r>
            <a:r>
              <a:rPr lang="en-US" sz="5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a:t>
            </a:r>
            <a:endPar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t>‹#›</a:t>
            </a:fld>
            <a:endParaRPr lang="en-US"/>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Slide Image Placeholder 8"/>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en-US"/>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D51B1278-D92B-4AF3-A9C1-71DD298190CE}" type="datetimeFigureOut">
              <a:rPr lang="en-US" smtClean="0"/>
              <a:t>2/9/2015</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vl1pPr>
          </a:lstStyle>
          <a:p>
            <a:fld id="{B4008EB6-D09E-4580-8CD6-DDB14511944F}" type="slidenum">
              <a:rPr lang="en-US" smtClean="0"/>
              <a:t>‹#›</a:t>
            </a:fld>
            <a:endParaRPr lang="en-US" dirty="0"/>
          </a:p>
        </p:txBody>
      </p:sp>
      <p:sp>
        <p:nvSpPr>
          <p:cNvPr id="14" name="Header Placehold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smtClean="0"/>
              <a:t>Microsoft Office</a:t>
            </a:r>
            <a:endParaRPr lang="en-US" dirty="0"/>
          </a:p>
        </p:txBody>
      </p:sp>
      <p:sp>
        <p:nvSpPr>
          <p:cNvPr id="15" name="Footer Placeholder 7"/>
          <p:cNvSpPr>
            <a:spLocks noGrp="1"/>
          </p:cNvSpPr>
          <p:nvPr>
            <p:ph type="ftr" sz="quarter" idx="4"/>
          </p:nvPr>
        </p:nvSpPr>
        <p:spPr>
          <a:xfrm>
            <a:off x="0" y="8685212"/>
            <a:ext cx="5795010" cy="366191"/>
          </a:xfrm>
          <a:prstGeom prst="rect">
            <a:avLst/>
          </a:prstGeom>
        </p:spPr>
        <p:txBody>
          <a:bodyPr vert="horz" lIns="0" tIns="45720" rIns="91440" bIns="45720" rtlCol="0" anchor="b"/>
          <a:lstStyle>
            <a:lvl1pPr algn="l">
              <a:defRPr sz="1200"/>
            </a:lvl1pPr>
          </a:lstStyle>
          <a:p>
            <a:pPr marL="231775" defTabSz="914099" eaLnBrk="0" hangingPunct="0"/>
            <a:r>
              <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1775" defTabSz="914099" eaLnBrk="0" hangingPunct="0"/>
            <a:r>
              <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a:t>
            </a:r>
            <a:r>
              <a:rPr lang="en-US" sz="5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part </a:t>
            </a:r>
            <a:r>
              <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rPr>
              <a:t>of Microsoft, and Microsoft cannot guarantee the accuracy of any information provided after the date of this presentation.  MICROSOFT MAKES NO WARRANTIES, EXPRESS, IMPLIED OR STATUTORY, AS TO THE INFORMATION IN THIS PRESENTATION</a:t>
            </a:r>
            <a:r>
              <a:rPr lang="en-US" sz="5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a:t>
            </a:r>
            <a:endPar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3" rtl="0" eaLnBrk="1" latinLnBrk="0" hangingPunct="1">
      <a:lnSpc>
        <a:spcPct val="90000"/>
      </a:lnSpc>
      <a:spcAft>
        <a:spcPts val="333"/>
      </a:spcAft>
      <a:defRPr sz="900" kern="1200">
        <a:solidFill>
          <a:schemeClr val="tx1"/>
        </a:solidFill>
        <a:latin typeface="Segoe UI Light" pitchFamily="34" charset="0"/>
        <a:ea typeface="+mn-ea"/>
        <a:cs typeface="+mn-cs"/>
      </a:defRPr>
    </a:lvl1pPr>
    <a:lvl2pPr marL="212981" indent="-105829" algn="l" defTabSz="914363"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2pPr>
    <a:lvl3pPr marL="328070"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3pPr>
    <a:lvl4pPr marL="482846" indent="-146838" algn="l" defTabSz="914363"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4pPr>
    <a:lvl5pPr marL="615132"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5pPr>
    <a:lvl6pPr marL="2285909" algn="l" defTabSz="914363" rtl="0" eaLnBrk="1" latinLnBrk="0" hangingPunct="1">
      <a:defRPr sz="1200" kern="1200">
        <a:solidFill>
          <a:schemeClr val="tx1"/>
        </a:solidFill>
        <a:latin typeface="+mn-lt"/>
        <a:ea typeface="+mn-ea"/>
        <a:cs typeface="+mn-cs"/>
      </a:defRPr>
    </a:lvl6pPr>
    <a:lvl7pPr marL="2743090" algn="l" defTabSz="914363" rtl="0" eaLnBrk="1" latinLnBrk="0" hangingPunct="1">
      <a:defRPr sz="1200" kern="1200">
        <a:solidFill>
          <a:schemeClr val="tx1"/>
        </a:solidFill>
        <a:latin typeface="+mn-lt"/>
        <a:ea typeface="+mn-ea"/>
        <a:cs typeface="+mn-cs"/>
      </a:defRPr>
    </a:lvl7pPr>
    <a:lvl8pPr marL="3200272" algn="l" defTabSz="914363" rtl="0" eaLnBrk="1" latinLnBrk="0" hangingPunct="1">
      <a:defRPr sz="1200" kern="1200">
        <a:solidFill>
          <a:schemeClr val="tx1"/>
        </a:solidFill>
        <a:latin typeface="+mn-lt"/>
        <a:ea typeface="+mn-ea"/>
        <a:cs typeface="+mn-cs"/>
      </a:defRPr>
    </a:lvl8pPr>
    <a:lvl9pPr marL="3657454" algn="l" defTabSz="91436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77827E0-75C2-4762-9602-52F8A16E59DD}" type="slidenum">
              <a:rPr lang="en-US" smtClean="0">
                <a:solidFill>
                  <a:prstClr val="black"/>
                </a:solidFill>
              </a:rPr>
              <a:pPr/>
              <a:t>1</a:t>
            </a:fld>
            <a:endParaRPr lang="en-US">
              <a:solidFill>
                <a:prstClr val="black"/>
              </a:solidFill>
            </a:endParaRPr>
          </a:p>
        </p:txBody>
      </p:sp>
    </p:spTree>
    <p:extLst>
      <p:ext uri="{BB962C8B-B14F-4D97-AF65-F5344CB8AC3E}">
        <p14:creationId xmlns:p14="http://schemas.microsoft.com/office/powerpoint/2010/main" val="6302857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0097E157-E0D5-46B4-9986-DBFE9E7E9A3F}" type="datetime1">
              <a:rPr lang="en-US" smtClean="0">
                <a:solidFill>
                  <a:prstClr val="black"/>
                </a:solidFill>
              </a:rPr>
              <a:pPr/>
              <a:t>2/9/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7</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7715458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spcBef>
                <a:spcPts val="1764"/>
              </a:spcBef>
              <a:buNone/>
            </a:pPr>
            <a:r>
              <a:rPr lang="en-US" sz="900" dirty="0" smtClean="0"/>
              <a:t>Same code works in cloud and in on-premises </a:t>
            </a:r>
          </a:p>
          <a:p>
            <a:pPr marL="0" indent="0">
              <a:spcBef>
                <a:spcPts val="1764"/>
              </a:spcBef>
              <a:buNone/>
            </a:pPr>
            <a:r>
              <a:rPr lang="en-US" sz="900" dirty="0" smtClean="0"/>
              <a:t>Build market place apps and reach all Office 365 customers easily</a:t>
            </a:r>
          </a:p>
          <a:p>
            <a:pPr marL="0" indent="0">
              <a:spcBef>
                <a:spcPts val="1764"/>
              </a:spcBef>
              <a:buNone/>
            </a:pPr>
            <a:r>
              <a:rPr lang="en-US" sz="900" dirty="0" smtClean="0"/>
              <a:t>More flexible model with additional possibilities</a:t>
            </a:r>
          </a:p>
          <a:p>
            <a:pPr marL="0" indent="0">
              <a:spcBef>
                <a:spcPts val="1764"/>
              </a:spcBef>
              <a:buNone/>
            </a:pPr>
            <a:r>
              <a:rPr lang="en-US" sz="900" dirty="0" smtClean="0"/>
              <a:t>Standard .NET development tooling</a:t>
            </a:r>
          </a:p>
          <a:p>
            <a:endParaRPr lang="en-US" dirty="0"/>
          </a:p>
        </p:txBody>
      </p:sp>
      <p:sp>
        <p:nvSpPr>
          <p:cNvPr id="4" name="Date Placeholder 3"/>
          <p:cNvSpPr>
            <a:spLocks noGrp="1"/>
          </p:cNvSpPr>
          <p:nvPr>
            <p:ph type="dt" idx="10"/>
          </p:nvPr>
        </p:nvSpPr>
        <p:spPr/>
        <p:txBody>
          <a:bodyPr/>
          <a:lstStyle/>
          <a:p>
            <a:fld id="{C29A1E2C-431C-4968-9D4A-B5DF8A2A8AAD}" type="datetime1">
              <a:rPr lang="en-US" smtClean="0"/>
              <a:t>2/9/2015</a:t>
            </a:fld>
            <a:endParaRPr lang="en-US"/>
          </a:p>
        </p:txBody>
      </p:sp>
      <p:sp>
        <p:nvSpPr>
          <p:cNvPr id="5" name="Slide Number Placeholder 4"/>
          <p:cNvSpPr>
            <a:spLocks noGrp="1"/>
          </p:cNvSpPr>
          <p:nvPr>
            <p:ph type="sldNum" sz="quarter" idx="11"/>
          </p:nvPr>
        </p:nvSpPr>
        <p:spPr/>
        <p:txBody>
          <a:bodyPr/>
          <a:lstStyle/>
          <a:p>
            <a:fld id="{B4008EB6-D09E-4580-8CD6-DDB14511944F}" type="slidenum">
              <a:rPr lang="en-US" smtClean="0"/>
              <a:t>18</a:t>
            </a:fld>
            <a:endParaRPr lang="en-US" dirty="0"/>
          </a:p>
        </p:txBody>
      </p:sp>
      <p:sp>
        <p:nvSpPr>
          <p:cNvPr id="6" name="Header Placeholder 5"/>
          <p:cNvSpPr>
            <a:spLocks noGrp="1"/>
          </p:cNvSpPr>
          <p:nvPr>
            <p:ph type="hdr" sz="quarter" idx="12"/>
          </p:nvPr>
        </p:nvSpPr>
        <p:spPr/>
        <p:txBody>
          <a:bodyPr/>
          <a:lstStyle/>
          <a:p>
            <a:r>
              <a:rPr lang="en-US" smtClean="0"/>
              <a:t>Microsoft Office</a:t>
            </a:r>
            <a:endParaRPr lang="en-US" dirty="0"/>
          </a:p>
        </p:txBody>
      </p:sp>
      <p:sp>
        <p:nvSpPr>
          <p:cNvPr id="7" name="Footer Placeholder 6"/>
          <p:cNvSpPr>
            <a:spLocks noGrp="1"/>
          </p:cNvSpPr>
          <p:nvPr>
            <p:ph type="ftr" sz="quarter" idx="13"/>
          </p:nvPr>
        </p:nvSpPr>
        <p:spPr/>
        <p:txBody>
          <a:bodyPr/>
          <a:lstStyle/>
          <a:p>
            <a:pPr marL="231775" defTabSz="914099" eaLnBrk="0" hangingPunct="0"/>
            <a:r>
              <a:rPr lang="en-US" sz="5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1775" defTabSz="914099" eaLnBrk="0" hangingPunct="0"/>
            <a:r>
              <a:rPr lang="en-US" sz="5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33407387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baseline="0" dirty="0" smtClean="0"/>
              <a:t>Take away</a:t>
            </a:r>
          </a:p>
          <a:p>
            <a:pPr marL="171450" indent="-171450">
              <a:buFont typeface="Arial" panose="020B0604020202020204" pitchFamily="34" charset="0"/>
              <a:buChar char="•"/>
            </a:pPr>
            <a:r>
              <a:rPr lang="en-US" baseline="0" dirty="0" smtClean="0"/>
              <a:t>Make smaller changes - ripples - rather than big, disruptive wave changes.</a:t>
            </a:r>
          </a:p>
          <a:p>
            <a:pPr marL="171450" indent="-171450">
              <a:buFont typeface="Arial" panose="020B0604020202020204" pitchFamily="34" charset="0"/>
              <a:buChar char="•"/>
            </a:pPr>
            <a:endParaRPr lang="en-US" baseline="0" dirty="0" smtClean="0"/>
          </a:p>
          <a:p>
            <a:pPr marL="171450" indent="-171450">
              <a:buFont typeface="Arial" panose="020B0604020202020204" pitchFamily="34" charset="0"/>
              <a:buChar char="•"/>
            </a:pPr>
            <a:r>
              <a:rPr lang="en-US" baseline="0" dirty="0" smtClean="0"/>
              <a:t>Key talking point - “No more hotfixes, service packs, or major upgrades.  Office 365 ProPlus can be the last Office client you’ll ever deploy.”</a:t>
            </a:r>
            <a:endParaRPr lang="en-US" dirty="0" smtClean="0"/>
          </a:p>
          <a:p>
            <a:pPr marL="0" indent="0">
              <a:buFont typeface="Arial" panose="020B0604020202020204" pitchFamily="34" charset="0"/>
              <a:buNone/>
            </a:pPr>
            <a:endParaRPr lang="en-US" sz="900" kern="1200" dirty="0" smtClean="0">
              <a:solidFill>
                <a:schemeClr val="tx1"/>
              </a:solidFill>
              <a:effectLst/>
              <a:latin typeface="Segoe UI Light" pitchFamily="34" charset="0"/>
              <a:ea typeface="+mn-ea"/>
              <a:cs typeface="+mn-cs"/>
            </a:endParaRPr>
          </a:p>
          <a:p>
            <a:pPr marL="0" indent="0">
              <a:buFont typeface="Arial" panose="020B0604020202020204" pitchFamily="34" charset="0"/>
              <a:buNone/>
            </a:pPr>
            <a:r>
              <a:rPr lang="en-US" sz="900" kern="1200" dirty="0" smtClean="0">
                <a:solidFill>
                  <a:schemeClr val="tx1"/>
                </a:solidFill>
                <a:effectLst/>
                <a:latin typeface="Segoe UI Light" pitchFamily="34" charset="0"/>
                <a:ea typeface="+mn-ea"/>
                <a:cs typeface="+mn-cs"/>
              </a:rPr>
              <a:t>Some customers</a:t>
            </a:r>
            <a:r>
              <a:rPr lang="en-US" sz="900" kern="1200" baseline="0" dirty="0" smtClean="0">
                <a:solidFill>
                  <a:schemeClr val="tx1"/>
                </a:solidFill>
                <a:effectLst/>
                <a:latin typeface="Segoe UI Light" pitchFamily="34" charset="0"/>
                <a:ea typeface="+mn-ea"/>
                <a:cs typeface="+mn-cs"/>
              </a:rPr>
              <a:t> have expressed concern regarding the inclusion of security update and non-security updates in the monthly Office 365 ProPlus updates, and the frequency with which those updates might be released.</a:t>
            </a:r>
          </a:p>
          <a:p>
            <a:pPr marL="0" indent="0">
              <a:buFont typeface="Arial" panose="020B0604020202020204" pitchFamily="34" charset="0"/>
              <a:buNone/>
            </a:pPr>
            <a:endParaRPr lang="en-US" sz="900" b="1" kern="1200" dirty="0" smtClean="0">
              <a:solidFill>
                <a:schemeClr val="tx1"/>
              </a:solidFill>
              <a:effectLst/>
              <a:latin typeface="Segoe UI Light" pitchFamily="34" charset="0"/>
              <a:ea typeface="+mn-ea"/>
              <a:cs typeface="+mn-cs"/>
            </a:endParaRPr>
          </a:p>
          <a:p>
            <a:pPr marL="0" indent="0">
              <a:buFont typeface="Arial" panose="020B0604020202020204" pitchFamily="34" charset="0"/>
              <a:buNone/>
            </a:pPr>
            <a:r>
              <a:rPr lang="en-US" sz="900" b="1" kern="1200" dirty="0" smtClean="0">
                <a:solidFill>
                  <a:schemeClr val="tx1"/>
                </a:solidFill>
                <a:effectLst/>
                <a:latin typeface="Segoe UI Light" pitchFamily="34" charset="0"/>
                <a:ea typeface="+mn-ea"/>
                <a:cs typeface="+mn-cs"/>
              </a:rPr>
              <a:t>O365 </a:t>
            </a:r>
            <a:r>
              <a:rPr lang="en-US" sz="900" b="1" kern="1200" dirty="0" err="1" smtClean="0">
                <a:solidFill>
                  <a:schemeClr val="tx1"/>
                </a:solidFill>
                <a:effectLst/>
                <a:latin typeface="Segoe UI Light" pitchFamily="34" charset="0"/>
                <a:ea typeface="+mn-ea"/>
                <a:cs typeface="+mn-cs"/>
              </a:rPr>
              <a:t>ProPlus</a:t>
            </a:r>
            <a:r>
              <a:rPr lang="en-US" sz="900" b="1" kern="1200" baseline="0" dirty="0" smtClean="0">
                <a:solidFill>
                  <a:schemeClr val="tx1"/>
                </a:solidFill>
                <a:effectLst/>
                <a:latin typeface="Segoe UI Light" pitchFamily="34" charset="0"/>
                <a:ea typeface="+mn-ea"/>
                <a:cs typeface="+mn-cs"/>
              </a:rPr>
              <a:t> Servicing</a:t>
            </a:r>
            <a:endParaRPr lang="en-US" sz="900" b="1" kern="1200" dirty="0" smtClean="0">
              <a:solidFill>
                <a:schemeClr val="tx1"/>
              </a:solidFill>
              <a:effectLst/>
              <a:latin typeface="Segoe UI Light" pitchFamily="34" charset="0"/>
              <a:ea typeface="+mn-ea"/>
              <a:cs typeface="+mn-cs"/>
            </a:endParaRPr>
          </a:p>
          <a:p>
            <a:pPr marL="171450" marR="0"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dirty="0" smtClean="0">
                <a:solidFill>
                  <a:schemeClr val="tx1"/>
                </a:solidFill>
                <a:effectLst/>
                <a:latin typeface="Segoe UI Light" pitchFamily="34" charset="0"/>
                <a:ea typeface="+mn-ea"/>
                <a:cs typeface="+mn-cs"/>
              </a:rPr>
              <a:t>In a services world, we are constantly providing small, incremental enhancements to the security and value of our Office 365 services, including Office 365 </a:t>
            </a:r>
            <a:r>
              <a:rPr lang="en-US" sz="900" kern="1200" dirty="0" err="1" smtClean="0">
                <a:solidFill>
                  <a:schemeClr val="tx1"/>
                </a:solidFill>
                <a:effectLst/>
                <a:latin typeface="Segoe UI Light" pitchFamily="34" charset="0"/>
                <a:ea typeface="+mn-ea"/>
                <a:cs typeface="+mn-cs"/>
              </a:rPr>
              <a:t>ProPlus</a:t>
            </a:r>
            <a:r>
              <a:rPr lang="en-US" sz="900" kern="1200" dirty="0" smtClean="0">
                <a:solidFill>
                  <a:schemeClr val="tx1"/>
                </a:solidFill>
                <a:effectLst/>
                <a:latin typeface="Segoe UI Light" pitchFamily="34" charset="0"/>
                <a:ea typeface="+mn-ea"/>
                <a:cs typeface="+mn-cs"/>
              </a:rPr>
              <a:t>. </a:t>
            </a:r>
          </a:p>
          <a:p>
            <a:pPr marL="171450" marR="0"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lang="en-US" sz="900" kern="1200" dirty="0" smtClean="0">
              <a:solidFill>
                <a:schemeClr val="tx1"/>
              </a:solidFill>
              <a:effectLst/>
              <a:latin typeface="Segoe UI Light" pitchFamily="34" charset="0"/>
              <a:ea typeface="+mn-ea"/>
              <a:cs typeface="+mn-cs"/>
            </a:endParaRPr>
          </a:p>
          <a:p>
            <a:pPr marL="171450" marR="0"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dirty="0" smtClean="0">
                <a:solidFill>
                  <a:schemeClr val="tx1"/>
                </a:solidFill>
                <a:effectLst/>
                <a:latin typeface="Segoe UI Light" pitchFamily="34" charset="0"/>
                <a:ea typeface="+mn-ea"/>
                <a:cs typeface="+mn-cs"/>
              </a:rPr>
              <a:t>Each month, a new build of Office 365 </a:t>
            </a:r>
            <a:r>
              <a:rPr lang="en-US" sz="900" kern="1200" dirty="0" err="1" smtClean="0">
                <a:solidFill>
                  <a:schemeClr val="tx1"/>
                </a:solidFill>
                <a:effectLst/>
                <a:latin typeface="Segoe UI Light" pitchFamily="34" charset="0"/>
                <a:ea typeface="+mn-ea"/>
                <a:cs typeface="+mn-cs"/>
              </a:rPr>
              <a:t>ProPlus</a:t>
            </a:r>
            <a:r>
              <a:rPr lang="en-US" sz="900" kern="1200" dirty="0" smtClean="0">
                <a:solidFill>
                  <a:schemeClr val="tx1"/>
                </a:solidFill>
                <a:effectLst/>
                <a:latin typeface="Segoe UI Light" pitchFamily="34" charset="0"/>
                <a:ea typeface="+mn-ea"/>
                <a:cs typeface="+mn-cs"/>
              </a:rPr>
              <a:t> may be released in the cloud.  Each monthly build may contain security updates, non-security updates, and functionality improvements. </a:t>
            </a:r>
            <a:r>
              <a:rPr lang="en-US" sz="900" kern="1200" baseline="0" dirty="0" smtClean="0">
                <a:solidFill>
                  <a:schemeClr val="tx1"/>
                </a:solidFill>
                <a:effectLst/>
                <a:latin typeface="Segoe UI Light" pitchFamily="34" charset="0"/>
                <a:ea typeface="+mn-ea"/>
                <a:cs typeface="+mn-cs"/>
              </a:rPr>
              <a:t> </a:t>
            </a:r>
          </a:p>
          <a:p>
            <a:pPr marL="171450" marR="0"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lang="en-US" sz="900" kern="1200" dirty="0" smtClean="0">
              <a:solidFill>
                <a:schemeClr val="tx1"/>
              </a:solidFill>
              <a:effectLst/>
              <a:latin typeface="Segoe UI Light" pitchFamily="34" charset="0"/>
              <a:ea typeface="+mn-ea"/>
              <a:cs typeface="+mn-cs"/>
            </a:endParaRPr>
          </a:p>
          <a:p>
            <a:pPr marL="171450" marR="0"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dirty="0" smtClean="0">
                <a:solidFill>
                  <a:schemeClr val="tx1"/>
                </a:solidFill>
                <a:effectLst/>
                <a:latin typeface="Segoe UI Light" pitchFamily="34" charset="0"/>
                <a:ea typeface="+mn-ea"/>
                <a:cs typeface="+mn-cs"/>
              </a:rPr>
              <a:t>Updates are cumulative, so each build contains all the other changes from previous builds, however only the difference-  or delta-  between the new build and the existing one is installed.  </a:t>
            </a:r>
          </a:p>
          <a:p>
            <a:pPr marL="171450" marR="0"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lang="en-US" sz="900" kern="1200" dirty="0" smtClean="0">
              <a:solidFill>
                <a:schemeClr val="tx1"/>
              </a:solidFill>
              <a:effectLst/>
              <a:latin typeface="Segoe UI Light" pitchFamily="34" charset="0"/>
              <a:ea typeface="+mn-ea"/>
              <a:cs typeface="+mn-cs"/>
            </a:endParaRPr>
          </a:p>
          <a:p>
            <a:pPr marL="171450" marR="0"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baseline="0" dirty="0" smtClean="0"/>
              <a:t>Deltas are downloaded in the background and applied when Office apps are not running (or upon reboot).</a:t>
            </a:r>
          </a:p>
          <a:p>
            <a:pPr marL="171450" marR="0"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lang="en-US" baseline="0" dirty="0" smtClean="0"/>
          </a:p>
          <a:p>
            <a:pPr marL="171450" marR="0"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baseline="0" dirty="0" smtClean="0">
                <a:solidFill>
                  <a:schemeClr val="tx1"/>
                </a:solidFill>
                <a:effectLst/>
                <a:latin typeface="Segoe UI Light" pitchFamily="34" charset="0"/>
                <a:ea typeface="+mn-ea"/>
                <a:cs typeface="+mn-cs"/>
              </a:rPr>
              <a:t>Some examples of the non-security value in monthly updates:</a:t>
            </a:r>
          </a:p>
          <a:p>
            <a:pPr marL="384431" marR="0" lvl="1"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dirty="0" smtClean="0">
                <a:solidFill>
                  <a:schemeClr val="tx1"/>
                </a:solidFill>
                <a:effectLst/>
                <a:latin typeface="Segoe UI Light" pitchFamily="34" charset="0"/>
                <a:ea typeface="+mn-ea"/>
                <a:cs typeface="+mn-cs"/>
              </a:rPr>
              <a:t>Changing the Lync Icon on the Task bar to show presence (October, 2013)</a:t>
            </a:r>
          </a:p>
          <a:p>
            <a:pPr marL="384431" marR="0" lvl="1"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dirty="0" smtClean="0">
                <a:solidFill>
                  <a:schemeClr val="tx1"/>
                </a:solidFill>
                <a:effectLst/>
                <a:latin typeface="Segoe UI Light" pitchFamily="34" charset="0"/>
                <a:ea typeface="+mn-ea"/>
                <a:cs typeface="+mn-cs"/>
              </a:rPr>
              <a:t>Adding spell check into the Lync client (October 2013)</a:t>
            </a:r>
          </a:p>
          <a:p>
            <a:pPr marL="384431" marR="0" lvl="1"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dirty="0" smtClean="0">
                <a:solidFill>
                  <a:schemeClr val="tx1"/>
                </a:solidFill>
                <a:effectLst/>
                <a:latin typeface="Segoe UI Light" pitchFamily="34" charset="0"/>
                <a:ea typeface="+mn-ea"/>
                <a:cs typeface="+mn-cs"/>
              </a:rPr>
              <a:t>Changing “Enable updates” to “Apply Updates” (Feb 2014)</a:t>
            </a:r>
          </a:p>
          <a:p>
            <a:pPr marL="384431" marR="0" lvl="1"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dirty="0" err="1" smtClean="0">
                <a:solidFill>
                  <a:schemeClr val="tx1"/>
                </a:solidFill>
                <a:effectLst/>
                <a:latin typeface="Segoe UI Light" pitchFamily="34" charset="0"/>
                <a:ea typeface="+mn-ea"/>
                <a:cs typeface="+mn-cs"/>
              </a:rPr>
              <a:t>PowerMap</a:t>
            </a:r>
            <a:r>
              <a:rPr lang="en-US" sz="900" kern="1200" dirty="0" smtClean="0">
                <a:solidFill>
                  <a:schemeClr val="tx1"/>
                </a:solidFill>
                <a:effectLst/>
                <a:latin typeface="Segoe UI Light" pitchFamily="34" charset="0"/>
                <a:ea typeface="+mn-ea"/>
                <a:cs typeface="+mn-cs"/>
              </a:rPr>
              <a:t> Add-in for Excel (Feb 2014)</a:t>
            </a:r>
          </a:p>
          <a:p>
            <a:pPr marL="171450" marR="0"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lang="en-US" baseline="0" dirty="0" smtClean="0"/>
          </a:p>
          <a:p>
            <a:pPr marL="0" marR="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endParaRPr lang="en-US" sz="900" kern="1200" dirty="0" smtClean="0">
              <a:solidFill>
                <a:schemeClr val="tx1"/>
              </a:solidFill>
              <a:effectLst/>
              <a:latin typeface="Segoe UI Light" pitchFamily="34" charset="0"/>
              <a:ea typeface="+mn-ea"/>
              <a:cs typeface="+mn-cs"/>
            </a:endParaRPr>
          </a:p>
          <a:p>
            <a:pPr marL="0" indent="0">
              <a:buFont typeface="Arial" panose="020B0604020202020204" pitchFamily="34" charset="0"/>
              <a:buNone/>
            </a:pPr>
            <a:r>
              <a:rPr lang="en-US" sz="900" b="1" kern="1200" dirty="0" smtClean="0">
                <a:solidFill>
                  <a:schemeClr val="tx1"/>
                </a:solidFill>
                <a:effectLst/>
                <a:latin typeface="Segoe UI Light" pitchFamily="34" charset="0"/>
                <a:ea typeface="+mn-ea"/>
                <a:cs typeface="+mn-cs"/>
              </a:rPr>
              <a:t>Traditional Model (MSI)</a:t>
            </a:r>
          </a:p>
          <a:p>
            <a:pPr marL="171450" marR="0"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dirty="0" smtClean="0">
                <a:solidFill>
                  <a:schemeClr val="tx1"/>
                </a:solidFill>
                <a:effectLst/>
                <a:latin typeface="Segoe UI Light" pitchFamily="34" charset="0"/>
                <a:ea typeface="+mn-ea"/>
                <a:cs typeface="+mn-cs"/>
              </a:rPr>
              <a:t>Any software update involves changing code, regardless of the type of update, and so there is the same inherent risk when applying updates. </a:t>
            </a:r>
          </a:p>
          <a:p>
            <a:pPr marL="0" marR="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endParaRPr lang="en-US" sz="900" kern="1200" dirty="0" smtClean="0">
              <a:solidFill>
                <a:schemeClr val="tx1"/>
              </a:solidFill>
              <a:effectLst/>
              <a:latin typeface="Segoe UI Light" pitchFamily="34" charset="0"/>
              <a:ea typeface="+mn-ea"/>
              <a:cs typeface="+mn-cs"/>
            </a:endParaRPr>
          </a:p>
          <a:p>
            <a:pPr marL="171450" marR="0"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dirty="0" smtClean="0">
                <a:solidFill>
                  <a:schemeClr val="tx1"/>
                </a:solidFill>
                <a:effectLst/>
                <a:latin typeface="Segoe UI Light" pitchFamily="34" charset="0"/>
                <a:ea typeface="+mn-ea"/>
                <a:cs typeface="+mn-cs"/>
              </a:rPr>
              <a:t>The traditional</a:t>
            </a:r>
            <a:r>
              <a:rPr lang="en-US" sz="900" kern="1200" baseline="0" dirty="0" smtClean="0">
                <a:solidFill>
                  <a:schemeClr val="tx1"/>
                </a:solidFill>
                <a:effectLst/>
                <a:latin typeface="Segoe UI Light" pitchFamily="34" charset="0"/>
                <a:ea typeface="+mn-ea"/>
                <a:cs typeface="+mn-cs"/>
              </a:rPr>
              <a:t> method of on-</a:t>
            </a:r>
            <a:r>
              <a:rPr lang="en-US" sz="900" kern="1200" baseline="0" dirty="0" err="1" smtClean="0">
                <a:solidFill>
                  <a:schemeClr val="tx1"/>
                </a:solidFill>
                <a:effectLst/>
                <a:latin typeface="Segoe UI Light" pitchFamily="34" charset="0"/>
                <a:ea typeface="+mn-ea"/>
                <a:cs typeface="+mn-cs"/>
              </a:rPr>
              <a:t>prem</a:t>
            </a:r>
            <a:r>
              <a:rPr lang="en-US" sz="900" kern="1200" baseline="0" dirty="0" smtClean="0">
                <a:solidFill>
                  <a:schemeClr val="tx1"/>
                </a:solidFill>
                <a:effectLst/>
                <a:latin typeface="Segoe UI Light" pitchFamily="34" charset="0"/>
                <a:ea typeface="+mn-ea"/>
                <a:cs typeface="+mn-cs"/>
              </a:rPr>
              <a:t> deployment </a:t>
            </a:r>
            <a:r>
              <a:rPr lang="en-US" sz="900" kern="1200" dirty="0" smtClean="0">
                <a:solidFill>
                  <a:schemeClr val="tx1"/>
                </a:solidFill>
                <a:effectLst/>
                <a:latin typeface="Segoe UI Light" pitchFamily="34" charset="0"/>
                <a:ea typeface="+mn-ea"/>
                <a:cs typeface="+mn-cs"/>
              </a:rPr>
              <a:t>(where there are 1 or more security updates and 1 or more non-security updates per month) provides the ability for IT groups to deploy certain types of change in their environment without testing (</a:t>
            </a:r>
            <a:r>
              <a:rPr lang="en-US" sz="900" kern="1200" dirty="0" err="1" smtClean="0">
                <a:solidFill>
                  <a:schemeClr val="tx1"/>
                </a:solidFill>
                <a:effectLst/>
                <a:latin typeface="Segoe UI Light" pitchFamily="34" charset="0"/>
                <a:ea typeface="+mn-ea"/>
                <a:cs typeface="+mn-cs"/>
              </a:rPr>
              <a:t>ie</a:t>
            </a:r>
            <a:r>
              <a:rPr lang="en-US" sz="900" kern="1200" dirty="0" smtClean="0">
                <a:solidFill>
                  <a:schemeClr val="tx1"/>
                </a:solidFill>
                <a:effectLst/>
                <a:latin typeface="Segoe UI Light" pitchFamily="34" charset="0"/>
                <a:ea typeface="+mn-ea"/>
                <a:cs typeface="+mn-cs"/>
              </a:rPr>
              <a:t>, security updates), and reject or delay other changes that may require more testing.  But</a:t>
            </a:r>
            <a:r>
              <a:rPr lang="en-US" sz="900" kern="1200" baseline="0" dirty="0" smtClean="0">
                <a:solidFill>
                  <a:schemeClr val="tx1"/>
                </a:solidFill>
                <a:effectLst/>
                <a:latin typeface="Segoe UI Light" pitchFamily="34" charset="0"/>
                <a:ea typeface="+mn-ea"/>
                <a:cs typeface="+mn-cs"/>
              </a:rPr>
              <a:t> t</a:t>
            </a:r>
            <a:r>
              <a:rPr lang="en-US" sz="900" kern="1200" dirty="0" smtClean="0">
                <a:solidFill>
                  <a:schemeClr val="tx1"/>
                </a:solidFill>
                <a:effectLst/>
                <a:latin typeface="Segoe UI Light" pitchFamily="34" charset="0"/>
                <a:ea typeface="+mn-ea"/>
                <a:cs typeface="+mn-cs"/>
              </a:rPr>
              <a:t>his provides the illusion of control since they can’t see what code has been changed. So this approach really means “I’m OK with deploying code changes in my environment, but I’m NOT OK with deploying code changes in my environment.”</a:t>
            </a:r>
          </a:p>
          <a:p>
            <a:pPr marL="0" marR="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endParaRPr lang="en-US" sz="900" kern="1200" dirty="0" smtClean="0">
              <a:solidFill>
                <a:schemeClr val="tx1"/>
              </a:solidFill>
              <a:effectLst/>
              <a:latin typeface="Segoe UI Light" pitchFamily="34" charset="0"/>
              <a:ea typeface="+mn-ea"/>
              <a:cs typeface="+mn-cs"/>
            </a:endParaRPr>
          </a:p>
          <a:p>
            <a:pPr marL="0" marR="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endParaRPr lang="en-US" sz="900" kern="1200" dirty="0" smtClean="0">
              <a:solidFill>
                <a:schemeClr val="tx1"/>
              </a:solidFill>
              <a:effectLst/>
              <a:latin typeface="Segoe UI Light" pitchFamily="34" charset="0"/>
              <a:ea typeface="+mn-ea"/>
              <a:cs typeface="+mn-cs"/>
            </a:endParaRPr>
          </a:p>
          <a:p>
            <a:pPr marL="0" indent="0">
              <a:buFont typeface="Arial" panose="020B0604020202020204" pitchFamily="34" charset="0"/>
              <a:buNone/>
            </a:pPr>
            <a:r>
              <a:rPr lang="en-US" sz="900" b="1" kern="1200" dirty="0" smtClean="0">
                <a:solidFill>
                  <a:schemeClr val="tx1"/>
                </a:solidFill>
                <a:effectLst/>
                <a:latin typeface="Segoe UI Light" pitchFamily="34" charset="0"/>
                <a:ea typeface="+mn-ea"/>
                <a:cs typeface="+mn-cs"/>
              </a:rPr>
              <a:t>Change</a:t>
            </a:r>
            <a:r>
              <a:rPr lang="en-US" sz="900" b="1" kern="1200" baseline="0" dirty="0" smtClean="0">
                <a:solidFill>
                  <a:schemeClr val="tx1"/>
                </a:solidFill>
                <a:effectLst/>
                <a:latin typeface="Segoe UI Light" pitchFamily="34" charset="0"/>
                <a:ea typeface="+mn-ea"/>
                <a:cs typeface="+mn-cs"/>
              </a:rPr>
              <a:t> Management and Risk Control</a:t>
            </a:r>
            <a:endParaRPr lang="en-US" sz="900" b="1" kern="120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When managed properly, the new update model actually reduces your risk…and it significantly reduces your testing efforts.  Meaning, if you are an organization that performs testing of Office updates prior to distributing them to your end-users, then you’re going to perform the same testing regardless of what’s inside the update, security or non-security. </a:t>
            </a:r>
          </a:p>
          <a:p>
            <a:pPr marL="171450" indent="-171450">
              <a:buFont typeface="Arial" panose="020B0604020202020204" pitchFamily="34" charset="0"/>
              <a:buChar char="•"/>
            </a:pPr>
            <a:endParaRPr lang="en-US" sz="900" kern="1200" dirty="0" smtClean="0">
              <a:solidFill>
                <a:schemeClr val="tx1"/>
              </a:solidFill>
              <a:effectLst/>
              <a:latin typeface="Segoe UI Light" pitchFamily="34" charset="0"/>
              <a:ea typeface="+mn-ea"/>
              <a:cs typeface="+mn-cs"/>
            </a:endParaRPr>
          </a:p>
          <a:p>
            <a:pPr marL="171450" marR="0"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dirty="0" smtClean="0">
                <a:solidFill>
                  <a:schemeClr val="tx1"/>
                </a:solidFill>
                <a:effectLst/>
                <a:latin typeface="Segoe UI Light" pitchFamily="34" charset="0"/>
                <a:ea typeface="+mn-ea"/>
                <a:cs typeface="+mn-cs"/>
              </a:rPr>
              <a:t>This provides IT groups the ability to leverage a single process to manage change in their environment, regardless of what the change is.  Having fewer processes to manage makes introducing change more consistent, increases your ability to automate such processes, and greatly reduces your risk that comes with managing variance in your IT environment. </a:t>
            </a:r>
            <a:r>
              <a:rPr lang="en-US" sz="900" baseline="0" dirty="0" smtClean="0">
                <a:latin typeface="Segoe UI" charset="0"/>
                <a:cs typeface="Segoe UI" charset="0"/>
              </a:rPr>
              <a:t>One approach is to deploy a new build to a pilot audience.</a:t>
            </a:r>
          </a:p>
          <a:p>
            <a:pPr marL="171450" marR="0"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lang="en-US" sz="900" baseline="0" dirty="0" smtClean="0">
              <a:latin typeface="Segoe UI" charset="0"/>
              <a:cs typeface="Segoe UI" charset="0"/>
            </a:endParaRPr>
          </a:p>
          <a:p>
            <a:pPr marL="171450" marR="0"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baseline="0" dirty="0" smtClean="0">
                <a:latin typeface="Segoe UI" charset="0"/>
                <a:cs typeface="Segoe UI" charset="0"/>
              </a:rPr>
              <a:t>Use Telemetry to provide objective data regarding usage or issues that arise for users with the new build.  This will help provide an evidence-based approach to determining “does this build work for me?”</a:t>
            </a:r>
            <a:endParaRPr lang="en-US" sz="900" kern="1200" dirty="0" smtClean="0">
              <a:solidFill>
                <a:schemeClr val="tx1"/>
              </a:solidFill>
              <a:effectLst/>
              <a:latin typeface="Segoe UI Light" pitchFamily="34" charset="0"/>
              <a:ea typeface="+mn-ea"/>
              <a:cs typeface="+mn-cs"/>
            </a:endParaRPr>
          </a:p>
          <a:p>
            <a:endParaRPr lang="en-US" baseline="0" dirty="0" smtClean="0"/>
          </a:p>
        </p:txBody>
      </p:sp>
      <p:sp>
        <p:nvSpPr>
          <p:cNvPr id="4" name="Header Placeholder 3"/>
          <p:cNvSpPr>
            <a:spLocks noGrp="1"/>
          </p:cNvSpPr>
          <p:nvPr>
            <p:ph type="hdr" sz="quarter" idx="10"/>
          </p:nvPr>
        </p:nvSpPr>
        <p:spPr/>
        <p:txBody>
          <a:bodyPr/>
          <a:lstStyle/>
          <a:p>
            <a:r>
              <a:rPr lang="en-US" dirty="0">
                <a:solidFill>
                  <a:prstClr val="black"/>
                </a:solidFill>
              </a:rPr>
              <a:t>Tech Ready 15</a:t>
            </a:r>
          </a:p>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F7833B04-83DB-4404-B5C1-80D51D1DCEFE}" type="datetime1">
              <a:rPr lang="en-US" smtClean="0">
                <a:solidFill>
                  <a:prstClr val="black"/>
                </a:solidFill>
              </a:rPr>
              <a:pPr/>
              <a:t>2/9/2015</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211034411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Tech Ready 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C1C6F813-9EDD-4800-B306-4C07E49BC8AC}" type="datetime1">
              <a:rPr lang="en-US" smtClean="0">
                <a:solidFill>
                  <a:prstClr val="black"/>
                </a:solidFill>
              </a:rPr>
              <a:pPr/>
              <a:t>2/9/2015</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152013107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DCDBB94D-5393-4E09-8E54-5B7E6E362488}" type="datetime1">
              <a:rPr lang="en-US" smtClean="0">
                <a:solidFill>
                  <a:prstClr val="black"/>
                </a:solidFill>
              </a:rPr>
              <a:pPr/>
              <a:t>2/9/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1</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19046662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0097E157-E0D5-46B4-9986-DBFE9E7E9A3F}" type="datetime1">
              <a:rPr lang="en-US" smtClean="0">
                <a:solidFill>
                  <a:prstClr val="black"/>
                </a:solidFill>
              </a:rPr>
              <a:pPr/>
              <a:t>2/9/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2</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46973359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900" kern="1200" dirty="0" smtClean="0">
                <a:solidFill>
                  <a:schemeClr val="tx1"/>
                </a:solidFill>
                <a:effectLst/>
                <a:latin typeface="Segoe UI Light" pitchFamily="34" charset="0"/>
                <a:ea typeface="+mn-ea"/>
                <a:cs typeface="+mn-cs"/>
              </a:rPr>
              <a:t>Lifecycle</a:t>
            </a:r>
          </a:p>
          <a:p>
            <a:pPr lvl="1"/>
            <a:r>
              <a:rPr lang="en-US" sz="900" kern="1200" dirty="0" smtClean="0">
                <a:solidFill>
                  <a:schemeClr val="tx1"/>
                </a:solidFill>
                <a:effectLst/>
                <a:latin typeface="Segoe UI Light" pitchFamily="34" charset="0"/>
                <a:ea typeface="+mn-ea"/>
                <a:cs typeface="+mn-cs"/>
              </a:rPr>
              <a:t>Not just the store</a:t>
            </a:r>
          </a:p>
          <a:p>
            <a:pPr lvl="1"/>
            <a:r>
              <a:rPr lang="en-US" sz="900" kern="1200" dirty="0" err="1" smtClean="0">
                <a:solidFill>
                  <a:schemeClr val="tx1"/>
                </a:solidFill>
                <a:effectLst/>
                <a:latin typeface="Segoe UI Light" pitchFamily="34" charset="0"/>
                <a:ea typeface="+mn-ea"/>
                <a:cs typeface="+mn-cs"/>
              </a:rPr>
              <a:t>Momuntem</a:t>
            </a:r>
            <a:r>
              <a:rPr lang="en-US" sz="900" kern="1200" dirty="0" smtClean="0">
                <a:solidFill>
                  <a:schemeClr val="tx1"/>
                </a:solidFill>
                <a:effectLst/>
                <a:latin typeface="Segoe UI Light" pitchFamily="34" charset="0"/>
                <a:ea typeface="+mn-ea"/>
                <a:cs typeface="+mn-cs"/>
              </a:rPr>
              <a:t> has been building store and on-</a:t>
            </a:r>
            <a:r>
              <a:rPr lang="en-US" sz="900" kern="1200" dirty="0" err="1" smtClean="0">
                <a:solidFill>
                  <a:schemeClr val="tx1"/>
                </a:solidFill>
                <a:effectLst/>
                <a:latin typeface="Segoe UI Light" pitchFamily="34" charset="0"/>
                <a:ea typeface="+mn-ea"/>
                <a:cs typeface="+mn-cs"/>
              </a:rPr>
              <a:t>prem</a:t>
            </a:r>
            <a:endParaRPr lang="en-US" sz="900" kern="1200" dirty="0" smtClean="0">
              <a:solidFill>
                <a:schemeClr val="tx1"/>
              </a:solidFill>
              <a:effectLst/>
              <a:latin typeface="Segoe UI Light" pitchFamily="34" charset="0"/>
              <a:ea typeface="+mn-ea"/>
              <a:cs typeface="+mn-cs"/>
            </a:endParaRPr>
          </a:p>
          <a:p>
            <a:pPr lvl="1"/>
            <a:r>
              <a:rPr lang="en-US" sz="900" kern="1200" dirty="0" smtClean="0">
                <a:solidFill>
                  <a:schemeClr val="tx1"/>
                </a:solidFill>
                <a:effectLst/>
                <a:latin typeface="Segoe UI Light" pitchFamily="34" charset="0"/>
                <a:ea typeface="+mn-ea"/>
                <a:cs typeface="+mn-cs"/>
              </a:rPr>
              <a:t>Store features ; subscriptions</a:t>
            </a:r>
          </a:p>
          <a:p>
            <a:pPr lvl="1"/>
            <a:r>
              <a:rPr lang="en-US" sz="900" kern="1200" dirty="0" smtClean="0">
                <a:solidFill>
                  <a:schemeClr val="tx1"/>
                </a:solidFill>
                <a:effectLst/>
                <a:latin typeface="Segoe UI Light" pitchFamily="34" charset="0"/>
                <a:ea typeface="+mn-ea"/>
                <a:cs typeface="+mn-cs"/>
              </a:rPr>
              <a:t>Business-ready</a:t>
            </a:r>
          </a:p>
          <a:p>
            <a:pPr lvl="1"/>
            <a:r>
              <a:rPr lang="en-US" sz="900" kern="1200" dirty="0" smtClean="0">
                <a:solidFill>
                  <a:schemeClr val="tx1"/>
                </a:solidFill>
                <a:effectLst/>
                <a:latin typeface="Segoe UI Light" pitchFamily="34" charset="0"/>
                <a:ea typeface="+mn-ea"/>
                <a:cs typeface="+mn-cs"/>
              </a:rPr>
              <a:t>Corporate catalog</a:t>
            </a:r>
          </a:p>
          <a:p>
            <a:pPr lvl="1"/>
            <a:r>
              <a:rPr lang="en-US" sz="900" kern="1200" dirty="0" smtClean="0">
                <a:solidFill>
                  <a:schemeClr val="tx1"/>
                </a:solidFill>
                <a:effectLst/>
                <a:latin typeface="Segoe UI Light" pitchFamily="34" charset="0"/>
                <a:ea typeface="+mn-ea"/>
                <a:cs typeface="+mn-cs"/>
              </a:rPr>
              <a:t>Training users to get new experiences</a:t>
            </a:r>
            <a:endParaRPr lang="en-US" sz="900" kern="1200" dirty="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fld id="{DE277604-F957-433F-BCA2-0779A8E9576D}"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371279243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2/9/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425602793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fld id="{24FBE006-0BDF-49DB-9BC3-5C54337B5B99}" type="datetime1">
              <a:rPr lang="en-US" smtClean="0"/>
              <a:t>2/9/2015</a:t>
            </a:fld>
            <a:endParaRPr lang="en-US"/>
          </a:p>
        </p:txBody>
      </p:sp>
      <p:sp>
        <p:nvSpPr>
          <p:cNvPr id="5" name="Slide Number Placeholder 4"/>
          <p:cNvSpPr>
            <a:spLocks noGrp="1"/>
          </p:cNvSpPr>
          <p:nvPr>
            <p:ph type="sldNum" sz="quarter" idx="11"/>
          </p:nvPr>
        </p:nvSpPr>
        <p:spPr/>
        <p:txBody>
          <a:bodyPr/>
          <a:lstStyle/>
          <a:p>
            <a:fld id="{B4008EB6-D09E-4580-8CD6-DDB14511944F}" type="slidenum">
              <a:rPr lang="en-US" smtClean="0"/>
              <a:t>25</a:t>
            </a:fld>
            <a:endParaRPr lang="en-US" dirty="0"/>
          </a:p>
        </p:txBody>
      </p:sp>
      <p:sp>
        <p:nvSpPr>
          <p:cNvPr id="6" name="Header Placeholder 5"/>
          <p:cNvSpPr>
            <a:spLocks noGrp="1"/>
          </p:cNvSpPr>
          <p:nvPr>
            <p:ph type="hdr" sz="quarter" idx="12"/>
          </p:nvPr>
        </p:nvSpPr>
        <p:spPr/>
        <p:txBody>
          <a:bodyPr/>
          <a:lstStyle/>
          <a:p>
            <a:r>
              <a:rPr lang="en-US" smtClean="0"/>
              <a:t>Microsoft Office</a:t>
            </a:r>
            <a:endParaRPr lang="en-US" dirty="0"/>
          </a:p>
        </p:txBody>
      </p:sp>
      <p:sp>
        <p:nvSpPr>
          <p:cNvPr id="7" name="Footer Placeholder 6"/>
          <p:cNvSpPr>
            <a:spLocks noGrp="1"/>
          </p:cNvSpPr>
          <p:nvPr>
            <p:ph type="ftr" sz="quarter" idx="13"/>
          </p:nvPr>
        </p:nvSpPr>
        <p:spPr/>
        <p:txBody>
          <a:bodyPr/>
          <a:lstStyle/>
          <a:p>
            <a:pPr marL="231775" defTabSz="914099" eaLnBrk="0" hangingPunct="0"/>
            <a:r>
              <a:rPr lang="en-US" sz="5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1775" defTabSz="914099" eaLnBrk="0" hangingPunct="0"/>
            <a:r>
              <a:rPr lang="en-US" sz="5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44764972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onnected apps use the Office 365 APIs</a:t>
            </a:r>
          </a:p>
          <a:p>
            <a:r>
              <a:rPr lang="en-US" dirty="0" smtClean="0"/>
              <a:t>They</a:t>
            </a:r>
            <a:r>
              <a:rPr lang="en-US" baseline="0" dirty="0" smtClean="0"/>
              <a:t> are based on open standards such as REST and </a:t>
            </a:r>
            <a:r>
              <a:rPr lang="en-US" baseline="0" dirty="0" err="1" smtClean="0"/>
              <a:t>Oauth</a:t>
            </a:r>
            <a:endParaRPr lang="en-US" baseline="0" dirty="0" smtClean="0"/>
          </a:p>
          <a:p>
            <a:r>
              <a:rPr lang="en-US" baseline="0" dirty="0" smtClean="0"/>
              <a:t>They are much like any other API on the internet </a:t>
            </a:r>
          </a:p>
          <a:p>
            <a:r>
              <a:rPr lang="en-US" baseline="0" dirty="0" smtClean="0"/>
              <a:t>They are accessible on any platform and power app experiences on all devices</a:t>
            </a:r>
          </a:p>
          <a:p>
            <a:endParaRPr lang="en-US" baseline="0" dirty="0" smtClean="0"/>
          </a:p>
          <a:p>
            <a:r>
              <a:rPr lang="en-US" baseline="0" dirty="0" smtClean="0"/>
              <a:t>Developers can connect over 400 PB of Documents, Mail, Calendar and other data in Office 365 through these.</a:t>
            </a:r>
          </a:p>
          <a:p>
            <a:endParaRPr lang="en-US" baseline="0" dirty="0" smtClean="0"/>
          </a:p>
          <a:p>
            <a:r>
              <a:rPr lang="en-US" baseline="0" dirty="0" smtClean="0"/>
              <a:t>MS ship tooling with Visual Studio for Windows and Windows Phone development</a:t>
            </a:r>
          </a:p>
          <a:p>
            <a:r>
              <a:rPr lang="en-US" baseline="0" dirty="0" smtClean="0"/>
              <a:t>MS ship an Office 365 SDK for Android</a:t>
            </a:r>
          </a:p>
          <a:p>
            <a:r>
              <a:rPr lang="en-US" baseline="0" dirty="0" smtClean="0"/>
              <a:t>We will ship an iOS SDK later this year</a:t>
            </a:r>
          </a:p>
          <a:p>
            <a:endParaRPr lang="en-US" baseline="0" dirty="0" smtClean="0"/>
          </a:p>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2/9/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36954926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B079C3B8-7366-4A44-A34B-3977080C19E7}" type="datetime1">
              <a:rPr lang="en-US" smtClean="0">
                <a:solidFill>
                  <a:prstClr val="black"/>
                </a:solidFill>
              </a:rPr>
              <a:pPr/>
              <a:t>2/9/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a:t>
            </a:fld>
            <a:endParaRPr lang="en-US" dirty="0">
              <a:solidFill>
                <a:prstClr val="black"/>
              </a:solidFill>
            </a:endParaRPr>
          </a:p>
        </p:txBody>
      </p:sp>
      <p:sp>
        <p:nvSpPr>
          <p:cNvPr id="7" name="Header Placeholder 6"/>
          <p:cNvSpPr>
            <a:spLocks noGrp="1"/>
          </p:cNvSpPr>
          <p:nvPr>
            <p:ph type="hdr" sz="quarter" idx="13"/>
          </p:nvPr>
        </p:nvSpPr>
        <p:spPr/>
        <p:txBody>
          <a:bodyPr/>
          <a:lstStyle/>
          <a:p>
            <a:r>
              <a:rPr lang="en-US" smtClean="0">
                <a:solidFill>
                  <a:prstClr val="black"/>
                </a:solidFill>
              </a:rPr>
              <a:t>Build 2014</a:t>
            </a:r>
            <a:endParaRPr lang="en-US" dirty="0">
              <a:solidFill>
                <a:prstClr val="black"/>
              </a:solidFill>
            </a:endParaRPr>
          </a:p>
        </p:txBody>
      </p:sp>
    </p:spTree>
    <p:extLst>
      <p:ext uri="{BB962C8B-B14F-4D97-AF65-F5344CB8AC3E}">
        <p14:creationId xmlns:p14="http://schemas.microsoft.com/office/powerpoint/2010/main" val="304327655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06D85F5-D4FD-4963-BC58-971881D27DEE}" type="slidenum">
              <a:rPr lang="en-US" smtClean="0">
                <a:solidFill>
                  <a:prstClr val="black"/>
                </a:solidFill>
              </a:rPr>
              <a:pPr/>
              <a:t>27</a:t>
            </a:fld>
            <a:endParaRPr lang="en-US">
              <a:solidFill>
                <a:prstClr val="black"/>
              </a:solidFill>
            </a:endParaRPr>
          </a:p>
        </p:txBody>
      </p:sp>
    </p:spTree>
    <p:extLst>
      <p:ext uri="{BB962C8B-B14F-4D97-AF65-F5344CB8AC3E}">
        <p14:creationId xmlns:p14="http://schemas.microsoft.com/office/powerpoint/2010/main" val="354693357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2/9/2015</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30</a:t>
            </a:fld>
            <a:endParaRPr lang="en-US" dirty="0"/>
          </a:p>
        </p:txBody>
      </p:sp>
    </p:spTree>
    <p:extLst>
      <p:ext uri="{BB962C8B-B14F-4D97-AF65-F5344CB8AC3E}">
        <p14:creationId xmlns:p14="http://schemas.microsoft.com/office/powerpoint/2010/main" val="175953424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0"/>
          </p:nvPr>
        </p:nvSpPr>
        <p:spPr/>
        <p:txBody>
          <a:bodyPr/>
          <a:lstStyle/>
          <a:p>
            <a:fld id="{4158D9CF-52ED-4C2B-9870-3BEFB23E0EBC}" type="datetime1">
              <a:rPr lang="en-US" smtClean="0"/>
              <a:t>2/9/2015</a:t>
            </a:fld>
            <a:endParaRPr lang="en-US" dirty="0"/>
          </a:p>
        </p:txBody>
      </p:sp>
      <p:sp>
        <p:nvSpPr>
          <p:cNvPr id="5" name="Slide Number Placeholder 4"/>
          <p:cNvSpPr>
            <a:spLocks noGrp="1"/>
          </p:cNvSpPr>
          <p:nvPr>
            <p:ph type="sldNum" sz="quarter" idx="11"/>
          </p:nvPr>
        </p:nvSpPr>
        <p:spPr/>
        <p:txBody>
          <a:bodyPr/>
          <a:lstStyle/>
          <a:p>
            <a:fld id="{B4008EB6-D09E-4580-8CD6-DDB14511944F}" type="slidenum">
              <a:rPr lang="en-US" smtClean="0"/>
              <a:pPr/>
              <a:t>32</a:t>
            </a:fld>
            <a:endParaRPr lang="en-US" dirty="0"/>
          </a:p>
        </p:txBody>
      </p:sp>
      <p:sp>
        <p:nvSpPr>
          <p:cNvPr id="7" name="Footer Placeholder 6"/>
          <p:cNvSpPr>
            <a:spLocks noGrp="1"/>
          </p:cNvSpPr>
          <p:nvPr>
            <p:ph type="ftr" sz="quarter" idx="12"/>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0015682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FTTT, </a:t>
            </a:r>
            <a:br>
              <a:rPr lang="en-US" dirty="0" smtClean="0"/>
            </a:br>
            <a:r>
              <a:rPr lang="en-US" dirty="0" smtClean="0"/>
              <a:t>API Sandbox</a:t>
            </a:r>
            <a:endParaRPr lang="en-US" dirty="0"/>
          </a:p>
        </p:txBody>
      </p:sp>
      <p:sp>
        <p:nvSpPr>
          <p:cNvPr id="4" name="Slide Number Placeholder 3"/>
          <p:cNvSpPr>
            <a:spLocks noGrp="1"/>
          </p:cNvSpPr>
          <p:nvPr>
            <p:ph type="sldNum" sz="quarter" idx="10"/>
          </p:nvPr>
        </p:nvSpPr>
        <p:spPr/>
        <p:txBody>
          <a:bodyPr/>
          <a:lstStyle/>
          <a:p>
            <a:fld id="{006D85F5-D4FD-4963-BC58-971881D27DEE}" type="slidenum">
              <a:rPr lang="en-US" smtClean="0">
                <a:solidFill>
                  <a:prstClr val="black"/>
                </a:solidFill>
              </a:rPr>
              <a:pPr/>
              <a:t>35</a:t>
            </a:fld>
            <a:endParaRPr lang="en-US">
              <a:solidFill>
                <a:prstClr val="black"/>
              </a:solidFill>
            </a:endParaRPr>
          </a:p>
        </p:txBody>
      </p:sp>
    </p:spTree>
    <p:extLst>
      <p:ext uri="{BB962C8B-B14F-4D97-AF65-F5344CB8AC3E}">
        <p14:creationId xmlns:p14="http://schemas.microsoft.com/office/powerpoint/2010/main" val="194760310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2/9/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36</a:t>
            </a:fld>
            <a:endParaRPr lang="en-US" dirty="0">
              <a:solidFill>
                <a:prstClr val="black"/>
              </a:solidFill>
            </a:endParaRPr>
          </a:p>
        </p:txBody>
      </p:sp>
    </p:spTree>
    <p:extLst>
      <p:ext uri="{BB962C8B-B14F-4D97-AF65-F5344CB8AC3E}">
        <p14:creationId xmlns:p14="http://schemas.microsoft.com/office/powerpoint/2010/main" val="35677206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2/9/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37</a:t>
            </a:fld>
            <a:endParaRPr lang="en-US" dirty="0">
              <a:solidFill>
                <a:prstClr val="black"/>
              </a:solidFill>
            </a:endParaRPr>
          </a:p>
        </p:txBody>
      </p:sp>
    </p:spTree>
    <p:extLst>
      <p:ext uri="{BB962C8B-B14F-4D97-AF65-F5344CB8AC3E}">
        <p14:creationId xmlns:p14="http://schemas.microsoft.com/office/powerpoint/2010/main" val="292628455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2/9/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38</a:t>
            </a:fld>
            <a:endParaRPr lang="en-US" dirty="0">
              <a:solidFill>
                <a:prstClr val="black"/>
              </a:solidFill>
            </a:endParaRPr>
          </a:p>
        </p:txBody>
      </p:sp>
    </p:spTree>
    <p:extLst>
      <p:ext uri="{BB962C8B-B14F-4D97-AF65-F5344CB8AC3E}">
        <p14:creationId xmlns:p14="http://schemas.microsoft.com/office/powerpoint/2010/main" val="204320440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smtClean="0"/>
              <a:t>EmpOnBoard</a:t>
            </a:r>
            <a:r>
              <a:rPr lang="en-US" dirty="0" smtClean="0"/>
              <a:t> by Chaks</a:t>
            </a:r>
            <a:endParaRPr lang="en-US" dirty="0"/>
          </a:p>
        </p:txBody>
      </p:sp>
      <p:sp>
        <p:nvSpPr>
          <p:cNvPr id="4" name="Date Placeholder 3"/>
          <p:cNvSpPr>
            <a:spLocks noGrp="1"/>
          </p:cNvSpPr>
          <p:nvPr>
            <p:ph type="dt" idx="10"/>
          </p:nvPr>
        </p:nvSpPr>
        <p:spPr/>
        <p:txBody>
          <a:bodyPr/>
          <a:lstStyle/>
          <a:p>
            <a:fld id="{1C279B59-6534-4679-950B-21AF9D8304FE}" type="datetime1">
              <a:rPr lang="en-US" smtClean="0"/>
              <a:t>2/9/2015</a:t>
            </a:fld>
            <a:endParaRPr lang="en-US"/>
          </a:p>
        </p:txBody>
      </p:sp>
      <p:sp>
        <p:nvSpPr>
          <p:cNvPr id="5" name="Slide Number Placeholder 4"/>
          <p:cNvSpPr>
            <a:spLocks noGrp="1"/>
          </p:cNvSpPr>
          <p:nvPr>
            <p:ph type="sldNum" sz="quarter" idx="11"/>
          </p:nvPr>
        </p:nvSpPr>
        <p:spPr/>
        <p:txBody>
          <a:bodyPr/>
          <a:lstStyle/>
          <a:p>
            <a:fld id="{B4008EB6-D09E-4580-8CD6-DDB14511944F}" type="slidenum">
              <a:rPr lang="en-US" smtClean="0"/>
              <a:t>39</a:t>
            </a:fld>
            <a:endParaRPr lang="en-US" dirty="0"/>
          </a:p>
        </p:txBody>
      </p:sp>
      <p:sp>
        <p:nvSpPr>
          <p:cNvPr id="6" name="Header Placeholder 5"/>
          <p:cNvSpPr>
            <a:spLocks noGrp="1"/>
          </p:cNvSpPr>
          <p:nvPr>
            <p:ph type="hdr" sz="quarter" idx="12"/>
          </p:nvPr>
        </p:nvSpPr>
        <p:spPr/>
        <p:txBody>
          <a:bodyPr/>
          <a:lstStyle/>
          <a:p>
            <a:r>
              <a:rPr lang="en-US" smtClean="0"/>
              <a:t>Microsoft Office</a:t>
            </a:r>
            <a:endParaRPr lang="en-US" dirty="0"/>
          </a:p>
        </p:txBody>
      </p:sp>
      <p:sp>
        <p:nvSpPr>
          <p:cNvPr id="7" name="Footer Placeholder 6"/>
          <p:cNvSpPr>
            <a:spLocks noGrp="1"/>
          </p:cNvSpPr>
          <p:nvPr>
            <p:ph type="ftr" sz="quarter" idx="13"/>
          </p:nvPr>
        </p:nvSpPr>
        <p:spPr/>
        <p:txBody>
          <a:bodyPr/>
          <a:lstStyle/>
          <a:p>
            <a:pPr marL="231775" defTabSz="914099" eaLnBrk="0" hangingPunct="0"/>
            <a:r>
              <a:rPr lang="en-US" sz="5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1775" defTabSz="914099" eaLnBrk="0" hangingPunct="0"/>
            <a:r>
              <a:rPr lang="en-US" sz="5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23127580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900" kern="1200" dirty="0" smtClean="0">
                <a:solidFill>
                  <a:schemeClr val="tx1"/>
                </a:solidFill>
                <a:effectLst/>
                <a:latin typeface="Segoe UI Light" pitchFamily="34" charset="0"/>
                <a:ea typeface="+mn-ea"/>
                <a:cs typeface="+mn-cs"/>
              </a:rPr>
              <a:t>Specific talking points on “show some leg:”</a:t>
            </a:r>
          </a:p>
          <a:p>
            <a:pPr lvl="1"/>
            <a:r>
              <a:rPr lang="en-US" sz="900" kern="1200" dirty="0" smtClean="0">
                <a:solidFill>
                  <a:schemeClr val="tx1"/>
                </a:solidFill>
                <a:effectLst/>
                <a:latin typeface="Segoe UI Light" pitchFamily="34" charset="0"/>
                <a:ea typeface="+mn-ea"/>
                <a:cs typeface="+mn-cs"/>
              </a:rPr>
              <a:t>Endpoints</a:t>
            </a:r>
          </a:p>
          <a:p>
            <a:pPr lvl="2"/>
            <a:r>
              <a:rPr lang="en-US" sz="900" kern="1200" dirty="0" smtClean="0">
                <a:solidFill>
                  <a:schemeClr val="tx1"/>
                </a:solidFill>
                <a:effectLst/>
                <a:latin typeface="Segoe UI Light" pitchFamily="34" charset="0"/>
                <a:ea typeface="+mn-ea"/>
                <a:cs typeface="+mn-cs"/>
              </a:rPr>
              <a:t>Building Apps for Office on the MAC</a:t>
            </a:r>
          </a:p>
          <a:p>
            <a:pPr lvl="2"/>
            <a:r>
              <a:rPr lang="en-US" sz="900" kern="1200" dirty="0" smtClean="0">
                <a:solidFill>
                  <a:schemeClr val="tx1"/>
                </a:solidFill>
                <a:effectLst/>
                <a:latin typeface="Segoe UI Light" pitchFamily="34" charset="0"/>
                <a:ea typeface="+mn-ea"/>
                <a:cs typeface="+mn-cs"/>
              </a:rPr>
              <a:t>Filling in Apps in Office Online, Word</a:t>
            </a:r>
          </a:p>
          <a:p>
            <a:pPr lvl="1"/>
            <a:r>
              <a:rPr lang="en-US" sz="900" kern="1200" dirty="0" smtClean="0">
                <a:solidFill>
                  <a:schemeClr val="tx1"/>
                </a:solidFill>
                <a:effectLst/>
                <a:latin typeface="Segoe UI Light" pitchFamily="34" charset="0"/>
                <a:ea typeface="+mn-ea"/>
                <a:cs typeface="+mn-cs"/>
              </a:rPr>
              <a:t>Connecting Entities</a:t>
            </a:r>
          </a:p>
          <a:p>
            <a:pPr lvl="2"/>
            <a:r>
              <a:rPr lang="en-US" sz="900" kern="1200" dirty="0" smtClean="0">
                <a:solidFill>
                  <a:schemeClr val="tx1"/>
                </a:solidFill>
                <a:effectLst/>
                <a:latin typeface="Segoe UI Light" pitchFamily="34" charset="0"/>
                <a:ea typeface="+mn-ea"/>
                <a:cs typeface="+mn-cs"/>
              </a:rPr>
              <a:t>Adding Entities for feeds and tasks.</a:t>
            </a:r>
          </a:p>
          <a:p>
            <a:pPr lvl="2"/>
            <a:r>
              <a:rPr lang="en-US" sz="900" kern="1200" dirty="0" smtClean="0">
                <a:solidFill>
                  <a:schemeClr val="tx1"/>
                </a:solidFill>
                <a:effectLst/>
                <a:latin typeface="Segoe UI Light" pitchFamily="34" charset="0"/>
                <a:ea typeface="+mn-ea"/>
                <a:cs typeface="+mn-cs"/>
              </a:rPr>
              <a:t>Embracing more of O365</a:t>
            </a:r>
          </a:p>
          <a:p>
            <a:pPr lvl="2"/>
            <a:r>
              <a:rPr lang="en-US" sz="900" kern="1200" dirty="0" smtClean="0">
                <a:solidFill>
                  <a:schemeClr val="tx1"/>
                </a:solidFill>
                <a:effectLst/>
                <a:latin typeface="Segoe UI Light" pitchFamily="34" charset="0"/>
                <a:ea typeface="+mn-ea"/>
                <a:cs typeface="+mn-cs"/>
              </a:rPr>
              <a:t>Working on tools to help developers navigate between entities, like you see in Pulse (We’re showing this, right?)</a:t>
            </a:r>
          </a:p>
          <a:p>
            <a:pPr lvl="1"/>
            <a:r>
              <a:rPr lang="en-US" sz="900" kern="1200" dirty="0" smtClean="0">
                <a:solidFill>
                  <a:schemeClr val="tx1"/>
                </a:solidFill>
                <a:effectLst/>
                <a:latin typeface="Segoe UI Light" pitchFamily="34" charset="0"/>
                <a:ea typeface="+mn-ea"/>
                <a:cs typeface="+mn-cs"/>
              </a:rPr>
              <a:t>Embracing Open</a:t>
            </a:r>
          </a:p>
          <a:p>
            <a:pPr lvl="2"/>
            <a:r>
              <a:rPr lang="en-US" sz="900" kern="1200" dirty="0" smtClean="0">
                <a:solidFill>
                  <a:schemeClr val="tx1"/>
                </a:solidFill>
                <a:effectLst/>
                <a:latin typeface="Segoe UI Light" pitchFamily="34" charset="0"/>
                <a:ea typeface="+mn-ea"/>
                <a:cs typeface="+mn-cs"/>
              </a:rPr>
              <a:t>Double-down on open standards, </a:t>
            </a:r>
            <a:r>
              <a:rPr lang="en-US" sz="900" kern="1200" dirty="0" err="1" smtClean="0">
                <a:solidFill>
                  <a:schemeClr val="tx1"/>
                </a:solidFill>
                <a:effectLst/>
                <a:latin typeface="Segoe UI Light" pitchFamily="34" charset="0"/>
                <a:ea typeface="+mn-ea"/>
                <a:cs typeface="+mn-cs"/>
              </a:rPr>
              <a:t>interop</a:t>
            </a:r>
            <a:r>
              <a:rPr lang="en-US" sz="900" kern="1200" dirty="0" smtClean="0">
                <a:solidFill>
                  <a:schemeClr val="tx1"/>
                </a:solidFill>
                <a:effectLst/>
                <a:latin typeface="Segoe UI Light" pitchFamily="34" charset="0"/>
                <a:ea typeface="+mn-ea"/>
                <a:cs typeface="+mn-cs"/>
              </a:rPr>
              <a:t>, protocols and programming frameworks</a:t>
            </a:r>
          </a:p>
          <a:p>
            <a:pPr lvl="2"/>
            <a:r>
              <a:rPr lang="en-US" sz="900" kern="1200" dirty="0" smtClean="0">
                <a:solidFill>
                  <a:schemeClr val="tx1"/>
                </a:solidFill>
                <a:effectLst/>
                <a:latin typeface="Segoe UI Light" pitchFamily="34" charset="0"/>
                <a:ea typeface="+mn-ea"/>
                <a:cs typeface="+mn-cs"/>
              </a:rPr>
              <a:t>Making more open source projects</a:t>
            </a:r>
          </a:p>
          <a:p>
            <a:pPr lvl="2"/>
            <a:r>
              <a:rPr lang="en-US" sz="900" kern="1200" dirty="0" smtClean="0">
                <a:solidFill>
                  <a:schemeClr val="tx1"/>
                </a:solidFill>
                <a:effectLst/>
                <a:latin typeface="Segoe UI Light" pitchFamily="34" charset="0"/>
                <a:ea typeface="+mn-ea"/>
                <a:cs typeface="+mn-cs"/>
              </a:rPr>
              <a:t>Contributing to more open source projects</a:t>
            </a:r>
          </a:p>
          <a:p>
            <a:pPr lvl="1"/>
            <a:r>
              <a:rPr lang="en-US" sz="900" kern="1200" dirty="0" smtClean="0">
                <a:solidFill>
                  <a:schemeClr val="tx1"/>
                </a:solidFill>
                <a:effectLst/>
                <a:latin typeface="Segoe UI Light" pitchFamily="34" charset="0"/>
                <a:ea typeface="+mn-ea"/>
                <a:cs typeface="+mn-cs"/>
              </a:rPr>
              <a:t>Integrating Platform</a:t>
            </a:r>
          </a:p>
          <a:p>
            <a:pPr lvl="2"/>
            <a:r>
              <a:rPr lang="en-US" sz="900" kern="1200" dirty="0" smtClean="0">
                <a:solidFill>
                  <a:schemeClr val="tx1"/>
                </a:solidFill>
                <a:effectLst/>
                <a:latin typeface="Segoe UI Light" pitchFamily="34" charset="0"/>
                <a:ea typeface="+mn-ea"/>
                <a:cs typeface="+mn-cs"/>
              </a:rPr>
              <a:t>Easier to manage apps across Azure and O365</a:t>
            </a:r>
          </a:p>
          <a:p>
            <a:pPr lvl="2"/>
            <a:r>
              <a:rPr lang="en-US" sz="900" kern="1200" dirty="0" smtClean="0">
                <a:solidFill>
                  <a:schemeClr val="tx1"/>
                </a:solidFill>
                <a:effectLst/>
                <a:latin typeface="Segoe UI Light" pitchFamily="34" charset="0"/>
                <a:ea typeface="+mn-ea"/>
                <a:cs typeface="+mn-cs"/>
              </a:rPr>
              <a:t>More support from VS for apps across not just SharePoint, but all of O365</a:t>
            </a:r>
          </a:p>
          <a:p>
            <a:pPr lvl="1"/>
            <a:r>
              <a:rPr lang="en-US" sz="900" kern="1200" dirty="0" smtClean="0">
                <a:solidFill>
                  <a:schemeClr val="tx1"/>
                </a:solidFill>
                <a:effectLst/>
                <a:latin typeface="Segoe UI Light" pitchFamily="34" charset="0"/>
                <a:ea typeface="+mn-ea"/>
                <a:cs typeface="+mn-cs"/>
              </a:rPr>
              <a:t>Empowering Users</a:t>
            </a:r>
          </a:p>
          <a:p>
            <a:pPr lvl="2"/>
            <a:r>
              <a:rPr lang="en-US" sz="900" kern="1200" dirty="0" smtClean="0">
                <a:solidFill>
                  <a:schemeClr val="tx1"/>
                </a:solidFill>
                <a:effectLst/>
                <a:latin typeface="Segoe UI Light" pitchFamily="34" charset="0"/>
                <a:ea typeface="+mn-ea"/>
                <a:cs typeface="+mn-cs"/>
              </a:rPr>
              <a:t>Make it easier for users to build solutions without code</a:t>
            </a:r>
          </a:p>
          <a:p>
            <a:pPr lvl="2"/>
            <a:r>
              <a:rPr lang="en-US" sz="900" kern="1200" dirty="0" smtClean="0">
                <a:solidFill>
                  <a:schemeClr val="tx1"/>
                </a:solidFill>
                <a:effectLst/>
                <a:latin typeface="Segoe UI Light" pitchFamily="34" charset="0"/>
                <a:ea typeface="+mn-ea"/>
                <a:cs typeface="+mn-cs"/>
              </a:rPr>
              <a:t>Connect those solutions to enhancement from pro-</a:t>
            </a:r>
            <a:r>
              <a:rPr lang="en-US" sz="900" kern="1200" dirty="0" err="1" smtClean="0">
                <a:solidFill>
                  <a:schemeClr val="tx1"/>
                </a:solidFill>
                <a:effectLst/>
                <a:latin typeface="Segoe UI Light" pitchFamily="34" charset="0"/>
                <a:ea typeface="+mn-ea"/>
                <a:cs typeface="+mn-cs"/>
              </a:rPr>
              <a:t>devs</a:t>
            </a:r>
            <a:endParaRPr lang="en-US" sz="900" kern="1200" dirty="0" smtClean="0">
              <a:solidFill>
                <a:schemeClr val="tx1"/>
              </a:solidFill>
              <a:effectLst/>
              <a:latin typeface="Segoe UI Light" pitchFamily="34" charset="0"/>
              <a:ea typeface="+mn-ea"/>
              <a:cs typeface="+mn-cs"/>
            </a:endParaRPr>
          </a:p>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2/9/2015</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40</a:t>
            </a:fld>
            <a:endParaRPr lang="en-US" dirty="0"/>
          </a:p>
        </p:txBody>
      </p:sp>
    </p:spTree>
    <p:extLst>
      <p:ext uri="{BB962C8B-B14F-4D97-AF65-F5344CB8AC3E}">
        <p14:creationId xmlns:p14="http://schemas.microsoft.com/office/powerpoint/2010/main" val="177350705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C4288E4C-8759-4E7B-86B2-188CDEA78791}" type="datetime1">
              <a:rPr lang="en-US" smtClean="0">
                <a:solidFill>
                  <a:prstClr val="black"/>
                </a:solidFill>
              </a:rPr>
              <a:pPr/>
              <a:t>2/9/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2</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4324369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pPr marL="171450" indent="-171450" rtl="0" fontAlgn="base">
              <a:buFont typeface="Arial" panose="020B0604020202020204" pitchFamily="34" charset="0"/>
              <a:buChar char="•"/>
            </a:pPr>
            <a:r>
              <a:rPr lang="en-US" sz="1200" b="1" i="0" u="none" strike="noStrike" kern="1200" dirty="0" smtClean="0">
                <a:solidFill>
                  <a:schemeClr val="tx1"/>
                </a:solidFill>
                <a:effectLst/>
                <a:latin typeface="Segoe UI Light" pitchFamily="34" charset="0"/>
                <a:ea typeface="+mn-ea"/>
                <a:cs typeface="+mn-cs"/>
              </a:rPr>
              <a:t>1 billion people use Office </a:t>
            </a:r>
            <a:r>
              <a:rPr lang="en-US" sz="1200" b="0" i="0" u="none" strike="noStrike" kern="1200" dirty="0" smtClean="0">
                <a:solidFill>
                  <a:schemeClr val="tx1"/>
                </a:solidFill>
                <a:effectLst/>
                <a:latin typeface="Segoe UI Light" pitchFamily="34" charset="0"/>
                <a:ea typeface="+mn-ea"/>
                <a:cs typeface="+mn-cs"/>
              </a:rPr>
              <a:t>– 1 in 7 people on the planet. </a:t>
            </a:r>
            <a:r>
              <a:rPr lang="en-US" sz="1200" b="0" i="0" kern="1200" dirty="0" smtClean="0">
                <a:solidFill>
                  <a:schemeClr val="tx1"/>
                </a:solidFill>
                <a:effectLst/>
                <a:latin typeface="Segoe UI Light" pitchFamily="34" charset="0"/>
                <a:ea typeface="+mn-ea"/>
                <a:cs typeface="+mn-cs"/>
              </a:rPr>
              <a:t> </a:t>
            </a:r>
          </a:p>
          <a:p>
            <a:pPr marL="171450" indent="-171450" rtl="0" fontAlgn="base">
              <a:buFont typeface="Arial" panose="020B0604020202020204" pitchFamily="34" charset="0"/>
              <a:buChar char="•"/>
            </a:pPr>
            <a:r>
              <a:rPr lang="en-US" sz="1200" b="0" i="0" u="none" strike="noStrike" kern="1200" dirty="0" smtClean="0">
                <a:solidFill>
                  <a:schemeClr val="tx1"/>
                </a:solidFill>
                <a:effectLst/>
                <a:latin typeface="Segoe UI Light" pitchFamily="34" charset="0"/>
                <a:ea typeface="+mn-ea"/>
                <a:cs typeface="+mn-cs"/>
              </a:rPr>
              <a:t>Office 365 is Microsoft’s fastest growing commercial product ever </a:t>
            </a:r>
            <a:r>
              <a:rPr lang="en-US" sz="1200" b="0" i="0" kern="1200" dirty="0" smtClean="0">
                <a:solidFill>
                  <a:schemeClr val="tx1"/>
                </a:solidFill>
                <a:effectLst/>
                <a:latin typeface="Segoe UI Light" pitchFamily="34" charset="0"/>
                <a:ea typeface="+mn-ea"/>
                <a:cs typeface="+mn-cs"/>
              </a:rPr>
              <a:t> </a:t>
            </a:r>
          </a:p>
          <a:p>
            <a:pPr marL="171450" indent="-171450" rtl="0" fontAlgn="base">
              <a:buFont typeface="Arial" panose="020B0604020202020204" pitchFamily="34" charset="0"/>
              <a:buChar char="•"/>
            </a:pPr>
            <a:r>
              <a:rPr lang="en-US" sz="1200" b="0" i="0" u="none" strike="noStrike" kern="1200" dirty="0" smtClean="0">
                <a:solidFill>
                  <a:schemeClr val="tx1"/>
                </a:solidFill>
                <a:effectLst/>
                <a:latin typeface="Segoe UI Light" pitchFamily="34" charset="0"/>
                <a:ea typeface="+mn-ea"/>
                <a:cs typeface="+mn-cs"/>
              </a:rPr>
              <a:t>Office 365 </a:t>
            </a:r>
            <a:r>
              <a:rPr lang="en-US" sz="1200" b="1" i="0" u="none" strike="noStrike" kern="1200" dirty="0" smtClean="0">
                <a:solidFill>
                  <a:schemeClr val="tx1"/>
                </a:solidFill>
                <a:effectLst/>
                <a:latin typeface="Segoe UI Light" pitchFamily="34" charset="0"/>
                <a:ea typeface="+mn-ea"/>
                <a:cs typeface="+mn-cs"/>
              </a:rPr>
              <a:t>Home and Personal total more than 5.6 million subscribers</a:t>
            </a:r>
            <a:r>
              <a:rPr lang="en-US" sz="1200" b="0" i="0" u="none" strike="noStrike" kern="1200" dirty="0" smtClean="0">
                <a:solidFill>
                  <a:schemeClr val="tx1"/>
                </a:solidFill>
                <a:effectLst/>
                <a:latin typeface="Segoe UI Light" pitchFamily="34" charset="0"/>
                <a:ea typeface="+mn-ea"/>
                <a:cs typeface="+mn-cs"/>
              </a:rPr>
              <a:t>, adding over 1 million subscribers again this quarter (Q4 FY14).</a:t>
            </a:r>
            <a:r>
              <a:rPr lang="en-US" sz="1200" b="0" i="0" kern="1200" dirty="0" smtClean="0">
                <a:solidFill>
                  <a:schemeClr val="tx1"/>
                </a:solidFill>
                <a:effectLst/>
                <a:latin typeface="Segoe UI Light" pitchFamily="34" charset="0"/>
                <a:ea typeface="+mn-ea"/>
                <a:cs typeface="+mn-cs"/>
              </a:rPr>
              <a:t> </a:t>
            </a:r>
          </a:p>
          <a:p>
            <a:pPr marL="171450" indent="-171450" rtl="0" fontAlgn="base">
              <a:buFont typeface="Arial" panose="020B0604020202020204" pitchFamily="34" charset="0"/>
              <a:buChar char="•"/>
            </a:pPr>
            <a:r>
              <a:rPr lang="en-US" sz="1200" b="1" i="0" u="none" strike="noStrike" kern="1200" dirty="0" smtClean="0">
                <a:solidFill>
                  <a:schemeClr val="tx1"/>
                </a:solidFill>
                <a:effectLst/>
                <a:latin typeface="Segoe UI Light" pitchFamily="34" charset="0"/>
                <a:ea typeface="+mn-ea"/>
                <a:cs typeface="+mn-cs"/>
              </a:rPr>
              <a:t>Commercial cloud revenue grew 147%</a:t>
            </a:r>
          </a:p>
          <a:p>
            <a:pPr marL="171450" indent="-171450" rtl="0" fontAlgn="base">
              <a:buFont typeface="Arial" panose="020B0604020202020204" pitchFamily="34" charset="0"/>
              <a:buChar char="•"/>
            </a:pPr>
            <a:r>
              <a:rPr lang="en-US" sz="1200" b="1" i="0" u="none" strike="noStrike" kern="1200" dirty="0" smtClean="0">
                <a:solidFill>
                  <a:schemeClr val="tx1"/>
                </a:solidFill>
                <a:effectLst/>
                <a:latin typeface="Segoe UI Light" pitchFamily="34" charset="0"/>
                <a:ea typeface="+mn-ea"/>
                <a:cs typeface="+mn-cs"/>
              </a:rPr>
              <a:t>Annualized run rate that exceeds $4.4 billion (in Q4 FY14).</a:t>
            </a:r>
            <a:r>
              <a:rPr lang="en-US" sz="1200" b="1" i="0" kern="1200" dirty="0" smtClean="0">
                <a:solidFill>
                  <a:schemeClr val="tx1"/>
                </a:solidFill>
                <a:effectLst/>
                <a:latin typeface="Segoe UI Light" pitchFamily="34" charset="0"/>
                <a:ea typeface="+mn-ea"/>
                <a:cs typeface="+mn-cs"/>
              </a:rPr>
              <a:t> </a:t>
            </a:r>
          </a:p>
          <a:p>
            <a:pPr marL="171450" indent="-171450" rtl="0" fontAlgn="base">
              <a:buFont typeface="Arial" panose="020B0604020202020204" pitchFamily="34" charset="0"/>
              <a:buChar char="•"/>
            </a:pPr>
            <a:r>
              <a:rPr lang="en-US" sz="1200" b="1" i="0" u="none" strike="noStrike" kern="1200" dirty="0" smtClean="0">
                <a:solidFill>
                  <a:schemeClr val="tx1"/>
                </a:solidFill>
                <a:effectLst/>
                <a:latin typeface="Segoe UI Light" pitchFamily="34" charset="0"/>
                <a:ea typeface="+mn-ea"/>
                <a:cs typeface="+mn-cs"/>
              </a:rPr>
              <a:t>20 consecutive quarters of triple-digit </a:t>
            </a:r>
            <a:r>
              <a:rPr lang="en-US" sz="1200" b="0" i="0" u="none" strike="noStrike" kern="1200" dirty="0" smtClean="0">
                <a:solidFill>
                  <a:schemeClr val="tx1"/>
                </a:solidFill>
                <a:effectLst/>
                <a:latin typeface="Segoe UI Light" pitchFamily="34" charset="0"/>
                <a:ea typeface="+mn-ea"/>
                <a:cs typeface="+mn-cs"/>
              </a:rPr>
              <a:t>customer growth Y/Y, since launch in FY09 (Q4 FY14)</a:t>
            </a:r>
            <a:r>
              <a:rPr lang="en-US" sz="1200" b="0" i="0" kern="1200" dirty="0" smtClean="0">
                <a:solidFill>
                  <a:schemeClr val="tx1"/>
                </a:solidFill>
                <a:effectLst/>
                <a:latin typeface="Segoe UI Light" pitchFamily="34" charset="0"/>
                <a:ea typeface="+mn-ea"/>
                <a:cs typeface="+mn-cs"/>
              </a:rPr>
              <a:t> </a:t>
            </a:r>
          </a:p>
          <a:p>
            <a:pPr marL="171450" marR="0" indent="-171450" algn="l" defTabSz="932742" rtl="0" eaLnBrk="1" fontAlgn="base" latinLnBrk="0" hangingPunct="1">
              <a:lnSpc>
                <a:spcPct val="90000"/>
              </a:lnSpc>
              <a:spcBef>
                <a:spcPts val="0"/>
              </a:spcBef>
              <a:spcAft>
                <a:spcPts val="340"/>
              </a:spcAft>
              <a:buClrTx/>
              <a:buSzTx/>
              <a:buFont typeface="Arial" panose="020B0604020202020204" pitchFamily="34" charset="0"/>
              <a:buChar char="•"/>
              <a:tabLst/>
              <a:defRPr/>
            </a:pPr>
            <a:r>
              <a:rPr lang="en-US" sz="1200" b="1" i="0" u="none" strike="noStrike" kern="1200" dirty="0" smtClean="0">
                <a:solidFill>
                  <a:schemeClr val="tx1"/>
                </a:solidFill>
                <a:effectLst/>
                <a:latin typeface="Segoe UI Light" pitchFamily="34" charset="0"/>
                <a:ea typeface="+mn-ea"/>
                <a:cs typeface="+mn-cs"/>
              </a:rPr>
              <a:t>35 million downloads </a:t>
            </a:r>
            <a:r>
              <a:rPr lang="en-US" sz="1200" b="0" i="0" u="none" strike="noStrike" kern="1200" dirty="0" smtClean="0">
                <a:solidFill>
                  <a:schemeClr val="tx1"/>
                </a:solidFill>
                <a:effectLst/>
                <a:latin typeface="Segoe UI Light" pitchFamily="34" charset="0"/>
                <a:ea typeface="+mn-ea"/>
                <a:cs typeface="+mn-cs"/>
              </a:rPr>
              <a:t>of Office</a:t>
            </a:r>
            <a:r>
              <a:rPr lang="en-US" sz="1200" b="0" i="0" u="none" strike="noStrike" kern="1200" baseline="0" dirty="0" smtClean="0">
                <a:solidFill>
                  <a:schemeClr val="tx1"/>
                </a:solidFill>
                <a:effectLst/>
                <a:latin typeface="Segoe UI Light" pitchFamily="34" charset="0"/>
                <a:ea typeface="+mn-ea"/>
                <a:cs typeface="+mn-cs"/>
              </a:rPr>
              <a:t> for </a:t>
            </a:r>
            <a:r>
              <a:rPr lang="en-US" sz="1200" b="0" i="0" u="none" strike="noStrike" kern="1200" dirty="0" smtClean="0">
                <a:solidFill>
                  <a:schemeClr val="tx1"/>
                </a:solidFill>
                <a:effectLst/>
                <a:latin typeface="Segoe UI Light" pitchFamily="34" charset="0"/>
                <a:ea typeface="+mn-ea"/>
                <a:cs typeface="+mn-cs"/>
              </a:rPr>
              <a:t>iPad (Q4 FY14).</a:t>
            </a:r>
            <a:r>
              <a:rPr lang="en-US" sz="1200" b="0" i="0" kern="1200" dirty="0" smtClean="0">
                <a:solidFill>
                  <a:schemeClr val="tx1"/>
                </a:solidFill>
                <a:effectLst/>
                <a:latin typeface="Segoe UI Light" pitchFamily="34" charset="0"/>
                <a:ea typeface="+mn-ea"/>
                <a:cs typeface="+mn-cs"/>
              </a:rPr>
              <a:t> </a:t>
            </a:r>
          </a:p>
          <a:p>
            <a:pPr marL="171450" indent="-171450" rtl="0" fontAlgn="base">
              <a:buFont typeface="Arial" panose="020B0604020202020204" pitchFamily="34" charset="0"/>
              <a:buChar char="•"/>
            </a:pPr>
            <a:r>
              <a:rPr lang="en-US" sz="1200" b="0" i="0" u="none" strike="noStrike" kern="1200" dirty="0" smtClean="0">
                <a:solidFill>
                  <a:schemeClr val="tx1"/>
                </a:solidFill>
                <a:effectLst/>
                <a:latin typeface="Segoe UI Light" pitchFamily="34" charset="0"/>
                <a:ea typeface="+mn-ea"/>
                <a:cs typeface="+mn-cs"/>
              </a:rPr>
              <a:t>Over 50% of Office 365 revenue comes from international markets </a:t>
            </a:r>
            <a:r>
              <a:rPr lang="en-US" sz="1200" b="0" i="0" kern="1200" dirty="0" smtClean="0">
                <a:solidFill>
                  <a:schemeClr val="tx1"/>
                </a:solidFill>
                <a:effectLst/>
                <a:latin typeface="Segoe UI Light" pitchFamily="34" charset="0"/>
                <a:ea typeface="+mn-ea"/>
                <a:cs typeface="+mn-cs"/>
              </a:rPr>
              <a:t> </a:t>
            </a:r>
          </a:p>
          <a:p>
            <a:pPr marL="171450" indent="-171450" rtl="0" fontAlgn="base">
              <a:buFont typeface="Arial" panose="020B0604020202020204" pitchFamily="34" charset="0"/>
              <a:buChar char="•"/>
            </a:pPr>
            <a:r>
              <a:rPr lang="en-US" sz="1200" b="0" i="0" u="none" strike="noStrike" kern="1200" dirty="0" smtClean="0">
                <a:solidFill>
                  <a:schemeClr val="tx1"/>
                </a:solidFill>
                <a:effectLst/>
                <a:latin typeface="Segoe UI Light" pitchFamily="34" charset="0"/>
                <a:ea typeface="+mn-ea"/>
                <a:cs typeface="+mn-cs"/>
              </a:rPr>
              <a:t>Office 365 commercial seat growth in emerging markets of 162% Y/Y (Q4, FY14)</a:t>
            </a:r>
            <a:r>
              <a:rPr lang="en-US" sz="1200" b="0" i="0" kern="1200" dirty="0" smtClean="0">
                <a:solidFill>
                  <a:schemeClr val="tx1"/>
                </a:solidFill>
                <a:effectLst/>
                <a:latin typeface="Segoe UI Light" pitchFamily="34" charset="0"/>
                <a:ea typeface="+mn-ea"/>
                <a:cs typeface="+mn-cs"/>
              </a:rPr>
              <a:t> </a:t>
            </a:r>
          </a:p>
          <a:p>
            <a:pPr marL="171450" indent="-171450" rtl="0" fontAlgn="base">
              <a:buFont typeface="Arial" panose="020B0604020202020204" pitchFamily="34" charset="0"/>
              <a:buChar char="•"/>
            </a:pPr>
            <a:r>
              <a:rPr lang="en-US" sz="1200" b="0" i="0" u="none" strike="noStrike" kern="1200" dirty="0" smtClean="0">
                <a:solidFill>
                  <a:schemeClr val="tx1"/>
                </a:solidFill>
                <a:effectLst/>
                <a:latin typeface="Segoe UI Light" pitchFamily="34" charset="0"/>
                <a:ea typeface="+mn-ea"/>
                <a:cs typeface="+mn-cs"/>
              </a:rPr>
              <a:t>Office 365 commercial seats nearly doubled, 99% Y/Y (Q4, FY14)</a:t>
            </a:r>
            <a:r>
              <a:rPr lang="en-US" sz="1200" b="0" i="0" kern="1200" dirty="0" smtClean="0">
                <a:solidFill>
                  <a:schemeClr val="tx1"/>
                </a:solidFill>
                <a:effectLst/>
                <a:latin typeface="Segoe UI Light" pitchFamily="34" charset="0"/>
                <a:ea typeface="+mn-ea"/>
                <a:cs typeface="+mn-cs"/>
              </a:rPr>
              <a:t> </a:t>
            </a:r>
          </a:p>
          <a:p>
            <a:pPr marL="171450" indent="-171450" rtl="0" fontAlgn="base">
              <a:buFont typeface="Arial" panose="020B0604020202020204" pitchFamily="34" charset="0"/>
              <a:buChar char="•"/>
            </a:pPr>
            <a:r>
              <a:rPr lang="en-US" sz="1200" b="0" i="0" u="none" strike="noStrike" kern="1200" dirty="0" smtClean="0">
                <a:solidFill>
                  <a:schemeClr val="tx1"/>
                </a:solidFill>
                <a:effectLst/>
                <a:latin typeface="Segoe UI Light" pitchFamily="34" charset="0"/>
                <a:ea typeface="+mn-ea"/>
                <a:cs typeface="+mn-cs"/>
              </a:rPr>
              <a:t>Nearly 50% of Exchange licenses purchased in Q4 were cloud licenses, and 30% of the Exchange annuity installed base is now in the cloud. (For Q4, FY14)</a:t>
            </a:r>
            <a:r>
              <a:rPr lang="en-US" sz="1200" b="0" i="0" kern="1200" dirty="0" smtClean="0">
                <a:solidFill>
                  <a:schemeClr val="tx1"/>
                </a:solidFill>
                <a:effectLst/>
                <a:latin typeface="Segoe UI Light" pitchFamily="34" charset="0"/>
                <a:ea typeface="+mn-ea"/>
                <a:cs typeface="+mn-cs"/>
              </a:rPr>
              <a:t> </a:t>
            </a:r>
          </a:p>
          <a:p>
            <a:pPr marL="171450" indent="-171450" rtl="0" fontAlgn="base">
              <a:buFont typeface="Arial" panose="020B0604020202020204" pitchFamily="34" charset="0"/>
              <a:buChar char="•"/>
            </a:pPr>
            <a:r>
              <a:rPr lang="en-US" sz="1200" b="0" i="0" u="none" strike="noStrike" kern="1200" dirty="0" smtClean="0">
                <a:solidFill>
                  <a:schemeClr val="tx1"/>
                </a:solidFill>
                <a:effectLst/>
                <a:latin typeface="Segoe UI Light" pitchFamily="34" charset="0"/>
                <a:ea typeface="+mn-ea"/>
                <a:cs typeface="+mn-cs"/>
              </a:rPr>
              <a:t>24% of the Exchange installed base is now on Office 365, up 11pts Y/Y (Q4, FY14) </a:t>
            </a:r>
            <a:r>
              <a:rPr lang="en-US" sz="1200" b="0" i="0" kern="1200" dirty="0" smtClean="0">
                <a:solidFill>
                  <a:schemeClr val="tx1"/>
                </a:solidFill>
                <a:effectLst/>
                <a:latin typeface="Segoe UI Light" pitchFamily="34" charset="0"/>
                <a:ea typeface="+mn-ea"/>
                <a:cs typeface="+mn-cs"/>
              </a:rPr>
              <a:t> </a:t>
            </a:r>
          </a:p>
          <a:p>
            <a:pPr marL="171450" indent="-171450" rtl="0" fontAlgn="base">
              <a:buFont typeface="Arial" panose="020B0604020202020204" pitchFamily="34" charset="0"/>
              <a:buChar char="•"/>
            </a:pPr>
            <a:r>
              <a:rPr lang="en-US" sz="1200" b="0" i="0" u="none" strike="noStrike" kern="1200" dirty="0" smtClean="0">
                <a:solidFill>
                  <a:schemeClr val="tx1"/>
                </a:solidFill>
                <a:effectLst/>
                <a:latin typeface="Segoe UI Light" pitchFamily="34" charset="0"/>
                <a:ea typeface="+mn-ea"/>
                <a:cs typeface="+mn-cs"/>
              </a:rPr>
              <a:t>Yammer is used by more than 500,000 organizations (Q4, FY14 - WPC)</a:t>
            </a:r>
            <a:r>
              <a:rPr lang="en-US" sz="1200" b="0" i="0" kern="1200" dirty="0" smtClean="0">
                <a:solidFill>
                  <a:schemeClr val="tx1"/>
                </a:solidFill>
                <a:effectLst/>
                <a:latin typeface="Segoe UI Light" pitchFamily="34" charset="0"/>
                <a:ea typeface="+mn-ea"/>
                <a:cs typeface="+mn-cs"/>
              </a:rPr>
              <a:t> </a:t>
            </a:r>
          </a:p>
          <a:p>
            <a:pPr marL="171450" indent="-171450" rtl="0" fontAlgn="base">
              <a:buFont typeface="Arial" panose="020B0604020202020204" pitchFamily="34" charset="0"/>
              <a:buChar char="•"/>
            </a:pPr>
            <a:r>
              <a:rPr lang="en-US" sz="1200" b="0" i="0" u="none" strike="noStrike" kern="1200" dirty="0" smtClean="0">
                <a:solidFill>
                  <a:schemeClr val="tx1"/>
                </a:solidFill>
                <a:effectLst/>
                <a:latin typeface="Segoe UI Light" pitchFamily="34" charset="0"/>
                <a:ea typeface="+mn-ea"/>
                <a:cs typeface="+mn-cs"/>
              </a:rPr>
              <a:t>Over 40% of Office EA renewal licenses were in the cloud, up from 10% last year </a:t>
            </a:r>
            <a:r>
              <a:rPr lang="en-US" sz="1200" b="0" i="0" kern="1200" dirty="0" smtClean="0">
                <a:solidFill>
                  <a:schemeClr val="tx1"/>
                </a:solidFill>
                <a:effectLst/>
                <a:latin typeface="Segoe UI Light" pitchFamily="34" charset="0"/>
                <a:ea typeface="+mn-ea"/>
                <a:cs typeface="+mn-cs"/>
              </a:rPr>
              <a:t> </a:t>
            </a:r>
          </a:p>
          <a:p>
            <a:pPr marL="171450" indent="-171450" rtl="0" fontAlgn="base">
              <a:buFont typeface="Arial" panose="020B0604020202020204" pitchFamily="34" charset="0"/>
              <a:buChar char="•"/>
            </a:pPr>
            <a:r>
              <a:rPr lang="en-US" sz="1200" b="0" i="0" u="none" strike="noStrike" kern="1200" dirty="0" smtClean="0">
                <a:solidFill>
                  <a:schemeClr val="tx1"/>
                </a:solidFill>
                <a:effectLst/>
                <a:latin typeface="Segoe UI Light" pitchFamily="34" charset="0"/>
                <a:ea typeface="+mn-ea"/>
                <a:cs typeface="+mn-cs"/>
              </a:rPr>
              <a:t>Over 80% of enterprise customers have more than 1 workload</a:t>
            </a:r>
            <a:r>
              <a:rPr lang="en-US" sz="1200" b="0" i="0" kern="1200" dirty="0" smtClean="0">
                <a:solidFill>
                  <a:schemeClr val="tx1"/>
                </a:solidFill>
                <a:effectLst/>
                <a:latin typeface="Segoe UI Light" pitchFamily="34" charset="0"/>
                <a:ea typeface="+mn-ea"/>
                <a:cs typeface="+mn-cs"/>
              </a:rPr>
              <a:t> </a:t>
            </a:r>
          </a:p>
          <a:p>
            <a:pPr marL="171450" indent="-171450" rtl="0" fontAlgn="base">
              <a:buFont typeface="Arial" panose="020B0604020202020204" pitchFamily="34" charset="0"/>
              <a:buChar char="•"/>
            </a:pPr>
            <a:r>
              <a:rPr lang="en-US" sz="1200" b="0" i="0" u="none" strike="noStrike" kern="1200" dirty="0" smtClean="0">
                <a:solidFill>
                  <a:schemeClr val="tx1"/>
                </a:solidFill>
                <a:effectLst/>
                <a:latin typeface="Segoe UI Light" pitchFamily="34" charset="0"/>
                <a:ea typeface="+mn-ea"/>
                <a:cs typeface="+mn-cs"/>
              </a:rPr>
              <a:t>70% of Fortune 500 companies have purchased Office 365 in the last 12 months</a:t>
            </a:r>
            <a:r>
              <a:rPr lang="en-US" sz="1200" b="0" i="0" kern="1200" dirty="0" smtClean="0">
                <a:solidFill>
                  <a:schemeClr val="tx1"/>
                </a:solidFill>
                <a:effectLst/>
                <a:latin typeface="Segoe UI Light" pitchFamily="34" charset="0"/>
                <a:ea typeface="+mn-ea"/>
                <a:cs typeface="+mn-cs"/>
              </a:rPr>
              <a:t> </a:t>
            </a:r>
          </a:p>
          <a:p>
            <a:pPr marL="171450" indent="-171450" rtl="0" fontAlgn="base">
              <a:buFont typeface="Arial" panose="020B0604020202020204" pitchFamily="34" charset="0"/>
              <a:buChar char="•"/>
            </a:pPr>
            <a:r>
              <a:rPr lang="en-US" sz="1200" b="0" i="0" u="none" strike="noStrike" kern="1200" dirty="0" smtClean="0">
                <a:solidFill>
                  <a:schemeClr val="tx1"/>
                </a:solidFill>
                <a:effectLst/>
                <a:latin typeface="Segoe UI Light" pitchFamily="34" charset="0"/>
                <a:ea typeface="+mn-ea"/>
                <a:cs typeface="+mn-cs"/>
              </a:rPr>
              <a:t>7 out of 10 Fortune 500 Manufacturing companies have a Microsoft cloud enterprise service.</a:t>
            </a:r>
            <a:r>
              <a:rPr lang="en-US" sz="1200" b="0" i="0" kern="1200" dirty="0" smtClean="0">
                <a:solidFill>
                  <a:schemeClr val="tx1"/>
                </a:solidFill>
                <a:effectLst/>
                <a:latin typeface="Segoe UI Light" pitchFamily="34" charset="0"/>
                <a:ea typeface="+mn-ea"/>
                <a:cs typeface="+mn-cs"/>
              </a:rPr>
              <a:t> </a:t>
            </a:r>
          </a:p>
          <a:p>
            <a:pPr marL="171450" indent="-171450" rtl="0" fontAlgn="base">
              <a:buFont typeface="Arial" panose="020B0604020202020204" pitchFamily="34" charset="0"/>
              <a:buChar char="•"/>
            </a:pPr>
            <a:r>
              <a:rPr lang="en-US" sz="1200" b="0" i="0" u="none" strike="noStrike" kern="1200" dirty="0" smtClean="0">
                <a:solidFill>
                  <a:schemeClr val="tx1"/>
                </a:solidFill>
                <a:effectLst/>
                <a:latin typeface="Segoe UI Light" pitchFamily="34" charset="0"/>
                <a:ea typeface="+mn-ea"/>
                <a:cs typeface="+mn-cs"/>
              </a:rPr>
              <a:t>6 out of 10 Fortune 500 Financial Services companies have a Microsoft cloud enterprise service.</a:t>
            </a:r>
            <a:r>
              <a:rPr lang="en-US" sz="1200" b="0" i="0" kern="1200" dirty="0" smtClean="0">
                <a:solidFill>
                  <a:schemeClr val="tx1"/>
                </a:solidFill>
                <a:effectLst/>
                <a:latin typeface="Segoe UI Light" pitchFamily="34" charset="0"/>
                <a:ea typeface="+mn-ea"/>
                <a:cs typeface="+mn-cs"/>
              </a:rPr>
              <a:t> </a:t>
            </a:r>
          </a:p>
          <a:p>
            <a:pPr marL="171450" indent="-171450" rtl="0" fontAlgn="base">
              <a:buFont typeface="Arial" panose="020B0604020202020204" pitchFamily="34" charset="0"/>
              <a:buChar char="•"/>
            </a:pPr>
            <a:r>
              <a:rPr lang="en-US" sz="1200" b="0" i="0" u="none" strike="noStrike" kern="1200" dirty="0" smtClean="0">
                <a:solidFill>
                  <a:schemeClr val="tx1"/>
                </a:solidFill>
                <a:effectLst/>
                <a:latin typeface="Segoe UI Light" pitchFamily="34" charset="0"/>
                <a:ea typeface="+mn-ea"/>
                <a:cs typeface="+mn-cs"/>
              </a:rPr>
              <a:t>SMB partners transacting over the trailing 12 months grew over 2x Y/Y (Q4, FY14)</a:t>
            </a:r>
            <a:r>
              <a:rPr lang="en-US" sz="1200" b="0" i="0" kern="1200" dirty="0" smtClean="0">
                <a:solidFill>
                  <a:schemeClr val="tx1"/>
                </a:solidFill>
                <a:effectLst/>
                <a:latin typeface="Segoe UI Light" pitchFamily="34" charset="0"/>
                <a:ea typeface="+mn-ea"/>
                <a:cs typeface="+mn-cs"/>
              </a:rPr>
              <a:t> </a:t>
            </a:r>
          </a:p>
          <a:p>
            <a:pPr marL="347665" defTabSz="681379">
              <a:spcBef>
                <a:spcPts val="450"/>
              </a:spcBef>
              <a:spcAft>
                <a:spcPts val="1200"/>
              </a:spcAft>
            </a:pPr>
            <a:endParaRPr lang="en-US" sz="1200" dirty="0" smtClean="0">
              <a:solidFill>
                <a:srgbClr val="505050"/>
              </a:solidFill>
            </a:endParaRPr>
          </a:p>
          <a:p>
            <a:endParaRPr lang="en-US" dirty="0"/>
          </a:p>
        </p:txBody>
      </p:sp>
      <p:sp>
        <p:nvSpPr>
          <p:cNvPr id="5" name="Slide Number Placeholder 4"/>
          <p:cNvSpPr>
            <a:spLocks noGrp="1"/>
          </p:cNvSpPr>
          <p:nvPr>
            <p:ph type="sldNum" sz="quarter" idx="10"/>
          </p:nvPr>
        </p:nvSpPr>
        <p:spPr/>
        <p:txBody>
          <a:bodyPr/>
          <a:lstStyle/>
          <a:p>
            <a:fld id="{8B263312-38AA-4E1E-B2B5-0F8F122B24FE}"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68952581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C4288E4C-8759-4E7B-86B2-188CDEA78791}" type="datetime1">
              <a:rPr lang="en-US" smtClean="0">
                <a:solidFill>
                  <a:prstClr val="black"/>
                </a:solidFill>
              </a:rPr>
              <a:pPr/>
              <a:t>2/9/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3</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49551798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C4288E4C-8759-4E7B-86B2-188CDEA78791}" type="datetime1">
              <a:rPr lang="en-US" smtClean="0">
                <a:solidFill>
                  <a:prstClr val="black"/>
                </a:solidFill>
              </a:rPr>
              <a:pPr/>
              <a:t>2/9/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4</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07019275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C4288E4C-8759-4E7B-86B2-188CDEA78791}" type="datetime1">
              <a:rPr lang="en-US" smtClean="0">
                <a:solidFill>
                  <a:prstClr val="black"/>
                </a:solidFill>
              </a:rPr>
              <a:pPr/>
              <a:t>2/9/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6</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45012581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C4288E4C-8759-4E7B-86B2-188CDEA78791}" type="datetime1">
              <a:rPr lang="en-US" smtClean="0">
                <a:solidFill>
                  <a:prstClr val="black"/>
                </a:solidFill>
              </a:rPr>
              <a:pPr/>
              <a:t>2/9/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9</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5393896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y?</a:t>
            </a:r>
          </a:p>
          <a:p>
            <a:endParaRPr lang="en-US" dirty="0" smtClean="0"/>
          </a:p>
          <a:p>
            <a:r>
              <a:rPr lang="en-US" baseline="0" dirty="0" smtClean="0"/>
              <a:t>The key to enterprise productivity going forward</a:t>
            </a:r>
          </a:p>
          <a:p>
            <a:r>
              <a:rPr lang="en-US" baseline="0" dirty="0" smtClean="0"/>
              <a:t>Microsoft’s strategic advantage in the Enterprise</a:t>
            </a:r>
          </a:p>
          <a:p>
            <a:r>
              <a:rPr lang="en-US" baseline="0" dirty="0" smtClean="0"/>
              <a:t>Partners and Developers are key to its success</a:t>
            </a:r>
          </a:p>
          <a:p>
            <a:endParaRPr lang="en-US" baseline="0" dirty="0" smtClean="0"/>
          </a:p>
          <a:p>
            <a:endParaRPr lang="en-US" baseline="0" dirty="0" smtClean="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2/9/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23655727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3A5DC92-143E-4441-A0C9-B63B214AE454}"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14128318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lvl="0"/>
            <a:r>
              <a:rPr lang="en-US" sz="900" kern="1200" dirty="0" smtClean="0">
                <a:solidFill>
                  <a:schemeClr val="tx1"/>
                </a:solidFill>
                <a:effectLst/>
                <a:latin typeface="Segoe UI Light" pitchFamily="34" charset="0"/>
                <a:ea typeface="+mn-ea"/>
                <a:cs typeface="+mn-cs"/>
              </a:rPr>
              <a:t>Technology Journey</a:t>
            </a:r>
          </a:p>
          <a:p>
            <a:pPr lvl="1"/>
            <a:r>
              <a:rPr lang="en-US" sz="900" kern="1200" dirty="0" smtClean="0">
                <a:solidFill>
                  <a:schemeClr val="tx1"/>
                </a:solidFill>
                <a:effectLst/>
                <a:latin typeface="Segoe UI Light" pitchFamily="34" charset="0"/>
                <a:ea typeface="+mn-ea"/>
                <a:cs typeface="+mn-cs"/>
              </a:rPr>
              <a:t>Respect for the investments that you’ve already made</a:t>
            </a:r>
          </a:p>
          <a:p>
            <a:pPr lvl="1"/>
            <a:r>
              <a:rPr lang="en-US" sz="900" kern="1200" dirty="0" smtClean="0">
                <a:solidFill>
                  <a:schemeClr val="tx1"/>
                </a:solidFill>
                <a:effectLst/>
                <a:latin typeface="Segoe UI Light" pitchFamily="34" charset="0"/>
                <a:ea typeface="+mn-ea"/>
                <a:cs typeface="+mn-cs"/>
              </a:rPr>
              <a:t>Reaching out to a whole new world of possible.</a:t>
            </a:r>
          </a:p>
          <a:p>
            <a:endParaRPr lang="en-US" sz="4000" b="1" dirty="0" smtClean="0"/>
          </a:p>
        </p:txBody>
      </p:sp>
      <p:sp>
        <p:nvSpPr>
          <p:cNvPr id="4" name="Slide Number Placeholder 3"/>
          <p:cNvSpPr>
            <a:spLocks noGrp="1"/>
          </p:cNvSpPr>
          <p:nvPr>
            <p:ph type="sldNum" sz="quarter" idx="10"/>
          </p:nvPr>
        </p:nvSpPr>
        <p:spPr/>
        <p:txBody>
          <a:bodyPr/>
          <a:lstStyle/>
          <a:p>
            <a:fld id="{14979F40-820F-4F3D-8332-FDAADAF68E99}" type="slidenum">
              <a:rPr lang="en-US" smtClean="0">
                <a:solidFill>
                  <a:prstClr val="black"/>
                </a:solidFill>
              </a:rPr>
              <a:pPr/>
              <a:t>6</a:t>
            </a:fld>
            <a:endParaRPr lang="en-US">
              <a:solidFill>
                <a:prstClr val="black"/>
              </a:solidFill>
            </a:endParaRPr>
          </a:p>
        </p:txBody>
      </p:sp>
    </p:spTree>
    <p:extLst>
      <p:ext uri="{BB962C8B-B14F-4D97-AF65-F5344CB8AC3E}">
        <p14:creationId xmlns:p14="http://schemas.microsoft.com/office/powerpoint/2010/main" val="26129763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y should</a:t>
            </a:r>
            <a:r>
              <a:rPr lang="en-US" baseline="0" dirty="0" smtClean="0"/>
              <a:t> you care?</a:t>
            </a:r>
          </a:p>
          <a:p>
            <a:r>
              <a:rPr lang="en-US" baseline="0" dirty="0" smtClean="0"/>
              <a:t>Office 365 is the fastest growing commercial product in MS history</a:t>
            </a:r>
          </a:p>
          <a:p>
            <a:r>
              <a:rPr lang="en-US" baseline="0" dirty="0" smtClean="0"/>
              <a:t>SharePoint used to hold this crown</a:t>
            </a:r>
          </a:p>
          <a:p>
            <a:r>
              <a:rPr lang="en-US" baseline="0" dirty="0" smtClean="0"/>
              <a:t>SP commanded a $7B partner revenue attach</a:t>
            </a:r>
          </a:p>
          <a:p>
            <a:endParaRPr lang="en-US" baseline="0" dirty="0" smtClean="0"/>
          </a:p>
          <a:p>
            <a:r>
              <a:rPr lang="en-US" baseline="0" dirty="0" smtClean="0"/>
              <a:t>Office development is another Socket to attach to jump on that train!</a:t>
            </a:r>
          </a:p>
          <a:p>
            <a:endParaRPr lang="en-US" baseline="0" dirty="0" smtClean="0"/>
          </a:p>
          <a:p>
            <a:r>
              <a:rPr lang="en-US" baseline="0" dirty="0" smtClean="0"/>
              <a:t>Why?  </a:t>
            </a:r>
          </a:p>
          <a:p>
            <a:r>
              <a:rPr lang="en-US" baseline="0" dirty="0" smtClean="0"/>
              <a:t>Business Users, Consumers all use Office</a:t>
            </a:r>
          </a:p>
          <a:p>
            <a:endParaRPr lang="en-US" baseline="0" dirty="0" smtClean="0"/>
          </a:p>
          <a:p>
            <a:pPr marL="0" marR="0" indent="0" algn="l" defTabSz="932742" rtl="0" eaLnBrk="1" fontAlgn="auto" latinLnBrk="0" hangingPunct="1">
              <a:lnSpc>
                <a:spcPct val="90000"/>
              </a:lnSpc>
              <a:spcBef>
                <a:spcPts val="0"/>
              </a:spcBef>
              <a:spcAft>
                <a:spcPts val="340"/>
              </a:spcAft>
              <a:buClrTx/>
              <a:buSzTx/>
              <a:buFontTx/>
              <a:buNone/>
              <a:tabLst/>
              <a:defRPr/>
            </a:pPr>
            <a:r>
              <a:rPr lang="en-US" baseline="0" dirty="0" smtClean="0"/>
              <a:t>Office is the universal language of productivity</a:t>
            </a:r>
          </a:p>
          <a:p>
            <a:endParaRPr lang="en-US" baseline="0" dirty="0" smtClean="0"/>
          </a:p>
          <a:p>
            <a:r>
              <a:rPr lang="en-US" baseline="0" dirty="0" smtClean="0"/>
              <a:t>1B+ Users</a:t>
            </a:r>
          </a:p>
          <a:p>
            <a:r>
              <a:rPr lang="en-US" baseline="0" dirty="0" smtClean="0"/>
              <a:t>1.2 – 1.8B mobile devices in the next 4 years</a:t>
            </a:r>
          </a:p>
          <a:p>
            <a:r>
              <a:rPr lang="en-US" baseline="0" dirty="0" smtClean="0"/>
              <a:t>2-3 hours in Office a day</a:t>
            </a:r>
            <a:endParaRPr lang="en-US" dirty="0" smtClean="0"/>
          </a:p>
          <a:p>
            <a:r>
              <a:rPr lang="en-US" dirty="0" smtClean="0"/>
              <a:t>400+ Petabytes of data</a:t>
            </a:r>
            <a:endParaRPr lang="en-US" baseline="0" dirty="0" smtClean="0"/>
          </a:p>
          <a:p>
            <a:r>
              <a:rPr lang="en-US" baseline="0" dirty="0" smtClean="0"/>
              <a:t>Valuable business data!</a:t>
            </a:r>
          </a:p>
          <a:p>
            <a:endParaRPr lang="en-US" baseline="0" dirty="0" smtClean="0"/>
          </a:p>
          <a:p>
            <a:r>
              <a:rPr lang="en-US" baseline="0" dirty="0" smtClean="0"/>
              <a:t>Office lets you move across the stack</a:t>
            </a:r>
          </a:p>
          <a:p>
            <a:r>
              <a:rPr lang="en-US" baseline="0" dirty="0" smtClean="0"/>
              <a:t>SMB &lt;-&gt; EPG</a:t>
            </a:r>
          </a:p>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2/9/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38377145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B192D058-1985-4467-845A-1C29607F2B73}" type="datetime1">
              <a:rPr lang="en-US" smtClean="0"/>
              <a:t>2/9/2015</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8019792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900" kern="1200" dirty="0" smtClean="0">
                <a:solidFill>
                  <a:schemeClr val="tx1"/>
                </a:solidFill>
                <a:effectLst/>
                <a:latin typeface="Segoe UI Light" pitchFamily="34" charset="0"/>
                <a:ea typeface="+mn-ea"/>
                <a:cs typeface="+mn-cs"/>
              </a:rPr>
              <a:t>App Model </a:t>
            </a:r>
            <a:r>
              <a:rPr lang="en-US" sz="900" kern="1200" dirty="0" err="1" smtClean="0">
                <a:solidFill>
                  <a:schemeClr val="tx1"/>
                </a:solidFill>
                <a:effectLst/>
                <a:latin typeface="Segoe UI Light" pitchFamily="34" charset="0"/>
                <a:ea typeface="+mn-ea"/>
                <a:cs typeface="+mn-cs"/>
              </a:rPr>
              <a:t>Redux</a:t>
            </a:r>
            <a:endParaRPr lang="en-US" sz="900" kern="1200" dirty="0" smtClean="0">
              <a:solidFill>
                <a:schemeClr val="tx1"/>
              </a:solidFill>
              <a:effectLst/>
              <a:latin typeface="Segoe UI Light" pitchFamily="34" charset="0"/>
              <a:ea typeface="+mn-ea"/>
              <a:cs typeface="+mn-cs"/>
            </a:endParaRPr>
          </a:p>
          <a:p>
            <a:pPr lvl="1"/>
            <a:r>
              <a:rPr lang="en-US" sz="900" kern="1200" dirty="0" smtClean="0">
                <a:solidFill>
                  <a:schemeClr val="tx1"/>
                </a:solidFill>
                <a:effectLst/>
                <a:latin typeface="Segoe UI Light" pitchFamily="34" charset="0"/>
                <a:ea typeface="+mn-ea"/>
                <a:cs typeface="+mn-cs"/>
              </a:rPr>
              <a:t>Why we do what we do</a:t>
            </a:r>
          </a:p>
          <a:p>
            <a:pPr lvl="1"/>
            <a:r>
              <a:rPr lang="en-US" sz="900" kern="1200" dirty="0" smtClean="0">
                <a:solidFill>
                  <a:schemeClr val="tx1"/>
                </a:solidFill>
                <a:effectLst/>
                <a:latin typeface="Segoe UI Light" pitchFamily="34" charset="0"/>
                <a:ea typeface="+mn-ea"/>
                <a:cs typeface="+mn-cs"/>
              </a:rPr>
              <a:t>It’s not just about the cloud</a:t>
            </a:r>
          </a:p>
          <a:p>
            <a:pPr lvl="1"/>
            <a:r>
              <a:rPr lang="en-US" sz="900" kern="1200" dirty="0" smtClean="0">
                <a:solidFill>
                  <a:schemeClr val="tx1"/>
                </a:solidFill>
                <a:effectLst/>
                <a:latin typeface="Segoe UI Light" pitchFamily="34" charset="0"/>
                <a:ea typeface="+mn-ea"/>
                <a:cs typeface="+mn-cs"/>
              </a:rPr>
              <a:t>Framework how we think about going forward.</a:t>
            </a:r>
          </a:p>
          <a:p>
            <a:endParaRPr lang="en-US" dirty="0"/>
          </a:p>
        </p:txBody>
      </p:sp>
      <p:sp>
        <p:nvSpPr>
          <p:cNvPr id="4" name="Slide Number Placeholder 3"/>
          <p:cNvSpPr>
            <a:spLocks noGrp="1"/>
          </p:cNvSpPr>
          <p:nvPr>
            <p:ph type="sldNum" sz="quarter" idx="10"/>
          </p:nvPr>
        </p:nvSpPr>
        <p:spPr/>
        <p:txBody>
          <a:bodyPr/>
          <a:lstStyle/>
          <a:p>
            <a:pPr defTabSz="914400">
              <a:defRPr/>
            </a:pPr>
            <a:fld id="{8CF28DF4-C4FE-4FA3-9AF9-6CC177454297}" type="slidenum">
              <a:rPr lang="en-US" smtClean="0">
                <a:solidFill>
                  <a:prstClr val="black"/>
                </a:solidFill>
                <a:latin typeface="Calibri"/>
              </a:rPr>
              <a:pPr defTabSz="914400">
                <a:defRPr/>
              </a:pPr>
              <a:t>12</a:t>
            </a:fld>
            <a:endParaRPr lang="en-US">
              <a:solidFill>
                <a:prstClr val="black"/>
              </a:solidFill>
              <a:latin typeface="Calibri"/>
            </a:endParaRPr>
          </a:p>
        </p:txBody>
      </p:sp>
    </p:spTree>
    <p:extLst>
      <p:ext uri="{BB962C8B-B14F-4D97-AF65-F5344CB8AC3E}">
        <p14:creationId xmlns:p14="http://schemas.microsoft.com/office/powerpoint/2010/main" val="397413701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jpg"/><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9.png"/><Relationship Id="rId1" Type="http://schemas.openxmlformats.org/officeDocument/2006/relationships/slideMaster" Target="../slideMasters/slideMaster6.xml"/><Relationship Id="rId5" Type="http://schemas.openxmlformats.org/officeDocument/2006/relationships/image" Target="../media/image10.jpg"/><Relationship Id="rId4" Type="http://schemas.openxmlformats.org/officeDocument/2006/relationships/image" Target="../media/image9.jpg"/></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9.png"/><Relationship Id="rId1" Type="http://schemas.openxmlformats.org/officeDocument/2006/relationships/slideMaster" Target="../slideMasters/slideMaster6.xml"/><Relationship Id="rId4" Type="http://schemas.openxmlformats.org/officeDocument/2006/relationships/image" Target="../media/image11.jpg"/></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7.xml"/><Relationship Id="rId4" Type="http://schemas.openxmlformats.org/officeDocument/2006/relationships/image" Target="../media/image23.png"/></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g"/><Relationship Id="rId1" Type="http://schemas.openxmlformats.org/officeDocument/2006/relationships/slideMaster" Target="../slideMasters/slideMaster7.xml"/><Relationship Id="rId4" Type="http://schemas.openxmlformats.org/officeDocument/2006/relationships/image" Target="../media/image22.png"/></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7.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7.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7.xml"/></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8.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jpg"/><Relationship Id="rId1" Type="http://schemas.openxmlformats.org/officeDocument/2006/relationships/slideMaster" Target="../slideMasters/slideMaster8.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9.jpg"/><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8.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9.xml"/></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jpg"/><Relationship Id="rId1" Type="http://schemas.openxmlformats.org/officeDocument/2006/relationships/slideMaster" Target="../slideMasters/slideMaster9.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2.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9.jpg"/><Relationship Id="rId1" Type="http://schemas.openxmlformats.org/officeDocument/2006/relationships/slideMaster" Target="../slideMasters/slideMaster9.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9.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10.xml"/></Relationships>
</file>

<file path=ppt/slideLayouts/_rels/slideLayout31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jpg"/><Relationship Id="rId1" Type="http://schemas.openxmlformats.org/officeDocument/2006/relationships/slideMaster" Target="../slideMasters/slideMaster10.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5.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9.jpg"/><Relationship Id="rId1" Type="http://schemas.openxmlformats.org/officeDocument/2006/relationships/slideMaster" Target="../slideMasters/slideMaster10.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0.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eg"/><Relationship Id="rId1" Type="http://schemas.openxmlformats.org/officeDocument/2006/relationships/slideMaster" Target="../slideMasters/slideMaster11.xml"/><Relationship Id="rId4" Type="http://schemas.openxmlformats.org/officeDocument/2006/relationships/image" Target="../media/image7.png"/></Relationships>
</file>

<file path=ppt/slideLayouts/_rels/slideLayout34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0.jpeg"/><Relationship Id="rId1" Type="http://schemas.openxmlformats.org/officeDocument/2006/relationships/slideMaster" Target="../slideMasters/slideMaster11.xml"/><Relationship Id="rId4" Type="http://schemas.openxmlformats.org/officeDocument/2006/relationships/image" Target="../media/image31.png"/></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11.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11.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11.xml"/></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11.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11.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7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1.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eg"/><Relationship Id="rId1" Type="http://schemas.openxmlformats.org/officeDocument/2006/relationships/slideMaster" Target="../slideMasters/slideMaster12.xml"/><Relationship Id="rId4" Type="http://schemas.openxmlformats.org/officeDocument/2006/relationships/image" Target="../media/image7.png"/></Relationships>
</file>

<file path=ppt/slideLayouts/_rels/slideLayout38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0.jpeg"/><Relationship Id="rId1" Type="http://schemas.openxmlformats.org/officeDocument/2006/relationships/slideMaster" Target="../slideMasters/slideMaster12.xml"/><Relationship Id="rId4" Type="http://schemas.openxmlformats.org/officeDocument/2006/relationships/image" Target="../media/image31.png"/></Relationships>
</file>

<file path=ppt/slideLayouts/_rels/slideLayout382.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12.xml"/></Relationships>
</file>

<file path=ppt/slideLayouts/_rels/slideLayout383.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12.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12.xml"/></Relationships>
</file>

<file path=ppt/slideLayouts/_rels/slideLayout403.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12.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12.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1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2.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1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eg"/><Relationship Id="rId1" Type="http://schemas.openxmlformats.org/officeDocument/2006/relationships/slideMaster" Target="../slideMasters/slideMaster13.xml"/><Relationship Id="rId4" Type="http://schemas.openxmlformats.org/officeDocument/2006/relationships/image" Target="../media/image7.png"/></Relationships>
</file>

<file path=ppt/slideLayouts/_rels/slideLayout4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0.jpeg"/><Relationship Id="rId1" Type="http://schemas.openxmlformats.org/officeDocument/2006/relationships/slideMaster" Target="../slideMasters/slideMaster13.xml"/><Relationship Id="rId4" Type="http://schemas.openxmlformats.org/officeDocument/2006/relationships/image" Target="../media/image31.png"/></Relationships>
</file>

<file path=ppt/slideLayouts/_rels/slideLayout418.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13.xml"/></Relationships>
</file>

<file path=ppt/slideLayouts/_rels/slideLayout419.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1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8.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13.xml"/></Relationships>
</file>

<file path=ppt/slideLayouts/_rels/slideLayout439.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1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7.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13.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3.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5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14.xml"/><Relationship Id="rId4" Type="http://schemas.openxmlformats.org/officeDocument/2006/relationships/image" Target="../media/image23.png"/></Relationships>
</file>

<file path=ppt/slideLayouts/_rels/slideLayout45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g"/><Relationship Id="rId1" Type="http://schemas.openxmlformats.org/officeDocument/2006/relationships/slideMaster" Target="../slideMasters/slideMaster14.xml"/><Relationship Id="rId4" Type="http://schemas.openxmlformats.org/officeDocument/2006/relationships/image" Target="../media/image22.png"/></Relationships>
</file>

<file path=ppt/slideLayouts/_rels/slideLayout454.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14.xml"/></Relationships>
</file>

<file path=ppt/slideLayouts/_rels/slideLayout455.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14.xml"/></Relationships>
</file>

<file path=ppt/slideLayouts/_rels/slideLayout456.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14.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4.xml"/></Relationships>
</file>

<file path=ppt/slideLayouts/_rels/slideLayout48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5.png"/><Relationship Id="rId1" Type="http://schemas.openxmlformats.org/officeDocument/2006/relationships/slideMaster" Target="../slideMasters/slideMaster15.xml"/></Relationships>
</file>

<file path=ppt/slideLayouts/_rels/slideLayout48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Master" Target="../slideMasters/slideMaster15.xml"/></Relationships>
</file>

<file path=ppt/slideLayouts/_rels/slideLayout48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5.png"/><Relationship Id="rId1" Type="http://schemas.openxmlformats.org/officeDocument/2006/relationships/slideMaster" Target="../slideMasters/slideMaster15.xml"/></Relationships>
</file>

<file path=ppt/slideLayouts/_rels/slideLayout485.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Master" Target="../slideMasters/slideMaster15.xml"/></Relationships>
</file>

<file path=ppt/slideLayouts/_rels/slideLayout486.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Master" Target="../slideMasters/slideMaster15.xml"/></Relationships>
</file>

<file path=ppt/slideLayouts/_rels/slideLayout48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5.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9.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1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0.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15.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6.xml"/></Relationships>
</file>

<file path=ppt/slideLayouts/_rels/slideLayout5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6.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5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5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5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5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5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5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5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5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5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6.xml"/></Relationships>
</file>

<file path=ppt/slideLayouts/_rels/slideLayout5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5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36.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6.xml"/></Relationships>
</file>

<file path=ppt/slideLayouts/_rels/slideLayout537.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6.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4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6.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4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17.xml"/><Relationship Id="rId4" Type="http://schemas.openxmlformats.org/officeDocument/2006/relationships/image" Target="../media/image19.pn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8.jpg"/><Relationship Id="rId1" Type="http://schemas.openxmlformats.org/officeDocument/2006/relationships/slideMaster" Target="../slideMasters/slideMaster17.xml"/><Relationship Id="rId4" Type="http://schemas.openxmlformats.org/officeDocument/2006/relationships/image" Target="../media/image7.png"/></Relationships>
</file>

<file path=ppt/slideLayouts/_rels/slideLayout55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9.png"/><Relationship Id="rId1" Type="http://schemas.openxmlformats.org/officeDocument/2006/relationships/slideMaster" Target="../slideMasters/slideMaster17.xml"/></Relationships>
</file>

<file path=ppt/slideLayouts/_rels/slideLayout552.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7.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6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7.xml"/></Relationships>
</file>

<file path=ppt/slideLayouts/_rels/slideLayout56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7.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7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9.png"/><Relationship Id="rId1" Type="http://schemas.openxmlformats.org/officeDocument/2006/relationships/slideMaster" Target="../slideMasters/slideMaster17.xml"/><Relationship Id="rId5" Type="http://schemas.openxmlformats.org/officeDocument/2006/relationships/image" Target="../media/image10.jpg"/><Relationship Id="rId4" Type="http://schemas.openxmlformats.org/officeDocument/2006/relationships/image" Target="../media/image9.jpg"/></Relationships>
</file>

<file path=ppt/slideLayouts/_rels/slideLayout57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9.png"/><Relationship Id="rId1" Type="http://schemas.openxmlformats.org/officeDocument/2006/relationships/slideMaster" Target="../slideMasters/slideMaster17.xml"/><Relationship Id="rId4" Type="http://schemas.openxmlformats.org/officeDocument/2006/relationships/image" Target="../media/image11.jpg"/></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9.jp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p:spPr>
        <p:txBody>
          <a:bodyPr anchor="b" anchorCtr="0"/>
          <a:lstStyle>
            <a:lvl1pPr>
              <a:defRPr sz="7200" spc="-150" baseline="0">
                <a:gradFill>
                  <a:gsLst>
                    <a:gs pos="1250">
                      <a:schemeClr val="bg1"/>
                    </a:gs>
                    <a:gs pos="100000">
                      <a:schemeClr val="bg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p:spPr>
        <p:txBody>
          <a:bodyPr>
            <a:noAutofit/>
          </a:bodyPr>
          <a:lstStyle>
            <a:lvl1pPr marL="0" indent="0">
              <a:spcBef>
                <a:spcPts val="0"/>
              </a:spcBef>
              <a:buNone/>
              <a:defRPr spc="-70" baseline="0">
                <a:gradFill>
                  <a:gsLst>
                    <a:gs pos="0">
                      <a:schemeClr val="bg1"/>
                    </a:gs>
                    <a:gs pos="100000">
                      <a:schemeClr val="bg1"/>
                    </a:gs>
                  </a:gsLst>
                  <a:lin ang="5400000" scaled="0"/>
                </a:gradFill>
                <a:latin typeface="+mj-lt"/>
              </a:defRPr>
            </a:lvl1pPr>
          </a:lstStyle>
          <a:p>
            <a:pPr lvl="0"/>
            <a:r>
              <a:rPr lang="en-US" dirty="0" smtClean="0"/>
              <a:t>Speaker Title</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615004" y="4873973"/>
            <a:ext cx="4362138" cy="2046779"/>
          </a:xfrm>
          <a:prstGeom prst="rect">
            <a:avLst/>
          </a:prstGeom>
        </p:spPr>
      </p:pic>
    </p:spTree>
    <p:extLst>
      <p:ext uri="{BB962C8B-B14F-4D97-AF65-F5344CB8AC3E}">
        <p14:creationId xmlns:p14="http://schemas.microsoft.com/office/powerpoint/2010/main" val="7715949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699" y="1447800"/>
            <a:ext cx="5433533" cy="166199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smtClean="0"/>
              <a:t>Click to edit Master text styles.</a:t>
            </a:r>
          </a:p>
        </p:txBody>
      </p:sp>
      <p:sp>
        <p:nvSpPr>
          <p:cNvPr id="6" name="Content Placeholder 5"/>
          <p:cNvSpPr>
            <a:spLocks noGrp="1"/>
          </p:cNvSpPr>
          <p:nvPr>
            <p:ph sz="quarter" idx="4"/>
          </p:nvPr>
        </p:nvSpPr>
        <p:spPr>
          <a:xfrm>
            <a:off x="6188149" y="1681904"/>
            <a:ext cx="5484740"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smtClean="0"/>
              <a:t>Click to edit Master text styles</a:t>
            </a:r>
          </a:p>
        </p:txBody>
      </p:sp>
      <p:sp>
        <p:nvSpPr>
          <p:cNvPr id="12" name="Title 11"/>
          <p:cNvSpPr>
            <a:spLocks noGrp="1"/>
          </p:cNvSpPr>
          <p:nvPr>
            <p:ph type="title"/>
          </p:nvPr>
        </p:nvSpPr>
        <p:spPr/>
        <p:txBody>
          <a:bodyPr>
            <a:noAutofit/>
          </a:bodyPr>
          <a:lstStyle>
            <a:lvl1pPr>
              <a:defRPr/>
            </a:lvl1pPr>
          </a:lstStyle>
          <a:p>
            <a:r>
              <a:rPr lang="en-US" smtClean="0"/>
              <a:t>Click to edit Master title style</a:t>
            </a:r>
            <a:endParaRPr lang="en-US" dirty="0"/>
          </a:p>
        </p:txBody>
      </p:sp>
      <p:sp>
        <p:nvSpPr>
          <p:cNvPr id="10"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967211698"/>
      </p:ext>
    </p:extLst>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Quote Layout_Accent Color 1">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2084175"/>
            <a:ext cx="9858104" cy="899665"/>
          </a:xfrm>
        </p:spPr>
        <p:txBody>
          <a:bodyPr/>
          <a:lstStyle>
            <a:lvl1pPr marL="276871" indent="-276871">
              <a:tabLst>
                <a:tab pos="276871" algn="l"/>
              </a:tabLst>
              <a:defRPr sz="5879"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8" y="4773813"/>
            <a:ext cx="5377148" cy="1050156"/>
          </a:xfrm>
        </p:spPr>
        <p:txBody>
          <a:bodyPr/>
          <a:lstStyle>
            <a:lvl1pPr marL="0" indent="0">
              <a:spcBef>
                <a:spcPts val="0"/>
              </a:spcBef>
              <a:buNone/>
              <a:defRPr sz="3135"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43855598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50" y="2383024"/>
            <a:ext cx="11650488" cy="914360"/>
          </a:xfrm>
        </p:spPr>
        <p:txBody>
          <a:bodyPr/>
          <a:lstStyle>
            <a:lvl1pPr marL="0" indent="0">
              <a:buNone/>
              <a:defRPr sz="5291">
                <a:gradFill>
                  <a:gsLst>
                    <a:gs pos="3333">
                      <a:schemeClr val="tx1"/>
                    </a:gs>
                    <a:gs pos="39000">
                      <a:schemeClr val="tx1"/>
                    </a:gs>
                  </a:gsLst>
                  <a:lin ang="5400000" scaled="0"/>
                </a:gradFill>
              </a:defRPr>
            </a:lvl1pPr>
            <a:lvl2pPr marL="0" indent="0">
              <a:buFontTx/>
              <a:buNone/>
              <a:defRPr sz="1960"/>
            </a:lvl2pPr>
            <a:lvl3pPr marL="223987" indent="0">
              <a:buNone/>
              <a:defRPr/>
            </a:lvl3pPr>
            <a:lvl4pPr marL="447973" indent="0">
              <a:buNone/>
              <a:defRPr/>
            </a:lvl4pPr>
            <a:lvl5pPr marL="671959" indent="0">
              <a:buNone/>
              <a:defRPr/>
            </a:lvl5pPr>
          </a:lstStyle>
          <a:p>
            <a:pPr lvl="0"/>
            <a:r>
              <a:rPr lang="en-US" dirty="0" smtClean="0"/>
              <a:t>Click to edit Master text styles</a:t>
            </a:r>
          </a:p>
        </p:txBody>
      </p:sp>
      <p:sp>
        <p:nvSpPr>
          <p:cNvPr id="4" name="Title 1"/>
          <p:cNvSpPr>
            <a:spLocks noGrp="1"/>
          </p:cNvSpPr>
          <p:nvPr>
            <p:ph type="title"/>
          </p:nvPr>
        </p:nvSpPr>
        <p:spPr>
          <a:xfrm>
            <a:off x="276949" y="1187623"/>
            <a:ext cx="11652805" cy="899665"/>
          </a:xfrm>
        </p:spPr>
        <p:txBody>
          <a:bodyPr/>
          <a:lstStyle>
            <a:lvl1pPr>
              <a:defRPr sz="7054" baseline="0">
                <a:gradFill>
                  <a:gsLst>
                    <a:gs pos="1250">
                      <a:schemeClr val="tx1"/>
                    </a:gs>
                    <a:gs pos="100000">
                      <a:schemeClr val="tx1"/>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638218380"/>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2" y="1217195"/>
            <a:ext cx="5377147" cy="1763530"/>
          </a:xfrm>
        </p:spPr>
        <p:txBody>
          <a:bodyPr/>
          <a:lstStyle>
            <a:lvl1pPr>
              <a:defRPr sz="6467"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5968" y="0"/>
            <a:ext cx="6092857"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endParaRPr lang="en-US" dirty="0"/>
          </a:p>
        </p:txBody>
      </p:sp>
    </p:spTree>
    <p:extLst>
      <p:ext uri="{BB962C8B-B14F-4D97-AF65-F5344CB8AC3E}">
        <p14:creationId xmlns:p14="http://schemas.microsoft.com/office/powerpoint/2010/main" val="3477894065"/>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2510" y="1217197"/>
            <a:ext cx="5377147" cy="899665"/>
          </a:xfrm>
        </p:spPr>
        <p:txBody>
          <a:bodyPr/>
          <a:lstStyle>
            <a:lvl1pPr>
              <a:defRPr sz="6467" baseline="0">
                <a:gradFill>
                  <a:gsLst>
                    <a:gs pos="1250">
                      <a:schemeClr val="tx1"/>
                    </a:gs>
                    <a:gs pos="100000">
                      <a:schemeClr val="tx1"/>
                    </a:gs>
                  </a:gsLst>
                  <a:lin ang="5400000" scaled="0"/>
                </a:gradFill>
              </a:defRPr>
            </a:lvl1pPr>
          </a:lstStyle>
          <a:p>
            <a:r>
              <a:rPr lang="en-US" dirty="0" smtClean="0"/>
              <a:t>Click to edit Master title style</a:t>
            </a:r>
            <a:endParaRPr lang="en-US" dirty="0"/>
          </a:p>
        </p:txBody>
      </p:sp>
      <p:sp>
        <p:nvSpPr>
          <p:cNvPr id="4" name="Picture Placeholder 4"/>
          <p:cNvSpPr>
            <a:spLocks noGrp="1"/>
          </p:cNvSpPr>
          <p:nvPr>
            <p:ph type="pic" sz="quarter" idx="10"/>
          </p:nvPr>
        </p:nvSpPr>
        <p:spPr bwMode="ltGray">
          <a:xfrm>
            <a:off x="0" y="1"/>
            <a:ext cx="6092857" cy="6852151"/>
          </a:xfrm>
          <a:blipFill>
            <a:blip r:embed="rId2"/>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endParaRPr lang="en-US" dirty="0"/>
          </a:p>
        </p:txBody>
      </p:sp>
    </p:spTree>
    <p:extLst>
      <p:ext uri="{BB962C8B-B14F-4D97-AF65-F5344CB8AC3E}">
        <p14:creationId xmlns:p14="http://schemas.microsoft.com/office/powerpoint/2010/main" val="97706932"/>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9589543"/>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486006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191827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9351464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onfidentiality Slide - CYAN 300">
    <p:spTree>
      <p:nvGrpSpPr>
        <p:cNvPr id="1" name=""/>
        <p:cNvGrpSpPr/>
        <p:nvPr/>
      </p:nvGrpSpPr>
      <p:grpSpPr>
        <a:xfrm>
          <a:off x="0" y="0"/>
          <a:ext cx="0" cy="0"/>
          <a:chOff x="0" y="0"/>
          <a:chExt cx="0" cy="0"/>
        </a:xfrm>
      </p:grpSpPr>
      <p:sp>
        <p:nvSpPr>
          <p:cNvPr id="10" name="Rectangle 9"/>
          <p:cNvSpPr/>
          <p:nvPr userDrawn="1"/>
        </p:nvSpPr>
        <p:spPr>
          <a:xfrm>
            <a:off x="280813" y="302924"/>
            <a:ext cx="11638845" cy="923201"/>
          </a:xfrm>
          <a:prstGeom prst="rect">
            <a:avLst/>
          </a:prstGeom>
        </p:spPr>
        <p:txBody>
          <a:bodyPr wrap="square">
            <a:spAutoFit/>
          </a:bodyPr>
          <a:lstStyle/>
          <a:p>
            <a:pPr defTabSz="913918"/>
            <a:r>
              <a:rPr lang="en-US" sz="5291" spc="-100" dirty="0">
                <a:ln w="3175">
                  <a:noFill/>
                </a:ln>
                <a:gradFill>
                  <a:gsLst>
                    <a:gs pos="1250">
                      <a:srgbClr val="FFFFFF"/>
                    </a:gs>
                    <a:gs pos="100000">
                      <a:srgbClr val="FFFFFF"/>
                    </a:gs>
                  </a:gsLst>
                  <a:lin ang="5400000" scaled="0"/>
                </a:gradFill>
                <a:latin typeface="Segoe UI Light"/>
                <a:cs typeface="Segoe UI" pitchFamily="34" charset="0"/>
              </a:rPr>
              <a:t>Microsoft Confidential</a:t>
            </a:r>
            <a:endParaRPr lang="en-US" sz="1764" dirty="0">
              <a:solidFill>
                <a:srgbClr val="FFFFFF"/>
              </a:solidFill>
            </a:endParaRPr>
          </a:p>
        </p:txBody>
      </p:sp>
    </p:spTree>
    <p:extLst>
      <p:ext uri="{BB962C8B-B14F-4D97-AF65-F5344CB8AC3E}">
        <p14:creationId xmlns:p14="http://schemas.microsoft.com/office/powerpoint/2010/main" val="139714900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Go-Dos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2" name="Rectangle 31"/>
          <p:cNvSpPr/>
          <p:nvPr userDrawn="1"/>
        </p:nvSpPr>
        <p:spPr bwMode="auto">
          <a:xfrm>
            <a:off x="269169" y="1289014"/>
            <a:ext cx="10548172" cy="5272677"/>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653" fontAlgn="base">
              <a:spcBef>
                <a:spcPct val="0"/>
              </a:spcBef>
              <a:spcAft>
                <a:spcPct val="0"/>
              </a:spcAft>
            </a:pPr>
            <a:endParaRPr lang="en-US" sz="1960">
              <a:gradFill>
                <a:gsLst>
                  <a:gs pos="0">
                    <a:srgbClr val="FFFFFF"/>
                  </a:gs>
                  <a:gs pos="100000">
                    <a:srgbClr val="FFFFFF"/>
                  </a:gs>
                </a:gsLst>
                <a:lin ang="5400000" scaled="0"/>
              </a:gradFill>
            </a:endParaRPr>
          </a:p>
        </p:txBody>
      </p:sp>
      <p:sp useBgFill="1">
        <p:nvSpPr>
          <p:cNvPr id="33" name="Rectangle 32"/>
          <p:cNvSpPr/>
          <p:nvPr userDrawn="1"/>
        </p:nvSpPr>
        <p:spPr bwMode="auto">
          <a:xfrm>
            <a:off x="2857115" y="1097965"/>
            <a:ext cx="47148" cy="555862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653" fontAlgn="base">
              <a:spcBef>
                <a:spcPct val="0"/>
              </a:spcBef>
              <a:spcAft>
                <a:spcPct val="0"/>
              </a:spcAft>
            </a:pPr>
            <a:endParaRPr lang="en-US" sz="1960">
              <a:gradFill>
                <a:gsLst>
                  <a:gs pos="0">
                    <a:srgbClr val="FFFFFF"/>
                  </a:gs>
                  <a:gs pos="100000">
                    <a:srgbClr val="FFFFFF"/>
                  </a:gs>
                </a:gsLst>
                <a:lin ang="5400000" scaled="0"/>
              </a:gradFill>
            </a:endParaRPr>
          </a:p>
        </p:txBody>
      </p:sp>
      <p:sp useBgFill="1">
        <p:nvSpPr>
          <p:cNvPr id="34" name="Rectangle 33"/>
          <p:cNvSpPr/>
          <p:nvPr userDrawn="1"/>
        </p:nvSpPr>
        <p:spPr bwMode="auto">
          <a:xfrm>
            <a:off x="5496188" y="1097965"/>
            <a:ext cx="47277" cy="555862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653" fontAlgn="base">
              <a:spcBef>
                <a:spcPct val="0"/>
              </a:spcBef>
              <a:spcAft>
                <a:spcPct val="0"/>
              </a:spcAft>
            </a:pPr>
            <a:endParaRPr lang="en-US" sz="1960">
              <a:gradFill>
                <a:gsLst>
                  <a:gs pos="0">
                    <a:srgbClr val="FFFFFF"/>
                  </a:gs>
                  <a:gs pos="100000">
                    <a:srgbClr val="FFFFFF"/>
                  </a:gs>
                </a:gsLst>
                <a:lin ang="5400000" scaled="0"/>
              </a:gradFill>
            </a:endParaRPr>
          </a:p>
        </p:txBody>
      </p:sp>
      <p:sp useBgFill="1">
        <p:nvSpPr>
          <p:cNvPr id="35" name="Rectangle 34"/>
          <p:cNvSpPr/>
          <p:nvPr userDrawn="1"/>
        </p:nvSpPr>
        <p:spPr bwMode="auto">
          <a:xfrm>
            <a:off x="8134342" y="1097965"/>
            <a:ext cx="47278" cy="555862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653" fontAlgn="base">
              <a:spcBef>
                <a:spcPct val="0"/>
              </a:spcBef>
              <a:spcAft>
                <a:spcPct val="0"/>
              </a:spcAft>
            </a:pPr>
            <a:endParaRPr lang="en-US" sz="1960">
              <a:gradFill>
                <a:gsLst>
                  <a:gs pos="0">
                    <a:srgbClr val="FFFFFF"/>
                  </a:gs>
                  <a:gs pos="100000">
                    <a:srgbClr val="FFFFFF"/>
                  </a:gs>
                </a:gsLst>
                <a:lin ang="5400000" scaled="0"/>
              </a:gradFill>
            </a:endParaRPr>
          </a:p>
        </p:txBody>
      </p:sp>
      <p:sp useBgFill="1">
        <p:nvSpPr>
          <p:cNvPr id="36" name="Rectangle 35"/>
          <p:cNvSpPr/>
          <p:nvPr userDrawn="1"/>
        </p:nvSpPr>
        <p:spPr bwMode="auto">
          <a:xfrm rot="5400000">
            <a:off x="5486717" y="-1517694"/>
            <a:ext cx="44827" cy="10843915"/>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653" fontAlgn="base">
              <a:spcBef>
                <a:spcPct val="0"/>
              </a:spcBef>
              <a:spcAft>
                <a:spcPct val="0"/>
              </a:spcAft>
            </a:pPr>
            <a:endParaRPr lang="en-US" sz="1960">
              <a:gradFill>
                <a:gsLst>
                  <a:gs pos="0">
                    <a:srgbClr val="FFFFFF"/>
                  </a:gs>
                  <a:gs pos="100000">
                    <a:srgbClr val="FFFFFF"/>
                  </a:gs>
                </a:gsLst>
                <a:lin ang="5400000" scaled="0"/>
              </a:gradFill>
            </a:endParaRPr>
          </a:p>
        </p:txBody>
      </p:sp>
      <p:pic>
        <p:nvPicPr>
          <p:cNvPr id="37" name="Picture 3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43183" y="2794027"/>
            <a:ext cx="7600149" cy="2262653"/>
          </a:xfrm>
          <a:prstGeom prst="rect">
            <a:avLst/>
          </a:prstGeom>
        </p:spPr>
      </p:pic>
      <p:sp useBgFill="1">
        <p:nvSpPr>
          <p:cNvPr id="38" name="Rectangle 37"/>
          <p:cNvSpPr/>
          <p:nvPr userDrawn="1"/>
        </p:nvSpPr>
        <p:spPr bwMode="auto">
          <a:xfrm>
            <a:off x="0" y="6561690"/>
            <a:ext cx="12188825" cy="29631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653" fontAlgn="base">
              <a:spcBef>
                <a:spcPct val="0"/>
              </a:spcBef>
              <a:spcAft>
                <a:spcPct val="0"/>
              </a:spcAft>
            </a:pPr>
            <a:endParaRPr lang="en-US" sz="1960">
              <a:gradFill>
                <a:gsLst>
                  <a:gs pos="0">
                    <a:srgbClr val="FFFFFF"/>
                  </a:gs>
                  <a:gs pos="100000">
                    <a:srgbClr val="FFFFFF"/>
                  </a:gs>
                </a:gsLst>
                <a:lin ang="5400000" scaled="0"/>
              </a:gradFill>
            </a:endParaRPr>
          </a:p>
        </p:txBody>
      </p:sp>
      <p:sp useBgFill="1">
        <p:nvSpPr>
          <p:cNvPr id="39" name="Rectangle 38"/>
          <p:cNvSpPr/>
          <p:nvPr userDrawn="1"/>
        </p:nvSpPr>
        <p:spPr bwMode="auto">
          <a:xfrm>
            <a:off x="42677" y="1239892"/>
            <a:ext cx="10965855" cy="5405979"/>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653" fontAlgn="base">
              <a:spcBef>
                <a:spcPct val="0"/>
              </a:spcBef>
              <a:spcAft>
                <a:spcPct val="0"/>
              </a:spcAft>
            </a:pPr>
            <a:endParaRPr lang="en-US" sz="1960">
              <a:gradFill>
                <a:gsLst>
                  <a:gs pos="0">
                    <a:srgbClr val="FFFFFF"/>
                  </a:gs>
                  <a:gs pos="100000">
                    <a:srgbClr val="FFFFFF"/>
                  </a:gs>
                </a:gsLst>
                <a:lin ang="5400000" scaled="0"/>
              </a:gradFill>
            </a:endParaRPr>
          </a:p>
        </p:txBody>
      </p:sp>
      <p:sp>
        <p:nvSpPr>
          <p:cNvPr id="40" name="Rectangle 39"/>
          <p:cNvSpPr/>
          <p:nvPr userDrawn="1"/>
        </p:nvSpPr>
        <p:spPr bwMode="auto">
          <a:xfrm>
            <a:off x="270343" y="3924909"/>
            <a:ext cx="2590751" cy="263678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 tIns="140552" rIns="175690" bIns="140552" numCol="1" spcCol="0" rtlCol="0" fromWordArt="0" anchor="t" anchorCtr="0" forceAA="0" compatLnSpc="1">
            <a:prstTxWarp prst="textNoShape">
              <a:avLst/>
            </a:prstTxWarp>
            <a:noAutofit/>
          </a:bodyPr>
          <a:lstStyle/>
          <a:p>
            <a:pPr defTabSz="895123" fontAlgn="base">
              <a:lnSpc>
                <a:spcPct val="86000"/>
              </a:lnSpc>
              <a:spcBef>
                <a:spcPct val="0"/>
              </a:spcBef>
              <a:spcAft>
                <a:spcPts val="1153"/>
              </a:spcAft>
            </a:pPr>
            <a:endParaRPr lang="en-US" sz="1536"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8181620" y="3924909"/>
            <a:ext cx="2589993" cy="2636782"/>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 tIns="140552" rIns="175690" bIns="140552" numCol="1" spcCol="0" rtlCol="0" fromWordArt="0" anchor="t" anchorCtr="0" forceAA="0" compatLnSpc="1">
            <a:prstTxWarp prst="textNoShape">
              <a:avLst/>
            </a:prstTxWarp>
            <a:noAutofit/>
          </a:bodyPr>
          <a:lstStyle/>
          <a:p>
            <a:pPr defTabSz="895123" fontAlgn="base">
              <a:lnSpc>
                <a:spcPct val="86000"/>
              </a:lnSpc>
              <a:spcBef>
                <a:spcPct val="0"/>
              </a:spcBef>
              <a:spcAft>
                <a:spcPts val="1153"/>
              </a:spcAft>
            </a:pPr>
            <a:endParaRPr lang="en-US" sz="1536"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270343" y="1289016"/>
            <a:ext cx="2590751" cy="2592836"/>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 tIns="140552" rIns="175690" bIns="140552" numCol="1" spcCol="0" rtlCol="0" fromWordArt="0" anchor="t" anchorCtr="0" forceAA="0" compatLnSpc="1">
            <a:prstTxWarp prst="textNoShape">
              <a:avLst/>
            </a:prstTxWarp>
            <a:noAutofit/>
          </a:bodyPr>
          <a:lstStyle/>
          <a:p>
            <a:pPr defTabSz="895123" fontAlgn="base">
              <a:lnSpc>
                <a:spcPct val="86000"/>
              </a:lnSpc>
              <a:spcBef>
                <a:spcPct val="0"/>
              </a:spcBef>
              <a:spcAft>
                <a:spcPts val="1153"/>
              </a:spcAft>
            </a:pPr>
            <a:endParaRPr lang="en-US" sz="1536" dirty="0">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5543592" y="1289016"/>
            <a:ext cx="2590751" cy="2592836"/>
          </a:xfrm>
          <a:prstGeom prst="rect">
            <a:avLst/>
          </a:prstGeom>
          <a:solidFill>
            <a:schemeClr val="accent1">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175690" tIns="140552" rIns="175690" bIns="140552" numCol="1" spcCol="0" rtlCol="0" fromWordArt="0" anchor="t" anchorCtr="0" forceAA="0" compatLnSpc="1">
            <a:prstTxWarp prst="textNoShape">
              <a:avLst/>
            </a:prstTxWarp>
            <a:noAutofit/>
          </a:bodyPr>
          <a:lstStyle/>
          <a:p>
            <a:pPr defTabSz="895123" fontAlgn="base">
              <a:lnSpc>
                <a:spcPct val="86000"/>
              </a:lnSpc>
              <a:spcBef>
                <a:spcPct val="0"/>
              </a:spcBef>
              <a:spcAft>
                <a:spcPts val="1153"/>
              </a:spcAft>
            </a:pPr>
            <a:endParaRPr lang="en-US" sz="1536" dirty="0">
              <a:gradFill>
                <a:gsLst>
                  <a:gs pos="0">
                    <a:srgbClr val="FFFFFF"/>
                  </a:gs>
                  <a:gs pos="100000">
                    <a:srgbClr val="FFFFFF"/>
                  </a:gs>
                </a:gsLst>
                <a:lin ang="5400000" scaled="0"/>
              </a:gradFill>
              <a:ea typeface="Segoe UI" pitchFamily="34" charset="0"/>
              <a:cs typeface="Segoe UI" pitchFamily="34" charset="0"/>
            </a:endParaRPr>
          </a:p>
        </p:txBody>
      </p:sp>
      <p:sp>
        <p:nvSpPr>
          <p:cNvPr id="44" name="Rectangle 43"/>
          <p:cNvSpPr/>
          <p:nvPr userDrawn="1"/>
        </p:nvSpPr>
        <p:spPr bwMode="auto">
          <a:xfrm>
            <a:off x="8181620" y="1289016"/>
            <a:ext cx="2589993" cy="259283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 tIns="140552" rIns="175690" bIns="140552" numCol="1" spcCol="0" rtlCol="0" fromWordArt="0" anchor="t" anchorCtr="0" forceAA="0" compatLnSpc="1">
            <a:prstTxWarp prst="textNoShape">
              <a:avLst/>
            </a:prstTxWarp>
            <a:noAutofit/>
          </a:bodyPr>
          <a:lstStyle/>
          <a:p>
            <a:pPr defTabSz="895123" fontAlgn="base">
              <a:lnSpc>
                <a:spcPct val="86000"/>
              </a:lnSpc>
              <a:spcBef>
                <a:spcPct val="0"/>
              </a:spcBef>
              <a:spcAft>
                <a:spcPts val="1153"/>
              </a:spcAft>
            </a:pPr>
            <a:endParaRPr lang="en-US" sz="1536" dirty="0">
              <a:gradFill>
                <a:gsLst>
                  <a:gs pos="0">
                    <a:srgbClr val="FFFFFF"/>
                  </a:gs>
                  <a:gs pos="100000">
                    <a:srgbClr val="FFFFFF"/>
                  </a:gs>
                </a:gsLst>
                <a:lin ang="5400000" scaled="0"/>
              </a:gradFill>
              <a:ea typeface="Segoe UI" pitchFamily="34" charset="0"/>
              <a:cs typeface="Segoe UI" pitchFamily="34" charset="0"/>
            </a:endParaRPr>
          </a:p>
        </p:txBody>
      </p:sp>
      <p:sp>
        <p:nvSpPr>
          <p:cNvPr id="45" name="Rectangle 44"/>
          <p:cNvSpPr/>
          <p:nvPr userDrawn="1"/>
        </p:nvSpPr>
        <p:spPr bwMode="auto">
          <a:xfrm>
            <a:off x="2904394" y="3924909"/>
            <a:ext cx="2591794" cy="2636782"/>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 tIns="140552" rIns="175690" bIns="140552" numCol="1" spcCol="0" rtlCol="0" fromWordArt="0" anchor="t" anchorCtr="0" forceAA="0" compatLnSpc="1">
            <a:prstTxWarp prst="textNoShape">
              <a:avLst/>
            </a:prstTxWarp>
            <a:noAutofit/>
          </a:bodyPr>
          <a:lstStyle/>
          <a:p>
            <a:pPr defTabSz="895123" fontAlgn="base">
              <a:lnSpc>
                <a:spcPct val="86000"/>
              </a:lnSpc>
              <a:spcBef>
                <a:spcPct val="0"/>
              </a:spcBef>
              <a:spcAft>
                <a:spcPts val="1153"/>
              </a:spcAft>
            </a:pPr>
            <a:endParaRPr lang="en-US" sz="1536" dirty="0">
              <a:gradFill>
                <a:gsLst>
                  <a:gs pos="0">
                    <a:srgbClr val="FFFFFF"/>
                  </a:gs>
                  <a:gs pos="100000">
                    <a:srgbClr val="FFFFFF"/>
                  </a:gs>
                </a:gsLst>
                <a:lin ang="5400000" scaled="0"/>
              </a:gradFill>
              <a:ea typeface="Segoe UI" pitchFamily="34" charset="0"/>
              <a:cs typeface="Segoe UI" pitchFamily="34" charset="0"/>
            </a:endParaRPr>
          </a:p>
        </p:txBody>
      </p:sp>
      <p:sp>
        <p:nvSpPr>
          <p:cNvPr id="46" name="Rectangle 45"/>
          <p:cNvSpPr/>
          <p:nvPr userDrawn="1"/>
        </p:nvSpPr>
        <p:spPr bwMode="auto">
          <a:xfrm>
            <a:off x="2904394" y="1289015"/>
            <a:ext cx="2591794" cy="2592836"/>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5690" tIns="140552" rIns="175690" bIns="140552" numCol="1" spcCol="0" rtlCol="0" fromWordArt="0" anchor="t" anchorCtr="0" forceAA="0" compatLnSpc="1">
            <a:prstTxWarp prst="textNoShape">
              <a:avLst/>
            </a:prstTxWarp>
            <a:noAutofit/>
          </a:bodyPr>
          <a:lstStyle/>
          <a:p>
            <a:pPr defTabSz="895123" fontAlgn="base">
              <a:lnSpc>
                <a:spcPct val="86000"/>
              </a:lnSpc>
              <a:spcBef>
                <a:spcPct val="0"/>
              </a:spcBef>
              <a:spcAft>
                <a:spcPts val="1153"/>
              </a:spcAft>
            </a:pPr>
            <a:endParaRPr lang="en-US" sz="1536" dirty="0">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46"/>
          <p:cNvSpPr/>
          <p:nvPr userDrawn="1"/>
        </p:nvSpPr>
        <p:spPr bwMode="auto">
          <a:xfrm>
            <a:off x="5543592" y="3924909"/>
            <a:ext cx="2590751" cy="263678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 tIns="140552" rIns="175690" bIns="140552" numCol="1" spcCol="0" rtlCol="0" fromWordArt="0" anchor="t" anchorCtr="0" forceAA="0" compatLnSpc="1">
            <a:prstTxWarp prst="textNoShape">
              <a:avLst/>
            </a:prstTxWarp>
            <a:noAutofit/>
          </a:bodyPr>
          <a:lstStyle/>
          <a:p>
            <a:pPr defTabSz="895123" fontAlgn="base">
              <a:lnSpc>
                <a:spcPct val="86000"/>
              </a:lnSpc>
              <a:spcBef>
                <a:spcPct val="0"/>
              </a:spcBef>
              <a:spcAft>
                <a:spcPts val="1153"/>
              </a:spcAft>
            </a:pPr>
            <a:endParaRPr lang="en-US" sz="1536" dirty="0">
              <a:gradFill>
                <a:gsLst>
                  <a:gs pos="0">
                    <a:srgbClr val="FFFFFF"/>
                  </a:gs>
                  <a:gs pos="100000">
                    <a:srgbClr val="FFFFFF"/>
                  </a:gs>
                </a:gsLst>
                <a:lin ang="5400000" scaled="0"/>
              </a:gradFill>
              <a:ea typeface="Segoe UI" pitchFamily="34" charset="0"/>
              <a:cs typeface="Segoe UI" pitchFamily="34" charset="0"/>
            </a:endParaRPr>
          </a:p>
        </p:txBody>
      </p:sp>
      <p:sp>
        <p:nvSpPr>
          <p:cNvPr id="48" name="Text Placeholder 24"/>
          <p:cNvSpPr>
            <a:spLocks noGrp="1"/>
          </p:cNvSpPr>
          <p:nvPr>
            <p:ph type="body" sz="quarter" idx="11"/>
          </p:nvPr>
        </p:nvSpPr>
        <p:spPr>
          <a:xfrm>
            <a:off x="269169" y="1836738"/>
            <a:ext cx="2581218" cy="2034395"/>
          </a:xfrm>
        </p:spPr>
        <p:txBody>
          <a:bodyPr>
            <a:noAutofit/>
          </a:bodyPr>
          <a:lstStyle>
            <a:lvl1pPr marL="0" indent="0">
              <a:buNone/>
              <a:defRPr sz="1764"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dirty="0" smtClean="0"/>
              <a:t>Click to edit Master text styles</a:t>
            </a:r>
          </a:p>
        </p:txBody>
      </p:sp>
      <p:sp>
        <p:nvSpPr>
          <p:cNvPr id="49" name="Text Placeholder 24"/>
          <p:cNvSpPr>
            <a:spLocks noGrp="1"/>
          </p:cNvSpPr>
          <p:nvPr>
            <p:ph type="body" sz="quarter" idx="13"/>
          </p:nvPr>
        </p:nvSpPr>
        <p:spPr>
          <a:xfrm>
            <a:off x="269169" y="4471188"/>
            <a:ext cx="2581218" cy="2079784"/>
          </a:xfrm>
        </p:spPr>
        <p:txBody>
          <a:bodyPr>
            <a:noAutofit/>
          </a:bodyPr>
          <a:lstStyle>
            <a:lvl1pPr marL="0" indent="0">
              <a:buNone/>
              <a:defRPr sz="1764"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dirty="0" smtClean="0"/>
              <a:t>Click to edit Master text styles</a:t>
            </a:r>
          </a:p>
        </p:txBody>
      </p:sp>
      <p:sp>
        <p:nvSpPr>
          <p:cNvPr id="50" name="Text Placeholder 24"/>
          <p:cNvSpPr>
            <a:spLocks noGrp="1"/>
          </p:cNvSpPr>
          <p:nvPr>
            <p:ph type="body" sz="quarter" idx="15"/>
          </p:nvPr>
        </p:nvSpPr>
        <p:spPr>
          <a:xfrm>
            <a:off x="2899005" y="1836738"/>
            <a:ext cx="2581218" cy="2034395"/>
          </a:xfrm>
        </p:spPr>
        <p:txBody>
          <a:bodyPr>
            <a:noAutofit/>
          </a:bodyPr>
          <a:lstStyle>
            <a:lvl1pPr marL="0" indent="0">
              <a:buNone/>
              <a:defRPr sz="1764"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dirty="0" smtClean="0"/>
              <a:t>Click to edit Master text styles</a:t>
            </a:r>
          </a:p>
        </p:txBody>
      </p:sp>
      <p:sp>
        <p:nvSpPr>
          <p:cNvPr id="51" name="Text Placeholder 24"/>
          <p:cNvSpPr>
            <a:spLocks noGrp="1"/>
          </p:cNvSpPr>
          <p:nvPr>
            <p:ph type="body" sz="quarter" idx="17"/>
          </p:nvPr>
        </p:nvSpPr>
        <p:spPr>
          <a:xfrm>
            <a:off x="2899005" y="4471188"/>
            <a:ext cx="2581218" cy="2079784"/>
          </a:xfrm>
        </p:spPr>
        <p:txBody>
          <a:bodyPr>
            <a:noAutofit/>
          </a:bodyPr>
          <a:lstStyle>
            <a:lvl1pPr marL="0" indent="0">
              <a:buNone/>
              <a:defRPr sz="1764"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dirty="0" smtClean="0"/>
              <a:t>Click to edit Master text styles</a:t>
            </a:r>
          </a:p>
        </p:txBody>
      </p:sp>
      <p:sp>
        <p:nvSpPr>
          <p:cNvPr id="52" name="Text Placeholder 24"/>
          <p:cNvSpPr>
            <a:spLocks noGrp="1"/>
          </p:cNvSpPr>
          <p:nvPr>
            <p:ph type="body" sz="quarter" idx="19"/>
          </p:nvPr>
        </p:nvSpPr>
        <p:spPr>
          <a:xfrm>
            <a:off x="5549801" y="1836738"/>
            <a:ext cx="2581218" cy="2034395"/>
          </a:xfrm>
        </p:spPr>
        <p:txBody>
          <a:bodyPr>
            <a:noAutofit/>
          </a:bodyPr>
          <a:lstStyle>
            <a:lvl1pPr marL="0" indent="0">
              <a:buNone/>
              <a:defRPr sz="1764"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dirty="0" smtClean="0"/>
              <a:t>Click to edit Master text styles</a:t>
            </a:r>
          </a:p>
        </p:txBody>
      </p:sp>
      <p:sp>
        <p:nvSpPr>
          <p:cNvPr id="53" name="Text Placeholder 24"/>
          <p:cNvSpPr>
            <a:spLocks noGrp="1"/>
          </p:cNvSpPr>
          <p:nvPr>
            <p:ph type="body" sz="quarter" idx="21"/>
          </p:nvPr>
        </p:nvSpPr>
        <p:spPr>
          <a:xfrm>
            <a:off x="5549801" y="4471188"/>
            <a:ext cx="2581218" cy="2079784"/>
          </a:xfrm>
        </p:spPr>
        <p:txBody>
          <a:bodyPr>
            <a:noAutofit/>
          </a:bodyPr>
          <a:lstStyle>
            <a:lvl1pPr marL="0" indent="0">
              <a:buNone/>
              <a:defRPr sz="1764"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dirty="0" smtClean="0"/>
              <a:t>Click to edit Master text styles</a:t>
            </a:r>
          </a:p>
        </p:txBody>
      </p:sp>
      <p:sp>
        <p:nvSpPr>
          <p:cNvPr id="54" name="Text Placeholder 24"/>
          <p:cNvSpPr>
            <a:spLocks noGrp="1"/>
          </p:cNvSpPr>
          <p:nvPr>
            <p:ph type="body" sz="quarter" idx="23"/>
          </p:nvPr>
        </p:nvSpPr>
        <p:spPr>
          <a:xfrm>
            <a:off x="8175515" y="1836738"/>
            <a:ext cx="2581218" cy="2034395"/>
          </a:xfrm>
        </p:spPr>
        <p:txBody>
          <a:bodyPr>
            <a:noAutofit/>
          </a:bodyPr>
          <a:lstStyle>
            <a:lvl1pPr marL="0" indent="0">
              <a:buNone/>
              <a:defRPr sz="1764"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dirty="0" smtClean="0"/>
              <a:t>Click to edit Master text styles</a:t>
            </a:r>
          </a:p>
        </p:txBody>
      </p:sp>
      <p:sp>
        <p:nvSpPr>
          <p:cNvPr id="55" name="Text Placeholder 24"/>
          <p:cNvSpPr>
            <a:spLocks noGrp="1"/>
          </p:cNvSpPr>
          <p:nvPr>
            <p:ph type="body" sz="quarter" idx="25"/>
          </p:nvPr>
        </p:nvSpPr>
        <p:spPr>
          <a:xfrm>
            <a:off x="8175515" y="4471188"/>
            <a:ext cx="2581218" cy="2079784"/>
          </a:xfrm>
        </p:spPr>
        <p:txBody>
          <a:bodyPr>
            <a:noAutofit/>
          </a:bodyPr>
          <a:lstStyle>
            <a:lvl1pPr marL="0" indent="0">
              <a:buNone/>
              <a:defRPr sz="1764"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dirty="0" smtClean="0"/>
              <a:t>Click to edit Master text styles</a:t>
            </a:r>
          </a:p>
        </p:txBody>
      </p:sp>
      <p:sp>
        <p:nvSpPr>
          <p:cNvPr id="56" name="Text Placeholder 24"/>
          <p:cNvSpPr txBox="1">
            <a:spLocks/>
          </p:cNvSpPr>
          <p:nvPr userDrawn="1"/>
        </p:nvSpPr>
        <p:spPr>
          <a:xfrm>
            <a:off x="270343" y="1289017"/>
            <a:ext cx="896192" cy="438509"/>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135" dirty="0" smtClean="0"/>
              <a:t>1</a:t>
            </a:r>
          </a:p>
        </p:txBody>
      </p:sp>
      <p:sp>
        <p:nvSpPr>
          <p:cNvPr id="57" name="Text Placeholder 24"/>
          <p:cNvSpPr txBox="1">
            <a:spLocks/>
          </p:cNvSpPr>
          <p:nvPr userDrawn="1"/>
        </p:nvSpPr>
        <p:spPr>
          <a:xfrm>
            <a:off x="270343" y="3924908"/>
            <a:ext cx="896192" cy="439310"/>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135" dirty="0" smtClean="0"/>
              <a:t>5</a:t>
            </a:r>
          </a:p>
        </p:txBody>
      </p:sp>
      <p:sp>
        <p:nvSpPr>
          <p:cNvPr id="58" name="Text Placeholder 24"/>
          <p:cNvSpPr txBox="1">
            <a:spLocks/>
          </p:cNvSpPr>
          <p:nvPr userDrawn="1"/>
        </p:nvSpPr>
        <p:spPr>
          <a:xfrm>
            <a:off x="2904394" y="1289013"/>
            <a:ext cx="896192" cy="439310"/>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135" dirty="0" smtClean="0"/>
              <a:t>2</a:t>
            </a:r>
          </a:p>
        </p:txBody>
      </p:sp>
      <p:sp>
        <p:nvSpPr>
          <p:cNvPr id="59" name="Text Placeholder 24"/>
          <p:cNvSpPr txBox="1">
            <a:spLocks/>
          </p:cNvSpPr>
          <p:nvPr userDrawn="1"/>
        </p:nvSpPr>
        <p:spPr>
          <a:xfrm>
            <a:off x="2904394" y="3924908"/>
            <a:ext cx="896192" cy="439310"/>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135" dirty="0" smtClean="0"/>
              <a:t>6</a:t>
            </a:r>
          </a:p>
        </p:txBody>
      </p:sp>
      <p:sp>
        <p:nvSpPr>
          <p:cNvPr id="60" name="Text Placeholder 24"/>
          <p:cNvSpPr txBox="1">
            <a:spLocks/>
          </p:cNvSpPr>
          <p:nvPr userDrawn="1"/>
        </p:nvSpPr>
        <p:spPr>
          <a:xfrm>
            <a:off x="5543590" y="1289014"/>
            <a:ext cx="896192" cy="439310"/>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135" dirty="0" smtClean="0"/>
              <a:t>3</a:t>
            </a:r>
          </a:p>
        </p:txBody>
      </p:sp>
      <p:sp>
        <p:nvSpPr>
          <p:cNvPr id="61" name="Text Placeholder 24"/>
          <p:cNvSpPr txBox="1">
            <a:spLocks/>
          </p:cNvSpPr>
          <p:nvPr userDrawn="1"/>
        </p:nvSpPr>
        <p:spPr>
          <a:xfrm>
            <a:off x="5543590" y="3924908"/>
            <a:ext cx="896192" cy="439310"/>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135" dirty="0" smtClean="0"/>
              <a:t>7</a:t>
            </a:r>
          </a:p>
        </p:txBody>
      </p:sp>
      <p:sp>
        <p:nvSpPr>
          <p:cNvPr id="62" name="Text Placeholder 24"/>
          <p:cNvSpPr txBox="1">
            <a:spLocks/>
          </p:cNvSpPr>
          <p:nvPr userDrawn="1"/>
        </p:nvSpPr>
        <p:spPr>
          <a:xfrm>
            <a:off x="8181621" y="1289014"/>
            <a:ext cx="896192" cy="439310"/>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135" dirty="0" smtClean="0"/>
              <a:t>4</a:t>
            </a:r>
          </a:p>
        </p:txBody>
      </p:sp>
      <p:sp>
        <p:nvSpPr>
          <p:cNvPr id="63" name="Text Placeholder 24"/>
          <p:cNvSpPr txBox="1">
            <a:spLocks/>
          </p:cNvSpPr>
          <p:nvPr userDrawn="1"/>
        </p:nvSpPr>
        <p:spPr>
          <a:xfrm>
            <a:off x="8181621" y="3924908"/>
            <a:ext cx="896192" cy="439310"/>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135" dirty="0" smtClean="0"/>
              <a:t>8</a:t>
            </a:r>
          </a:p>
        </p:txBody>
      </p:sp>
    </p:spTree>
    <p:extLst>
      <p:ext uri="{BB962C8B-B14F-4D97-AF65-F5344CB8AC3E}">
        <p14:creationId xmlns:p14="http://schemas.microsoft.com/office/powerpoint/2010/main" val="38830578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xit" presetSubtype="4" accel="22000" decel="78000" fill="hold" nodeType="withEffect">
                                  <p:stCondLst>
                                    <p:cond delay="750"/>
                                  </p:stCondLst>
                                  <p:childTnLst>
                                    <p:anim calcmode="lin" valueType="num">
                                      <p:cBhvr additive="base">
                                        <p:cTn id="6" dur="500"/>
                                        <p:tgtEl>
                                          <p:spTgt spid="37"/>
                                        </p:tgtEl>
                                        <p:attrNameLst>
                                          <p:attrName>ppt_x</p:attrName>
                                        </p:attrNameLst>
                                      </p:cBhvr>
                                      <p:tavLst>
                                        <p:tav tm="0">
                                          <p:val>
                                            <p:strVal val="ppt_x"/>
                                          </p:val>
                                        </p:tav>
                                        <p:tav tm="100000">
                                          <p:val>
                                            <p:strVal val="ppt_x"/>
                                          </p:val>
                                        </p:tav>
                                      </p:tavLst>
                                    </p:anim>
                                    <p:anim calcmode="lin" valueType="num">
                                      <p:cBhvr additive="base">
                                        <p:cTn id="7" dur="500"/>
                                        <p:tgtEl>
                                          <p:spTgt spid="37"/>
                                        </p:tgtEl>
                                        <p:attrNameLst>
                                          <p:attrName>ppt_y</p:attrName>
                                        </p:attrNameLst>
                                      </p:cBhvr>
                                      <p:tavLst>
                                        <p:tav tm="0">
                                          <p:val>
                                            <p:strVal val="ppt_y"/>
                                          </p:val>
                                        </p:tav>
                                        <p:tav tm="100000">
                                          <p:val>
                                            <p:strVal val="1+ppt_h/2"/>
                                          </p:val>
                                        </p:tav>
                                      </p:tavLst>
                                    </p:anim>
                                    <p:set>
                                      <p:cBhvr>
                                        <p:cTn id="8" dur="1" fill="hold">
                                          <p:stCondLst>
                                            <p:cond delay="499"/>
                                          </p:stCondLst>
                                        </p:cTn>
                                        <p:tgtEl>
                                          <p:spTgt spid="37"/>
                                        </p:tgtEl>
                                        <p:attrNameLst>
                                          <p:attrName>style.visibility</p:attrName>
                                        </p:attrNameLst>
                                      </p:cBhvr>
                                      <p:to>
                                        <p:strVal val="hidden"/>
                                      </p:to>
                                    </p:set>
                                  </p:childTnLst>
                                </p:cTn>
                              </p:par>
                              <p:par>
                                <p:cTn id="9" presetID="2" presetClass="entr" presetSubtype="4" decel="100000" fill="hold" grpId="0" nodeType="withEffect">
                                  <p:stCondLst>
                                    <p:cond delay="1300"/>
                                  </p:stCondLst>
                                  <p:childTnLst>
                                    <p:set>
                                      <p:cBhvr>
                                        <p:cTn id="10" dur="1" fill="hold">
                                          <p:stCondLst>
                                            <p:cond delay="0"/>
                                          </p:stCondLst>
                                        </p:cTn>
                                        <p:tgtEl>
                                          <p:spTgt spid="33"/>
                                        </p:tgtEl>
                                        <p:attrNameLst>
                                          <p:attrName>style.visibility</p:attrName>
                                        </p:attrNameLst>
                                      </p:cBhvr>
                                      <p:to>
                                        <p:strVal val="visible"/>
                                      </p:to>
                                    </p:set>
                                    <p:anim calcmode="lin" valueType="num">
                                      <p:cBhvr additive="base">
                                        <p:cTn id="11" dur="500" fill="hold"/>
                                        <p:tgtEl>
                                          <p:spTgt spid="33"/>
                                        </p:tgtEl>
                                        <p:attrNameLst>
                                          <p:attrName>ppt_x</p:attrName>
                                        </p:attrNameLst>
                                      </p:cBhvr>
                                      <p:tavLst>
                                        <p:tav tm="0">
                                          <p:val>
                                            <p:strVal val="#ppt_x"/>
                                          </p:val>
                                        </p:tav>
                                        <p:tav tm="100000">
                                          <p:val>
                                            <p:strVal val="#ppt_x"/>
                                          </p:val>
                                        </p:tav>
                                      </p:tavLst>
                                    </p:anim>
                                    <p:anim calcmode="lin" valueType="num">
                                      <p:cBhvr additive="base">
                                        <p:cTn id="12" dur="500" fill="hold"/>
                                        <p:tgtEl>
                                          <p:spTgt spid="33"/>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1300"/>
                                  </p:stCondLst>
                                  <p:childTnLst>
                                    <p:set>
                                      <p:cBhvr>
                                        <p:cTn id="14" dur="1" fill="hold">
                                          <p:stCondLst>
                                            <p:cond delay="0"/>
                                          </p:stCondLst>
                                        </p:cTn>
                                        <p:tgtEl>
                                          <p:spTgt spid="34"/>
                                        </p:tgtEl>
                                        <p:attrNameLst>
                                          <p:attrName>style.visibility</p:attrName>
                                        </p:attrNameLst>
                                      </p:cBhvr>
                                      <p:to>
                                        <p:strVal val="visible"/>
                                      </p:to>
                                    </p:set>
                                    <p:anim calcmode="lin" valueType="num">
                                      <p:cBhvr additive="base">
                                        <p:cTn id="15" dur="500" fill="hold"/>
                                        <p:tgtEl>
                                          <p:spTgt spid="34"/>
                                        </p:tgtEl>
                                        <p:attrNameLst>
                                          <p:attrName>ppt_x</p:attrName>
                                        </p:attrNameLst>
                                      </p:cBhvr>
                                      <p:tavLst>
                                        <p:tav tm="0">
                                          <p:val>
                                            <p:strVal val="#ppt_x"/>
                                          </p:val>
                                        </p:tav>
                                        <p:tav tm="100000">
                                          <p:val>
                                            <p:strVal val="#ppt_x"/>
                                          </p:val>
                                        </p:tav>
                                      </p:tavLst>
                                    </p:anim>
                                    <p:anim calcmode="lin" valueType="num">
                                      <p:cBhvr additive="base">
                                        <p:cTn id="16" dur="500" fill="hold"/>
                                        <p:tgtEl>
                                          <p:spTgt spid="34"/>
                                        </p:tgtEl>
                                        <p:attrNameLst>
                                          <p:attrName>ppt_y</p:attrName>
                                        </p:attrNameLst>
                                      </p:cBhvr>
                                      <p:tavLst>
                                        <p:tav tm="0">
                                          <p:val>
                                            <p:strVal val="1+#ppt_h/2"/>
                                          </p:val>
                                        </p:tav>
                                        <p:tav tm="100000">
                                          <p:val>
                                            <p:strVal val="#ppt_y"/>
                                          </p:val>
                                        </p:tav>
                                      </p:tavLst>
                                    </p:anim>
                                  </p:childTnLst>
                                </p:cTn>
                              </p:par>
                              <p:par>
                                <p:cTn id="17" presetID="2" presetClass="entr" presetSubtype="4" decel="100000" fill="hold" grpId="0" nodeType="withEffect">
                                  <p:stCondLst>
                                    <p:cond delay="1300"/>
                                  </p:stCondLst>
                                  <p:childTnLst>
                                    <p:set>
                                      <p:cBhvr>
                                        <p:cTn id="18" dur="1" fill="hold">
                                          <p:stCondLst>
                                            <p:cond delay="0"/>
                                          </p:stCondLst>
                                        </p:cTn>
                                        <p:tgtEl>
                                          <p:spTgt spid="35"/>
                                        </p:tgtEl>
                                        <p:attrNameLst>
                                          <p:attrName>style.visibility</p:attrName>
                                        </p:attrNameLst>
                                      </p:cBhvr>
                                      <p:to>
                                        <p:strVal val="visible"/>
                                      </p:to>
                                    </p:set>
                                    <p:anim calcmode="lin" valueType="num">
                                      <p:cBhvr additive="base">
                                        <p:cTn id="19" dur="500" fill="hold"/>
                                        <p:tgtEl>
                                          <p:spTgt spid="35"/>
                                        </p:tgtEl>
                                        <p:attrNameLst>
                                          <p:attrName>ppt_x</p:attrName>
                                        </p:attrNameLst>
                                      </p:cBhvr>
                                      <p:tavLst>
                                        <p:tav tm="0">
                                          <p:val>
                                            <p:strVal val="#ppt_x"/>
                                          </p:val>
                                        </p:tav>
                                        <p:tav tm="100000">
                                          <p:val>
                                            <p:strVal val="#ppt_x"/>
                                          </p:val>
                                        </p:tav>
                                      </p:tavLst>
                                    </p:anim>
                                    <p:anim calcmode="lin" valueType="num">
                                      <p:cBhvr additive="base">
                                        <p:cTn id="20" dur="500" fill="hold"/>
                                        <p:tgtEl>
                                          <p:spTgt spid="35"/>
                                        </p:tgtEl>
                                        <p:attrNameLst>
                                          <p:attrName>ppt_y</p:attrName>
                                        </p:attrNameLst>
                                      </p:cBhvr>
                                      <p:tavLst>
                                        <p:tav tm="0">
                                          <p:val>
                                            <p:strVal val="1+#ppt_h/2"/>
                                          </p:val>
                                        </p:tav>
                                        <p:tav tm="100000">
                                          <p:val>
                                            <p:strVal val="#ppt_y"/>
                                          </p:val>
                                        </p:tav>
                                      </p:tavLst>
                                    </p:anim>
                                  </p:childTnLst>
                                </p:cTn>
                              </p:par>
                              <p:par>
                                <p:cTn id="21" presetID="2" presetClass="entr" presetSubtype="8" decel="100000" fill="hold" grpId="0" nodeType="withEffect">
                                  <p:stCondLst>
                                    <p:cond delay="1300"/>
                                  </p:stCondLst>
                                  <p:childTnLst>
                                    <p:set>
                                      <p:cBhvr>
                                        <p:cTn id="22" dur="1" fill="hold">
                                          <p:stCondLst>
                                            <p:cond delay="0"/>
                                          </p:stCondLst>
                                        </p:cTn>
                                        <p:tgtEl>
                                          <p:spTgt spid="36"/>
                                        </p:tgtEl>
                                        <p:attrNameLst>
                                          <p:attrName>style.visibility</p:attrName>
                                        </p:attrNameLst>
                                      </p:cBhvr>
                                      <p:to>
                                        <p:strVal val="visible"/>
                                      </p:to>
                                    </p:set>
                                    <p:anim calcmode="lin" valueType="num">
                                      <p:cBhvr additive="base">
                                        <p:cTn id="23" dur="500" fill="hold"/>
                                        <p:tgtEl>
                                          <p:spTgt spid="36"/>
                                        </p:tgtEl>
                                        <p:attrNameLst>
                                          <p:attrName>ppt_x</p:attrName>
                                        </p:attrNameLst>
                                      </p:cBhvr>
                                      <p:tavLst>
                                        <p:tav tm="0">
                                          <p:val>
                                            <p:strVal val="0-#ppt_w/2"/>
                                          </p:val>
                                        </p:tav>
                                        <p:tav tm="100000">
                                          <p:val>
                                            <p:strVal val="#ppt_x"/>
                                          </p:val>
                                        </p:tav>
                                      </p:tavLst>
                                    </p:anim>
                                    <p:anim calcmode="lin" valueType="num">
                                      <p:cBhvr additive="base">
                                        <p:cTn id="24" dur="500" fill="hold"/>
                                        <p:tgtEl>
                                          <p:spTgt spid="36"/>
                                        </p:tgtEl>
                                        <p:attrNameLst>
                                          <p:attrName>ppt_y</p:attrName>
                                        </p:attrNameLst>
                                      </p:cBhvr>
                                      <p:tavLst>
                                        <p:tav tm="0">
                                          <p:val>
                                            <p:strVal val="#ppt_y"/>
                                          </p:val>
                                        </p:tav>
                                        <p:tav tm="100000">
                                          <p:val>
                                            <p:strVal val="#ppt_y"/>
                                          </p:val>
                                        </p:tav>
                                      </p:tavLst>
                                    </p:anim>
                                  </p:childTnLst>
                                </p:cTn>
                              </p:par>
                              <p:par>
                                <p:cTn id="25" presetID="10" presetClass="entr" presetSubtype="0" fill="hold" grpId="0" nodeType="withEffect">
                                  <p:stCondLst>
                                    <p:cond delay="1800"/>
                                  </p:stCondLst>
                                  <p:childTnLst>
                                    <p:set>
                                      <p:cBhvr>
                                        <p:cTn id="26" dur="1" fill="hold">
                                          <p:stCondLst>
                                            <p:cond delay="0"/>
                                          </p:stCondLst>
                                        </p:cTn>
                                        <p:tgtEl>
                                          <p:spTgt spid="42"/>
                                        </p:tgtEl>
                                        <p:attrNameLst>
                                          <p:attrName>style.visibility</p:attrName>
                                        </p:attrNameLst>
                                      </p:cBhvr>
                                      <p:to>
                                        <p:strVal val="visible"/>
                                      </p:to>
                                    </p:set>
                                    <p:animEffect transition="in" filter="fade">
                                      <p:cBhvr>
                                        <p:cTn id="27" dur="250"/>
                                        <p:tgtEl>
                                          <p:spTgt spid="42"/>
                                        </p:tgtEl>
                                      </p:cBhvr>
                                    </p:animEffect>
                                  </p:childTnLst>
                                </p:cTn>
                              </p:par>
                              <p:par>
                                <p:cTn id="28" presetID="10" presetClass="entr" presetSubtype="0" fill="hold" grpId="0" nodeType="withEffect">
                                  <p:stCondLst>
                                    <p:cond delay="2150"/>
                                  </p:stCondLst>
                                  <p:childTnLst>
                                    <p:set>
                                      <p:cBhvr>
                                        <p:cTn id="29" dur="1" fill="hold">
                                          <p:stCondLst>
                                            <p:cond delay="0"/>
                                          </p:stCondLst>
                                        </p:cTn>
                                        <p:tgtEl>
                                          <p:spTgt spid="48"/>
                                        </p:tgtEl>
                                        <p:attrNameLst>
                                          <p:attrName>style.visibility</p:attrName>
                                        </p:attrNameLst>
                                      </p:cBhvr>
                                      <p:to>
                                        <p:strVal val="visible"/>
                                      </p:to>
                                    </p:set>
                                    <p:animEffect transition="in" filter="fade">
                                      <p:cBhvr>
                                        <p:cTn id="30" dur="950"/>
                                        <p:tgtEl>
                                          <p:spTgt spid="48"/>
                                        </p:tgtEl>
                                      </p:cBhvr>
                                    </p:animEffect>
                                  </p:childTnLst>
                                </p:cTn>
                              </p:par>
                              <p:par>
                                <p:cTn id="31" presetID="63" presetClass="path" presetSubtype="0" decel="100000" fill="hold" grpId="1" nodeType="withEffect">
                                  <p:stCondLst>
                                    <p:cond delay="2150"/>
                                  </p:stCondLst>
                                  <p:childTnLst>
                                    <p:animMotion origin="layout" path="M -0.01455 -3.60418E-6 L -4.00817E-6 -3.60418E-6 " pathEditMode="relative" rAng="0" ptsTypes="AA">
                                      <p:cBhvr>
                                        <p:cTn id="32" dur="950" fill="hold"/>
                                        <p:tgtEl>
                                          <p:spTgt spid="48"/>
                                        </p:tgtEl>
                                        <p:attrNameLst>
                                          <p:attrName>ppt_x</p:attrName>
                                          <p:attrName>ppt_y</p:attrName>
                                        </p:attrNameLst>
                                      </p:cBhvr>
                                      <p:rCtr x="728" y="0"/>
                                    </p:animMotion>
                                  </p:childTnLst>
                                </p:cTn>
                              </p:par>
                              <p:par>
                                <p:cTn id="33" presetID="6" presetClass="emph" presetSubtype="0" accel="100000" autoRev="1" fill="hold" grpId="2" nodeType="withEffect">
                                  <p:stCondLst>
                                    <p:cond delay="1450"/>
                                  </p:stCondLst>
                                  <p:childTnLst>
                                    <p:animScale>
                                      <p:cBhvr>
                                        <p:cTn id="34" dur="500" fill="hold"/>
                                        <p:tgtEl>
                                          <p:spTgt spid="48"/>
                                        </p:tgtEl>
                                      </p:cBhvr>
                                      <p:by x="92000" y="92000"/>
                                    </p:animScale>
                                  </p:childTnLst>
                                </p:cTn>
                              </p:par>
                              <p:par>
                                <p:cTn id="35" presetID="10" presetClass="entr" presetSubtype="0" fill="hold" grpId="0" nodeType="withEffect">
                                  <p:stCondLst>
                                    <p:cond delay="1900"/>
                                  </p:stCondLst>
                                  <p:childTnLst>
                                    <p:set>
                                      <p:cBhvr>
                                        <p:cTn id="36" dur="1" fill="hold">
                                          <p:stCondLst>
                                            <p:cond delay="0"/>
                                          </p:stCondLst>
                                        </p:cTn>
                                        <p:tgtEl>
                                          <p:spTgt spid="40"/>
                                        </p:tgtEl>
                                        <p:attrNameLst>
                                          <p:attrName>style.visibility</p:attrName>
                                        </p:attrNameLst>
                                      </p:cBhvr>
                                      <p:to>
                                        <p:strVal val="visible"/>
                                      </p:to>
                                    </p:set>
                                    <p:animEffect transition="in" filter="fade">
                                      <p:cBhvr>
                                        <p:cTn id="37" dur="250"/>
                                        <p:tgtEl>
                                          <p:spTgt spid="40"/>
                                        </p:tgtEl>
                                      </p:cBhvr>
                                    </p:animEffect>
                                  </p:childTnLst>
                                </p:cTn>
                              </p:par>
                              <p:par>
                                <p:cTn id="38" presetID="10" presetClass="entr" presetSubtype="0" fill="hold" grpId="0" nodeType="withEffect">
                                  <p:stCondLst>
                                    <p:cond delay="2250"/>
                                  </p:stCondLst>
                                  <p:childTnLst>
                                    <p:set>
                                      <p:cBhvr>
                                        <p:cTn id="39" dur="1" fill="hold">
                                          <p:stCondLst>
                                            <p:cond delay="0"/>
                                          </p:stCondLst>
                                        </p:cTn>
                                        <p:tgtEl>
                                          <p:spTgt spid="49"/>
                                        </p:tgtEl>
                                        <p:attrNameLst>
                                          <p:attrName>style.visibility</p:attrName>
                                        </p:attrNameLst>
                                      </p:cBhvr>
                                      <p:to>
                                        <p:strVal val="visible"/>
                                      </p:to>
                                    </p:set>
                                    <p:animEffect transition="in" filter="fade">
                                      <p:cBhvr>
                                        <p:cTn id="40" dur="950"/>
                                        <p:tgtEl>
                                          <p:spTgt spid="49"/>
                                        </p:tgtEl>
                                      </p:cBhvr>
                                    </p:animEffect>
                                  </p:childTnLst>
                                </p:cTn>
                              </p:par>
                              <p:par>
                                <p:cTn id="41" presetID="63" presetClass="path" presetSubtype="0" decel="100000" fill="hold" grpId="1" nodeType="withEffect">
                                  <p:stCondLst>
                                    <p:cond delay="2250"/>
                                  </p:stCondLst>
                                  <p:childTnLst>
                                    <p:animMotion origin="layout" path="M -0.01455 3.19564E-6 L -4.00817E-6 3.19564E-6 " pathEditMode="relative" rAng="0" ptsTypes="AA">
                                      <p:cBhvr>
                                        <p:cTn id="42" dur="950" fill="hold"/>
                                        <p:tgtEl>
                                          <p:spTgt spid="49"/>
                                        </p:tgtEl>
                                        <p:attrNameLst>
                                          <p:attrName>ppt_x</p:attrName>
                                          <p:attrName>ppt_y</p:attrName>
                                        </p:attrNameLst>
                                      </p:cBhvr>
                                      <p:rCtr x="728" y="0"/>
                                    </p:animMotion>
                                  </p:childTnLst>
                                </p:cTn>
                              </p:par>
                              <p:par>
                                <p:cTn id="43" presetID="6" presetClass="emph" presetSubtype="0" accel="100000" autoRev="1" fill="hold" grpId="2" nodeType="withEffect">
                                  <p:stCondLst>
                                    <p:cond delay="1550"/>
                                  </p:stCondLst>
                                  <p:childTnLst>
                                    <p:animScale>
                                      <p:cBhvr>
                                        <p:cTn id="44" dur="500" fill="hold"/>
                                        <p:tgtEl>
                                          <p:spTgt spid="49"/>
                                        </p:tgtEl>
                                      </p:cBhvr>
                                      <p:by x="92000" y="92000"/>
                                    </p:animScale>
                                  </p:childTnLst>
                                </p:cTn>
                              </p:par>
                              <p:par>
                                <p:cTn id="45" presetID="10" presetClass="entr" presetSubtype="0" fill="hold" grpId="0" nodeType="withEffect">
                                  <p:stCondLst>
                                    <p:cond delay="2000"/>
                                  </p:stCondLst>
                                  <p:childTnLst>
                                    <p:set>
                                      <p:cBhvr>
                                        <p:cTn id="46" dur="1" fill="hold">
                                          <p:stCondLst>
                                            <p:cond delay="0"/>
                                          </p:stCondLst>
                                        </p:cTn>
                                        <p:tgtEl>
                                          <p:spTgt spid="46"/>
                                        </p:tgtEl>
                                        <p:attrNameLst>
                                          <p:attrName>style.visibility</p:attrName>
                                        </p:attrNameLst>
                                      </p:cBhvr>
                                      <p:to>
                                        <p:strVal val="visible"/>
                                      </p:to>
                                    </p:set>
                                    <p:animEffect transition="in" filter="fade">
                                      <p:cBhvr>
                                        <p:cTn id="47" dur="250"/>
                                        <p:tgtEl>
                                          <p:spTgt spid="46"/>
                                        </p:tgtEl>
                                      </p:cBhvr>
                                    </p:animEffect>
                                  </p:childTnLst>
                                </p:cTn>
                              </p:par>
                              <p:par>
                                <p:cTn id="48" presetID="10" presetClass="entr" presetSubtype="0" fill="hold" grpId="0" nodeType="withEffect">
                                  <p:stCondLst>
                                    <p:cond delay="2350"/>
                                  </p:stCondLst>
                                  <p:childTnLst>
                                    <p:set>
                                      <p:cBhvr>
                                        <p:cTn id="49" dur="1" fill="hold">
                                          <p:stCondLst>
                                            <p:cond delay="0"/>
                                          </p:stCondLst>
                                        </p:cTn>
                                        <p:tgtEl>
                                          <p:spTgt spid="50"/>
                                        </p:tgtEl>
                                        <p:attrNameLst>
                                          <p:attrName>style.visibility</p:attrName>
                                        </p:attrNameLst>
                                      </p:cBhvr>
                                      <p:to>
                                        <p:strVal val="visible"/>
                                      </p:to>
                                    </p:set>
                                    <p:animEffect transition="in" filter="fade">
                                      <p:cBhvr>
                                        <p:cTn id="50" dur="950"/>
                                        <p:tgtEl>
                                          <p:spTgt spid="50"/>
                                        </p:tgtEl>
                                      </p:cBhvr>
                                    </p:animEffect>
                                  </p:childTnLst>
                                </p:cTn>
                              </p:par>
                              <p:par>
                                <p:cTn id="51" presetID="63" presetClass="path" presetSubtype="0" decel="100000" fill="hold" grpId="1" nodeType="withEffect">
                                  <p:stCondLst>
                                    <p:cond delay="2350"/>
                                  </p:stCondLst>
                                  <p:childTnLst>
                                    <p:animMotion origin="layout" path="M -0.01455 -3.60418E-6 L -3.29334E-7 -3.60418E-6 " pathEditMode="relative" rAng="0" ptsTypes="AA">
                                      <p:cBhvr>
                                        <p:cTn id="52" dur="950" fill="hold"/>
                                        <p:tgtEl>
                                          <p:spTgt spid="50"/>
                                        </p:tgtEl>
                                        <p:attrNameLst>
                                          <p:attrName>ppt_x</p:attrName>
                                          <p:attrName>ppt_y</p:attrName>
                                        </p:attrNameLst>
                                      </p:cBhvr>
                                      <p:rCtr x="728" y="0"/>
                                    </p:animMotion>
                                  </p:childTnLst>
                                </p:cTn>
                              </p:par>
                              <p:par>
                                <p:cTn id="53" presetID="6" presetClass="emph" presetSubtype="0" accel="100000" autoRev="1" fill="hold" grpId="2" nodeType="withEffect">
                                  <p:stCondLst>
                                    <p:cond delay="1650"/>
                                  </p:stCondLst>
                                  <p:childTnLst>
                                    <p:animScale>
                                      <p:cBhvr>
                                        <p:cTn id="54" dur="500" fill="hold"/>
                                        <p:tgtEl>
                                          <p:spTgt spid="50"/>
                                        </p:tgtEl>
                                      </p:cBhvr>
                                      <p:by x="92000" y="92000"/>
                                    </p:animScale>
                                  </p:childTnLst>
                                </p:cTn>
                              </p:par>
                              <p:par>
                                <p:cTn id="55" presetID="10" presetClass="entr" presetSubtype="0" fill="hold" grpId="0" nodeType="withEffect">
                                  <p:stCondLst>
                                    <p:cond delay="2100"/>
                                  </p:stCondLst>
                                  <p:childTnLst>
                                    <p:set>
                                      <p:cBhvr>
                                        <p:cTn id="56" dur="1" fill="hold">
                                          <p:stCondLst>
                                            <p:cond delay="0"/>
                                          </p:stCondLst>
                                        </p:cTn>
                                        <p:tgtEl>
                                          <p:spTgt spid="45"/>
                                        </p:tgtEl>
                                        <p:attrNameLst>
                                          <p:attrName>style.visibility</p:attrName>
                                        </p:attrNameLst>
                                      </p:cBhvr>
                                      <p:to>
                                        <p:strVal val="visible"/>
                                      </p:to>
                                    </p:set>
                                    <p:animEffect transition="in" filter="fade">
                                      <p:cBhvr>
                                        <p:cTn id="57" dur="250"/>
                                        <p:tgtEl>
                                          <p:spTgt spid="45"/>
                                        </p:tgtEl>
                                      </p:cBhvr>
                                    </p:animEffect>
                                  </p:childTnLst>
                                </p:cTn>
                              </p:par>
                              <p:par>
                                <p:cTn id="58" presetID="10" presetClass="entr" presetSubtype="0" fill="hold" grpId="0" nodeType="withEffect">
                                  <p:stCondLst>
                                    <p:cond delay="2450"/>
                                  </p:stCondLst>
                                  <p:childTnLst>
                                    <p:set>
                                      <p:cBhvr>
                                        <p:cTn id="59" dur="1" fill="hold">
                                          <p:stCondLst>
                                            <p:cond delay="0"/>
                                          </p:stCondLst>
                                        </p:cTn>
                                        <p:tgtEl>
                                          <p:spTgt spid="51"/>
                                        </p:tgtEl>
                                        <p:attrNameLst>
                                          <p:attrName>style.visibility</p:attrName>
                                        </p:attrNameLst>
                                      </p:cBhvr>
                                      <p:to>
                                        <p:strVal val="visible"/>
                                      </p:to>
                                    </p:set>
                                    <p:animEffect transition="in" filter="fade">
                                      <p:cBhvr>
                                        <p:cTn id="60" dur="950"/>
                                        <p:tgtEl>
                                          <p:spTgt spid="51"/>
                                        </p:tgtEl>
                                      </p:cBhvr>
                                    </p:animEffect>
                                  </p:childTnLst>
                                </p:cTn>
                              </p:par>
                              <p:par>
                                <p:cTn id="61" presetID="63" presetClass="path" presetSubtype="0" decel="100000" fill="hold" grpId="1" nodeType="withEffect">
                                  <p:stCondLst>
                                    <p:cond delay="2450"/>
                                  </p:stCondLst>
                                  <p:childTnLst>
                                    <p:animMotion origin="layout" path="M -0.01455 3.19564E-6 L -3.29334E-7 3.19564E-6 " pathEditMode="relative" rAng="0" ptsTypes="AA">
                                      <p:cBhvr>
                                        <p:cTn id="62" dur="950" fill="hold"/>
                                        <p:tgtEl>
                                          <p:spTgt spid="51"/>
                                        </p:tgtEl>
                                        <p:attrNameLst>
                                          <p:attrName>ppt_x</p:attrName>
                                          <p:attrName>ppt_y</p:attrName>
                                        </p:attrNameLst>
                                      </p:cBhvr>
                                      <p:rCtr x="728" y="0"/>
                                    </p:animMotion>
                                  </p:childTnLst>
                                </p:cTn>
                              </p:par>
                              <p:par>
                                <p:cTn id="63" presetID="6" presetClass="emph" presetSubtype="0" accel="100000" autoRev="1" fill="hold" grpId="2" nodeType="withEffect">
                                  <p:stCondLst>
                                    <p:cond delay="1750"/>
                                  </p:stCondLst>
                                  <p:childTnLst>
                                    <p:animScale>
                                      <p:cBhvr>
                                        <p:cTn id="64" dur="500" fill="hold"/>
                                        <p:tgtEl>
                                          <p:spTgt spid="51"/>
                                        </p:tgtEl>
                                      </p:cBhvr>
                                      <p:by x="92000" y="92000"/>
                                    </p:animScale>
                                  </p:childTnLst>
                                </p:cTn>
                              </p:par>
                              <p:par>
                                <p:cTn id="65" presetID="10" presetClass="entr" presetSubtype="0" fill="hold" grpId="0" nodeType="withEffect">
                                  <p:stCondLst>
                                    <p:cond delay="2200"/>
                                  </p:stCondLst>
                                  <p:childTnLst>
                                    <p:set>
                                      <p:cBhvr>
                                        <p:cTn id="66" dur="1" fill="hold">
                                          <p:stCondLst>
                                            <p:cond delay="0"/>
                                          </p:stCondLst>
                                        </p:cTn>
                                        <p:tgtEl>
                                          <p:spTgt spid="43"/>
                                        </p:tgtEl>
                                        <p:attrNameLst>
                                          <p:attrName>style.visibility</p:attrName>
                                        </p:attrNameLst>
                                      </p:cBhvr>
                                      <p:to>
                                        <p:strVal val="visible"/>
                                      </p:to>
                                    </p:set>
                                    <p:animEffect transition="in" filter="fade">
                                      <p:cBhvr>
                                        <p:cTn id="67" dur="250"/>
                                        <p:tgtEl>
                                          <p:spTgt spid="43"/>
                                        </p:tgtEl>
                                      </p:cBhvr>
                                    </p:animEffect>
                                  </p:childTnLst>
                                </p:cTn>
                              </p:par>
                              <p:par>
                                <p:cTn id="68" presetID="10" presetClass="entr" presetSubtype="0" fill="hold" grpId="0" nodeType="withEffect">
                                  <p:stCondLst>
                                    <p:cond delay="2550"/>
                                  </p:stCondLst>
                                  <p:childTnLst>
                                    <p:set>
                                      <p:cBhvr>
                                        <p:cTn id="69" dur="1" fill="hold">
                                          <p:stCondLst>
                                            <p:cond delay="0"/>
                                          </p:stCondLst>
                                        </p:cTn>
                                        <p:tgtEl>
                                          <p:spTgt spid="52"/>
                                        </p:tgtEl>
                                        <p:attrNameLst>
                                          <p:attrName>style.visibility</p:attrName>
                                        </p:attrNameLst>
                                      </p:cBhvr>
                                      <p:to>
                                        <p:strVal val="visible"/>
                                      </p:to>
                                    </p:set>
                                    <p:animEffect transition="in" filter="fade">
                                      <p:cBhvr>
                                        <p:cTn id="70" dur="950"/>
                                        <p:tgtEl>
                                          <p:spTgt spid="52"/>
                                        </p:tgtEl>
                                      </p:cBhvr>
                                    </p:animEffect>
                                  </p:childTnLst>
                                </p:cTn>
                              </p:par>
                              <p:par>
                                <p:cTn id="71" presetID="63" presetClass="path" presetSubtype="0" decel="100000" fill="hold" grpId="1" nodeType="withEffect">
                                  <p:stCondLst>
                                    <p:cond delay="2550"/>
                                  </p:stCondLst>
                                  <p:childTnLst>
                                    <p:animMotion origin="layout" path="M -0.01455 -3.60418E-6 L -3.73245E-6 -3.60418E-6 " pathEditMode="relative" rAng="0" ptsTypes="AA">
                                      <p:cBhvr>
                                        <p:cTn id="72" dur="950" fill="hold"/>
                                        <p:tgtEl>
                                          <p:spTgt spid="52"/>
                                        </p:tgtEl>
                                        <p:attrNameLst>
                                          <p:attrName>ppt_x</p:attrName>
                                          <p:attrName>ppt_y</p:attrName>
                                        </p:attrNameLst>
                                      </p:cBhvr>
                                      <p:rCtr x="728" y="0"/>
                                    </p:animMotion>
                                  </p:childTnLst>
                                </p:cTn>
                              </p:par>
                              <p:par>
                                <p:cTn id="73" presetID="6" presetClass="emph" presetSubtype="0" accel="100000" autoRev="1" fill="hold" grpId="2" nodeType="withEffect">
                                  <p:stCondLst>
                                    <p:cond delay="1850"/>
                                  </p:stCondLst>
                                  <p:childTnLst>
                                    <p:animScale>
                                      <p:cBhvr>
                                        <p:cTn id="74" dur="500" fill="hold"/>
                                        <p:tgtEl>
                                          <p:spTgt spid="52"/>
                                        </p:tgtEl>
                                      </p:cBhvr>
                                      <p:by x="92000" y="92000"/>
                                    </p:animScale>
                                  </p:childTnLst>
                                </p:cTn>
                              </p:par>
                              <p:par>
                                <p:cTn id="75" presetID="10" presetClass="entr" presetSubtype="0" fill="hold" grpId="0" nodeType="withEffect">
                                  <p:stCondLst>
                                    <p:cond delay="2300"/>
                                  </p:stCondLst>
                                  <p:childTnLst>
                                    <p:set>
                                      <p:cBhvr>
                                        <p:cTn id="76" dur="1" fill="hold">
                                          <p:stCondLst>
                                            <p:cond delay="0"/>
                                          </p:stCondLst>
                                        </p:cTn>
                                        <p:tgtEl>
                                          <p:spTgt spid="47"/>
                                        </p:tgtEl>
                                        <p:attrNameLst>
                                          <p:attrName>style.visibility</p:attrName>
                                        </p:attrNameLst>
                                      </p:cBhvr>
                                      <p:to>
                                        <p:strVal val="visible"/>
                                      </p:to>
                                    </p:set>
                                    <p:animEffect transition="in" filter="fade">
                                      <p:cBhvr>
                                        <p:cTn id="77" dur="250"/>
                                        <p:tgtEl>
                                          <p:spTgt spid="47"/>
                                        </p:tgtEl>
                                      </p:cBhvr>
                                    </p:animEffect>
                                  </p:childTnLst>
                                </p:cTn>
                              </p:par>
                              <p:par>
                                <p:cTn id="78" presetID="10" presetClass="entr" presetSubtype="0" fill="hold" grpId="0" nodeType="withEffect">
                                  <p:stCondLst>
                                    <p:cond delay="2650"/>
                                  </p:stCondLst>
                                  <p:childTnLst>
                                    <p:set>
                                      <p:cBhvr>
                                        <p:cTn id="79" dur="1" fill="hold">
                                          <p:stCondLst>
                                            <p:cond delay="0"/>
                                          </p:stCondLst>
                                        </p:cTn>
                                        <p:tgtEl>
                                          <p:spTgt spid="53"/>
                                        </p:tgtEl>
                                        <p:attrNameLst>
                                          <p:attrName>style.visibility</p:attrName>
                                        </p:attrNameLst>
                                      </p:cBhvr>
                                      <p:to>
                                        <p:strVal val="visible"/>
                                      </p:to>
                                    </p:set>
                                    <p:animEffect transition="in" filter="fade">
                                      <p:cBhvr>
                                        <p:cTn id="80" dur="950"/>
                                        <p:tgtEl>
                                          <p:spTgt spid="53"/>
                                        </p:tgtEl>
                                      </p:cBhvr>
                                    </p:animEffect>
                                  </p:childTnLst>
                                </p:cTn>
                              </p:par>
                              <p:par>
                                <p:cTn id="81" presetID="63" presetClass="path" presetSubtype="0" decel="100000" fill="hold" grpId="1" nodeType="withEffect">
                                  <p:stCondLst>
                                    <p:cond delay="2650"/>
                                  </p:stCondLst>
                                  <p:childTnLst>
                                    <p:animMotion origin="layout" path="M -0.01455 3.19564E-6 L -3.73245E-6 3.19564E-6 " pathEditMode="relative" rAng="0" ptsTypes="AA">
                                      <p:cBhvr>
                                        <p:cTn id="82" dur="950" fill="hold"/>
                                        <p:tgtEl>
                                          <p:spTgt spid="53"/>
                                        </p:tgtEl>
                                        <p:attrNameLst>
                                          <p:attrName>ppt_x</p:attrName>
                                          <p:attrName>ppt_y</p:attrName>
                                        </p:attrNameLst>
                                      </p:cBhvr>
                                      <p:rCtr x="728" y="0"/>
                                    </p:animMotion>
                                  </p:childTnLst>
                                </p:cTn>
                              </p:par>
                              <p:par>
                                <p:cTn id="83" presetID="6" presetClass="emph" presetSubtype="0" accel="100000" autoRev="1" fill="hold" grpId="2" nodeType="withEffect">
                                  <p:stCondLst>
                                    <p:cond delay="1950"/>
                                  </p:stCondLst>
                                  <p:childTnLst>
                                    <p:animScale>
                                      <p:cBhvr>
                                        <p:cTn id="84" dur="500" fill="hold"/>
                                        <p:tgtEl>
                                          <p:spTgt spid="53"/>
                                        </p:tgtEl>
                                      </p:cBhvr>
                                      <p:by x="92000" y="92000"/>
                                    </p:animScale>
                                  </p:childTnLst>
                                </p:cTn>
                              </p:par>
                              <p:par>
                                <p:cTn id="85" presetID="10" presetClass="entr" presetSubtype="0" fill="hold" grpId="0" nodeType="withEffect">
                                  <p:stCondLst>
                                    <p:cond delay="2400"/>
                                  </p:stCondLst>
                                  <p:childTnLst>
                                    <p:set>
                                      <p:cBhvr>
                                        <p:cTn id="86" dur="1" fill="hold">
                                          <p:stCondLst>
                                            <p:cond delay="0"/>
                                          </p:stCondLst>
                                        </p:cTn>
                                        <p:tgtEl>
                                          <p:spTgt spid="44"/>
                                        </p:tgtEl>
                                        <p:attrNameLst>
                                          <p:attrName>style.visibility</p:attrName>
                                        </p:attrNameLst>
                                      </p:cBhvr>
                                      <p:to>
                                        <p:strVal val="visible"/>
                                      </p:to>
                                    </p:set>
                                    <p:animEffect transition="in" filter="fade">
                                      <p:cBhvr>
                                        <p:cTn id="87" dur="250"/>
                                        <p:tgtEl>
                                          <p:spTgt spid="44"/>
                                        </p:tgtEl>
                                      </p:cBhvr>
                                    </p:animEffect>
                                  </p:childTnLst>
                                </p:cTn>
                              </p:par>
                              <p:par>
                                <p:cTn id="88" presetID="10" presetClass="entr" presetSubtype="0" fill="hold" grpId="0" nodeType="withEffect">
                                  <p:stCondLst>
                                    <p:cond delay="2750"/>
                                  </p:stCondLst>
                                  <p:childTnLst>
                                    <p:set>
                                      <p:cBhvr>
                                        <p:cTn id="89" dur="1" fill="hold">
                                          <p:stCondLst>
                                            <p:cond delay="0"/>
                                          </p:stCondLst>
                                        </p:cTn>
                                        <p:tgtEl>
                                          <p:spTgt spid="54"/>
                                        </p:tgtEl>
                                        <p:attrNameLst>
                                          <p:attrName>style.visibility</p:attrName>
                                        </p:attrNameLst>
                                      </p:cBhvr>
                                      <p:to>
                                        <p:strVal val="visible"/>
                                      </p:to>
                                    </p:set>
                                    <p:animEffect transition="in" filter="fade">
                                      <p:cBhvr>
                                        <p:cTn id="90" dur="950"/>
                                        <p:tgtEl>
                                          <p:spTgt spid="54"/>
                                        </p:tgtEl>
                                      </p:cBhvr>
                                    </p:animEffect>
                                  </p:childTnLst>
                                </p:cTn>
                              </p:par>
                              <p:par>
                                <p:cTn id="91" presetID="63" presetClass="path" presetSubtype="0" decel="100000" fill="hold" grpId="1" nodeType="withEffect">
                                  <p:stCondLst>
                                    <p:cond delay="2750"/>
                                  </p:stCondLst>
                                  <p:childTnLst>
                                    <p:animMotion origin="layout" path="M -0.01455 -3.60418E-6 L -4.75619E-6 -3.60418E-6 " pathEditMode="relative" rAng="0" ptsTypes="AA">
                                      <p:cBhvr>
                                        <p:cTn id="92" dur="950" fill="hold"/>
                                        <p:tgtEl>
                                          <p:spTgt spid="54"/>
                                        </p:tgtEl>
                                        <p:attrNameLst>
                                          <p:attrName>ppt_x</p:attrName>
                                          <p:attrName>ppt_y</p:attrName>
                                        </p:attrNameLst>
                                      </p:cBhvr>
                                      <p:rCtr x="728" y="0"/>
                                    </p:animMotion>
                                  </p:childTnLst>
                                </p:cTn>
                              </p:par>
                              <p:par>
                                <p:cTn id="93" presetID="6" presetClass="emph" presetSubtype="0" accel="100000" autoRev="1" fill="hold" grpId="2" nodeType="withEffect">
                                  <p:stCondLst>
                                    <p:cond delay="2050"/>
                                  </p:stCondLst>
                                  <p:childTnLst>
                                    <p:animScale>
                                      <p:cBhvr>
                                        <p:cTn id="94" dur="450" fill="hold"/>
                                        <p:tgtEl>
                                          <p:spTgt spid="54"/>
                                        </p:tgtEl>
                                      </p:cBhvr>
                                      <p:by x="92000" y="92000"/>
                                    </p:animScale>
                                  </p:childTnLst>
                                </p:cTn>
                              </p:par>
                              <p:par>
                                <p:cTn id="95" presetID="10" presetClass="entr" presetSubtype="0" fill="hold" grpId="0" nodeType="withEffect">
                                  <p:stCondLst>
                                    <p:cond delay="2500"/>
                                  </p:stCondLst>
                                  <p:childTnLst>
                                    <p:set>
                                      <p:cBhvr>
                                        <p:cTn id="96" dur="1" fill="hold">
                                          <p:stCondLst>
                                            <p:cond delay="0"/>
                                          </p:stCondLst>
                                        </p:cTn>
                                        <p:tgtEl>
                                          <p:spTgt spid="41"/>
                                        </p:tgtEl>
                                        <p:attrNameLst>
                                          <p:attrName>style.visibility</p:attrName>
                                        </p:attrNameLst>
                                      </p:cBhvr>
                                      <p:to>
                                        <p:strVal val="visible"/>
                                      </p:to>
                                    </p:set>
                                    <p:animEffect transition="in" filter="fade">
                                      <p:cBhvr>
                                        <p:cTn id="97" dur="250"/>
                                        <p:tgtEl>
                                          <p:spTgt spid="41"/>
                                        </p:tgtEl>
                                      </p:cBhvr>
                                    </p:animEffect>
                                  </p:childTnLst>
                                </p:cTn>
                              </p:par>
                              <p:par>
                                <p:cTn id="98" presetID="10" presetClass="entr" presetSubtype="0" fill="hold" grpId="0" nodeType="withEffect">
                                  <p:stCondLst>
                                    <p:cond delay="2850"/>
                                  </p:stCondLst>
                                  <p:childTnLst>
                                    <p:set>
                                      <p:cBhvr>
                                        <p:cTn id="99" dur="1" fill="hold">
                                          <p:stCondLst>
                                            <p:cond delay="0"/>
                                          </p:stCondLst>
                                        </p:cTn>
                                        <p:tgtEl>
                                          <p:spTgt spid="55"/>
                                        </p:tgtEl>
                                        <p:attrNameLst>
                                          <p:attrName>style.visibility</p:attrName>
                                        </p:attrNameLst>
                                      </p:cBhvr>
                                      <p:to>
                                        <p:strVal val="visible"/>
                                      </p:to>
                                    </p:set>
                                    <p:animEffect transition="in" filter="fade">
                                      <p:cBhvr>
                                        <p:cTn id="100" dur="950"/>
                                        <p:tgtEl>
                                          <p:spTgt spid="55"/>
                                        </p:tgtEl>
                                      </p:cBhvr>
                                    </p:animEffect>
                                  </p:childTnLst>
                                </p:cTn>
                              </p:par>
                              <p:par>
                                <p:cTn id="101" presetID="63" presetClass="path" presetSubtype="0" decel="100000" fill="hold" grpId="1" nodeType="withEffect">
                                  <p:stCondLst>
                                    <p:cond delay="2850"/>
                                  </p:stCondLst>
                                  <p:childTnLst>
                                    <p:animMotion origin="layout" path="M -0.01455 3.19564E-6 L -4.75619E-6 3.19564E-6 " pathEditMode="relative" rAng="0" ptsTypes="AA">
                                      <p:cBhvr>
                                        <p:cTn id="102" dur="950" fill="hold"/>
                                        <p:tgtEl>
                                          <p:spTgt spid="55"/>
                                        </p:tgtEl>
                                        <p:attrNameLst>
                                          <p:attrName>ppt_x</p:attrName>
                                          <p:attrName>ppt_y</p:attrName>
                                        </p:attrNameLst>
                                      </p:cBhvr>
                                      <p:rCtr x="728" y="0"/>
                                    </p:animMotion>
                                  </p:childTnLst>
                                </p:cTn>
                              </p:par>
                              <p:par>
                                <p:cTn id="103" presetID="6" presetClass="emph" presetSubtype="0" accel="100000" autoRev="1" fill="hold" grpId="2" nodeType="withEffect">
                                  <p:stCondLst>
                                    <p:cond delay="2150"/>
                                  </p:stCondLst>
                                  <p:childTnLst>
                                    <p:animScale>
                                      <p:cBhvr>
                                        <p:cTn id="104" dur="500" fill="hold"/>
                                        <p:tgtEl>
                                          <p:spTgt spid="55"/>
                                        </p:tgtEl>
                                      </p:cBhvr>
                                      <p:by x="92000" y="92000"/>
                                    </p:animScale>
                                  </p:childTnLst>
                                </p:cTn>
                              </p:par>
                              <p:par>
                                <p:cTn id="105" presetID="1" presetClass="entr" presetSubtype="0" fill="hold" grpId="0" nodeType="withEffect">
                                  <p:stCondLst>
                                    <p:cond delay="2750"/>
                                  </p:stCondLst>
                                  <p:childTnLst>
                                    <p:set>
                                      <p:cBhvr>
                                        <p:cTn id="106" dur="1" fill="hold">
                                          <p:stCondLst>
                                            <p:cond delay="0"/>
                                          </p:stCondLst>
                                        </p:cTn>
                                        <p:tgtEl>
                                          <p:spTgt spid="39"/>
                                        </p:tgtEl>
                                        <p:attrNameLst>
                                          <p:attrName>style.visibility</p:attrName>
                                        </p:attrNameLst>
                                      </p:cBhvr>
                                      <p:to>
                                        <p:strVal val="visible"/>
                                      </p:to>
                                    </p:set>
                                  </p:childTnLst>
                                </p:cTn>
                              </p:par>
                              <p:par>
                                <p:cTn id="107" presetID="10" presetClass="entr" presetSubtype="0" fill="hold" grpId="0" nodeType="withEffect">
                                  <p:stCondLst>
                                    <p:cond delay="2050"/>
                                  </p:stCondLst>
                                  <p:childTnLst>
                                    <p:set>
                                      <p:cBhvr>
                                        <p:cTn id="108" dur="1" fill="hold">
                                          <p:stCondLst>
                                            <p:cond delay="0"/>
                                          </p:stCondLst>
                                        </p:cTn>
                                        <p:tgtEl>
                                          <p:spTgt spid="56"/>
                                        </p:tgtEl>
                                        <p:attrNameLst>
                                          <p:attrName>style.visibility</p:attrName>
                                        </p:attrNameLst>
                                      </p:cBhvr>
                                      <p:to>
                                        <p:strVal val="visible"/>
                                      </p:to>
                                    </p:set>
                                    <p:animEffect transition="in" filter="fade">
                                      <p:cBhvr>
                                        <p:cTn id="109" dur="950"/>
                                        <p:tgtEl>
                                          <p:spTgt spid="56"/>
                                        </p:tgtEl>
                                      </p:cBhvr>
                                    </p:animEffect>
                                  </p:childTnLst>
                                </p:cTn>
                              </p:par>
                              <p:par>
                                <p:cTn id="110" presetID="63" presetClass="path" presetSubtype="0" decel="100000" fill="hold" grpId="1" nodeType="withEffect">
                                  <p:stCondLst>
                                    <p:cond delay="2050"/>
                                  </p:stCondLst>
                                  <p:childTnLst>
                                    <p:animMotion origin="layout" path="M -0.01455 2.62823E-6 L -3.70437E-6 2.62823E-6 " pathEditMode="relative" rAng="0" ptsTypes="AA">
                                      <p:cBhvr>
                                        <p:cTn id="111" dur="950" fill="hold"/>
                                        <p:tgtEl>
                                          <p:spTgt spid="56"/>
                                        </p:tgtEl>
                                        <p:attrNameLst>
                                          <p:attrName>ppt_x</p:attrName>
                                          <p:attrName>ppt_y</p:attrName>
                                        </p:attrNameLst>
                                      </p:cBhvr>
                                      <p:rCtr x="728" y="0"/>
                                    </p:animMotion>
                                  </p:childTnLst>
                                </p:cTn>
                              </p:par>
                              <p:par>
                                <p:cTn id="112" presetID="6" presetClass="emph" presetSubtype="0" accel="100000" autoRev="1" fill="hold" grpId="2" nodeType="withEffect">
                                  <p:stCondLst>
                                    <p:cond delay="1350"/>
                                  </p:stCondLst>
                                  <p:childTnLst>
                                    <p:animScale>
                                      <p:cBhvr>
                                        <p:cTn id="113" dur="500" fill="hold"/>
                                        <p:tgtEl>
                                          <p:spTgt spid="56"/>
                                        </p:tgtEl>
                                      </p:cBhvr>
                                      <p:by x="92000" y="92000"/>
                                    </p:animScale>
                                  </p:childTnLst>
                                </p:cTn>
                              </p:par>
                              <p:par>
                                <p:cTn id="114" presetID="10" presetClass="entr" presetSubtype="0" fill="hold" grpId="0" nodeType="withEffect">
                                  <p:stCondLst>
                                    <p:cond delay="2150"/>
                                  </p:stCondLst>
                                  <p:childTnLst>
                                    <p:set>
                                      <p:cBhvr>
                                        <p:cTn id="115" dur="1" fill="hold">
                                          <p:stCondLst>
                                            <p:cond delay="0"/>
                                          </p:stCondLst>
                                        </p:cTn>
                                        <p:tgtEl>
                                          <p:spTgt spid="57"/>
                                        </p:tgtEl>
                                        <p:attrNameLst>
                                          <p:attrName>style.visibility</p:attrName>
                                        </p:attrNameLst>
                                      </p:cBhvr>
                                      <p:to>
                                        <p:strVal val="visible"/>
                                      </p:to>
                                    </p:set>
                                    <p:animEffect transition="in" filter="fade">
                                      <p:cBhvr>
                                        <p:cTn id="116" dur="950"/>
                                        <p:tgtEl>
                                          <p:spTgt spid="57"/>
                                        </p:tgtEl>
                                      </p:cBhvr>
                                    </p:animEffect>
                                  </p:childTnLst>
                                </p:cTn>
                              </p:par>
                              <p:par>
                                <p:cTn id="117" presetID="63" presetClass="path" presetSubtype="0" decel="100000" fill="hold" grpId="1" nodeType="withEffect">
                                  <p:stCondLst>
                                    <p:cond delay="2150"/>
                                  </p:stCondLst>
                                  <p:childTnLst>
                                    <p:animMotion origin="layout" path="M -0.01455 -3.0867E-6 L -3.70437E-6 -3.0867E-6 " pathEditMode="relative" rAng="0" ptsTypes="AA">
                                      <p:cBhvr>
                                        <p:cTn id="118" dur="950" fill="hold"/>
                                        <p:tgtEl>
                                          <p:spTgt spid="57"/>
                                        </p:tgtEl>
                                        <p:attrNameLst>
                                          <p:attrName>ppt_x</p:attrName>
                                          <p:attrName>ppt_y</p:attrName>
                                        </p:attrNameLst>
                                      </p:cBhvr>
                                      <p:rCtr x="728" y="0"/>
                                    </p:animMotion>
                                  </p:childTnLst>
                                </p:cTn>
                              </p:par>
                              <p:par>
                                <p:cTn id="119" presetID="6" presetClass="emph" presetSubtype="0" accel="100000" autoRev="1" fill="hold" grpId="2" nodeType="withEffect">
                                  <p:stCondLst>
                                    <p:cond delay="1450"/>
                                  </p:stCondLst>
                                  <p:childTnLst>
                                    <p:animScale>
                                      <p:cBhvr>
                                        <p:cTn id="120" dur="500" fill="hold"/>
                                        <p:tgtEl>
                                          <p:spTgt spid="57"/>
                                        </p:tgtEl>
                                      </p:cBhvr>
                                      <p:by x="92000" y="92000"/>
                                    </p:animScale>
                                  </p:childTnLst>
                                </p:cTn>
                              </p:par>
                              <p:par>
                                <p:cTn id="121" presetID="10" presetClass="entr" presetSubtype="0" fill="hold" grpId="0" nodeType="withEffect">
                                  <p:stCondLst>
                                    <p:cond delay="2250"/>
                                  </p:stCondLst>
                                  <p:childTnLst>
                                    <p:set>
                                      <p:cBhvr>
                                        <p:cTn id="122" dur="1" fill="hold">
                                          <p:stCondLst>
                                            <p:cond delay="0"/>
                                          </p:stCondLst>
                                        </p:cTn>
                                        <p:tgtEl>
                                          <p:spTgt spid="58"/>
                                        </p:tgtEl>
                                        <p:attrNameLst>
                                          <p:attrName>style.visibility</p:attrName>
                                        </p:attrNameLst>
                                      </p:cBhvr>
                                      <p:to>
                                        <p:strVal val="visible"/>
                                      </p:to>
                                    </p:set>
                                    <p:animEffect transition="in" filter="fade">
                                      <p:cBhvr>
                                        <p:cTn id="123" dur="950"/>
                                        <p:tgtEl>
                                          <p:spTgt spid="58"/>
                                        </p:tgtEl>
                                      </p:cBhvr>
                                    </p:animEffect>
                                  </p:childTnLst>
                                </p:cTn>
                              </p:par>
                              <p:par>
                                <p:cTn id="124" presetID="63" presetClass="path" presetSubtype="0" decel="100000" fill="hold" grpId="1" nodeType="withEffect">
                                  <p:stCondLst>
                                    <p:cond delay="2250"/>
                                  </p:stCondLst>
                                  <p:childTnLst>
                                    <p:animMotion origin="layout" path="M -0.01455 2.62823E-6 L -2.97166E-6 2.62823E-6 " pathEditMode="relative" rAng="0" ptsTypes="AA">
                                      <p:cBhvr>
                                        <p:cTn id="125" dur="950" fill="hold"/>
                                        <p:tgtEl>
                                          <p:spTgt spid="58"/>
                                        </p:tgtEl>
                                        <p:attrNameLst>
                                          <p:attrName>ppt_x</p:attrName>
                                          <p:attrName>ppt_y</p:attrName>
                                        </p:attrNameLst>
                                      </p:cBhvr>
                                      <p:rCtr x="728" y="0"/>
                                    </p:animMotion>
                                  </p:childTnLst>
                                </p:cTn>
                              </p:par>
                              <p:par>
                                <p:cTn id="126" presetID="6" presetClass="emph" presetSubtype="0" accel="100000" autoRev="1" fill="hold" grpId="2" nodeType="withEffect">
                                  <p:stCondLst>
                                    <p:cond delay="1550"/>
                                  </p:stCondLst>
                                  <p:childTnLst>
                                    <p:animScale>
                                      <p:cBhvr>
                                        <p:cTn id="127" dur="500" fill="hold"/>
                                        <p:tgtEl>
                                          <p:spTgt spid="58"/>
                                        </p:tgtEl>
                                      </p:cBhvr>
                                      <p:by x="92000" y="92000"/>
                                    </p:animScale>
                                  </p:childTnLst>
                                </p:cTn>
                              </p:par>
                              <p:par>
                                <p:cTn id="128" presetID="10" presetClass="entr" presetSubtype="0" fill="hold" grpId="0" nodeType="withEffect">
                                  <p:stCondLst>
                                    <p:cond delay="2350"/>
                                  </p:stCondLst>
                                  <p:childTnLst>
                                    <p:set>
                                      <p:cBhvr>
                                        <p:cTn id="129" dur="1" fill="hold">
                                          <p:stCondLst>
                                            <p:cond delay="0"/>
                                          </p:stCondLst>
                                        </p:cTn>
                                        <p:tgtEl>
                                          <p:spTgt spid="59"/>
                                        </p:tgtEl>
                                        <p:attrNameLst>
                                          <p:attrName>style.visibility</p:attrName>
                                        </p:attrNameLst>
                                      </p:cBhvr>
                                      <p:to>
                                        <p:strVal val="visible"/>
                                      </p:to>
                                    </p:set>
                                    <p:animEffect transition="in" filter="fade">
                                      <p:cBhvr>
                                        <p:cTn id="130" dur="950"/>
                                        <p:tgtEl>
                                          <p:spTgt spid="59"/>
                                        </p:tgtEl>
                                      </p:cBhvr>
                                    </p:animEffect>
                                  </p:childTnLst>
                                </p:cTn>
                              </p:par>
                              <p:par>
                                <p:cTn id="131" presetID="63" presetClass="path" presetSubtype="0" decel="100000" fill="hold" grpId="1" nodeType="withEffect">
                                  <p:stCondLst>
                                    <p:cond delay="2350"/>
                                  </p:stCondLst>
                                  <p:childTnLst>
                                    <p:animMotion origin="layout" path="M -0.01455 -3.0867E-6 L -2.97166E-6 -3.0867E-6 " pathEditMode="relative" rAng="0" ptsTypes="AA">
                                      <p:cBhvr>
                                        <p:cTn id="132" dur="950" fill="hold"/>
                                        <p:tgtEl>
                                          <p:spTgt spid="59"/>
                                        </p:tgtEl>
                                        <p:attrNameLst>
                                          <p:attrName>ppt_x</p:attrName>
                                          <p:attrName>ppt_y</p:attrName>
                                        </p:attrNameLst>
                                      </p:cBhvr>
                                      <p:rCtr x="728" y="0"/>
                                    </p:animMotion>
                                  </p:childTnLst>
                                </p:cTn>
                              </p:par>
                              <p:par>
                                <p:cTn id="133" presetID="6" presetClass="emph" presetSubtype="0" accel="100000" autoRev="1" fill="hold" grpId="2" nodeType="withEffect">
                                  <p:stCondLst>
                                    <p:cond delay="1650"/>
                                  </p:stCondLst>
                                  <p:childTnLst>
                                    <p:animScale>
                                      <p:cBhvr>
                                        <p:cTn id="134" dur="500" fill="hold"/>
                                        <p:tgtEl>
                                          <p:spTgt spid="59"/>
                                        </p:tgtEl>
                                      </p:cBhvr>
                                      <p:by x="92000" y="92000"/>
                                    </p:animScale>
                                  </p:childTnLst>
                                </p:cTn>
                              </p:par>
                              <p:par>
                                <p:cTn id="135" presetID="10" presetClass="entr" presetSubtype="0" fill="hold" grpId="0" nodeType="withEffect">
                                  <p:stCondLst>
                                    <p:cond delay="2450"/>
                                  </p:stCondLst>
                                  <p:childTnLst>
                                    <p:set>
                                      <p:cBhvr>
                                        <p:cTn id="136" dur="1" fill="hold">
                                          <p:stCondLst>
                                            <p:cond delay="0"/>
                                          </p:stCondLst>
                                        </p:cTn>
                                        <p:tgtEl>
                                          <p:spTgt spid="60"/>
                                        </p:tgtEl>
                                        <p:attrNameLst>
                                          <p:attrName>style.visibility</p:attrName>
                                        </p:attrNameLst>
                                      </p:cBhvr>
                                      <p:to>
                                        <p:strVal val="visible"/>
                                      </p:to>
                                    </p:set>
                                    <p:animEffect transition="in" filter="fade">
                                      <p:cBhvr>
                                        <p:cTn id="137" dur="950"/>
                                        <p:tgtEl>
                                          <p:spTgt spid="60"/>
                                        </p:tgtEl>
                                      </p:cBhvr>
                                    </p:animEffect>
                                  </p:childTnLst>
                                </p:cTn>
                              </p:par>
                              <p:par>
                                <p:cTn id="138" presetID="63" presetClass="path" presetSubtype="0" decel="100000" fill="hold" grpId="1" nodeType="withEffect">
                                  <p:stCondLst>
                                    <p:cond delay="2450"/>
                                  </p:stCondLst>
                                  <p:childTnLst>
                                    <p:animMotion origin="layout" path="M -0.01456 2.62823E-6 L 4.81491E-6 2.62823E-6 " pathEditMode="relative" rAng="0" ptsTypes="AA">
                                      <p:cBhvr>
                                        <p:cTn id="139" dur="950" fill="hold"/>
                                        <p:tgtEl>
                                          <p:spTgt spid="60"/>
                                        </p:tgtEl>
                                        <p:attrNameLst>
                                          <p:attrName>ppt_x</p:attrName>
                                          <p:attrName>ppt_y</p:attrName>
                                        </p:attrNameLst>
                                      </p:cBhvr>
                                      <p:rCtr x="728" y="0"/>
                                    </p:animMotion>
                                  </p:childTnLst>
                                </p:cTn>
                              </p:par>
                              <p:par>
                                <p:cTn id="140" presetID="6" presetClass="emph" presetSubtype="0" accel="100000" autoRev="1" fill="hold" grpId="2" nodeType="withEffect">
                                  <p:stCondLst>
                                    <p:cond delay="1750"/>
                                  </p:stCondLst>
                                  <p:childTnLst>
                                    <p:animScale>
                                      <p:cBhvr>
                                        <p:cTn id="141" dur="500" fill="hold"/>
                                        <p:tgtEl>
                                          <p:spTgt spid="60"/>
                                        </p:tgtEl>
                                      </p:cBhvr>
                                      <p:by x="92000" y="92000"/>
                                    </p:animScale>
                                  </p:childTnLst>
                                </p:cTn>
                              </p:par>
                              <p:par>
                                <p:cTn id="142" presetID="10" presetClass="entr" presetSubtype="0" fill="hold" grpId="0" nodeType="withEffect">
                                  <p:stCondLst>
                                    <p:cond delay="2550"/>
                                  </p:stCondLst>
                                  <p:childTnLst>
                                    <p:set>
                                      <p:cBhvr>
                                        <p:cTn id="143" dur="1" fill="hold">
                                          <p:stCondLst>
                                            <p:cond delay="0"/>
                                          </p:stCondLst>
                                        </p:cTn>
                                        <p:tgtEl>
                                          <p:spTgt spid="61"/>
                                        </p:tgtEl>
                                        <p:attrNameLst>
                                          <p:attrName>style.visibility</p:attrName>
                                        </p:attrNameLst>
                                      </p:cBhvr>
                                      <p:to>
                                        <p:strVal val="visible"/>
                                      </p:to>
                                    </p:set>
                                    <p:animEffect transition="in" filter="fade">
                                      <p:cBhvr>
                                        <p:cTn id="144" dur="950"/>
                                        <p:tgtEl>
                                          <p:spTgt spid="61"/>
                                        </p:tgtEl>
                                      </p:cBhvr>
                                    </p:animEffect>
                                  </p:childTnLst>
                                </p:cTn>
                              </p:par>
                              <p:par>
                                <p:cTn id="145" presetID="63" presetClass="path" presetSubtype="0" decel="100000" fill="hold" grpId="1" nodeType="withEffect">
                                  <p:stCondLst>
                                    <p:cond delay="2550"/>
                                  </p:stCondLst>
                                  <p:childTnLst>
                                    <p:animMotion origin="layout" path="M -0.01456 -3.0867E-6 L 4.81491E-6 -3.0867E-6 " pathEditMode="relative" rAng="0" ptsTypes="AA">
                                      <p:cBhvr>
                                        <p:cTn id="146" dur="950" fill="hold"/>
                                        <p:tgtEl>
                                          <p:spTgt spid="61"/>
                                        </p:tgtEl>
                                        <p:attrNameLst>
                                          <p:attrName>ppt_x</p:attrName>
                                          <p:attrName>ppt_y</p:attrName>
                                        </p:attrNameLst>
                                      </p:cBhvr>
                                      <p:rCtr x="728" y="0"/>
                                    </p:animMotion>
                                  </p:childTnLst>
                                </p:cTn>
                              </p:par>
                              <p:par>
                                <p:cTn id="147" presetID="6" presetClass="emph" presetSubtype="0" accel="100000" autoRev="1" fill="hold" grpId="2" nodeType="withEffect">
                                  <p:stCondLst>
                                    <p:cond delay="1850"/>
                                  </p:stCondLst>
                                  <p:childTnLst>
                                    <p:animScale>
                                      <p:cBhvr>
                                        <p:cTn id="148" dur="500" fill="hold"/>
                                        <p:tgtEl>
                                          <p:spTgt spid="61"/>
                                        </p:tgtEl>
                                      </p:cBhvr>
                                      <p:by x="92000" y="92000"/>
                                    </p:animScale>
                                  </p:childTnLst>
                                </p:cTn>
                              </p:par>
                              <p:par>
                                <p:cTn id="149" presetID="10" presetClass="entr" presetSubtype="0" fill="hold" grpId="0" nodeType="withEffect">
                                  <p:stCondLst>
                                    <p:cond delay="2650"/>
                                  </p:stCondLst>
                                  <p:childTnLst>
                                    <p:set>
                                      <p:cBhvr>
                                        <p:cTn id="150" dur="1" fill="hold">
                                          <p:stCondLst>
                                            <p:cond delay="0"/>
                                          </p:stCondLst>
                                        </p:cTn>
                                        <p:tgtEl>
                                          <p:spTgt spid="62"/>
                                        </p:tgtEl>
                                        <p:attrNameLst>
                                          <p:attrName>style.visibility</p:attrName>
                                        </p:attrNameLst>
                                      </p:cBhvr>
                                      <p:to>
                                        <p:strVal val="visible"/>
                                      </p:to>
                                    </p:set>
                                    <p:animEffect transition="in" filter="fade">
                                      <p:cBhvr>
                                        <p:cTn id="151" dur="950"/>
                                        <p:tgtEl>
                                          <p:spTgt spid="62"/>
                                        </p:tgtEl>
                                      </p:cBhvr>
                                    </p:animEffect>
                                  </p:childTnLst>
                                </p:cTn>
                              </p:par>
                              <p:par>
                                <p:cTn id="152" presetID="63" presetClass="path" presetSubtype="0" decel="100000" fill="hold" grpId="1" nodeType="withEffect">
                                  <p:stCondLst>
                                    <p:cond delay="2650"/>
                                  </p:stCondLst>
                                  <p:childTnLst>
                                    <p:animMotion origin="layout" path="M -0.01455 2.62823E-6 L 2.50191E-7 2.62823E-6 " pathEditMode="relative" rAng="0" ptsTypes="AA">
                                      <p:cBhvr>
                                        <p:cTn id="153" dur="950" fill="hold"/>
                                        <p:tgtEl>
                                          <p:spTgt spid="62"/>
                                        </p:tgtEl>
                                        <p:attrNameLst>
                                          <p:attrName>ppt_x</p:attrName>
                                          <p:attrName>ppt_y</p:attrName>
                                        </p:attrNameLst>
                                      </p:cBhvr>
                                      <p:rCtr x="728" y="0"/>
                                    </p:animMotion>
                                  </p:childTnLst>
                                </p:cTn>
                              </p:par>
                              <p:par>
                                <p:cTn id="154" presetID="6" presetClass="emph" presetSubtype="0" accel="100000" autoRev="1" fill="hold" grpId="2" nodeType="withEffect">
                                  <p:stCondLst>
                                    <p:cond delay="1950"/>
                                  </p:stCondLst>
                                  <p:childTnLst>
                                    <p:animScale>
                                      <p:cBhvr>
                                        <p:cTn id="155" dur="500" fill="hold"/>
                                        <p:tgtEl>
                                          <p:spTgt spid="62"/>
                                        </p:tgtEl>
                                      </p:cBhvr>
                                      <p:by x="92000" y="92000"/>
                                    </p:animScale>
                                  </p:childTnLst>
                                </p:cTn>
                              </p:par>
                              <p:par>
                                <p:cTn id="156" presetID="10" presetClass="entr" presetSubtype="0" fill="hold" grpId="0" nodeType="withEffect">
                                  <p:stCondLst>
                                    <p:cond delay="2750"/>
                                  </p:stCondLst>
                                  <p:childTnLst>
                                    <p:set>
                                      <p:cBhvr>
                                        <p:cTn id="157" dur="1" fill="hold">
                                          <p:stCondLst>
                                            <p:cond delay="0"/>
                                          </p:stCondLst>
                                        </p:cTn>
                                        <p:tgtEl>
                                          <p:spTgt spid="63"/>
                                        </p:tgtEl>
                                        <p:attrNameLst>
                                          <p:attrName>style.visibility</p:attrName>
                                        </p:attrNameLst>
                                      </p:cBhvr>
                                      <p:to>
                                        <p:strVal val="visible"/>
                                      </p:to>
                                    </p:set>
                                    <p:animEffect transition="in" filter="fade">
                                      <p:cBhvr>
                                        <p:cTn id="158" dur="950"/>
                                        <p:tgtEl>
                                          <p:spTgt spid="63"/>
                                        </p:tgtEl>
                                      </p:cBhvr>
                                    </p:animEffect>
                                  </p:childTnLst>
                                </p:cTn>
                              </p:par>
                              <p:par>
                                <p:cTn id="159" presetID="63" presetClass="path" presetSubtype="0" decel="100000" fill="hold" grpId="1" nodeType="withEffect">
                                  <p:stCondLst>
                                    <p:cond delay="2750"/>
                                  </p:stCondLst>
                                  <p:childTnLst>
                                    <p:animMotion origin="layout" path="M -0.01455 -3.0867E-6 L 2.50191E-7 -3.0867E-6 " pathEditMode="relative" rAng="0" ptsTypes="AA">
                                      <p:cBhvr>
                                        <p:cTn id="160" dur="950" fill="hold"/>
                                        <p:tgtEl>
                                          <p:spTgt spid="63"/>
                                        </p:tgtEl>
                                        <p:attrNameLst>
                                          <p:attrName>ppt_x</p:attrName>
                                          <p:attrName>ppt_y</p:attrName>
                                        </p:attrNameLst>
                                      </p:cBhvr>
                                      <p:rCtr x="728" y="0"/>
                                    </p:animMotion>
                                  </p:childTnLst>
                                </p:cTn>
                              </p:par>
                              <p:par>
                                <p:cTn id="161" presetID="6" presetClass="emph" presetSubtype="0" accel="100000" autoRev="1" fill="hold" grpId="2" nodeType="withEffect">
                                  <p:stCondLst>
                                    <p:cond delay="2050"/>
                                  </p:stCondLst>
                                  <p:childTnLst>
                                    <p:animScale>
                                      <p:cBhvr>
                                        <p:cTn id="162" dur="500" fill="hold"/>
                                        <p:tgtEl>
                                          <p:spTgt spid="63"/>
                                        </p:tgtEl>
                                      </p:cBhvr>
                                      <p:by x="92000" y="92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P spid="34" grpId="0" animBg="1"/>
      <p:bldP spid="35" grpId="0" animBg="1"/>
      <p:bldP spid="36" grpId="0" animBg="1"/>
      <p:bldP spid="39" grpId="0" animBg="1"/>
      <p:bldP spid="40" grpId="0" animBg="1"/>
      <p:bldP spid="41" grpId="0" animBg="1"/>
      <p:bldP spid="42" grpId="0" animBg="1"/>
      <p:bldP spid="43" grpId="0" animBg="1"/>
      <p:bldP spid="44" grpId="0" animBg="1"/>
      <p:bldP spid="45" grpId="0" animBg="1"/>
      <p:bldP spid="46" grpId="0" animBg="1"/>
      <p:bldP spid="47" grpId="0" animBg="1"/>
      <p:bldP spid="48" grpId="0">
        <p:tmplLst>
          <p:tmpl>
            <p:tnLst>
              <p:par>
                <p:cTn presetID="10" presetClass="entr" presetSubtype="0" fill="hold" nodeType="withEffect">
                  <p:stCondLst>
                    <p:cond delay="2150"/>
                  </p:stCondLst>
                  <p:childTnLst>
                    <p:set>
                      <p:cBhvr>
                        <p:cTn dur="1" fill="hold">
                          <p:stCondLst>
                            <p:cond delay="0"/>
                          </p:stCondLst>
                        </p:cTn>
                        <p:tgtEl>
                          <p:spTgt spid="48"/>
                        </p:tgtEl>
                        <p:attrNameLst>
                          <p:attrName>style.visibility</p:attrName>
                        </p:attrNameLst>
                      </p:cBhvr>
                      <p:to>
                        <p:strVal val="visible"/>
                      </p:to>
                    </p:set>
                    <p:animEffect transition="in" filter="fade">
                      <p:cBhvr>
                        <p:cTn dur="950"/>
                        <p:tgtEl>
                          <p:spTgt spid="48"/>
                        </p:tgtEl>
                      </p:cBhvr>
                    </p:animEffect>
                  </p:childTnLst>
                </p:cTn>
              </p:par>
            </p:tnLst>
          </p:tmpl>
        </p:tmplLst>
      </p:bldP>
      <p:bldP spid="48" grpId="1">
        <p:tmplLst>
          <p:tmpl>
            <p:tnLst>
              <p:par>
                <p:cTn presetID="63" presetClass="path" presetSubtype="0" decel="100000" fill="hold" nodeType="withEffect">
                  <p:stCondLst>
                    <p:cond delay="2150"/>
                  </p:stCondLst>
                  <p:childTnLst>
                    <p:animMotion origin="layout" path="M -0.01455 -3.60418E-6 L -4.00817E-6 -3.60418E-6 " pathEditMode="relative" rAng="0" ptsTypes="AA">
                      <p:cBhvr>
                        <p:cTn dur="950" fill="hold"/>
                        <p:tgtEl>
                          <p:spTgt spid="48"/>
                        </p:tgtEl>
                        <p:attrNameLst>
                          <p:attrName>ppt_x</p:attrName>
                          <p:attrName>ppt_y</p:attrName>
                        </p:attrNameLst>
                      </p:cBhvr>
                      <p:rCtr x="728" y="0"/>
                    </p:animMotion>
                  </p:childTnLst>
                </p:cTn>
              </p:par>
            </p:tnLst>
          </p:tmpl>
        </p:tmplLst>
      </p:bldP>
      <p:bldP spid="48" grpId="2">
        <p:tmplLst>
          <p:tmpl>
            <p:tnLst>
              <p:par>
                <p:cTn presetID="6" presetClass="emph" presetSubtype="0" accel="100000" autoRev="1" fill="hold" nodeType="withEffect">
                  <p:stCondLst>
                    <p:cond delay="1450"/>
                  </p:stCondLst>
                  <p:childTnLst>
                    <p:animScale>
                      <p:cBhvr>
                        <p:cTn dur="500" fill="hold"/>
                        <p:tgtEl>
                          <p:spTgt spid="48"/>
                        </p:tgtEl>
                      </p:cBhvr>
                      <p:by x="92000" y="92000"/>
                    </p:animScale>
                  </p:childTnLst>
                </p:cTn>
              </p:par>
            </p:tnLst>
          </p:tmpl>
        </p:tmplLst>
      </p:bldP>
      <p:bldP spid="49" grpId="0">
        <p:tmplLst>
          <p:tmpl>
            <p:tnLst>
              <p:par>
                <p:cTn presetID="10" presetClass="entr" presetSubtype="0" fill="hold" nodeType="withEffect">
                  <p:stCondLst>
                    <p:cond delay="2250"/>
                  </p:stCondLst>
                  <p:childTnLst>
                    <p:set>
                      <p:cBhvr>
                        <p:cTn dur="1" fill="hold">
                          <p:stCondLst>
                            <p:cond delay="0"/>
                          </p:stCondLst>
                        </p:cTn>
                        <p:tgtEl>
                          <p:spTgt spid="49"/>
                        </p:tgtEl>
                        <p:attrNameLst>
                          <p:attrName>style.visibility</p:attrName>
                        </p:attrNameLst>
                      </p:cBhvr>
                      <p:to>
                        <p:strVal val="visible"/>
                      </p:to>
                    </p:set>
                    <p:animEffect transition="in" filter="fade">
                      <p:cBhvr>
                        <p:cTn dur="950"/>
                        <p:tgtEl>
                          <p:spTgt spid="49"/>
                        </p:tgtEl>
                      </p:cBhvr>
                    </p:animEffect>
                  </p:childTnLst>
                </p:cTn>
              </p:par>
            </p:tnLst>
          </p:tmpl>
        </p:tmplLst>
      </p:bldP>
      <p:bldP spid="49" grpId="1">
        <p:tmplLst>
          <p:tmpl>
            <p:tnLst>
              <p:par>
                <p:cTn presetID="63" presetClass="path" presetSubtype="0" decel="100000" fill="hold" nodeType="withEffect">
                  <p:stCondLst>
                    <p:cond delay="2250"/>
                  </p:stCondLst>
                  <p:childTnLst>
                    <p:animMotion origin="layout" path="M -0.01455 3.19564E-6 L -4.00817E-6 3.19564E-6 " pathEditMode="relative" rAng="0" ptsTypes="AA">
                      <p:cBhvr>
                        <p:cTn dur="950" fill="hold"/>
                        <p:tgtEl>
                          <p:spTgt spid="49"/>
                        </p:tgtEl>
                        <p:attrNameLst>
                          <p:attrName>ppt_x</p:attrName>
                          <p:attrName>ppt_y</p:attrName>
                        </p:attrNameLst>
                      </p:cBhvr>
                      <p:rCtr x="728" y="0"/>
                    </p:animMotion>
                  </p:childTnLst>
                </p:cTn>
              </p:par>
            </p:tnLst>
          </p:tmpl>
        </p:tmplLst>
      </p:bldP>
      <p:bldP spid="49" grpId="2">
        <p:tmplLst>
          <p:tmpl>
            <p:tnLst>
              <p:par>
                <p:cTn presetID="6" presetClass="emph" presetSubtype="0" accel="100000" autoRev="1" fill="hold" nodeType="withEffect">
                  <p:stCondLst>
                    <p:cond delay="1550"/>
                  </p:stCondLst>
                  <p:childTnLst>
                    <p:animScale>
                      <p:cBhvr>
                        <p:cTn dur="500" fill="hold"/>
                        <p:tgtEl>
                          <p:spTgt spid="49"/>
                        </p:tgtEl>
                      </p:cBhvr>
                      <p:by x="92000" y="92000"/>
                    </p:animScale>
                  </p:childTnLst>
                </p:cTn>
              </p:par>
            </p:tnLst>
          </p:tmpl>
        </p:tmplLst>
      </p:bldP>
      <p:bldP spid="50" grpId="0">
        <p:tmplLst>
          <p:tmpl>
            <p:tnLst>
              <p:par>
                <p:cTn presetID="10" presetClass="entr" presetSubtype="0" fill="hold" nodeType="withEffect">
                  <p:stCondLst>
                    <p:cond delay="2350"/>
                  </p:stCondLst>
                  <p:childTnLst>
                    <p:set>
                      <p:cBhvr>
                        <p:cTn dur="1" fill="hold">
                          <p:stCondLst>
                            <p:cond delay="0"/>
                          </p:stCondLst>
                        </p:cTn>
                        <p:tgtEl>
                          <p:spTgt spid="50"/>
                        </p:tgtEl>
                        <p:attrNameLst>
                          <p:attrName>style.visibility</p:attrName>
                        </p:attrNameLst>
                      </p:cBhvr>
                      <p:to>
                        <p:strVal val="visible"/>
                      </p:to>
                    </p:set>
                    <p:animEffect transition="in" filter="fade">
                      <p:cBhvr>
                        <p:cTn dur="950"/>
                        <p:tgtEl>
                          <p:spTgt spid="50"/>
                        </p:tgtEl>
                      </p:cBhvr>
                    </p:animEffect>
                  </p:childTnLst>
                </p:cTn>
              </p:par>
            </p:tnLst>
          </p:tmpl>
        </p:tmplLst>
      </p:bldP>
      <p:bldP spid="50" grpId="1">
        <p:tmplLst>
          <p:tmpl>
            <p:tnLst>
              <p:par>
                <p:cTn presetID="63" presetClass="path" presetSubtype="0" decel="100000" fill="hold" nodeType="withEffect">
                  <p:stCondLst>
                    <p:cond delay="2350"/>
                  </p:stCondLst>
                  <p:childTnLst>
                    <p:animMotion origin="layout" path="M -0.01455 -3.60418E-6 L -3.29334E-7 -3.60418E-6 " pathEditMode="relative" rAng="0" ptsTypes="AA">
                      <p:cBhvr>
                        <p:cTn dur="950" fill="hold"/>
                        <p:tgtEl>
                          <p:spTgt spid="50"/>
                        </p:tgtEl>
                        <p:attrNameLst>
                          <p:attrName>ppt_x</p:attrName>
                          <p:attrName>ppt_y</p:attrName>
                        </p:attrNameLst>
                      </p:cBhvr>
                      <p:rCtr x="728" y="0"/>
                    </p:animMotion>
                  </p:childTnLst>
                </p:cTn>
              </p:par>
            </p:tnLst>
          </p:tmpl>
        </p:tmplLst>
      </p:bldP>
      <p:bldP spid="50" grpId="2">
        <p:tmplLst>
          <p:tmpl>
            <p:tnLst>
              <p:par>
                <p:cTn presetID="6" presetClass="emph" presetSubtype="0" accel="100000" autoRev="1" fill="hold" nodeType="withEffect">
                  <p:stCondLst>
                    <p:cond delay="1650"/>
                  </p:stCondLst>
                  <p:childTnLst>
                    <p:animScale>
                      <p:cBhvr>
                        <p:cTn dur="500" fill="hold"/>
                        <p:tgtEl>
                          <p:spTgt spid="50"/>
                        </p:tgtEl>
                      </p:cBhvr>
                      <p:by x="92000" y="92000"/>
                    </p:animScale>
                  </p:childTnLst>
                </p:cTn>
              </p:par>
            </p:tnLst>
          </p:tmpl>
        </p:tmplLst>
      </p:bldP>
      <p:bldP spid="51" grpId="0">
        <p:tmplLst>
          <p:tmpl>
            <p:tnLst>
              <p:par>
                <p:cTn presetID="10" presetClass="entr" presetSubtype="0" fill="hold" nodeType="withEffect">
                  <p:stCondLst>
                    <p:cond delay="2450"/>
                  </p:stCondLst>
                  <p:childTnLst>
                    <p:set>
                      <p:cBhvr>
                        <p:cTn dur="1" fill="hold">
                          <p:stCondLst>
                            <p:cond delay="0"/>
                          </p:stCondLst>
                        </p:cTn>
                        <p:tgtEl>
                          <p:spTgt spid="51"/>
                        </p:tgtEl>
                        <p:attrNameLst>
                          <p:attrName>style.visibility</p:attrName>
                        </p:attrNameLst>
                      </p:cBhvr>
                      <p:to>
                        <p:strVal val="visible"/>
                      </p:to>
                    </p:set>
                    <p:animEffect transition="in" filter="fade">
                      <p:cBhvr>
                        <p:cTn dur="950"/>
                        <p:tgtEl>
                          <p:spTgt spid="51"/>
                        </p:tgtEl>
                      </p:cBhvr>
                    </p:animEffect>
                  </p:childTnLst>
                </p:cTn>
              </p:par>
            </p:tnLst>
          </p:tmpl>
        </p:tmplLst>
      </p:bldP>
      <p:bldP spid="51" grpId="1">
        <p:tmplLst>
          <p:tmpl>
            <p:tnLst>
              <p:par>
                <p:cTn presetID="63" presetClass="path" presetSubtype="0" decel="100000" fill="hold" nodeType="withEffect">
                  <p:stCondLst>
                    <p:cond delay="2450"/>
                  </p:stCondLst>
                  <p:childTnLst>
                    <p:animMotion origin="layout" path="M -0.01455 3.19564E-6 L -3.29334E-7 3.19564E-6 " pathEditMode="relative" rAng="0" ptsTypes="AA">
                      <p:cBhvr>
                        <p:cTn dur="950" fill="hold"/>
                        <p:tgtEl>
                          <p:spTgt spid="51"/>
                        </p:tgtEl>
                        <p:attrNameLst>
                          <p:attrName>ppt_x</p:attrName>
                          <p:attrName>ppt_y</p:attrName>
                        </p:attrNameLst>
                      </p:cBhvr>
                      <p:rCtr x="728" y="0"/>
                    </p:animMotion>
                  </p:childTnLst>
                </p:cTn>
              </p:par>
            </p:tnLst>
          </p:tmpl>
        </p:tmplLst>
      </p:bldP>
      <p:bldP spid="51" grpId="2">
        <p:tmplLst>
          <p:tmpl>
            <p:tnLst>
              <p:par>
                <p:cTn presetID="6" presetClass="emph" presetSubtype="0" accel="100000" autoRev="1" fill="hold" nodeType="withEffect">
                  <p:stCondLst>
                    <p:cond delay="1750"/>
                  </p:stCondLst>
                  <p:childTnLst>
                    <p:animScale>
                      <p:cBhvr>
                        <p:cTn dur="500" fill="hold"/>
                        <p:tgtEl>
                          <p:spTgt spid="51"/>
                        </p:tgtEl>
                      </p:cBhvr>
                      <p:by x="92000" y="92000"/>
                    </p:animScale>
                  </p:childTnLst>
                </p:cTn>
              </p:par>
            </p:tnLst>
          </p:tmpl>
        </p:tmplLst>
      </p:bldP>
      <p:bldP spid="52" grpId="0">
        <p:tmplLst>
          <p:tmpl>
            <p:tnLst>
              <p:par>
                <p:cTn presetID="10" presetClass="entr" presetSubtype="0" fill="hold" nodeType="withEffect">
                  <p:stCondLst>
                    <p:cond delay="2550"/>
                  </p:stCondLst>
                  <p:childTnLst>
                    <p:set>
                      <p:cBhvr>
                        <p:cTn dur="1" fill="hold">
                          <p:stCondLst>
                            <p:cond delay="0"/>
                          </p:stCondLst>
                        </p:cTn>
                        <p:tgtEl>
                          <p:spTgt spid="52"/>
                        </p:tgtEl>
                        <p:attrNameLst>
                          <p:attrName>style.visibility</p:attrName>
                        </p:attrNameLst>
                      </p:cBhvr>
                      <p:to>
                        <p:strVal val="visible"/>
                      </p:to>
                    </p:set>
                    <p:animEffect transition="in" filter="fade">
                      <p:cBhvr>
                        <p:cTn dur="950"/>
                        <p:tgtEl>
                          <p:spTgt spid="52"/>
                        </p:tgtEl>
                      </p:cBhvr>
                    </p:animEffect>
                  </p:childTnLst>
                </p:cTn>
              </p:par>
            </p:tnLst>
          </p:tmpl>
        </p:tmplLst>
      </p:bldP>
      <p:bldP spid="52" grpId="1">
        <p:tmplLst>
          <p:tmpl>
            <p:tnLst>
              <p:par>
                <p:cTn presetID="63" presetClass="path" presetSubtype="0" decel="100000" fill="hold" nodeType="withEffect">
                  <p:stCondLst>
                    <p:cond delay="2550"/>
                  </p:stCondLst>
                  <p:childTnLst>
                    <p:animMotion origin="layout" path="M -0.01455 -3.60418E-6 L -3.73245E-6 -3.60418E-6 " pathEditMode="relative" rAng="0" ptsTypes="AA">
                      <p:cBhvr>
                        <p:cTn dur="950" fill="hold"/>
                        <p:tgtEl>
                          <p:spTgt spid="52"/>
                        </p:tgtEl>
                        <p:attrNameLst>
                          <p:attrName>ppt_x</p:attrName>
                          <p:attrName>ppt_y</p:attrName>
                        </p:attrNameLst>
                      </p:cBhvr>
                      <p:rCtr x="728" y="0"/>
                    </p:animMotion>
                  </p:childTnLst>
                </p:cTn>
              </p:par>
            </p:tnLst>
          </p:tmpl>
        </p:tmplLst>
      </p:bldP>
      <p:bldP spid="52" grpId="2">
        <p:tmplLst>
          <p:tmpl>
            <p:tnLst>
              <p:par>
                <p:cTn presetID="6" presetClass="emph" presetSubtype="0" accel="100000" autoRev="1" fill="hold" nodeType="withEffect">
                  <p:stCondLst>
                    <p:cond delay="1850"/>
                  </p:stCondLst>
                  <p:childTnLst>
                    <p:animScale>
                      <p:cBhvr>
                        <p:cTn dur="500" fill="hold"/>
                        <p:tgtEl>
                          <p:spTgt spid="52"/>
                        </p:tgtEl>
                      </p:cBhvr>
                      <p:by x="92000" y="92000"/>
                    </p:animScale>
                  </p:childTnLst>
                </p:cTn>
              </p:par>
            </p:tnLst>
          </p:tmpl>
        </p:tmplLst>
      </p:bldP>
      <p:bldP spid="53" grpId="0">
        <p:tmplLst>
          <p:tmpl>
            <p:tnLst>
              <p:par>
                <p:cTn presetID="10" presetClass="entr" presetSubtype="0" fill="hold" nodeType="withEffect">
                  <p:stCondLst>
                    <p:cond delay="2650"/>
                  </p:stCondLst>
                  <p:childTnLst>
                    <p:set>
                      <p:cBhvr>
                        <p:cTn dur="1" fill="hold">
                          <p:stCondLst>
                            <p:cond delay="0"/>
                          </p:stCondLst>
                        </p:cTn>
                        <p:tgtEl>
                          <p:spTgt spid="53"/>
                        </p:tgtEl>
                        <p:attrNameLst>
                          <p:attrName>style.visibility</p:attrName>
                        </p:attrNameLst>
                      </p:cBhvr>
                      <p:to>
                        <p:strVal val="visible"/>
                      </p:to>
                    </p:set>
                    <p:animEffect transition="in" filter="fade">
                      <p:cBhvr>
                        <p:cTn dur="950"/>
                        <p:tgtEl>
                          <p:spTgt spid="53"/>
                        </p:tgtEl>
                      </p:cBhvr>
                    </p:animEffect>
                  </p:childTnLst>
                </p:cTn>
              </p:par>
            </p:tnLst>
          </p:tmpl>
        </p:tmplLst>
      </p:bldP>
      <p:bldP spid="53" grpId="1">
        <p:tmplLst>
          <p:tmpl>
            <p:tnLst>
              <p:par>
                <p:cTn presetID="63" presetClass="path" presetSubtype="0" decel="100000" fill="hold" nodeType="withEffect">
                  <p:stCondLst>
                    <p:cond delay="2650"/>
                  </p:stCondLst>
                  <p:childTnLst>
                    <p:animMotion origin="layout" path="M -0.01455 3.19564E-6 L -3.73245E-6 3.19564E-6 " pathEditMode="relative" rAng="0" ptsTypes="AA">
                      <p:cBhvr>
                        <p:cTn dur="950" fill="hold"/>
                        <p:tgtEl>
                          <p:spTgt spid="53"/>
                        </p:tgtEl>
                        <p:attrNameLst>
                          <p:attrName>ppt_x</p:attrName>
                          <p:attrName>ppt_y</p:attrName>
                        </p:attrNameLst>
                      </p:cBhvr>
                      <p:rCtr x="728" y="0"/>
                    </p:animMotion>
                  </p:childTnLst>
                </p:cTn>
              </p:par>
            </p:tnLst>
          </p:tmpl>
        </p:tmplLst>
      </p:bldP>
      <p:bldP spid="53" grpId="2">
        <p:tmplLst>
          <p:tmpl>
            <p:tnLst>
              <p:par>
                <p:cTn presetID="6" presetClass="emph" presetSubtype="0" accel="100000" autoRev="1" fill="hold" nodeType="withEffect">
                  <p:stCondLst>
                    <p:cond delay="1950"/>
                  </p:stCondLst>
                  <p:childTnLst>
                    <p:animScale>
                      <p:cBhvr>
                        <p:cTn dur="500" fill="hold"/>
                        <p:tgtEl>
                          <p:spTgt spid="53"/>
                        </p:tgtEl>
                      </p:cBhvr>
                      <p:by x="92000" y="92000"/>
                    </p:animScale>
                  </p:childTnLst>
                </p:cTn>
              </p:par>
            </p:tnLst>
          </p:tmpl>
        </p:tmplLst>
      </p:bldP>
      <p:bldP spid="54" grpId="0">
        <p:tmplLst>
          <p:tmpl>
            <p:tnLst>
              <p:par>
                <p:cTn presetID="10" presetClass="entr" presetSubtype="0" fill="hold" nodeType="withEffect">
                  <p:stCondLst>
                    <p:cond delay="2750"/>
                  </p:stCondLst>
                  <p:childTnLst>
                    <p:set>
                      <p:cBhvr>
                        <p:cTn dur="1" fill="hold">
                          <p:stCondLst>
                            <p:cond delay="0"/>
                          </p:stCondLst>
                        </p:cTn>
                        <p:tgtEl>
                          <p:spTgt spid="54"/>
                        </p:tgtEl>
                        <p:attrNameLst>
                          <p:attrName>style.visibility</p:attrName>
                        </p:attrNameLst>
                      </p:cBhvr>
                      <p:to>
                        <p:strVal val="visible"/>
                      </p:to>
                    </p:set>
                    <p:animEffect transition="in" filter="fade">
                      <p:cBhvr>
                        <p:cTn dur="950"/>
                        <p:tgtEl>
                          <p:spTgt spid="54"/>
                        </p:tgtEl>
                      </p:cBhvr>
                    </p:animEffect>
                  </p:childTnLst>
                </p:cTn>
              </p:par>
            </p:tnLst>
          </p:tmpl>
        </p:tmplLst>
      </p:bldP>
      <p:bldP spid="54" grpId="1">
        <p:tmplLst>
          <p:tmpl>
            <p:tnLst>
              <p:par>
                <p:cTn presetID="63" presetClass="path" presetSubtype="0" decel="100000" fill="hold" nodeType="withEffect">
                  <p:stCondLst>
                    <p:cond delay="2750"/>
                  </p:stCondLst>
                  <p:childTnLst>
                    <p:animMotion origin="layout" path="M -0.01455 -3.60418E-6 L -4.75619E-6 -3.60418E-6 " pathEditMode="relative" rAng="0" ptsTypes="AA">
                      <p:cBhvr>
                        <p:cTn dur="950" fill="hold"/>
                        <p:tgtEl>
                          <p:spTgt spid="54"/>
                        </p:tgtEl>
                        <p:attrNameLst>
                          <p:attrName>ppt_x</p:attrName>
                          <p:attrName>ppt_y</p:attrName>
                        </p:attrNameLst>
                      </p:cBhvr>
                      <p:rCtr x="728" y="0"/>
                    </p:animMotion>
                  </p:childTnLst>
                </p:cTn>
              </p:par>
            </p:tnLst>
          </p:tmpl>
        </p:tmplLst>
      </p:bldP>
      <p:bldP spid="54" grpId="2">
        <p:tmplLst>
          <p:tmpl>
            <p:tnLst>
              <p:par>
                <p:cTn presetID="6" presetClass="emph" presetSubtype="0" accel="100000" autoRev="1" fill="hold" nodeType="withEffect">
                  <p:stCondLst>
                    <p:cond delay="2050"/>
                  </p:stCondLst>
                  <p:childTnLst>
                    <p:animScale>
                      <p:cBhvr>
                        <p:cTn dur="450" fill="hold"/>
                        <p:tgtEl>
                          <p:spTgt spid="54"/>
                        </p:tgtEl>
                      </p:cBhvr>
                      <p:by x="92000" y="92000"/>
                    </p:animScale>
                  </p:childTnLst>
                </p:cTn>
              </p:par>
            </p:tnLst>
          </p:tmpl>
        </p:tmplLst>
      </p:bldP>
      <p:bldP spid="55" grpId="0">
        <p:tmplLst>
          <p:tmpl>
            <p:tnLst>
              <p:par>
                <p:cTn presetID="10" presetClass="entr" presetSubtype="0" fill="hold" nodeType="withEffect">
                  <p:stCondLst>
                    <p:cond delay="2850"/>
                  </p:stCondLst>
                  <p:childTnLst>
                    <p:set>
                      <p:cBhvr>
                        <p:cTn dur="1" fill="hold">
                          <p:stCondLst>
                            <p:cond delay="0"/>
                          </p:stCondLst>
                        </p:cTn>
                        <p:tgtEl>
                          <p:spTgt spid="55"/>
                        </p:tgtEl>
                        <p:attrNameLst>
                          <p:attrName>style.visibility</p:attrName>
                        </p:attrNameLst>
                      </p:cBhvr>
                      <p:to>
                        <p:strVal val="visible"/>
                      </p:to>
                    </p:set>
                    <p:animEffect transition="in" filter="fade">
                      <p:cBhvr>
                        <p:cTn dur="950"/>
                        <p:tgtEl>
                          <p:spTgt spid="55"/>
                        </p:tgtEl>
                      </p:cBhvr>
                    </p:animEffect>
                  </p:childTnLst>
                </p:cTn>
              </p:par>
            </p:tnLst>
          </p:tmpl>
        </p:tmplLst>
      </p:bldP>
      <p:bldP spid="55" grpId="1">
        <p:tmplLst>
          <p:tmpl>
            <p:tnLst>
              <p:par>
                <p:cTn presetID="63" presetClass="path" presetSubtype="0" decel="100000" fill="hold" nodeType="withEffect">
                  <p:stCondLst>
                    <p:cond delay="2850"/>
                  </p:stCondLst>
                  <p:childTnLst>
                    <p:animMotion origin="layout" path="M -0.01455 3.19564E-6 L -4.75619E-6 3.19564E-6 " pathEditMode="relative" rAng="0" ptsTypes="AA">
                      <p:cBhvr>
                        <p:cTn dur="950" fill="hold"/>
                        <p:tgtEl>
                          <p:spTgt spid="55"/>
                        </p:tgtEl>
                        <p:attrNameLst>
                          <p:attrName>ppt_x</p:attrName>
                          <p:attrName>ppt_y</p:attrName>
                        </p:attrNameLst>
                      </p:cBhvr>
                      <p:rCtr x="728" y="0"/>
                    </p:animMotion>
                  </p:childTnLst>
                </p:cTn>
              </p:par>
            </p:tnLst>
          </p:tmpl>
        </p:tmplLst>
      </p:bldP>
      <p:bldP spid="55" grpId="2">
        <p:tmplLst>
          <p:tmpl>
            <p:tnLst>
              <p:par>
                <p:cTn presetID="6" presetClass="emph" presetSubtype="0" accel="100000" autoRev="1" fill="hold" nodeType="withEffect">
                  <p:stCondLst>
                    <p:cond delay="2150"/>
                  </p:stCondLst>
                  <p:childTnLst>
                    <p:animScale>
                      <p:cBhvr>
                        <p:cTn dur="500" fill="hold"/>
                        <p:tgtEl>
                          <p:spTgt spid="55"/>
                        </p:tgtEl>
                      </p:cBhvr>
                      <p:by x="92000" y="92000"/>
                    </p:animScale>
                  </p:childTnLst>
                </p:cTn>
              </p:par>
            </p:tnLst>
          </p:tmpl>
        </p:tmplLst>
      </p:bldP>
      <p:bldP spid="56" grpId="0">
        <p:tmplLst>
          <p:tmpl>
            <p:tnLst>
              <p:par>
                <p:cTn presetID="10" presetClass="entr" presetSubtype="0" fill="hold" nodeType="withEffect">
                  <p:stCondLst>
                    <p:cond delay="2050"/>
                  </p:stCondLst>
                  <p:childTnLst>
                    <p:set>
                      <p:cBhvr>
                        <p:cTn dur="1" fill="hold">
                          <p:stCondLst>
                            <p:cond delay="0"/>
                          </p:stCondLst>
                        </p:cTn>
                        <p:tgtEl>
                          <p:spTgt spid="56"/>
                        </p:tgtEl>
                        <p:attrNameLst>
                          <p:attrName>style.visibility</p:attrName>
                        </p:attrNameLst>
                      </p:cBhvr>
                      <p:to>
                        <p:strVal val="visible"/>
                      </p:to>
                    </p:set>
                    <p:animEffect transition="in" filter="fade">
                      <p:cBhvr>
                        <p:cTn dur="950"/>
                        <p:tgtEl>
                          <p:spTgt spid="56"/>
                        </p:tgtEl>
                      </p:cBhvr>
                    </p:animEffect>
                  </p:childTnLst>
                </p:cTn>
              </p:par>
            </p:tnLst>
          </p:tmpl>
        </p:tmplLst>
      </p:bldP>
      <p:bldP spid="56" grpId="1">
        <p:tmplLst>
          <p:tmpl>
            <p:tnLst>
              <p:par>
                <p:cTn presetID="63" presetClass="path" presetSubtype="0" decel="100000" fill="hold" nodeType="withEffect">
                  <p:stCondLst>
                    <p:cond delay="2050"/>
                  </p:stCondLst>
                  <p:childTnLst>
                    <p:animMotion origin="layout" path="M -0.01456 2.62823E-6 L 3.94435E-6 2.62823E-6 " pathEditMode="relative" rAng="0" ptsTypes="AA">
                      <p:cBhvr>
                        <p:cTn dur="950" fill="hold"/>
                        <p:tgtEl>
                          <p:spTgt spid="56"/>
                        </p:tgtEl>
                        <p:attrNameLst>
                          <p:attrName>ppt_x</p:attrName>
                          <p:attrName>ppt_y</p:attrName>
                        </p:attrNameLst>
                      </p:cBhvr>
                      <p:rCtr x="728" y="0"/>
                    </p:animMotion>
                  </p:childTnLst>
                </p:cTn>
              </p:par>
            </p:tnLst>
          </p:tmpl>
        </p:tmplLst>
      </p:bldP>
      <p:bldP spid="56" grpId="2">
        <p:tmplLst>
          <p:tmpl>
            <p:tnLst>
              <p:par>
                <p:cTn presetID="6" presetClass="emph" presetSubtype="0" accel="100000" autoRev="1" fill="hold" nodeType="withEffect">
                  <p:stCondLst>
                    <p:cond delay="1350"/>
                  </p:stCondLst>
                  <p:childTnLst>
                    <p:animScale>
                      <p:cBhvr>
                        <p:cTn dur="500" fill="hold"/>
                        <p:tgtEl>
                          <p:spTgt spid="56"/>
                        </p:tgtEl>
                      </p:cBhvr>
                      <p:by x="92000" y="92000"/>
                    </p:animScale>
                  </p:childTnLst>
                </p:cTn>
              </p:par>
            </p:tnLst>
          </p:tmpl>
        </p:tmplLst>
      </p:bldP>
      <p:bldP spid="57" grpId="0">
        <p:tmplLst>
          <p:tmpl>
            <p:tnLst>
              <p:par>
                <p:cTn presetID="10" presetClass="entr" presetSubtype="0" fill="hold" nodeType="withEffect">
                  <p:stCondLst>
                    <p:cond delay="2150"/>
                  </p:stCondLst>
                  <p:childTnLst>
                    <p:set>
                      <p:cBhvr>
                        <p:cTn dur="1" fill="hold">
                          <p:stCondLst>
                            <p:cond delay="0"/>
                          </p:stCondLst>
                        </p:cTn>
                        <p:tgtEl>
                          <p:spTgt spid="57"/>
                        </p:tgtEl>
                        <p:attrNameLst>
                          <p:attrName>style.visibility</p:attrName>
                        </p:attrNameLst>
                      </p:cBhvr>
                      <p:to>
                        <p:strVal val="visible"/>
                      </p:to>
                    </p:set>
                    <p:animEffect transition="in" filter="fade">
                      <p:cBhvr>
                        <p:cTn dur="950"/>
                        <p:tgtEl>
                          <p:spTgt spid="57"/>
                        </p:tgtEl>
                      </p:cBhvr>
                    </p:animEffect>
                  </p:childTnLst>
                </p:cTn>
              </p:par>
            </p:tnLst>
          </p:tmpl>
        </p:tmplLst>
      </p:bldP>
      <p:bldP spid="57" grpId="1">
        <p:tmplLst>
          <p:tmpl>
            <p:tnLst>
              <p:par>
                <p:cTn presetID="63" presetClass="path" presetSubtype="0" decel="100000" fill="hold" nodeType="withEffect">
                  <p:stCondLst>
                    <p:cond delay="2150"/>
                  </p:stCondLst>
                  <p:childTnLst>
                    <p:animMotion origin="layout" path="M -0.01456 3.87653E-6 L 3.94435E-6 3.87653E-6 " pathEditMode="relative" rAng="0" ptsTypes="AA">
                      <p:cBhvr>
                        <p:cTn dur="950" fill="hold"/>
                        <p:tgtEl>
                          <p:spTgt spid="57"/>
                        </p:tgtEl>
                        <p:attrNameLst>
                          <p:attrName>ppt_x</p:attrName>
                          <p:attrName>ppt_y</p:attrName>
                        </p:attrNameLst>
                      </p:cBhvr>
                      <p:rCtr x="728" y="0"/>
                    </p:animMotion>
                  </p:childTnLst>
                </p:cTn>
              </p:par>
            </p:tnLst>
          </p:tmpl>
        </p:tmplLst>
      </p:bldP>
      <p:bldP spid="57" grpId="2">
        <p:tmplLst>
          <p:tmpl>
            <p:tnLst>
              <p:par>
                <p:cTn presetID="6" presetClass="emph" presetSubtype="0" accel="100000" autoRev="1" fill="hold" nodeType="withEffect">
                  <p:stCondLst>
                    <p:cond delay="1450"/>
                  </p:stCondLst>
                  <p:childTnLst>
                    <p:animScale>
                      <p:cBhvr>
                        <p:cTn dur="500" fill="hold"/>
                        <p:tgtEl>
                          <p:spTgt spid="57"/>
                        </p:tgtEl>
                      </p:cBhvr>
                      <p:by x="92000" y="92000"/>
                    </p:animScale>
                  </p:childTnLst>
                </p:cTn>
              </p:par>
            </p:tnLst>
          </p:tmpl>
        </p:tmplLst>
      </p:bldP>
      <p:bldP spid="58" grpId="0">
        <p:tmplLst>
          <p:tmpl>
            <p:tnLst>
              <p:par>
                <p:cTn presetID="10" presetClass="entr" presetSubtype="0" fill="hold" nodeType="withEffect">
                  <p:stCondLst>
                    <p:cond delay="2250"/>
                  </p:stCondLst>
                  <p:childTnLst>
                    <p:set>
                      <p:cBhvr>
                        <p:cTn dur="1" fill="hold">
                          <p:stCondLst>
                            <p:cond delay="0"/>
                          </p:stCondLst>
                        </p:cTn>
                        <p:tgtEl>
                          <p:spTgt spid="58"/>
                        </p:tgtEl>
                        <p:attrNameLst>
                          <p:attrName>style.visibility</p:attrName>
                        </p:attrNameLst>
                      </p:cBhvr>
                      <p:to>
                        <p:strVal val="visible"/>
                      </p:to>
                    </p:set>
                    <p:animEffect transition="in" filter="fade">
                      <p:cBhvr>
                        <p:cTn dur="950"/>
                        <p:tgtEl>
                          <p:spTgt spid="58"/>
                        </p:tgtEl>
                      </p:cBhvr>
                    </p:animEffect>
                  </p:childTnLst>
                </p:cTn>
              </p:par>
            </p:tnLst>
          </p:tmpl>
        </p:tmplLst>
      </p:bldP>
      <p:bldP spid="58" grpId="1">
        <p:tmplLst>
          <p:tmpl>
            <p:tnLst>
              <p:par>
                <p:cTn presetID="63" presetClass="path" presetSubtype="0" decel="100000" fill="hold" nodeType="withEffect">
                  <p:stCondLst>
                    <p:cond delay="2250"/>
                  </p:stCondLst>
                  <p:childTnLst>
                    <p:animMotion origin="layout" path="M -0.01455 2.62823E-6 L -2.37682E-6 2.62823E-6 " pathEditMode="relative" rAng="0" ptsTypes="AA">
                      <p:cBhvr>
                        <p:cTn dur="950" fill="hold"/>
                        <p:tgtEl>
                          <p:spTgt spid="58"/>
                        </p:tgtEl>
                        <p:attrNameLst>
                          <p:attrName>ppt_x</p:attrName>
                          <p:attrName>ppt_y</p:attrName>
                        </p:attrNameLst>
                      </p:cBhvr>
                      <p:rCtr x="728" y="0"/>
                    </p:animMotion>
                  </p:childTnLst>
                </p:cTn>
              </p:par>
            </p:tnLst>
          </p:tmpl>
        </p:tmplLst>
      </p:bldP>
      <p:bldP spid="58" grpId="2">
        <p:tmplLst>
          <p:tmpl>
            <p:tnLst>
              <p:par>
                <p:cTn presetID="6" presetClass="emph" presetSubtype="0" accel="100000" autoRev="1" fill="hold" nodeType="withEffect">
                  <p:stCondLst>
                    <p:cond delay="1550"/>
                  </p:stCondLst>
                  <p:childTnLst>
                    <p:animScale>
                      <p:cBhvr>
                        <p:cTn dur="500" fill="hold"/>
                        <p:tgtEl>
                          <p:spTgt spid="58"/>
                        </p:tgtEl>
                      </p:cBhvr>
                      <p:by x="92000" y="92000"/>
                    </p:animScale>
                  </p:childTnLst>
                </p:cTn>
              </p:par>
            </p:tnLst>
          </p:tmpl>
        </p:tmplLst>
      </p:bldP>
      <p:bldP spid="59" grpId="0">
        <p:tmplLst>
          <p:tmpl>
            <p:tnLst>
              <p:par>
                <p:cTn presetID="10" presetClass="entr" presetSubtype="0" fill="hold" nodeType="withEffect">
                  <p:stCondLst>
                    <p:cond delay="2350"/>
                  </p:stCondLst>
                  <p:childTnLst>
                    <p:set>
                      <p:cBhvr>
                        <p:cTn dur="1" fill="hold">
                          <p:stCondLst>
                            <p:cond delay="0"/>
                          </p:stCondLst>
                        </p:cTn>
                        <p:tgtEl>
                          <p:spTgt spid="59"/>
                        </p:tgtEl>
                        <p:attrNameLst>
                          <p:attrName>style.visibility</p:attrName>
                        </p:attrNameLst>
                      </p:cBhvr>
                      <p:to>
                        <p:strVal val="visible"/>
                      </p:to>
                    </p:set>
                    <p:animEffect transition="in" filter="fade">
                      <p:cBhvr>
                        <p:cTn dur="950"/>
                        <p:tgtEl>
                          <p:spTgt spid="59"/>
                        </p:tgtEl>
                      </p:cBhvr>
                    </p:animEffect>
                  </p:childTnLst>
                </p:cTn>
              </p:par>
            </p:tnLst>
          </p:tmpl>
        </p:tmplLst>
      </p:bldP>
      <p:bldP spid="59" grpId="1">
        <p:tmplLst>
          <p:tmpl>
            <p:tnLst>
              <p:par>
                <p:cTn presetID="63" presetClass="path" presetSubtype="0" decel="100000" fill="hold" nodeType="withEffect">
                  <p:stCondLst>
                    <p:cond delay="2350"/>
                  </p:stCondLst>
                  <p:childTnLst>
                    <p:animMotion origin="layout" path="M -0.01455 3.87653E-6 L -2.37682E-6 3.87653E-6 " pathEditMode="relative" rAng="0" ptsTypes="AA">
                      <p:cBhvr>
                        <p:cTn dur="950" fill="hold"/>
                        <p:tgtEl>
                          <p:spTgt spid="59"/>
                        </p:tgtEl>
                        <p:attrNameLst>
                          <p:attrName>ppt_x</p:attrName>
                          <p:attrName>ppt_y</p:attrName>
                        </p:attrNameLst>
                      </p:cBhvr>
                      <p:rCtr x="728" y="0"/>
                    </p:animMotion>
                  </p:childTnLst>
                </p:cTn>
              </p:par>
            </p:tnLst>
          </p:tmpl>
        </p:tmplLst>
      </p:bldP>
      <p:bldP spid="59" grpId="2">
        <p:tmplLst>
          <p:tmpl>
            <p:tnLst>
              <p:par>
                <p:cTn presetID="6" presetClass="emph" presetSubtype="0" accel="100000" autoRev="1" fill="hold" nodeType="withEffect">
                  <p:stCondLst>
                    <p:cond delay="1650"/>
                  </p:stCondLst>
                  <p:childTnLst>
                    <p:animScale>
                      <p:cBhvr>
                        <p:cTn dur="500" fill="hold"/>
                        <p:tgtEl>
                          <p:spTgt spid="59"/>
                        </p:tgtEl>
                      </p:cBhvr>
                      <p:by x="92000" y="92000"/>
                    </p:animScale>
                  </p:childTnLst>
                </p:cTn>
              </p:par>
            </p:tnLst>
          </p:tmpl>
        </p:tmplLst>
      </p:bldP>
      <p:bldP spid="60" grpId="0">
        <p:tmplLst>
          <p:tmpl>
            <p:tnLst>
              <p:par>
                <p:cTn presetID="10" presetClass="entr" presetSubtype="0" fill="hold" nodeType="withEffect">
                  <p:stCondLst>
                    <p:cond delay="2450"/>
                  </p:stCondLst>
                  <p:childTnLst>
                    <p:set>
                      <p:cBhvr>
                        <p:cTn dur="1" fill="hold">
                          <p:stCondLst>
                            <p:cond delay="0"/>
                          </p:stCondLst>
                        </p:cTn>
                        <p:tgtEl>
                          <p:spTgt spid="60"/>
                        </p:tgtEl>
                        <p:attrNameLst>
                          <p:attrName>style.visibility</p:attrName>
                        </p:attrNameLst>
                      </p:cBhvr>
                      <p:to>
                        <p:strVal val="visible"/>
                      </p:to>
                    </p:set>
                    <p:animEffect transition="in" filter="fade">
                      <p:cBhvr>
                        <p:cTn dur="950"/>
                        <p:tgtEl>
                          <p:spTgt spid="60"/>
                        </p:tgtEl>
                      </p:cBhvr>
                    </p:animEffect>
                  </p:childTnLst>
                </p:cTn>
              </p:par>
            </p:tnLst>
          </p:tmpl>
        </p:tmplLst>
      </p:bldP>
      <p:bldP spid="60" grpId="1">
        <p:tmplLst>
          <p:tmpl>
            <p:tnLst>
              <p:par>
                <p:cTn presetID="63" presetClass="path" presetSubtype="0" decel="100000" fill="hold" nodeType="withEffect">
                  <p:stCondLst>
                    <p:cond delay="2450"/>
                  </p:stCondLst>
                  <p:childTnLst>
                    <p:animMotion origin="layout" path="M -0.01456 2.62823E-6 L 4.22007E-6 2.62823E-6 " pathEditMode="relative" rAng="0" ptsTypes="AA">
                      <p:cBhvr>
                        <p:cTn dur="950" fill="hold"/>
                        <p:tgtEl>
                          <p:spTgt spid="60"/>
                        </p:tgtEl>
                        <p:attrNameLst>
                          <p:attrName>ppt_x</p:attrName>
                          <p:attrName>ppt_y</p:attrName>
                        </p:attrNameLst>
                      </p:cBhvr>
                      <p:rCtr x="728" y="0"/>
                    </p:animMotion>
                  </p:childTnLst>
                </p:cTn>
              </p:par>
            </p:tnLst>
          </p:tmpl>
        </p:tmplLst>
      </p:bldP>
      <p:bldP spid="60" grpId="2">
        <p:tmplLst>
          <p:tmpl>
            <p:tnLst>
              <p:par>
                <p:cTn presetID="6" presetClass="emph" presetSubtype="0" accel="100000" autoRev="1" fill="hold" nodeType="withEffect">
                  <p:stCondLst>
                    <p:cond delay="1750"/>
                  </p:stCondLst>
                  <p:childTnLst>
                    <p:animScale>
                      <p:cBhvr>
                        <p:cTn dur="500" fill="hold"/>
                        <p:tgtEl>
                          <p:spTgt spid="60"/>
                        </p:tgtEl>
                      </p:cBhvr>
                      <p:by x="92000" y="92000"/>
                    </p:animScale>
                  </p:childTnLst>
                </p:cTn>
              </p:par>
            </p:tnLst>
          </p:tmpl>
        </p:tmplLst>
      </p:bldP>
      <p:bldP spid="61" grpId="0">
        <p:tmplLst>
          <p:tmpl>
            <p:tnLst>
              <p:par>
                <p:cTn presetID="10" presetClass="entr" presetSubtype="0" fill="hold" nodeType="withEffect">
                  <p:stCondLst>
                    <p:cond delay="2550"/>
                  </p:stCondLst>
                  <p:childTnLst>
                    <p:set>
                      <p:cBhvr>
                        <p:cTn dur="1" fill="hold">
                          <p:stCondLst>
                            <p:cond delay="0"/>
                          </p:stCondLst>
                        </p:cTn>
                        <p:tgtEl>
                          <p:spTgt spid="61"/>
                        </p:tgtEl>
                        <p:attrNameLst>
                          <p:attrName>style.visibility</p:attrName>
                        </p:attrNameLst>
                      </p:cBhvr>
                      <p:to>
                        <p:strVal val="visible"/>
                      </p:to>
                    </p:set>
                    <p:animEffect transition="in" filter="fade">
                      <p:cBhvr>
                        <p:cTn dur="950"/>
                        <p:tgtEl>
                          <p:spTgt spid="61"/>
                        </p:tgtEl>
                      </p:cBhvr>
                    </p:animEffect>
                  </p:childTnLst>
                </p:cTn>
              </p:par>
            </p:tnLst>
          </p:tmpl>
        </p:tmplLst>
      </p:bldP>
      <p:bldP spid="61" grpId="1">
        <p:tmplLst>
          <p:tmpl>
            <p:tnLst>
              <p:par>
                <p:cTn presetID="63" presetClass="path" presetSubtype="0" decel="100000" fill="hold" nodeType="withEffect">
                  <p:stCondLst>
                    <p:cond delay="2550"/>
                  </p:stCondLst>
                  <p:childTnLst>
                    <p:animMotion origin="layout" path="M -0.01456 3.87653E-6 L 4.22007E-6 3.87653E-6 " pathEditMode="relative" rAng="0" ptsTypes="AA">
                      <p:cBhvr>
                        <p:cTn dur="950" fill="hold"/>
                        <p:tgtEl>
                          <p:spTgt spid="61"/>
                        </p:tgtEl>
                        <p:attrNameLst>
                          <p:attrName>ppt_x</p:attrName>
                          <p:attrName>ppt_y</p:attrName>
                        </p:attrNameLst>
                      </p:cBhvr>
                      <p:rCtr x="728" y="0"/>
                    </p:animMotion>
                  </p:childTnLst>
                </p:cTn>
              </p:par>
            </p:tnLst>
          </p:tmpl>
        </p:tmplLst>
      </p:bldP>
      <p:bldP spid="61" grpId="2">
        <p:tmplLst>
          <p:tmpl>
            <p:tnLst>
              <p:par>
                <p:cTn presetID="6" presetClass="emph" presetSubtype="0" accel="100000" autoRev="1" fill="hold" nodeType="withEffect">
                  <p:stCondLst>
                    <p:cond delay="1850"/>
                  </p:stCondLst>
                  <p:childTnLst>
                    <p:animScale>
                      <p:cBhvr>
                        <p:cTn dur="500" fill="hold"/>
                        <p:tgtEl>
                          <p:spTgt spid="61"/>
                        </p:tgtEl>
                      </p:cBhvr>
                      <p:by x="92000" y="92000"/>
                    </p:animScale>
                  </p:childTnLst>
                </p:cTn>
              </p:par>
            </p:tnLst>
          </p:tmpl>
        </p:tmplLst>
      </p:bldP>
      <p:bldP spid="62" grpId="0">
        <p:tmplLst>
          <p:tmpl>
            <p:tnLst>
              <p:par>
                <p:cTn presetID="10" presetClass="entr" presetSubtype="0" fill="hold" nodeType="withEffect">
                  <p:stCondLst>
                    <p:cond delay="2650"/>
                  </p:stCondLst>
                  <p:childTnLst>
                    <p:set>
                      <p:cBhvr>
                        <p:cTn dur="1" fill="hold">
                          <p:stCondLst>
                            <p:cond delay="0"/>
                          </p:stCondLst>
                        </p:cTn>
                        <p:tgtEl>
                          <p:spTgt spid="62"/>
                        </p:tgtEl>
                        <p:attrNameLst>
                          <p:attrName>style.visibility</p:attrName>
                        </p:attrNameLst>
                      </p:cBhvr>
                      <p:to>
                        <p:strVal val="visible"/>
                      </p:to>
                    </p:set>
                    <p:animEffect transition="in" filter="fade">
                      <p:cBhvr>
                        <p:cTn dur="950"/>
                        <p:tgtEl>
                          <p:spTgt spid="62"/>
                        </p:tgtEl>
                      </p:cBhvr>
                    </p:animEffect>
                  </p:childTnLst>
                </p:cTn>
              </p:par>
            </p:tnLst>
          </p:tmpl>
        </p:tmplLst>
      </p:bldP>
      <p:bldP spid="62" grpId="1">
        <p:tmplLst>
          <p:tmpl>
            <p:tnLst>
              <p:par>
                <p:cTn presetID="63" presetClass="path" presetSubtype="0" decel="100000" fill="hold" nodeType="withEffect">
                  <p:stCondLst>
                    <p:cond delay="2650"/>
                  </p:stCondLst>
                  <p:childTnLst>
                    <p:animMotion origin="layout" path="M -0.01456 2.62823E-6 L 3.19632E-6 2.62823E-6 " pathEditMode="relative" rAng="0" ptsTypes="AA">
                      <p:cBhvr>
                        <p:cTn dur="950" fill="hold"/>
                        <p:tgtEl>
                          <p:spTgt spid="62"/>
                        </p:tgtEl>
                        <p:attrNameLst>
                          <p:attrName>ppt_x</p:attrName>
                          <p:attrName>ppt_y</p:attrName>
                        </p:attrNameLst>
                      </p:cBhvr>
                      <p:rCtr x="728" y="0"/>
                    </p:animMotion>
                  </p:childTnLst>
                </p:cTn>
              </p:par>
            </p:tnLst>
          </p:tmpl>
        </p:tmplLst>
      </p:bldP>
      <p:bldP spid="62" grpId="2">
        <p:tmplLst>
          <p:tmpl>
            <p:tnLst>
              <p:par>
                <p:cTn presetID="6" presetClass="emph" presetSubtype="0" accel="100000" autoRev="1" fill="hold" nodeType="withEffect">
                  <p:stCondLst>
                    <p:cond delay="1950"/>
                  </p:stCondLst>
                  <p:childTnLst>
                    <p:animScale>
                      <p:cBhvr>
                        <p:cTn dur="500" fill="hold"/>
                        <p:tgtEl>
                          <p:spTgt spid="62"/>
                        </p:tgtEl>
                      </p:cBhvr>
                      <p:by x="92000" y="92000"/>
                    </p:animScale>
                  </p:childTnLst>
                </p:cTn>
              </p:par>
            </p:tnLst>
          </p:tmpl>
        </p:tmplLst>
      </p:bldP>
      <p:bldP spid="63" grpId="0">
        <p:tmplLst>
          <p:tmpl>
            <p:tnLst>
              <p:par>
                <p:cTn presetID="10" presetClass="entr" presetSubtype="0" fill="hold" nodeType="withEffect">
                  <p:stCondLst>
                    <p:cond delay="2750"/>
                  </p:stCondLst>
                  <p:childTnLst>
                    <p:set>
                      <p:cBhvr>
                        <p:cTn dur="1" fill="hold">
                          <p:stCondLst>
                            <p:cond delay="0"/>
                          </p:stCondLst>
                        </p:cTn>
                        <p:tgtEl>
                          <p:spTgt spid="63"/>
                        </p:tgtEl>
                        <p:attrNameLst>
                          <p:attrName>style.visibility</p:attrName>
                        </p:attrNameLst>
                      </p:cBhvr>
                      <p:to>
                        <p:strVal val="visible"/>
                      </p:to>
                    </p:set>
                    <p:animEffect transition="in" filter="fade">
                      <p:cBhvr>
                        <p:cTn dur="950"/>
                        <p:tgtEl>
                          <p:spTgt spid="63"/>
                        </p:tgtEl>
                      </p:cBhvr>
                    </p:animEffect>
                  </p:childTnLst>
                </p:cTn>
              </p:par>
            </p:tnLst>
          </p:tmpl>
        </p:tmplLst>
      </p:bldP>
      <p:bldP spid="63" grpId="1">
        <p:tmplLst>
          <p:tmpl>
            <p:tnLst>
              <p:par>
                <p:cTn presetID="63" presetClass="path" presetSubtype="0" decel="100000" fill="hold" nodeType="withEffect">
                  <p:stCondLst>
                    <p:cond delay="2750"/>
                  </p:stCondLst>
                  <p:childTnLst>
                    <p:animMotion origin="layout" path="M -0.01456 3.87653E-6 L 3.19632E-6 3.87653E-6 " pathEditMode="relative" rAng="0" ptsTypes="AA">
                      <p:cBhvr>
                        <p:cTn dur="950" fill="hold"/>
                        <p:tgtEl>
                          <p:spTgt spid="63"/>
                        </p:tgtEl>
                        <p:attrNameLst>
                          <p:attrName>ppt_x</p:attrName>
                          <p:attrName>ppt_y</p:attrName>
                        </p:attrNameLst>
                      </p:cBhvr>
                      <p:rCtr x="728" y="0"/>
                    </p:animMotion>
                  </p:childTnLst>
                </p:cTn>
              </p:par>
            </p:tnLst>
          </p:tmpl>
        </p:tmplLst>
      </p:bldP>
      <p:bldP spid="63" grpId="2">
        <p:tmplLst>
          <p:tmpl>
            <p:tnLst>
              <p:par>
                <p:cTn presetID="6" presetClass="emph" presetSubtype="0" accel="100000" autoRev="1" fill="hold" nodeType="withEffect">
                  <p:stCondLst>
                    <p:cond delay="2050"/>
                  </p:stCondLst>
                  <p:childTnLst>
                    <p:animScale>
                      <p:cBhvr>
                        <p:cTn dur="500" fill="hold"/>
                        <p:tgtEl>
                          <p:spTgt spid="63"/>
                        </p:tgtEl>
                      </p:cBhvr>
                      <p:by x="92000" y="92000"/>
                    </p:animScale>
                  </p:childTnLst>
                </p:cTn>
              </p:par>
            </p:tnLst>
          </p:tmpl>
        </p:tmplLst>
      </p:bldP>
    </p:bld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699" y="1447801"/>
            <a:ext cx="5433533" cy="1178442"/>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smtClean="0"/>
              <a:t>Click to edit Master text styles.</a:t>
            </a:r>
          </a:p>
        </p:txBody>
      </p:sp>
      <p:sp>
        <p:nvSpPr>
          <p:cNvPr id="10"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sp>
        <p:nvSpPr>
          <p:cNvPr id="9" name="Content Placeholder 5"/>
          <p:cNvSpPr>
            <a:spLocks noGrp="1"/>
          </p:cNvSpPr>
          <p:nvPr>
            <p:ph sz="quarter" idx="13"/>
          </p:nvPr>
        </p:nvSpPr>
        <p:spPr>
          <a:xfrm>
            <a:off x="520699" y="2734985"/>
            <a:ext cx="5444165"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smtClean="0"/>
              <a:t>Click to edit Master text styles</a:t>
            </a:r>
          </a:p>
        </p:txBody>
      </p:sp>
      <p:sp>
        <p:nvSpPr>
          <p:cNvPr id="4" name="Picture Placeholder 3"/>
          <p:cNvSpPr>
            <a:spLocks noGrp="1"/>
          </p:cNvSpPr>
          <p:nvPr>
            <p:ph type="pic" sz="quarter" idx="14" hasCustomPrompt="1"/>
          </p:nvPr>
        </p:nvSpPr>
        <p:spPr>
          <a:xfrm>
            <a:off x="6208713" y="0"/>
            <a:ext cx="5980112" cy="6858000"/>
          </a:xfrm>
        </p:spPr>
        <p:txBody>
          <a:bodyPr lIns="182880" anchor="ctr"/>
          <a:lstStyle>
            <a:lvl1pPr marL="0" indent="0" algn="l">
              <a:buNone/>
              <a:defRPr/>
            </a:lvl1pPr>
          </a:lstStyle>
          <a:p>
            <a:r>
              <a:rPr lang="en-US" dirty="0" smtClean="0"/>
              <a:t>Click to insert photo.</a:t>
            </a:r>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3857246188"/>
      </p:ext>
    </p:extLst>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3" tIns="45703" rIns="45703" bIns="45703" numCol="1" spcCol="0" rtlCol="0" fromWordArt="0" anchor="ctr" anchorCtr="0" forceAA="0" compatLnSpc="1">
            <a:prstTxWarp prst="textNoShape">
              <a:avLst/>
            </a:prstTxWarp>
            <a:noAutofit/>
          </a:bodyPr>
          <a:lstStyle/>
          <a:p>
            <a:pPr algn="ctr" defTabSz="913653" fontAlgn="base">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69" y="1192417"/>
            <a:ext cx="11650487" cy="2089751"/>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5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12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78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232769742"/>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70" y="1189179"/>
            <a:ext cx="11650488" cy="2396047"/>
          </a:xfrm>
          <a:prstGeom prst="rect">
            <a:avLst/>
          </a:prstGeom>
        </p:spPr>
        <p:txBody>
          <a:bodyPr/>
          <a:lstStyle>
            <a:lvl1pPr marL="284650" indent="-284650">
              <a:buClr>
                <a:schemeClr val="tx1"/>
              </a:buClr>
              <a:buSzPct val="90000"/>
              <a:buFont typeface="Wingdings" panose="05000000000000000000" pitchFamily="2" charset="2"/>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966" indent="-275318">
              <a:buClr>
                <a:schemeClr val="tx1"/>
              </a:buClr>
              <a:buSzPct val="90000"/>
              <a:buFont typeface="Wingdings" panose="05000000000000000000" pitchFamily="2" charset="2"/>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616" indent="-284650">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602" indent="-223987">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588" indent="-223987">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1171295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28542" y="3905563"/>
            <a:ext cx="6271784" cy="514037"/>
          </a:xfrm>
          <a:noFill/>
        </p:spPr>
        <p:txBody>
          <a:bodyPr lIns="146304" tIns="109728" rIns="146304" bIns="109728">
            <a:noAutofit/>
          </a:bodyPr>
          <a:lstStyle>
            <a:lvl1pPr marL="0" indent="0">
              <a:spcBef>
                <a:spcPts val="0"/>
              </a:spcBef>
              <a:buNone/>
              <a:defRPr sz="2799" spc="0" baseline="0">
                <a:gradFill>
                  <a:gsLst>
                    <a:gs pos="0">
                      <a:schemeClr val="tx1"/>
                    </a:gs>
                    <a:gs pos="100000">
                      <a:schemeClr val="tx1"/>
                    </a:gs>
                  </a:gsLst>
                  <a:lin ang="5400000" scaled="0"/>
                </a:gradFill>
                <a:latin typeface="Segoe UI Light" panose="020B0502040204020203" pitchFamily="34" charset="0"/>
                <a:cs typeface="Segoe UI Light" panose="020B0502040204020203" pitchFamily="34" charset="0"/>
              </a:defRPr>
            </a:lvl1pPr>
          </a:lstStyle>
          <a:p>
            <a:pPr lvl="0"/>
            <a:r>
              <a:rPr lang="en-US" dirty="0" smtClean="0"/>
              <a:t>Speaker name</a:t>
            </a:r>
          </a:p>
        </p:txBody>
      </p:sp>
      <p:sp>
        <p:nvSpPr>
          <p:cNvPr id="9" name="Title 1"/>
          <p:cNvSpPr>
            <a:spLocks noGrp="1"/>
          </p:cNvSpPr>
          <p:nvPr>
            <p:ph type="title" hasCustomPrompt="1"/>
          </p:nvPr>
        </p:nvSpPr>
        <p:spPr>
          <a:xfrm>
            <a:off x="228541" y="2075840"/>
            <a:ext cx="9858042" cy="1801436"/>
          </a:xfrm>
          <a:noFill/>
        </p:spPr>
        <p:txBody>
          <a:bodyPr lIns="146304" tIns="91440" rIns="146304" bIns="91440" anchor="t" anchorCtr="0"/>
          <a:lstStyle>
            <a:lvl1pPr>
              <a:defRPr sz="5996" spc="-98"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11" name="Footer Placeholder 6"/>
          <p:cNvSpPr txBox="1">
            <a:spLocks/>
          </p:cNvSpPr>
          <p:nvPr userDrawn="1"/>
        </p:nvSpPr>
        <p:spPr>
          <a:xfrm>
            <a:off x="10526714" y="6553200"/>
            <a:ext cx="1663258"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dirty="0" smtClean="0">
                <a:solidFill>
                  <a:prstClr val="white"/>
                </a:solidFill>
              </a:rPr>
              <a:t>MICROSOFT CONFIDENTI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269234" y="480504"/>
            <a:ext cx="2557077" cy="547905"/>
          </a:xfrm>
          <a:prstGeom prst="rect">
            <a:avLst/>
          </a:prstGeom>
        </p:spPr>
      </p:pic>
    </p:spTree>
    <p:extLst>
      <p:ext uri="{BB962C8B-B14F-4D97-AF65-F5344CB8AC3E}">
        <p14:creationId xmlns:p14="http://schemas.microsoft.com/office/powerpoint/2010/main" val="14074173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144">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6"/>
            <a:ext cx="5377147" cy="2491607"/>
          </a:xfrm>
        </p:spPr>
        <p:txBody>
          <a:bodyPr wrap="square">
            <a:spAutoFit/>
          </a:bodyPr>
          <a:lstStyle>
            <a:lvl1pPr marL="0" indent="0">
              <a:spcBef>
                <a:spcPts val="1200"/>
              </a:spcBef>
              <a:buClr>
                <a:schemeClr val="tx1"/>
              </a:buClr>
              <a:buFont typeface="Wingdings" pitchFamily="2" charset="2"/>
              <a:buNone/>
              <a:defRPr sz="3499">
                <a:gradFill>
                  <a:gsLst>
                    <a:gs pos="1250">
                      <a:schemeClr val="tx2"/>
                    </a:gs>
                    <a:gs pos="99000">
                      <a:schemeClr val="tx2"/>
                    </a:gs>
                  </a:gsLst>
                  <a:lin ang="5400000" scaled="0"/>
                </a:gradFill>
              </a:defRPr>
            </a:lvl1pPr>
            <a:lvl2pPr marL="0" indent="0">
              <a:buNone/>
              <a:defRPr sz="1999"/>
            </a:lvl2pPr>
            <a:lvl3pPr marL="227097" indent="0">
              <a:buNone/>
              <a:tabLst/>
              <a:defRPr sz="1999"/>
            </a:lvl3pPr>
            <a:lvl4pPr marL="451084" indent="0">
              <a:buNone/>
              <a:defRPr/>
            </a:lvl4pPr>
            <a:lvl5pPr marL="67195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91607"/>
          </a:xfrm>
        </p:spPr>
        <p:txBody>
          <a:bodyPr wrap="square">
            <a:spAutoFit/>
          </a:bodyPr>
          <a:lstStyle>
            <a:lvl1pPr marL="0" indent="0">
              <a:spcBef>
                <a:spcPts val="1200"/>
              </a:spcBef>
              <a:buClr>
                <a:schemeClr val="tx1"/>
              </a:buClr>
              <a:buFont typeface="Wingdings" pitchFamily="2" charset="2"/>
              <a:buNone/>
              <a:defRPr sz="3499">
                <a:gradFill>
                  <a:gsLst>
                    <a:gs pos="1250">
                      <a:schemeClr val="tx2"/>
                    </a:gs>
                    <a:gs pos="99000">
                      <a:schemeClr val="tx2"/>
                    </a:gs>
                  </a:gsLst>
                  <a:lin ang="5400000" scaled="0"/>
                </a:gradFill>
              </a:defRPr>
            </a:lvl1pPr>
            <a:lvl2pPr marL="0" indent="0">
              <a:buNone/>
              <a:defRPr sz="1999"/>
            </a:lvl2pPr>
            <a:lvl3pPr marL="227097" indent="0">
              <a:buNone/>
              <a:tabLst/>
              <a:defRPr sz="1999"/>
            </a:lvl3pPr>
            <a:lvl4pPr marL="451084" indent="0">
              <a:buNone/>
              <a:defRPr/>
            </a:lvl4pPr>
            <a:lvl5pPr marL="67195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Date Placeholder 2"/>
          <p:cNvSpPr>
            <a:spLocks noGrp="1"/>
          </p:cNvSpPr>
          <p:nvPr>
            <p:ph type="dt" sz="half" idx="12"/>
          </p:nvPr>
        </p:nvSpPr>
        <p:spPr>
          <a:xfrm>
            <a:off x="6938850" y="6356802"/>
            <a:ext cx="2741474" cy="364224"/>
          </a:xfrm>
          <a:prstGeom prst="rect">
            <a:avLst/>
          </a:prstGeom>
        </p:spPr>
        <p:txBody>
          <a:bodyPr lIns="89639" tIns="44819" rIns="89639" bIns="44819"/>
          <a:lstStyle/>
          <a:p>
            <a:pPr defTabSz="913951"/>
            <a:fld id="{D2467E7F-CF77-45C3-A44E-ED167671D9A0}" type="datetime1">
              <a:rPr lang="en-US" smtClean="0">
                <a:solidFill>
                  <a:srgbClr val="1A1A1A"/>
                </a:solidFill>
              </a:rPr>
              <a:pPr defTabSz="913951"/>
              <a:t>2/9/2015</a:t>
            </a:fld>
            <a:endParaRPr lang="en-US">
              <a:solidFill>
                <a:srgbClr val="1A1A1A"/>
              </a:solidFill>
            </a:endParaRPr>
          </a:p>
        </p:txBody>
      </p:sp>
      <p:sp>
        <p:nvSpPr>
          <p:cNvPr id="8" name="Slide Number Placeholder 7"/>
          <p:cNvSpPr>
            <a:spLocks noGrp="1"/>
          </p:cNvSpPr>
          <p:nvPr>
            <p:ph type="sldNum" sz="quarter" idx="14"/>
          </p:nvPr>
        </p:nvSpPr>
        <p:spPr>
          <a:xfrm>
            <a:off x="11443556" y="6356803"/>
            <a:ext cx="476103" cy="364224"/>
          </a:xfrm>
          <a:prstGeom prst="rect">
            <a:avLst/>
          </a:prstGeom>
        </p:spPr>
        <p:txBody>
          <a:bodyPr lIns="89639" tIns="44819" rIns="89639" bIns="44819"/>
          <a:lstStyle/>
          <a:p>
            <a:pPr defTabSz="913951"/>
            <a:fld id="{2775DF8E-1151-4C45-8C93-3AB060627CA9}" type="slidenum">
              <a:rPr lang="en-US" smtClean="0">
                <a:solidFill>
                  <a:srgbClr val="1A1A1A"/>
                </a:solidFill>
              </a:rPr>
              <a:pPr defTabSz="913951"/>
              <a:t>‹#›</a:t>
            </a:fld>
            <a:endParaRPr lang="en-US">
              <a:solidFill>
                <a:srgbClr val="1A1A1A"/>
              </a:solidFill>
            </a:endParaRPr>
          </a:p>
        </p:txBody>
      </p:sp>
      <p:pic>
        <p:nvPicPr>
          <p:cNvPr id="10" name="Picture 9"/>
          <p:cNvPicPr>
            <a:picLocks noChangeAspect="1"/>
          </p:cNvPicPr>
          <p:nvPr userDrawn="1"/>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66969" y="6260887"/>
            <a:ext cx="1350186" cy="457242"/>
          </a:xfrm>
          <a:prstGeom prst="rect">
            <a:avLst/>
          </a:prstGeom>
        </p:spPr>
      </p:pic>
    </p:spTree>
    <p:extLst>
      <p:ext uri="{BB962C8B-B14F-4D97-AF65-F5344CB8AC3E}">
        <p14:creationId xmlns:p14="http://schemas.microsoft.com/office/powerpoint/2010/main" val="3876782981"/>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16" name="Title 1"/>
          <p:cNvSpPr>
            <a:spLocks noGrp="1"/>
          </p:cNvSpPr>
          <p:nvPr>
            <p:ph type="title"/>
          </p:nvPr>
        </p:nvSpPr>
        <p:spPr>
          <a:xfrm>
            <a:off x="303963" y="87503"/>
            <a:ext cx="11031626" cy="910024"/>
          </a:xfrm>
        </p:spPr>
        <p:txBody>
          <a:bodyPr lIns="0">
            <a:normAutofit/>
          </a:bodyPr>
          <a:lstStyle>
            <a:lvl1pPr algn="l">
              <a:defRPr sz="3731"/>
            </a:lvl1pPr>
          </a:lstStyle>
          <a:p>
            <a:r>
              <a:rPr lang="en-US" dirty="0" smtClean="0"/>
              <a:t>Click to edit Master title style</a:t>
            </a:r>
            <a:endParaRPr lang="en-US" dirty="0"/>
          </a:p>
        </p:txBody>
      </p:sp>
      <p:sp>
        <p:nvSpPr>
          <p:cNvPr id="15" name="Content Placeholder 14"/>
          <p:cNvSpPr>
            <a:spLocks noGrp="1"/>
          </p:cNvSpPr>
          <p:nvPr>
            <p:ph sz="quarter" idx="18"/>
          </p:nvPr>
        </p:nvSpPr>
        <p:spPr>
          <a:xfrm>
            <a:off x="560570" y="1507482"/>
            <a:ext cx="9570002" cy="2514617"/>
          </a:xfrm>
        </p:spPr>
        <p:txBody>
          <a:bodyPr/>
          <a:lstStyle>
            <a:lvl1pPr>
              <a:lnSpc>
                <a:spcPct val="100000"/>
              </a:lnSpc>
              <a:spcBef>
                <a:spcPts val="800"/>
              </a:spcBef>
              <a:defRPr/>
            </a:lvl1pPr>
            <a:lvl2pPr>
              <a:lnSpc>
                <a:spcPct val="100000"/>
              </a:lnSpc>
              <a:spcBef>
                <a:spcPts val="800"/>
              </a:spcBef>
              <a:defRPr/>
            </a:lvl2pPr>
            <a:lvl3pPr>
              <a:lnSpc>
                <a:spcPct val="100000"/>
              </a:lnSpc>
              <a:spcBef>
                <a:spcPts val="800"/>
              </a:spcBef>
              <a:defRPr/>
            </a:lvl3pPr>
            <a:lvl4pPr>
              <a:lnSpc>
                <a:spcPct val="100000"/>
              </a:lnSpc>
              <a:spcBef>
                <a:spcPts val="800"/>
              </a:spcBef>
              <a:defRPr/>
            </a:lvl4pPr>
            <a:lvl5pPr>
              <a:lnSpc>
                <a:spcPct val="100000"/>
              </a:lnSpc>
              <a:spcBef>
                <a:spcPts val="800"/>
              </a:spcBef>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863599504"/>
      </p:ext>
    </p:extLst>
  </p:cSld>
  <p:clrMapOvr>
    <a:masterClrMapping/>
  </p:clrMapOvr>
  <p:transition spd="med">
    <p:pull/>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1_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550639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12" name="Text Placeholder 12"/>
          <p:cNvSpPr>
            <a:spLocks noGrp="1"/>
          </p:cNvSpPr>
          <p:nvPr>
            <p:ph type="body" sz="quarter" idx="13" hasCustomPrompt="1"/>
          </p:nvPr>
        </p:nvSpPr>
        <p:spPr>
          <a:xfrm>
            <a:off x="560569" y="1446215"/>
            <a:ext cx="10982750" cy="304801"/>
          </a:xfrm>
        </p:spPr>
        <p:txBody>
          <a:bodyPr lIns="0" anchor="ctr" anchorCtr="0">
            <a:noAutofit/>
          </a:bodyPr>
          <a:lstStyle>
            <a:lvl1pPr marL="0" indent="0" algn="l">
              <a:buFont typeface="Arial" pitchFamily="34" charset="0"/>
              <a:buNone/>
              <a:defRPr sz="1865" b="0" cap="all" spc="0" baseline="0">
                <a:solidFill>
                  <a:schemeClr val="tx1">
                    <a:lumMod val="75000"/>
                    <a:lumOff val="25000"/>
                  </a:schemeClr>
                </a:solidFill>
              </a:defRPr>
            </a:lvl1pPr>
          </a:lstStyle>
          <a:p>
            <a:r>
              <a:rPr lang="en-US" dirty="0" smtClean="0"/>
              <a:t>CLICK TO EDIT SUBTITLE</a:t>
            </a:r>
            <a:endParaRPr lang="en-US" dirty="0"/>
          </a:p>
        </p:txBody>
      </p:sp>
      <p:sp>
        <p:nvSpPr>
          <p:cNvPr id="16" name="Title 1"/>
          <p:cNvSpPr>
            <a:spLocks noGrp="1"/>
          </p:cNvSpPr>
          <p:nvPr>
            <p:ph type="title"/>
          </p:nvPr>
        </p:nvSpPr>
        <p:spPr>
          <a:xfrm>
            <a:off x="303963" y="81671"/>
            <a:ext cx="11031626" cy="898359"/>
          </a:xfrm>
        </p:spPr>
        <p:txBody>
          <a:bodyPr lIns="0">
            <a:normAutofit/>
          </a:bodyPr>
          <a:lstStyle>
            <a:lvl1pPr algn="l">
              <a:defRPr sz="3731"/>
            </a:lvl1pPr>
          </a:lstStyle>
          <a:p>
            <a:r>
              <a:rPr lang="en-US" dirty="0" smtClean="0"/>
              <a:t>Click to edit Master title style</a:t>
            </a:r>
            <a:endParaRPr lang="en-US" dirty="0"/>
          </a:p>
        </p:txBody>
      </p:sp>
      <p:sp>
        <p:nvSpPr>
          <p:cNvPr id="13" name="Text Placeholder 3"/>
          <p:cNvSpPr>
            <a:spLocks noGrp="1"/>
          </p:cNvSpPr>
          <p:nvPr>
            <p:ph type="body" sz="half" idx="2"/>
          </p:nvPr>
        </p:nvSpPr>
        <p:spPr>
          <a:xfrm>
            <a:off x="582657" y="6258609"/>
            <a:ext cx="9547913" cy="304800"/>
          </a:xfrm>
        </p:spPr>
        <p:txBody>
          <a:bodyPr>
            <a:noAutofit/>
          </a:bodyPr>
          <a:lstStyle>
            <a:lvl1pPr marL="0" indent="0">
              <a:lnSpc>
                <a:spcPts val="2399"/>
              </a:lnSpc>
              <a:spcBef>
                <a:spcPts val="0"/>
              </a:spcBef>
              <a:spcAft>
                <a:spcPts val="0"/>
              </a:spcAft>
              <a:buNone/>
              <a:defRPr sz="1600" spc="-53" baseline="0"/>
            </a:lvl1pPr>
            <a:lvl2pPr marL="609285" indent="0">
              <a:buNone/>
              <a:defRPr sz="1600"/>
            </a:lvl2pPr>
            <a:lvl3pPr marL="1218569" indent="0">
              <a:buNone/>
              <a:defRPr sz="1333"/>
            </a:lvl3pPr>
            <a:lvl4pPr marL="1827854" indent="0">
              <a:buNone/>
              <a:defRPr sz="1200"/>
            </a:lvl4pPr>
            <a:lvl5pPr marL="2437140" indent="0">
              <a:buNone/>
              <a:defRPr sz="1200"/>
            </a:lvl5pPr>
            <a:lvl6pPr marL="3046425" indent="0">
              <a:buNone/>
              <a:defRPr sz="1200"/>
            </a:lvl6pPr>
            <a:lvl7pPr marL="3655709" indent="0">
              <a:buNone/>
              <a:defRPr sz="1200"/>
            </a:lvl7pPr>
            <a:lvl8pPr marL="4264993" indent="0">
              <a:buNone/>
              <a:defRPr sz="1200"/>
            </a:lvl8pPr>
            <a:lvl9pPr marL="4874279" indent="0">
              <a:buNone/>
              <a:defRPr sz="1200"/>
            </a:lvl9pPr>
          </a:lstStyle>
          <a:p>
            <a:pPr lvl="0"/>
            <a:r>
              <a:rPr lang="en-US" dirty="0" smtClean="0"/>
              <a:t>Click to edit Master text styles</a:t>
            </a:r>
          </a:p>
        </p:txBody>
      </p:sp>
    </p:spTree>
    <p:extLst>
      <p:ext uri="{BB962C8B-B14F-4D97-AF65-F5344CB8AC3E}">
        <p14:creationId xmlns:p14="http://schemas.microsoft.com/office/powerpoint/2010/main" val="2623114669"/>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16" name="Title 1"/>
          <p:cNvSpPr>
            <a:spLocks noGrp="1"/>
          </p:cNvSpPr>
          <p:nvPr>
            <p:ph type="title"/>
          </p:nvPr>
        </p:nvSpPr>
        <p:spPr>
          <a:xfrm>
            <a:off x="303963" y="75836"/>
            <a:ext cx="11031626" cy="910024"/>
          </a:xfrm>
        </p:spPr>
        <p:txBody>
          <a:bodyPr lIns="0">
            <a:normAutofit/>
          </a:bodyPr>
          <a:lstStyle>
            <a:lvl1pPr algn="l">
              <a:defRPr sz="3731"/>
            </a:lvl1pPr>
          </a:lstStyle>
          <a:p>
            <a:r>
              <a:rPr lang="en-US" dirty="0" smtClean="0"/>
              <a:t>Click to edit Master title style</a:t>
            </a:r>
            <a:endParaRPr lang="en-US" dirty="0"/>
          </a:p>
        </p:txBody>
      </p:sp>
    </p:spTree>
    <p:extLst>
      <p:ext uri="{BB962C8B-B14F-4D97-AF65-F5344CB8AC3E}">
        <p14:creationId xmlns:p14="http://schemas.microsoft.com/office/powerpoint/2010/main" val="3116154837"/>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7" tIns="45697" rIns="45697" bIns="45697" numCol="1" spcCol="0" rtlCol="0" fromWordArt="0" anchor="ctr" anchorCtr="0" forceAA="0" compatLnSpc="1">
            <a:prstTxWarp prst="textNoShape">
              <a:avLst/>
            </a:prstTxWarp>
            <a:noAutofit/>
          </a:bodyPr>
          <a:lstStyle/>
          <a:p>
            <a:pPr algn="ctr" defTabSz="913593"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70" y="1192418"/>
            <a:ext cx="11650487" cy="2154777"/>
          </a:xfrm>
        </p:spPr>
        <p:txBody>
          <a:bodyPr/>
          <a:lstStyle>
            <a:lvl1pPr marL="0" indent="0">
              <a:buNone/>
              <a:defRPr sz="3232">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3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77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07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71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69141430"/>
      </p:ext>
    </p:extLst>
  </p:cSld>
  <p:clrMapOvr>
    <a:masterClrMapping/>
  </p:clrMapOvr>
  <p:transition>
    <p:fade/>
  </p:transition>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1_Title &amp; Content_with Subtitle">
    <p:spTree>
      <p:nvGrpSpPr>
        <p:cNvPr id="1" name=""/>
        <p:cNvGrpSpPr/>
        <p:nvPr/>
      </p:nvGrpSpPr>
      <p:grpSpPr>
        <a:xfrm>
          <a:off x="0" y="0"/>
          <a:ext cx="0" cy="0"/>
          <a:chOff x="0" y="0"/>
          <a:chExt cx="0" cy="0"/>
        </a:xfrm>
      </p:grpSpPr>
      <p:sp>
        <p:nvSpPr>
          <p:cNvPr id="3" name="Text Placeholder 8"/>
          <p:cNvSpPr>
            <a:spLocks noGrp="1"/>
          </p:cNvSpPr>
          <p:nvPr>
            <p:ph type="body" sz="quarter" idx="15"/>
          </p:nvPr>
        </p:nvSpPr>
        <p:spPr>
          <a:xfrm>
            <a:off x="499408" y="503769"/>
            <a:ext cx="11200599" cy="728133"/>
          </a:xfrm>
        </p:spPr>
        <p:txBody>
          <a:bodyPr>
            <a:noAutofit/>
          </a:bodyPr>
          <a:lstStyle>
            <a:lvl1pPr>
              <a:lnSpc>
                <a:spcPct val="95000"/>
              </a:lnSpc>
              <a:defRPr sz="4799"/>
            </a:lvl1pPr>
          </a:lstStyle>
          <a:p>
            <a:pPr lvl="0"/>
            <a:r>
              <a:rPr lang="en-US" dirty="0" smtClean="0"/>
              <a:t>Click to edit Master text styles</a:t>
            </a:r>
          </a:p>
        </p:txBody>
      </p:sp>
    </p:spTree>
    <p:extLst>
      <p:ext uri="{BB962C8B-B14F-4D97-AF65-F5344CB8AC3E}">
        <p14:creationId xmlns:p14="http://schemas.microsoft.com/office/powerpoint/2010/main" val="2134449071"/>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218090" y="1447801"/>
            <a:ext cx="5433533" cy="1178442"/>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smtClean="0"/>
              <a:t>Click to edit Master text styles.</a:t>
            </a:r>
          </a:p>
        </p:txBody>
      </p:sp>
      <p:sp>
        <p:nvSpPr>
          <p:cNvPr id="9" name="Content Placeholder 5"/>
          <p:cNvSpPr>
            <a:spLocks noGrp="1"/>
          </p:cNvSpPr>
          <p:nvPr>
            <p:ph sz="quarter" idx="13"/>
          </p:nvPr>
        </p:nvSpPr>
        <p:spPr>
          <a:xfrm>
            <a:off x="6218090" y="2734985"/>
            <a:ext cx="5444165"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smtClean="0"/>
              <a:t>Click to edit Master text styles</a:t>
            </a:r>
          </a:p>
        </p:txBody>
      </p:sp>
      <p:sp>
        <p:nvSpPr>
          <p:cNvPr id="4" name="Picture Placeholder 3"/>
          <p:cNvSpPr>
            <a:spLocks noGrp="1"/>
          </p:cNvSpPr>
          <p:nvPr>
            <p:ph type="pic" sz="quarter" idx="14" hasCustomPrompt="1"/>
          </p:nvPr>
        </p:nvSpPr>
        <p:spPr>
          <a:xfrm>
            <a:off x="0" y="0"/>
            <a:ext cx="5980112" cy="6858000"/>
          </a:xfrm>
        </p:spPr>
        <p:txBody>
          <a:bodyPr lIns="182880" anchor="ctr"/>
          <a:lstStyle>
            <a:lvl1pPr marL="0" indent="0" algn="l">
              <a:buNone/>
              <a:defRPr/>
            </a:lvl1pPr>
          </a:lstStyle>
          <a:p>
            <a:r>
              <a:rPr lang="en-US" dirty="0" smtClean="0"/>
              <a:t>Click to insert photo.</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1323755958"/>
      </p:ext>
    </p:extLst>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16" name="Title 1"/>
          <p:cNvSpPr>
            <a:spLocks noGrp="1"/>
          </p:cNvSpPr>
          <p:nvPr>
            <p:ph type="title"/>
          </p:nvPr>
        </p:nvSpPr>
        <p:spPr>
          <a:xfrm>
            <a:off x="303963" y="87503"/>
            <a:ext cx="11031626" cy="910024"/>
          </a:xfrm>
        </p:spPr>
        <p:txBody>
          <a:bodyPr lIns="0">
            <a:normAutofit/>
          </a:bodyPr>
          <a:lstStyle>
            <a:lvl1pPr algn="l">
              <a:defRPr sz="3731"/>
            </a:lvl1pPr>
          </a:lstStyle>
          <a:p>
            <a:r>
              <a:rPr lang="en-US" dirty="0" smtClean="0"/>
              <a:t>Click to edit Master title style</a:t>
            </a:r>
            <a:endParaRPr lang="en-US" dirty="0"/>
          </a:p>
        </p:txBody>
      </p:sp>
      <p:sp>
        <p:nvSpPr>
          <p:cNvPr id="15" name="Content Placeholder 14"/>
          <p:cNvSpPr>
            <a:spLocks noGrp="1"/>
          </p:cNvSpPr>
          <p:nvPr>
            <p:ph sz="quarter" idx="18"/>
          </p:nvPr>
        </p:nvSpPr>
        <p:spPr>
          <a:xfrm>
            <a:off x="560570" y="1507482"/>
            <a:ext cx="9570002" cy="2514617"/>
          </a:xfrm>
        </p:spPr>
        <p:txBody>
          <a:bodyPr/>
          <a:lstStyle>
            <a:lvl1pPr>
              <a:lnSpc>
                <a:spcPct val="100000"/>
              </a:lnSpc>
              <a:spcBef>
                <a:spcPts val="800"/>
              </a:spcBef>
              <a:defRPr/>
            </a:lvl1pPr>
            <a:lvl2pPr>
              <a:lnSpc>
                <a:spcPct val="100000"/>
              </a:lnSpc>
              <a:spcBef>
                <a:spcPts val="800"/>
              </a:spcBef>
              <a:defRPr/>
            </a:lvl2pPr>
            <a:lvl3pPr>
              <a:lnSpc>
                <a:spcPct val="100000"/>
              </a:lnSpc>
              <a:spcBef>
                <a:spcPts val="800"/>
              </a:spcBef>
              <a:defRPr/>
            </a:lvl3pPr>
            <a:lvl4pPr>
              <a:lnSpc>
                <a:spcPct val="100000"/>
              </a:lnSpc>
              <a:spcBef>
                <a:spcPts val="800"/>
              </a:spcBef>
              <a:defRPr/>
            </a:lvl4pPr>
            <a:lvl5pPr>
              <a:lnSpc>
                <a:spcPct val="100000"/>
              </a:lnSpc>
              <a:spcBef>
                <a:spcPts val="800"/>
              </a:spcBef>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88914290"/>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12" name="Text Placeholder 12"/>
          <p:cNvSpPr>
            <a:spLocks noGrp="1"/>
          </p:cNvSpPr>
          <p:nvPr>
            <p:ph type="body" sz="quarter" idx="13" hasCustomPrompt="1"/>
          </p:nvPr>
        </p:nvSpPr>
        <p:spPr>
          <a:xfrm>
            <a:off x="560569" y="1446215"/>
            <a:ext cx="10982750" cy="304801"/>
          </a:xfrm>
        </p:spPr>
        <p:txBody>
          <a:bodyPr lIns="0" anchor="ctr" anchorCtr="0">
            <a:noAutofit/>
          </a:bodyPr>
          <a:lstStyle>
            <a:lvl1pPr marL="0" indent="0" algn="l">
              <a:buFont typeface="Arial" pitchFamily="34" charset="0"/>
              <a:buNone/>
              <a:defRPr sz="1865" b="0" cap="all" spc="0" baseline="0">
                <a:solidFill>
                  <a:schemeClr val="tx1">
                    <a:lumMod val="75000"/>
                    <a:lumOff val="25000"/>
                  </a:schemeClr>
                </a:solidFill>
              </a:defRPr>
            </a:lvl1pPr>
          </a:lstStyle>
          <a:p>
            <a:r>
              <a:rPr lang="en-US" dirty="0" smtClean="0"/>
              <a:t>CLICK TO EDIT SUBTITLE</a:t>
            </a:r>
            <a:endParaRPr lang="en-US" dirty="0"/>
          </a:p>
        </p:txBody>
      </p:sp>
      <p:sp>
        <p:nvSpPr>
          <p:cNvPr id="16" name="Title 1"/>
          <p:cNvSpPr>
            <a:spLocks noGrp="1"/>
          </p:cNvSpPr>
          <p:nvPr>
            <p:ph type="title"/>
          </p:nvPr>
        </p:nvSpPr>
        <p:spPr>
          <a:xfrm>
            <a:off x="303963" y="81671"/>
            <a:ext cx="11031626" cy="898359"/>
          </a:xfrm>
        </p:spPr>
        <p:txBody>
          <a:bodyPr lIns="0">
            <a:normAutofit/>
          </a:bodyPr>
          <a:lstStyle>
            <a:lvl1pPr algn="l">
              <a:defRPr sz="3731"/>
            </a:lvl1pPr>
          </a:lstStyle>
          <a:p>
            <a:r>
              <a:rPr lang="en-US" dirty="0" smtClean="0"/>
              <a:t>Click to edit Master title style</a:t>
            </a:r>
            <a:endParaRPr lang="en-US" dirty="0"/>
          </a:p>
        </p:txBody>
      </p:sp>
      <p:sp>
        <p:nvSpPr>
          <p:cNvPr id="13" name="Text Placeholder 3"/>
          <p:cNvSpPr>
            <a:spLocks noGrp="1"/>
          </p:cNvSpPr>
          <p:nvPr>
            <p:ph type="body" sz="half" idx="2"/>
          </p:nvPr>
        </p:nvSpPr>
        <p:spPr>
          <a:xfrm>
            <a:off x="582657" y="6258609"/>
            <a:ext cx="9547913" cy="304800"/>
          </a:xfrm>
        </p:spPr>
        <p:txBody>
          <a:bodyPr>
            <a:noAutofit/>
          </a:bodyPr>
          <a:lstStyle>
            <a:lvl1pPr marL="0" indent="0">
              <a:lnSpc>
                <a:spcPts val="2399"/>
              </a:lnSpc>
              <a:spcBef>
                <a:spcPts val="0"/>
              </a:spcBef>
              <a:spcAft>
                <a:spcPts val="0"/>
              </a:spcAft>
              <a:buNone/>
              <a:defRPr sz="1600" spc="-53" baseline="0"/>
            </a:lvl1pPr>
            <a:lvl2pPr marL="609285" indent="0">
              <a:buNone/>
              <a:defRPr sz="1600"/>
            </a:lvl2pPr>
            <a:lvl3pPr marL="1218569" indent="0">
              <a:buNone/>
              <a:defRPr sz="1333"/>
            </a:lvl3pPr>
            <a:lvl4pPr marL="1827854" indent="0">
              <a:buNone/>
              <a:defRPr sz="1200"/>
            </a:lvl4pPr>
            <a:lvl5pPr marL="2437140" indent="0">
              <a:buNone/>
              <a:defRPr sz="1200"/>
            </a:lvl5pPr>
            <a:lvl6pPr marL="3046425" indent="0">
              <a:buNone/>
              <a:defRPr sz="1200"/>
            </a:lvl6pPr>
            <a:lvl7pPr marL="3655709" indent="0">
              <a:buNone/>
              <a:defRPr sz="1200"/>
            </a:lvl7pPr>
            <a:lvl8pPr marL="4264993" indent="0">
              <a:buNone/>
              <a:defRPr sz="1200"/>
            </a:lvl8pPr>
            <a:lvl9pPr marL="4874279" indent="0">
              <a:buNone/>
              <a:defRPr sz="1200"/>
            </a:lvl9pPr>
          </a:lstStyle>
          <a:p>
            <a:pPr lvl="0"/>
            <a:r>
              <a:rPr lang="en-US" dirty="0" smtClean="0"/>
              <a:t>Click to edit Master text styles</a:t>
            </a:r>
          </a:p>
        </p:txBody>
      </p:sp>
    </p:spTree>
    <p:extLst>
      <p:ext uri="{BB962C8B-B14F-4D97-AF65-F5344CB8AC3E}">
        <p14:creationId xmlns:p14="http://schemas.microsoft.com/office/powerpoint/2010/main" val="2251904998"/>
      </p:ext>
    </p:extLst>
  </p:cSld>
  <p:clrMapOvr>
    <a:masterClrMapping/>
  </p:clrMapOvr>
  <p:transition>
    <p:fade/>
  </p:transition>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16" name="Title 1"/>
          <p:cNvSpPr>
            <a:spLocks noGrp="1"/>
          </p:cNvSpPr>
          <p:nvPr>
            <p:ph type="title"/>
          </p:nvPr>
        </p:nvSpPr>
        <p:spPr>
          <a:xfrm>
            <a:off x="303963" y="75836"/>
            <a:ext cx="11031626" cy="910024"/>
          </a:xfrm>
        </p:spPr>
        <p:txBody>
          <a:bodyPr lIns="0">
            <a:normAutofit/>
          </a:bodyPr>
          <a:lstStyle>
            <a:lvl1pPr algn="l">
              <a:defRPr sz="3731"/>
            </a:lvl1pPr>
          </a:lstStyle>
          <a:p>
            <a:r>
              <a:rPr lang="en-US" dirty="0" smtClean="0"/>
              <a:t>Click to edit Master title style</a:t>
            </a:r>
            <a:endParaRPr lang="en-US" dirty="0"/>
          </a:p>
        </p:txBody>
      </p:sp>
    </p:spTree>
    <p:extLst>
      <p:ext uri="{BB962C8B-B14F-4D97-AF65-F5344CB8AC3E}">
        <p14:creationId xmlns:p14="http://schemas.microsoft.com/office/powerpoint/2010/main" val="978072892"/>
      </p:ext>
    </p:extLst>
  </p:cSld>
  <p:clrMapOvr>
    <a:masterClrMapping/>
  </p:clrMapOvr>
  <p:transition>
    <p:fade/>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611188" y="1449390"/>
            <a:ext cx="10972801" cy="2172903"/>
          </a:xfrm>
        </p:spPr>
        <p:txBody>
          <a:bodyPr>
            <a:spAutoFit/>
          </a:bodyPr>
          <a:lstStyle>
            <a:lvl1pPr>
              <a:defRPr>
                <a:latin typeface="Segoe UI" pitchFamily="34" charset="0"/>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9629868"/>
      </p:ext>
    </p:extLst>
  </p:cSld>
  <p:clrMapOvr>
    <a:masterClrMapping/>
  </p:clrMapOvr>
  <p:transition>
    <p:fade/>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0" y="3314228"/>
            <a:ext cx="12188825" cy="624348"/>
          </a:xfrm>
        </p:spPr>
        <p:txBody>
          <a:bodyPr/>
          <a:lstStyle>
            <a:lvl1pPr marL="0" indent="0" algn="ctr">
              <a:buNone/>
              <a:defRPr sz="3199"/>
            </a:lvl1pPr>
          </a:lstStyle>
          <a:p>
            <a:pPr lvl="0"/>
            <a:r>
              <a:rPr lang="en-US" dirty="0" smtClean="0"/>
              <a:t>Section Heading</a:t>
            </a:r>
          </a:p>
        </p:txBody>
      </p:sp>
    </p:spTree>
    <p:extLst>
      <p:ext uri="{BB962C8B-B14F-4D97-AF65-F5344CB8AC3E}">
        <p14:creationId xmlns:p14="http://schemas.microsoft.com/office/powerpoint/2010/main" val="118603580"/>
      </p:ext>
    </p:extLst>
  </p:cSld>
  <p:clrMapOvr>
    <a:masterClrMapping/>
  </p:clrMapOvr>
  <p:transition>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2_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7" tIns="45697" rIns="45697" bIns="45697" numCol="1" spcCol="0" rtlCol="0" fromWordArt="0" anchor="ctr" anchorCtr="0" forceAA="0" compatLnSpc="1">
            <a:prstTxWarp prst="textNoShape">
              <a:avLst/>
            </a:prstTxWarp>
            <a:noAutofit/>
          </a:bodyPr>
          <a:lstStyle/>
          <a:p>
            <a:pPr algn="ctr" defTabSz="913593"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70" y="1192418"/>
            <a:ext cx="11650487" cy="2154777"/>
          </a:xfrm>
        </p:spPr>
        <p:txBody>
          <a:bodyPr/>
          <a:lstStyle>
            <a:lvl1pPr marL="0" indent="0">
              <a:buNone/>
              <a:defRPr sz="3232">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3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77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07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71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57346913"/>
      </p:ext>
    </p:extLst>
  </p:cSld>
  <p:clrMapOvr>
    <a:masterClrMapping/>
  </p:clrMapOvr>
  <p:transition>
    <p:fade/>
  </p:transition>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28542" y="3905563"/>
            <a:ext cx="6271784" cy="514037"/>
          </a:xfrm>
          <a:noFill/>
        </p:spPr>
        <p:txBody>
          <a:bodyPr lIns="146304" tIns="109728" rIns="146304" bIns="109728">
            <a:noAutofit/>
          </a:bodyPr>
          <a:lstStyle>
            <a:lvl1pPr marL="0" indent="0">
              <a:spcBef>
                <a:spcPts val="0"/>
              </a:spcBef>
              <a:buNone/>
              <a:defRPr sz="2799" spc="0" baseline="0">
                <a:gradFill>
                  <a:gsLst>
                    <a:gs pos="0">
                      <a:schemeClr val="tx1"/>
                    </a:gs>
                    <a:gs pos="100000">
                      <a:schemeClr val="tx1"/>
                    </a:gs>
                  </a:gsLst>
                  <a:lin ang="5400000" scaled="0"/>
                </a:gradFill>
                <a:latin typeface="Segoe UI Light" panose="020B0502040204020203" pitchFamily="34" charset="0"/>
                <a:cs typeface="Segoe UI Light" panose="020B0502040204020203" pitchFamily="34" charset="0"/>
              </a:defRPr>
            </a:lvl1pPr>
          </a:lstStyle>
          <a:p>
            <a:pPr lvl="0"/>
            <a:r>
              <a:rPr lang="en-US" dirty="0" smtClean="0"/>
              <a:t>Speaker name</a:t>
            </a:r>
          </a:p>
        </p:txBody>
      </p:sp>
      <p:sp>
        <p:nvSpPr>
          <p:cNvPr id="9" name="Title 1"/>
          <p:cNvSpPr>
            <a:spLocks noGrp="1"/>
          </p:cNvSpPr>
          <p:nvPr>
            <p:ph type="title" hasCustomPrompt="1"/>
          </p:nvPr>
        </p:nvSpPr>
        <p:spPr>
          <a:xfrm>
            <a:off x="228541" y="2075840"/>
            <a:ext cx="9858042" cy="1801436"/>
          </a:xfrm>
          <a:noFill/>
        </p:spPr>
        <p:txBody>
          <a:bodyPr lIns="146304" tIns="91440" rIns="146304" bIns="91440" anchor="t" anchorCtr="0"/>
          <a:lstStyle>
            <a:lvl1pPr>
              <a:defRPr sz="5996" spc="-98"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11" name="Footer Placeholder 6"/>
          <p:cNvSpPr txBox="1">
            <a:spLocks/>
          </p:cNvSpPr>
          <p:nvPr userDrawn="1"/>
        </p:nvSpPr>
        <p:spPr>
          <a:xfrm>
            <a:off x="10526714" y="6553200"/>
            <a:ext cx="1663258"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dirty="0" smtClean="0">
                <a:solidFill>
                  <a:prstClr val="white"/>
                </a:solidFill>
              </a:rPr>
              <a:t>MICROSOFT CONFIDENTI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269234" y="480504"/>
            <a:ext cx="2557077" cy="547905"/>
          </a:xfrm>
          <a:prstGeom prst="rect">
            <a:avLst/>
          </a:prstGeom>
        </p:spPr>
      </p:pic>
    </p:spTree>
    <p:extLst>
      <p:ext uri="{BB962C8B-B14F-4D97-AF65-F5344CB8AC3E}">
        <p14:creationId xmlns:p14="http://schemas.microsoft.com/office/powerpoint/2010/main" val="39504311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144">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795767712"/>
      </p:ext>
    </p:extLst>
  </p:cSld>
  <p:clrMapOvr>
    <a:masterClrMapping/>
  </p:clrMapOvr>
  <p:transition>
    <p:fade/>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7" name="Footer Placeholder 10"/>
          <p:cNvSpPr>
            <a:spLocks noGrp="1"/>
          </p:cNvSpPr>
          <p:nvPr>
            <p:ph type="ftr" sz="quarter" idx="17"/>
          </p:nvPr>
        </p:nvSpPr>
        <p:spPr>
          <a:xfrm>
            <a:off x="560564" y="6577026"/>
            <a:ext cx="1813767" cy="128574"/>
          </a:xfrm>
          <a:prstGeom prst="rect">
            <a:avLst/>
          </a:prstGeom>
        </p:spPr>
        <p:txBody>
          <a:bodyPr/>
          <a:lstStyle/>
          <a:p>
            <a:pPr defTabSz="913951"/>
            <a:r>
              <a:rPr lang="en-US" smtClean="0">
                <a:solidFill>
                  <a:srgbClr val="1A1A1A"/>
                </a:solidFill>
              </a:rPr>
              <a:t>MICROSOFT CONFIDENTIAL</a:t>
            </a:r>
            <a:endParaRPr lang="en-US" dirty="0">
              <a:solidFill>
                <a:srgbClr val="1A1A1A"/>
              </a:solidFill>
            </a:endParaRPr>
          </a:p>
        </p:txBody>
      </p:sp>
      <p:sp>
        <p:nvSpPr>
          <p:cNvPr id="9" name="Title 1"/>
          <p:cNvSpPr>
            <a:spLocks noGrp="1"/>
          </p:cNvSpPr>
          <p:nvPr>
            <p:ph type="title"/>
          </p:nvPr>
        </p:nvSpPr>
        <p:spPr>
          <a:xfrm>
            <a:off x="560565" y="0"/>
            <a:ext cx="11209271" cy="1143000"/>
          </a:xfrm>
        </p:spPr>
        <p:txBody>
          <a:bodyPr/>
          <a:lstStyle/>
          <a:p>
            <a:r>
              <a:rPr lang="en-US" smtClean="0"/>
              <a:t>Click to edit Master title style</a:t>
            </a:r>
            <a:endParaRPr lang="en-US" dirty="0"/>
          </a:p>
        </p:txBody>
      </p:sp>
      <p:sp>
        <p:nvSpPr>
          <p:cNvPr id="6" name="Slide Number Placeholder 4"/>
          <p:cNvSpPr>
            <a:spLocks noGrp="1"/>
          </p:cNvSpPr>
          <p:nvPr>
            <p:ph type="sldNum" sz="quarter" idx="4"/>
          </p:nvPr>
        </p:nvSpPr>
        <p:spPr>
          <a:xfrm>
            <a:off x="11376238" y="6548451"/>
            <a:ext cx="393597" cy="128574"/>
          </a:xfrm>
          <a:prstGeom prst="rect">
            <a:avLst/>
          </a:prstGeom>
        </p:spPr>
        <p:txBody>
          <a:bodyPr vert="horz" lIns="0" tIns="0" rIns="0" bIns="0" rtlCol="0" anchor="b"/>
          <a:lstStyle>
            <a:lvl1pPr marL="0" algn="r" defTabSz="913951" rtl="0" eaLnBrk="1" latinLnBrk="0" hangingPunct="1">
              <a:defRPr lang="en-US" sz="800" kern="1200" baseline="0" smtClean="0">
                <a:solidFill>
                  <a:srgbClr val="808285"/>
                </a:solidFill>
                <a:latin typeface="Segoe UI" pitchFamily="34" charset="0"/>
                <a:ea typeface="Segoe UI" pitchFamily="34" charset="0"/>
                <a:cs typeface="Segoe UI" pitchFamily="34" charset="0"/>
              </a:defRPr>
            </a:lvl1pPr>
          </a:lstStyle>
          <a:p>
            <a:fld id="{375243E8-1C51-4BF5-9A6E-FEB2A7267706}" type="slidenum">
              <a:rPr/>
              <a:pPr/>
              <a:t>‹#›</a:t>
            </a:fld>
            <a:endParaRPr dirty="0"/>
          </a:p>
        </p:txBody>
      </p:sp>
      <p:sp>
        <p:nvSpPr>
          <p:cNvPr id="12" name="Content Placeholder 11"/>
          <p:cNvSpPr>
            <a:spLocks noGrp="1"/>
          </p:cNvSpPr>
          <p:nvPr>
            <p:ph sz="quarter" idx="19"/>
          </p:nvPr>
        </p:nvSpPr>
        <p:spPr>
          <a:xfrm>
            <a:off x="560565" y="1447801"/>
            <a:ext cx="11209271" cy="2414027"/>
          </a:xfrm>
        </p:spPr>
        <p:txBody>
          <a:bodyPr/>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210818237"/>
      </p:ext>
    </p:extLst>
  </p:cSld>
  <p:clrMapOvr>
    <a:masterClrMapping/>
  </p:clrMapOvr>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Logo on Background">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18667" y="1944769"/>
            <a:ext cx="7151491" cy="3355587"/>
          </a:xfrm>
          <a:prstGeom prst="rect">
            <a:avLst/>
          </a:prstGeom>
        </p:spPr>
      </p:pic>
    </p:spTree>
    <p:extLst>
      <p:ext uri="{BB962C8B-B14F-4D97-AF65-F5344CB8AC3E}">
        <p14:creationId xmlns:p14="http://schemas.microsoft.com/office/powerpoint/2010/main" val="1411162530"/>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lor Block Header on Left &amp; Text on Right ">
    <p:spTree>
      <p:nvGrpSpPr>
        <p:cNvPr id="1" name=""/>
        <p:cNvGrpSpPr/>
        <p:nvPr/>
      </p:nvGrpSpPr>
      <p:grpSpPr>
        <a:xfrm>
          <a:off x="0" y="0"/>
          <a:ext cx="0" cy="0"/>
          <a:chOff x="0" y="0"/>
          <a:chExt cx="0" cy="0"/>
        </a:xfrm>
      </p:grpSpPr>
      <p:sp>
        <p:nvSpPr>
          <p:cNvPr id="2" name="Rectangle 1"/>
          <p:cNvSpPr/>
          <p:nvPr userDrawn="1"/>
        </p:nvSpPr>
        <p:spPr bwMode="white">
          <a:xfrm>
            <a:off x="-9525" y="0"/>
            <a:ext cx="5986463"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699" y="1447800"/>
            <a:ext cx="5232401" cy="166199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smtClean="0"/>
              <a:t>Click to edit Master text styles.</a:t>
            </a:r>
          </a:p>
        </p:txBody>
      </p:sp>
      <p:sp>
        <p:nvSpPr>
          <p:cNvPr id="6" name="Content Placeholder 5"/>
          <p:cNvSpPr>
            <a:spLocks noGrp="1"/>
          </p:cNvSpPr>
          <p:nvPr>
            <p:ph sz="quarter" idx="4"/>
          </p:nvPr>
        </p:nvSpPr>
        <p:spPr>
          <a:xfrm>
            <a:off x="6188149" y="1681904"/>
            <a:ext cx="5484740"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smtClean="0"/>
              <a:t>Click to edit Master text styles</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1235027995"/>
      </p:ext>
    </p:extLst>
  </p:cSld>
  <p:clrMapOvr>
    <a:masterClrMapping/>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3"/>
            <a:ext cx="6271784" cy="1794661"/>
          </a:xfrm>
          <a:noFill/>
        </p:spPr>
        <p:txBody>
          <a:bodyPr lIns="146304" tIns="109728" rIns="146304" bIns="109728">
            <a:no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9858042" cy="1801436"/>
          </a:xfrm>
          <a:noFill/>
        </p:spPr>
        <p:txBody>
          <a:bodyPr lIns="146304" tIns="91440" rIns="146304" bIns="91440" anchor="t" anchorCtr="0"/>
          <a:lstStyle>
            <a:lvl1pPr>
              <a:defRPr sz="5879"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51521" y="6061768"/>
            <a:ext cx="1517373" cy="326167"/>
          </a:xfrm>
          <a:prstGeom prst="rect">
            <a:avLst/>
          </a:prstGeom>
        </p:spPr>
      </p:pic>
      <p:sp>
        <p:nvSpPr>
          <p:cNvPr id="4" name="Text Placeholder 3"/>
          <p:cNvSpPr>
            <a:spLocks noGrp="1"/>
          </p:cNvSpPr>
          <p:nvPr>
            <p:ph type="body" sz="quarter" idx="13" hasCustomPrompt="1"/>
          </p:nvPr>
        </p:nvSpPr>
        <p:spPr>
          <a:xfrm>
            <a:off x="269169" y="291069"/>
            <a:ext cx="3584765" cy="672414"/>
          </a:xfrm>
        </p:spPr>
        <p:txBody>
          <a:bodyPr lIns="182880" tIns="146304" rIns="182880" bIns="146304">
            <a:noAutofit/>
          </a:bodyPr>
          <a:lstStyle>
            <a:lvl1pPr marL="0" indent="0">
              <a:buNone/>
              <a:defRPr sz="1960">
                <a:latin typeface="+mn-lt"/>
              </a:defRPr>
            </a:lvl1pPr>
            <a:lvl2pPr marL="335979" indent="0">
              <a:buNone/>
              <a:defRPr sz="2352">
                <a:latin typeface="+mn-lt"/>
              </a:defRPr>
            </a:lvl2pPr>
            <a:lvl3pPr marL="559966" indent="0">
              <a:buNone/>
              <a:defRPr sz="2352">
                <a:latin typeface="+mn-lt"/>
              </a:defRPr>
            </a:lvl3pPr>
            <a:lvl4pPr marL="783952" indent="0">
              <a:buNone/>
              <a:defRPr sz="2352">
                <a:latin typeface="+mn-lt"/>
              </a:defRPr>
            </a:lvl4pPr>
            <a:lvl5pPr marL="1007939" indent="0">
              <a:buNone/>
              <a:defRPr sz="2352">
                <a:latin typeface="+mn-lt"/>
              </a:defRPr>
            </a:lvl5pPr>
          </a:lstStyle>
          <a:p>
            <a:pPr lvl="0"/>
            <a:r>
              <a:rPr lang="en-US" dirty="0" smtClean="0"/>
              <a:t>Session Code</a:t>
            </a:r>
          </a:p>
        </p:txBody>
      </p:sp>
    </p:spTree>
    <p:extLst>
      <p:ext uri="{BB962C8B-B14F-4D97-AF65-F5344CB8AC3E}">
        <p14:creationId xmlns:p14="http://schemas.microsoft.com/office/powerpoint/2010/main" val="249974468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3"/>
            <a:ext cx="6271784" cy="1794661"/>
          </a:xfrm>
          <a:noFill/>
        </p:spPr>
        <p:txBody>
          <a:bodyPr lIns="146304" tIns="109728" rIns="146304" bIns="109728">
            <a:no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9858042" cy="1801436"/>
          </a:xfrm>
          <a:noFill/>
        </p:spPr>
        <p:txBody>
          <a:bodyPr lIns="146304" tIns="91440" rIns="146304" bIns="91440" anchor="t" anchorCtr="0"/>
          <a:lstStyle>
            <a:lvl1pPr>
              <a:defRPr sz="5879"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49205" y="6061768"/>
            <a:ext cx="1522008" cy="326167"/>
          </a:xfrm>
          <a:prstGeom prst="rect">
            <a:avLst/>
          </a:prstGeom>
        </p:spPr>
      </p:pic>
      <p:sp>
        <p:nvSpPr>
          <p:cNvPr id="7" name="Text Placeholder 3"/>
          <p:cNvSpPr>
            <a:spLocks noGrp="1"/>
          </p:cNvSpPr>
          <p:nvPr>
            <p:ph type="body" sz="quarter" idx="13" hasCustomPrompt="1"/>
          </p:nvPr>
        </p:nvSpPr>
        <p:spPr>
          <a:xfrm>
            <a:off x="269169" y="291069"/>
            <a:ext cx="3584765" cy="672414"/>
          </a:xfrm>
        </p:spPr>
        <p:txBody>
          <a:bodyPr lIns="182880" tIns="146304" rIns="182880" bIns="146304">
            <a:noAutofit/>
          </a:bodyPr>
          <a:lstStyle>
            <a:lvl1pPr marL="0" indent="0">
              <a:buNone/>
              <a:defRPr sz="1960">
                <a:latin typeface="+mn-lt"/>
              </a:defRPr>
            </a:lvl1pPr>
            <a:lvl2pPr marL="335979" indent="0">
              <a:buNone/>
              <a:defRPr sz="2352">
                <a:latin typeface="+mn-lt"/>
              </a:defRPr>
            </a:lvl2pPr>
            <a:lvl3pPr marL="559966" indent="0">
              <a:buNone/>
              <a:defRPr sz="2352">
                <a:latin typeface="+mn-lt"/>
              </a:defRPr>
            </a:lvl3pPr>
            <a:lvl4pPr marL="783952" indent="0">
              <a:buNone/>
              <a:defRPr sz="2352">
                <a:latin typeface="+mn-lt"/>
              </a:defRPr>
            </a:lvl4pPr>
            <a:lvl5pPr marL="1007939" indent="0">
              <a:buNone/>
              <a:defRPr sz="2352">
                <a:latin typeface="+mn-lt"/>
              </a:defRPr>
            </a:lvl5pPr>
          </a:lstStyle>
          <a:p>
            <a:pPr lvl="0"/>
            <a:r>
              <a:rPr lang="en-US" dirty="0" smtClean="0"/>
              <a:t>Session Code</a:t>
            </a:r>
          </a:p>
        </p:txBody>
      </p:sp>
    </p:spTree>
    <p:extLst>
      <p:ext uri="{BB962C8B-B14F-4D97-AF65-F5344CB8AC3E}">
        <p14:creationId xmlns:p14="http://schemas.microsoft.com/office/powerpoint/2010/main" val="2415365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3" name="Rectangle 2"/>
          <p:cNvSpPr/>
          <p:nvPr userDrawn="1"/>
        </p:nvSpPr>
        <p:spPr bwMode="auto">
          <a:xfrm>
            <a:off x="269169" y="2084172"/>
            <a:ext cx="8961914"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232" y="2084187"/>
            <a:ext cx="8961851" cy="1793090"/>
          </a:xfrm>
          <a:noFill/>
        </p:spPr>
        <p:txBody>
          <a:bodyPr lIns="146304" tIns="91440" rIns="146304" bIns="91440" anchor="t" anchorCtr="0"/>
          <a:lstStyle>
            <a:lvl1pPr>
              <a:defRPr sz="5879"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233" y="3878574"/>
            <a:ext cx="8961852" cy="1792326"/>
          </a:xfrm>
          <a:noFill/>
        </p:spPr>
        <p:txBody>
          <a:bodyPr lIns="146304" tIns="109728" rIns="146304" bIns="109728">
            <a:noAutofit/>
          </a:bodyPr>
          <a:lstStyle>
            <a:lvl1pPr marL="0" indent="0">
              <a:spcBef>
                <a:spcPts val="0"/>
              </a:spcBef>
              <a:buNone/>
              <a:defRPr sz="3527" spc="0" baseline="0">
                <a:gradFill>
                  <a:gsLst>
                    <a:gs pos="2917">
                      <a:srgbClr val="FFFFFF"/>
                    </a:gs>
                    <a:gs pos="30000">
                      <a:srgbClr val="FFFFFF"/>
                    </a:gs>
                  </a:gsLst>
                  <a:lin ang="5400000" scaled="0"/>
                </a:gradFill>
                <a:latin typeface="+mj-lt"/>
              </a:defRPr>
            </a:lvl1pPr>
          </a:lstStyle>
          <a:p>
            <a:pPr lvl="0"/>
            <a:r>
              <a:rPr lang="en-US" dirty="0" smtClean="0"/>
              <a:t>Speaker Name</a:t>
            </a:r>
          </a:p>
        </p:txBody>
      </p:sp>
      <p:sp>
        <p:nvSpPr>
          <p:cNvPr id="7" name="Text Placeholder 3"/>
          <p:cNvSpPr>
            <a:spLocks noGrp="1"/>
          </p:cNvSpPr>
          <p:nvPr>
            <p:ph type="body" sz="quarter" idx="13" hasCustomPrompt="1"/>
          </p:nvPr>
        </p:nvSpPr>
        <p:spPr>
          <a:xfrm>
            <a:off x="269169" y="291069"/>
            <a:ext cx="3584765" cy="672414"/>
          </a:xfrm>
        </p:spPr>
        <p:txBody>
          <a:bodyPr lIns="182880" tIns="146304" rIns="182880" bIns="146304">
            <a:noAutofit/>
          </a:bodyPr>
          <a:lstStyle>
            <a:lvl1pPr marL="0" indent="0">
              <a:buNone/>
              <a:defRPr sz="1960">
                <a:latin typeface="+mn-lt"/>
              </a:defRPr>
            </a:lvl1pPr>
            <a:lvl2pPr marL="335979" indent="0">
              <a:buNone/>
              <a:defRPr sz="2352">
                <a:latin typeface="+mn-lt"/>
              </a:defRPr>
            </a:lvl2pPr>
            <a:lvl3pPr marL="559966" indent="0">
              <a:buNone/>
              <a:defRPr sz="2352">
                <a:latin typeface="+mn-lt"/>
              </a:defRPr>
            </a:lvl3pPr>
            <a:lvl4pPr marL="783952" indent="0">
              <a:buNone/>
              <a:defRPr sz="2352">
                <a:latin typeface="+mn-lt"/>
              </a:defRPr>
            </a:lvl4pPr>
            <a:lvl5pPr marL="1007939" indent="0">
              <a:buNone/>
              <a:defRPr sz="2352">
                <a:latin typeface="+mn-lt"/>
              </a:defRPr>
            </a:lvl5pPr>
          </a:lstStyle>
          <a:p>
            <a:pPr lvl="0"/>
            <a:r>
              <a:rPr lang="en-US" dirty="0" smtClean="0"/>
              <a:t>Session Code</a:t>
            </a:r>
          </a:p>
        </p:txBody>
      </p:sp>
    </p:spTree>
    <p:extLst>
      <p:ext uri="{BB962C8B-B14F-4D97-AF65-F5344CB8AC3E}">
        <p14:creationId xmlns:p14="http://schemas.microsoft.com/office/powerpoint/2010/main" val="18610308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6"/>
            <a:ext cx="9856549" cy="2697988"/>
          </a:xfrm>
          <a:noFill/>
        </p:spPr>
        <p:txBody>
          <a:bodyPr tIns="91440" bIns="91440" anchor="t" anchorCtr="0"/>
          <a:lstStyle>
            <a:lvl1pPr>
              <a:defRPr sz="7054" spc="-98" baseline="0">
                <a:gradFill>
                  <a:gsLst>
                    <a:gs pos="91241">
                      <a:schemeClr val="tx1"/>
                    </a:gs>
                    <a:gs pos="57000">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1" y="3877279"/>
            <a:ext cx="9858106" cy="1793881"/>
          </a:xfrm>
          <a:noFill/>
        </p:spPr>
        <p:txBody>
          <a:bodyPr lIns="182880" tIns="146304" rIns="182880" bIns="146304">
            <a:noAutofit/>
          </a:bodyPr>
          <a:lstStyle>
            <a:lvl1pPr marL="0" indent="0">
              <a:spcBef>
                <a:spcPts val="0"/>
              </a:spcBef>
              <a:buNone/>
              <a:defRPr sz="3527" spc="0" baseline="0">
                <a:gradFill>
                  <a:gsLst>
                    <a:gs pos="91241">
                      <a:schemeClr val="tx1"/>
                    </a:gs>
                    <a:gs pos="57000">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0578250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6"/>
            <a:ext cx="9856549" cy="2697988"/>
          </a:xfrm>
          <a:noFill/>
        </p:spPr>
        <p:txBody>
          <a:bodyPr tIns="91440" bIns="91440" anchor="t" anchorCtr="0"/>
          <a:lstStyle>
            <a:lvl1pPr>
              <a:defRPr sz="7054" spc="-98" baseline="0">
                <a:gradFill>
                  <a:gsLst>
                    <a:gs pos="91241">
                      <a:schemeClr val="tx1"/>
                    </a:gs>
                    <a:gs pos="57000">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6407487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74"/>
            <a:ext cx="11650488" cy="1796217"/>
          </a:xfrm>
          <a:noFill/>
        </p:spPr>
        <p:txBody>
          <a:bodyPr tIns="91440" bIns="91440" anchor="t" anchorCtr="0"/>
          <a:lstStyle>
            <a:lvl1pPr>
              <a:defRPr sz="8623"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64102738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74"/>
            <a:ext cx="11650488" cy="1796217"/>
          </a:xfrm>
          <a:noFill/>
        </p:spPr>
        <p:txBody>
          <a:bodyPr tIns="91440" bIns="91440" anchor="t" anchorCtr="0"/>
          <a:lstStyle>
            <a:lvl1pPr algn="l" defTabSz="913918" rtl="0" eaLnBrk="1" latinLnBrk="0" hangingPunct="1">
              <a:lnSpc>
                <a:spcPct val="90000"/>
              </a:lnSpc>
              <a:spcBef>
                <a:spcPct val="0"/>
              </a:spcBef>
              <a:buNone/>
              <a:defRPr lang="en-US" sz="8623"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3537502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74"/>
            <a:ext cx="11650488" cy="1796217"/>
          </a:xfrm>
          <a:noFill/>
        </p:spPr>
        <p:txBody>
          <a:bodyPr tIns="91440" bIns="91440" anchor="t" anchorCtr="0"/>
          <a:lstStyle>
            <a:lvl1pPr algn="l" defTabSz="913918" rtl="0" eaLnBrk="1" latinLnBrk="0" hangingPunct="1">
              <a:lnSpc>
                <a:spcPct val="90000"/>
              </a:lnSpc>
              <a:spcBef>
                <a:spcPct val="0"/>
              </a:spcBef>
              <a:buNone/>
              <a:defRPr lang="en-US" sz="8623"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242943719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8"/>
            <a:ext cx="11652805" cy="2018835"/>
          </a:xfrm>
        </p:spPr>
        <p:txBody>
          <a:bodyPr/>
          <a:lstStyle>
            <a:lvl1pPr marL="0" indent="0">
              <a:buNone/>
              <a:defRPr/>
            </a:lvl1pPr>
            <a:lvl2pPr marL="27998" indent="0">
              <a:buNone/>
              <a:defRPr sz="1960"/>
            </a:lvl2pPr>
            <a:lvl3pPr marL="219320" indent="0">
              <a:buNone/>
              <a:defRPr sz="1960"/>
            </a:lvl3pPr>
            <a:lvl4pPr marL="466639" indent="0">
              <a:buNone/>
              <a:defRPr sz="1764"/>
            </a:lvl4pPr>
            <a:lvl5pPr marL="724843" indent="0">
              <a:buNone/>
              <a:defRPr sz="1764"/>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50531112"/>
      </p:ext>
    </p:extLst>
  </p:cSld>
  <p:clrMapOvr>
    <a:masterClrMapping/>
  </p:clrMapOvr>
  <p:transition>
    <p:fade/>
  </p:transition>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8"/>
            <a:ext cx="11652805" cy="2018835"/>
          </a:xfrm>
        </p:spPr>
        <p:txBody>
          <a:bodyPr/>
          <a:lstStyle>
            <a:lvl1pPr marL="0" indent="0">
              <a:buNone/>
              <a:defRPr>
                <a:gradFill>
                  <a:gsLst>
                    <a:gs pos="2920">
                      <a:schemeClr val="tx2"/>
                    </a:gs>
                    <a:gs pos="39000">
                      <a:schemeClr val="tx2"/>
                    </a:gs>
                  </a:gsLst>
                  <a:lin ang="5400000" scaled="0"/>
                </a:gradFill>
              </a:defRPr>
            </a:lvl1pPr>
            <a:lvl2pPr marL="27998" indent="0">
              <a:buNone/>
              <a:defRPr sz="1960"/>
            </a:lvl2pPr>
            <a:lvl3pPr marL="219320" indent="0">
              <a:buNone/>
              <a:defRPr sz="1960"/>
            </a:lvl3pPr>
            <a:lvl4pPr marL="466639" indent="0">
              <a:buNone/>
              <a:defRPr sz="1764"/>
            </a:lvl4pPr>
            <a:lvl5pPr marL="724843" indent="0">
              <a:buNone/>
              <a:defRPr sz="1764"/>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79581894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lor Block text w/Photo on Right">
    <p:spTree>
      <p:nvGrpSpPr>
        <p:cNvPr id="1" name=""/>
        <p:cNvGrpSpPr/>
        <p:nvPr/>
      </p:nvGrpSpPr>
      <p:grpSpPr>
        <a:xfrm>
          <a:off x="0" y="0"/>
          <a:ext cx="0" cy="0"/>
          <a:chOff x="0" y="0"/>
          <a:chExt cx="0" cy="0"/>
        </a:xfrm>
      </p:grpSpPr>
      <p:sp>
        <p:nvSpPr>
          <p:cNvPr id="7" name="Rectangle 6"/>
          <p:cNvSpPr/>
          <p:nvPr userDrawn="1"/>
        </p:nvSpPr>
        <p:spPr bwMode="white">
          <a:xfrm>
            <a:off x="0" y="0"/>
            <a:ext cx="6219825"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699" y="1447801"/>
            <a:ext cx="5433533"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smtClean="0"/>
              <a:t>Click to edit Master text styles.</a:t>
            </a:r>
          </a:p>
        </p:txBody>
      </p:sp>
      <p:sp>
        <p:nvSpPr>
          <p:cNvPr id="9" name="Content Placeholder 5"/>
          <p:cNvSpPr>
            <a:spLocks noGrp="1"/>
          </p:cNvSpPr>
          <p:nvPr>
            <p:ph sz="quarter" idx="13"/>
          </p:nvPr>
        </p:nvSpPr>
        <p:spPr>
          <a:xfrm>
            <a:off x="520699" y="2734985"/>
            <a:ext cx="5444165"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smtClean="0"/>
              <a:t>Click to edit Master text styles</a:t>
            </a:r>
          </a:p>
        </p:txBody>
      </p:sp>
      <p:sp>
        <p:nvSpPr>
          <p:cNvPr id="4" name="Picture Placeholder 3"/>
          <p:cNvSpPr>
            <a:spLocks noGrp="1"/>
          </p:cNvSpPr>
          <p:nvPr>
            <p:ph type="pic" sz="quarter" idx="14" hasCustomPrompt="1"/>
          </p:nvPr>
        </p:nvSpPr>
        <p:spPr>
          <a:xfrm>
            <a:off x="6208713" y="0"/>
            <a:ext cx="5980112" cy="6858000"/>
          </a:xfrm>
        </p:spPr>
        <p:txBody>
          <a:bodyPr lIns="182880" anchor="ctr"/>
          <a:lstStyle>
            <a:lvl1pPr marL="0" indent="0" algn="l">
              <a:buNone/>
              <a:defRPr/>
            </a:lvl1pPr>
          </a:lstStyle>
          <a:p>
            <a:r>
              <a:rPr lang="en-US" dirty="0" smtClean="0"/>
              <a:t>Click to insert photo.</a:t>
            </a:r>
            <a:endParaRPr lang="en-US"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2692672228"/>
      </p:ext>
    </p:extLst>
  </p:cSld>
  <p:clrMapOvr>
    <a:masterClrMapping/>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70" y="1189177"/>
            <a:ext cx="11650488" cy="2184808"/>
          </a:xfrm>
        </p:spPr>
        <p:txBody>
          <a:bodyPr>
            <a:spAutoFit/>
          </a:bodyPr>
          <a:lstStyle>
            <a:lvl3pPr>
              <a:defRPr sz="2352"/>
            </a:lvl3pPr>
            <a:lvl4pPr>
              <a:defRPr sz="1960"/>
            </a:lvl4pPr>
            <a:lvl5pPr>
              <a:defRPr sz="196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661790502"/>
      </p:ext>
    </p:extLst>
  </p:cSld>
  <p:clrMapOvr>
    <a:masterClrMapping/>
  </p:clrMapOvr>
  <p:transition>
    <p:fade/>
  </p:transition>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70" y="1189177"/>
            <a:ext cx="11650488"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2"/>
            </a:lvl3pPr>
            <a:lvl4pPr>
              <a:defRPr sz="1960"/>
            </a:lvl4pPr>
            <a:lvl5pPr>
              <a:defRPr sz="196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0030778"/>
      </p:ext>
    </p:extLst>
  </p:cSld>
  <p:clrMapOvr>
    <a:masterClrMapping/>
  </p:clrMapOvr>
  <p:transition>
    <p:fade/>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6"/>
            <a:ext cx="5377147" cy="2489784"/>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0"/>
            </a:lvl2pPr>
            <a:lvl3pPr marL="227097" indent="0">
              <a:buNone/>
              <a:tabLst/>
              <a:defRPr sz="1960"/>
            </a:lvl3pPr>
            <a:lvl4pPr marL="451084" indent="0">
              <a:buNone/>
              <a:defRPr/>
            </a:lvl4pPr>
            <a:lvl5pPr marL="67195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9784"/>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0"/>
            </a:lvl2pPr>
            <a:lvl3pPr marL="227097" indent="0">
              <a:buNone/>
              <a:tabLst/>
              <a:defRPr sz="1960"/>
            </a:lvl3pPr>
            <a:lvl4pPr marL="451084" indent="0">
              <a:buNone/>
              <a:defRPr/>
            </a:lvl4pPr>
            <a:lvl5pPr marL="67195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92453918"/>
      </p:ext>
    </p:extLst>
  </p:cSld>
  <p:clrMapOvr>
    <a:masterClrMapping/>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7"/>
            <a:ext cx="5377147" cy="2486578"/>
          </a:xfrm>
        </p:spPr>
        <p:txBody>
          <a:bodyPr wrap="square">
            <a:spAutoFit/>
          </a:bodyPr>
          <a:lstStyle>
            <a:lvl1pPr marL="0" indent="0">
              <a:spcBef>
                <a:spcPts val="1200"/>
              </a:spcBef>
              <a:buClr>
                <a:schemeClr val="tx1"/>
              </a:buClr>
              <a:buFont typeface="Wingdings" pitchFamily="2" charset="2"/>
              <a:buNone/>
              <a:defRPr sz="3527">
                <a:gradFill>
                  <a:gsLst>
                    <a:gs pos="5109">
                      <a:schemeClr val="tx2"/>
                    </a:gs>
                    <a:gs pos="25000">
                      <a:schemeClr val="tx2"/>
                    </a:gs>
                  </a:gsLst>
                  <a:lin ang="5400000" scaled="0"/>
                </a:gradFill>
              </a:defRPr>
            </a:lvl1pPr>
            <a:lvl2pPr marL="0" indent="0">
              <a:buNone/>
              <a:defRPr sz="1960"/>
            </a:lvl2pPr>
            <a:lvl3pPr marL="227097" indent="0">
              <a:buNone/>
              <a:tabLst/>
              <a:defRPr sz="1960"/>
            </a:lvl3pPr>
            <a:lvl4pPr marL="451084" indent="0">
              <a:buNone/>
              <a:defRPr/>
            </a:lvl4pPr>
            <a:lvl5pPr marL="671959"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2510" y="1189177"/>
            <a:ext cx="5377147" cy="2486578"/>
          </a:xfrm>
        </p:spPr>
        <p:txBody>
          <a:bodyPr wrap="square">
            <a:spAutoFit/>
          </a:bodyPr>
          <a:lstStyle>
            <a:lvl1pPr marL="0" indent="0">
              <a:spcBef>
                <a:spcPts val="1200"/>
              </a:spcBef>
              <a:buClr>
                <a:schemeClr val="tx1"/>
              </a:buClr>
              <a:buFont typeface="Wingdings" pitchFamily="2" charset="2"/>
              <a:buNone/>
              <a:defRPr sz="3527">
                <a:gradFill>
                  <a:gsLst>
                    <a:gs pos="100000">
                      <a:schemeClr val="tx2"/>
                    </a:gs>
                    <a:gs pos="0">
                      <a:schemeClr val="tx2"/>
                    </a:gs>
                  </a:gsLst>
                  <a:lin ang="5400000" scaled="0"/>
                </a:gradFill>
              </a:defRPr>
            </a:lvl1pPr>
            <a:lvl2pPr marL="0" indent="0">
              <a:buNone/>
              <a:defRPr sz="1960"/>
            </a:lvl2pPr>
            <a:lvl3pPr marL="227097" indent="0">
              <a:buNone/>
              <a:tabLst/>
              <a:defRPr sz="1960"/>
            </a:lvl3pPr>
            <a:lvl4pPr marL="451084" indent="0">
              <a:buNone/>
              <a:defRPr/>
            </a:lvl4pPr>
            <a:lvl5pPr marL="671959"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777892514"/>
      </p:ext>
    </p:extLst>
  </p:cSld>
  <p:clrMapOvr>
    <a:masterClrMapping/>
  </p:clrMapOvr>
  <p:transition>
    <p:fade/>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8"/>
            <a:ext cx="5377147" cy="2556149"/>
          </a:xfrm>
        </p:spPr>
        <p:txBody>
          <a:bodyPr wrap="square">
            <a:spAutoFit/>
          </a:bodyPr>
          <a:lstStyle>
            <a:lvl1pPr marL="281539" indent="-281539">
              <a:spcBef>
                <a:spcPts val="1200"/>
              </a:spcBef>
              <a:buClr>
                <a:schemeClr val="tx1"/>
              </a:buClr>
              <a:buFont typeface="Wingdings" panose="05000000000000000000" pitchFamily="2" charset="2"/>
              <a:buChar char="§"/>
              <a:defRPr sz="3527"/>
            </a:lvl1pPr>
            <a:lvl2pPr marL="520446" indent="-228488">
              <a:defRPr sz="2352"/>
            </a:lvl2pPr>
            <a:lvl3pPr marL="685465" indent="-165020">
              <a:tabLst/>
              <a:defRPr sz="1960"/>
            </a:lvl3pPr>
            <a:lvl4pPr marL="863178" indent="-177714">
              <a:defRPr/>
            </a:lvl4pPr>
            <a:lvl5pPr marL="1028197" indent="-165020">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2510" y="1189178"/>
            <a:ext cx="5377147" cy="2556149"/>
          </a:xfrm>
        </p:spPr>
        <p:txBody>
          <a:bodyPr wrap="square">
            <a:spAutoFit/>
          </a:bodyPr>
          <a:lstStyle>
            <a:lvl1pPr marL="281539" indent="-281539">
              <a:spcBef>
                <a:spcPts val="1200"/>
              </a:spcBef>
              <a:buClr>
                <a:schemeClr val="tx1"/>
              </a:buClr>
              <a:buFont typeface="Wingdings" panose="05000000000000000000" pitchFamily="2" charset="2"/>
              <a:buChar char="§"/>
              <a:defRPr sz="3527"/>
            </a:lvl1pPr>
            <a:lvl2pPr marL="520446" indent="-228488">
              <a:defRPr sz="2352"/>
            </a:lvl2pPr>
            <a:lvl3pPr marL="685465" indent="-165020">
              <a:tabLst/>
              <a:defRPr sz="1960"/>
            </a:lvl3pPr>
            <a:lvl4pPr marL="863178" indent="-177714">
              <a:defRPr/>
            </a:lvl4pPr>
            <a:lvl5pPr marL="1028197" indent="-165020">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754562263"/>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8"/>
            <a:ext cx="5377147" cy="2552967"/>
          </a:xfrm>
        </p:spPr>
        <p:txBody>
          <a:bodyPr wrap="square">
            <a:spAutoFit/>
          </a:bodyPr>
          <a:lstStyle>
            <a:lvl1pPr marL="281539" indent="-281539">
              <a:spcBef>
                <a:spcPts val="1200"/>
              </a:spcBef>
              <a:buClr>
                <a:schemeClr val="tx2"/>
              </a:buClr>
              <a:buFont typeface="Wingdings" panose="05000000000000000000" pitchFamily="2" charset="2"/>
              <a:buChar char="§"/>
              <a:defRPr sz="3527">
                <a:gradFill>
                  <a:gsLst>
                    <a:gs pos="5109">
                      <a:schemeClr val="tx2"/>
                    </a:gs>
                    <a:gs pos="100000">
                      <a:schemeClr val="tx2"/>
                    </a:gs>
                  </a:gsLst>
                  <a:lin ang="5400000" scaled="0"/>
                </a:gradFill>
              </a:defRPr>
            </a:lvl1pPr>
            <a:lvl2pPr marL="520446" indent="-228488">
              <a:defRPr sz="2352"/>
            </a:lvl2pPr>
            <a:lvl3pPr marL="685465" indent="-165020">
              <a:tabLst/>
              <a:defRPr sz="1960"/>
            </a:lvl3pPr>
            <a:lvl4pPr marL="863178" indent="-177714">
              <a:defRPr/>
            </a:lvl4pPr>
            <a:lvl5pPr marL="1028197" indent="-165020">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2510" y="1189178"/>
            <a:ext cx="5377147" cy="2552967"/>
          </a:xfrm>
        </p:spPr>
        <p:txBody>
          <a:bodyPr wrap="square">
            <a:spAutoFit/>
          </a:bodyPr>
          <a:lstStyle>
            <a:lvl1pPr marL="281539" indent="-281539">
              <a:spcBef>
                <a:spcPts val="1200"/>
              </a:spcBef>
              <a:buClr>
                <a:schemeClr val="tx2"/>
              </a:buClr>
              <a:buFont typeface="Wingdings" panose="05000000000000000000" pitchFamily="2" charset="2"/>
              <a:buChar char="§"/>
              <a:defRPr sz="3527">
                <a:gradFill>
                  <a:gsLst>
                    <a:gs pos="5109">
                      <a:schemeClr val="tx2"/>
                    </a:gs>
                    <a:gs pos="100000">
                      <a:schemeClr val="tx2"/>
                    </a:gs>
                  </a:gsLst>
                  <a:lin ang="5400000" scaled="0"/>
                </a:gradFill>
              </a:defRPr>
            </a:lvl1pPr>
            <a:lvl2pPr marL="520446" indent="-228488">
              <a:defRPr sz="2352"/>
            </a:lvl2pPr>
            <a:lvl3pPr marL="685465" indent="-165020">
              <a:tabLst/>
              <a:defRPr sz="1960"/>
            </a:lvl3pPr>
            <a:lvl4pPr marL="863178" indent="-177714">
              <a:defRPr/>
            </a:lvl4pPr>
            <a:lvl5pPr marL="1028197" indent="-165020">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236341617"/>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736854984"/>
      </p:ext>
    </p:extLst>
  </p:cSld>
  <p:clrMapOvr>
    <a:masterClrMapping/>
  </p:clrMapOvr>
  <p:transition>
    <p:fade/>
  </p:transition>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6949" y="1187623"/>
            <a:ext cx="11652805" cy="899665"/>
          </a:xfrm>
        </p:spPr>
        <p:txBody>
          <a:bodyPr/>
          <a:lstStyle>
            <a:lvl1pPr>
              <a:defRPr sz="7054" baseline="0"/>
            </a:lvl1pPr>
          </a:lstStyle>
          <a:p>
            <a:r>
              <a:rPr lang="en-US" dirty="0" smtClean="0"/>
              <a:t>Click to edit Master title style</a:t>
            </a:r>
            <a:endParaRPr lang="en-US" dirty="0"/>
          </a:p>
        </p:txBody>
      </p:sp>
    </p:spTree>
    <p:extLst>
      <p:ext uri="{BB962C8B-B14F-4D97-AF65-F5344CB8AC3E}">
        <p14:creationId xmlns:p14="http://schemas.microsoft.com/office/powerpoint/2010/main" val="694712423"/>
      </p:ext>
    </p:extLst>
  </p:cSld>
  <p:clrMapOvr>
    <a:masterClrMapping/>
  </p:clrMapOvr>
  <p:transition>
    <p:fade/>
  </p:transition>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146" y="2084173"/>
            <a:ext cx="8056131" cy="1793104"/>
          </a:xfrm>
        </p:spPr>
        <p:txBody>
          <a:bodyPr/>
          <a:lstStyle>
            <a:lvl1pPr>
              <a:defRPr sz="5879" baseline="0"/>
            </a:lvl1pPr>
          </a:lstStyle>
          <a:p>
            <a:r>
              <a:rPr lang="en-US" dirty="0" smtClean="0"/>
              <a:t>Click to edit Master title style</a:t>
            </a:r>
            <a:endParaRPr lang="en-US" dirty="0"/>
          </a:p>
        </p:txBody>
      </p:sp>
    </p:spTree>
    <p:extLst>
      <p:ext uri="{BB962C8B-B14F-4D97-AF65-F5344CB8AC3E}">
        <p14:creationId xmlns:p14="http://schemas.microsoft.com/office/powerpoint/2010/main" val="325539388"/>
      </p:ext>
    </p:extLst>
  </p:cSld>
  <p:clrMapOvr>
    <a:masterClrMapping/>
  </p:clrMapOvr>
  <p:transition>
    <p:fade/>
  </p:transition>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Fact Layout_Accent Color 2">
    <p:spTree>
      <p:nvGrpSpPr>
        <p:cNvPr id="1" name=""/>
        <p:cNvGrpSpPr/>
        <p:nvPr/>
      </p:nvGrpSpPr>
      <p:grpSpPr>
        <a:xfrm>
          <a:off x="0" y="0"/>
          <a:ext cx="0" cy="0"/>
          <a:chOff x="0" y="0"/>
          <a:chExt cx="0" cy="0"/>
        </a:xfrm>
      </p:grpSpPr>
      <p:sp>
        <p:nvSpPr>
          <p:cNvPr id="2" name="Title 1"/>
          <p:cNvSpPr>
            <a:spLocks noGrp="1"/>
          </p:cNvSpPr>
          <p:nvPr>
            <p:ph type="title"/>
          </p:nvPr>
        </p:nvSpPr>
        <p:spPr>
          <a:xfrm>
            <a:off x="2071146" y="2084173"/>
            <a:ext cx="8056131" cy="1793104"/>
          </a:xfrm>
        </p:spPr>
        <p:txBody>
          <a:bodyPr/>
          <a:lstStyle>
            <a:lvl1pPr>
              <a:defRPr sz="5879" baseline="0"/>
            </a:lvl1pPr>
          </a:lstStyle>
          <a:p>
            <a:r>
              <a:rPr lang="en-US" dirty="0" smtClean="0"/>
              <a:t>Click to edit Master title style</a:t>
            </a:r>
            <a:endParaRPr lang="en-US" dirty="0"/>
          </a:p>
        </p:txBody>
      </p:sp>
    </p:spTree>
    <p:extLst>
      <p:ext uri="{BB962C8B-B14F-4D97-AF65-F5344CB8AC3E}">
        <p14:creationId xmlns:p14="http://schemas.microsoft.com/office/powerpoint/2010/main" val="196736149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lor Block text w/Photo on Left">
    <p:spTree>
      <p:nvGrpSpPr>
        <p:cNvPr id="1" name=""/>
        <p:cNvGrpSpPr/>
        <p:nvPr/>
      </p:nvGrpSpPr>
      <p:grpSpPr>
        <a:xfrm>
          <a:off x="0" y="0"/>
          <a:ext cx="0" cy="0"/>
          <a:chOff x="0" y="0"/>
          <a:chExt cx="0" cy="0"/>
        </a:xfrm>
      </p:grpSpPr>
      <p:sp>
        <p:nvSpPr>
          <p:cNvPr id="7" name="Rectangle 6"/>
          <p:cNvSpPr/>
          <p:nvPr userDrawn="1"/>
        </p:nvSpPr>
        <p:spPr bwMode="white">
          <a:xfrm>
            <a:off x="5967413" y="0"/>
            <a:ext cx="6221411"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6218090" y="1447801"/>
            <a:ext cx="5433533"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smtClean="0"/>
              <a:t>Click to edit Master text styles.</a:t>
            </a:r>
          </a:p>
        </p:txBody>
      </p:sp>
      <p:sp>
        <p:nvSpPr>
          <p:cNvPr id="9" name="Content Placeholder 5"/>
          <p:cNvSpPr>
            <a:spLocks noGrp="1"/>
          </p:cNvSpPr>
          <p:nvPr>
            <p:ph sz="quarter" idx="13"/>
          </p:nvPr>
        </p:nvSpPr>
        <p:spPr>
          <a:xfrm>
            <a:off x="6218090" y="2734985"/>
            <a:ext cx="5444165"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smtClean="0"/>
              <a:t>Click to edit Master text styles</a:t>
            </a:r>
          </a:p>
        </p:txBody>
      </p:sp>
      <p:sp>
        <p:nvSpPr>
          <p:cNvPr id="4" name="Picture Placeholder 3"/>
          <p:cNvSpPr>
            <a:spLocks noGrp="1"/>
          </p:cNvSpPr>
          <p:nvPr>
            <p:ph type="pic" sz="quarter" idx="14" hasCustomPrompt="1"/>
          </p:nvPr>
        </p:nvSpPr>
        <p:spPr>
          <a:xfrm>
            <a:off x="0" y="0"/>
            <a:ext cx="5980112" cy="6858000"/>
          </a:xfrm>
        </p:spPr>
        <p:txBody>
          <a:bodyPr lIns="182880" anchor="ctr"/>
          <a:lstStyle>
            <a:lvl1pPr marL="0" indent="0" algn="l">
              <a:buNone/>
              <a:defRPr/>
            </a:lvl1pPr>
          </a:lstStyle>
          <a:p>
            <a:r>
              <a:rPr lang="en-US" dirty="0" smtClean="0"/>
              <a:t>Click to insert photo.</a:t>
            </a:r>
            <a:endParaRPr lang="en-US"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3312" y="6014913"/>
            <a:ext cx="1738860" cy="815899"/>
          </a:xfrm>
          <a:prstGeom prst="rect">
            <a:avLst/>
          </a:prstGeom>
        </p:spPr>
      </p:pic>
    </p:spTree>
    <p:extLst>
      <p:ext uri="{BB962C8B-B14F-4D97-AF65-F5344CB8AC3E}">
        <p14:creationId xmlns:p14="http://schemas.microsoft.com/office/powerpoint/2010/main" val="2795969827"/>
      </p:ext>
    </p:extLst>
  </p:cSld>
  <p:clrMapOvr>
    <a:masterClrMapping/>
  </p:clrMapOvr>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1178351"/>
            <a:ext cx="9858104" cy="899665"/>
          </a:xfrm>
        </p:spPr>
        <p:txBody>
          <a:bodyPr/>
          <a:lstStyle>
            <a:lvl1pPr marL="228653" indent="-228653">
              <a:defRPr sz="5879"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8" y="5025984"/>
            <a:ext cx="5377148" cy="1050156"/>
          </a:xfrm>
        </p:spPr>
        <p:txBody>
          <a:bodyPr/>
          <a:lstStyle>
            <a:lvl1pPr marL="0" indent="0">
              <a:spcBef>
                <a:spcPts val="0"/>
              </a:spcBef>
              <a:buNone/>
              <a:defRPr sz="3135"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2703456267"/>
      </p:ext>
    </p:extLst>
  </p:cSld>
  <p:clrMapOvr>
    <a:masterClrMapping/>
  </p:clrMapOvr>
  <p:transition>
    <p:fade/>
  </p:transition>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Quote Layout_Accent Color 1">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2084175"/>
            <a:ext cx="9858104" cy="899665"/>
          </a:xfrm>
        </p:spPr>
        <p:txBody>
          <a:bodyPr/>
          <a:lstStyle>
            <a:lvl1pPr marL="276871" indent="-276871">
              <a:tabLst>
                <a:tab pos="276871" algn="l"/>
              </a:tabLst>
              <a:defRPr sz="5879"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8" y="4773813"/>
            <a:ext cx="5377148" cy="1050156"/>
          </a:xfrm>
        </p:spPr>
        <p:txBody>
          <a:bodyPr/>
          <a:lstStyle>
            <a:lvl1pPr marL="0" indent="0">
              <a:spcBef>
                <a:spcPts val="0"/>
              </a:spcBef>
              <a:buNone/>
              <a:defRPr sz="3135"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232107263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50" y="2383024"/>
            <a:ext cx="11650488" cy="914360"/>
          </a:xfrm>
        </p:spPr>
        <p:txBody>
          <a:bodyPr/>
          <a:lstStyle>
            <a:lvl1pPr marL="0" indent="0">
              <a:buNone/>
              <a:defRPr sz="5291">
                <a:gradFill>
                  <a:gsLst>
                    <a:gs pos="3333">
                      <a:schemeClr val="tx1"/>
                    </a:gs>
                    <a:gs pos="39000">
                      <a:schemeClr val="tx1"/>
                    </a:gs>
                  </a:gsLst>
                  <a:lin ang="5400000" scaled="0"/>
                </a:gradFill>
              </a:defRPr>
            </a:lvl1pPr>
            <a:lvl2pPr marL="0" indent="0">
              <a:buFontTx/>
              <a:buNone/>
              <a:defRPr sz="1960"/>
            </a:lvl2pPr>
            <a:lvl3pPr marL="223987" indent="0">
              <a:buNone/>
              <a:defRPr/>
            </a:lvl3pPr>
            <a:lvl4pPr marL="447973" indent="0">
              <a:buNone/>
              <a:defRPr/>
            </a:lvl4pPr>
            <a:lvl5pPr marL="671959" indent="0">
              <a:buNone/>
              <a:defRPr/>
            </a:lvl5pPr>
          </a:lstStyle>
          <a:p>
            <a:pPr lvl="0"/>
            <a:r>
              <a:rPr lang="en-US" dirty="0" smtClean="0"/>
              <a:t>Click to edit Master text styles</a:t>
            </a:r>
          </a:p>
        </p:txBody>
      </p:sp>
      <p:sp>
        <p:nvSpPr>
          <p:cNvPr id="4" name="Title 1"/>
          <p:cNvSpPr>
            <a:spLocks noGrp="1"/>
          </p:cNvSpPr>
          <p:nvPr>
            <p:ph type="title"/>
          </p:nvPr>
        </p:nvSpPr>
        <p:spPr>
          <a:xfrm>
            <a:off x="276949" y="1187623"/>
            <a:ext cx="11652805" cy="899665"/>
          </a:xfrm>
        </p:spPr>
        <p:txBody>
          <a:bodyPr/>
          <a:lstStyle>
            <a:lvl1pPr>
              <a:defRPr sz="7054" baseline="0">
                <a:gradFill>
                  <a:gsLst>
                    <a:gs pos="1250">
                      <a:schemeClr val="tx1"/>
                    </a:gs>
                    <a:gs pos="100000">
                      <a:schemeClr val="tx1"/>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883742837"/>
      </p:ext>
    </p:extLst>
  </p:cSld>
  <p:clrMapOvr>
    <a:masterClrMapping/>
  </p:clrMapOvr>
  <p:transition>
    <p:fade/>
  </p:transition>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2" y="1217195"/>
            <a:ext cx="5377147" cy="1763530"/>
          </a:xfrm>
        </p:spPr>
        <p:txBody>
          <a:bodyPr/>
          <a:lstStyle>
            <a:lvl1pPr>
              <a:defRPr sz="6467"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5968" y="0"/>
            <a:ext cx="6092857"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endParaRPr lang="en-US" dirty="0"/>
          </a:p>
        </p:txBody>
      </p:sp>
    </p:spTree>
    <p:extLst>
      <p:ext uri="{BB962C8B-B14F-4D97-AF65-F5344CB8AC3E}">
        <p14:creationId xmlns:p14="http://schemas.microsoft.com/office/powerpoint/2010/main" val="2732657600"/>
      </p:ext>
    </p:extLst>
  </p:cSld>
  <p:clrMapOvr>
    <a:masterClrMapping/>
  </p:clrMapOvr>
  <p:transition>
    <p:fade/>
  </p:transition>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2510" y="1217197"/>
            <a:ext cx="5377147" cy="899665"/>
          </a:xfrm>
        </p:spPr>
        <p:txBody>
          <a:bodyPr/>
          <a:lstStyle>
            <a:lvl1pPr>
              <a:defRPr sz="6467" baseline="0">
                <a:gradFill>
                  <a:gsLst>
                    <a:gs pos="1250">
                      <a:schemeClr val="tx1"/>
                    </a:gs>
                    <a:gs pos="100000">
                      <a:schemeClr val="tx1"/>
                    </a:gs>
                  </a:gsLst>
                  <a:lin ang="5400000" scaled="0"/>
                </a:gradFill>
              </a:defRPr>
            </a:lvl1pPr>
          </a:lstStyle>
          <a:p>
            <a:r>
              <a:rPr lang="en-US" dirty="0" smtClean="0"/>
              <a:t>Click to edit Master title style</a:t>
            </a:r>
            <a:endParaRPr lang="en-US" dirty="0"/>
          </a:p>
        </p:txBody>
      </p:sp>
      <p:sp>
        <p:nvSpPr>
          <p:cNvPr id="4" name="Picture Placeholder 4"/>
          <p:cNvSpPr>
            <a:spLocks noGrp="1"/>
          </p:cNvSpPr>
          <p:nvPr>
            <p:ph type="pic" sz="quarter" idx="10"/>
          </p:nvPr>
        </p:nvSpPr>
        <p:spPr bwMode="ltGray">
          <a:xfrm>
            <a:off x="0" y="1"/>
            <a:ext cx="6092857" cy="6852151"/>
          </a:xfrm>
          <a:blipFill>
            <a:blip r:embed="rId2"/>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endParaRPr lang="en-US" dirty="0"/>
          </a:p>
        </p:txBody>
      </p:sp>
    </p:spTree>
    <p:extLst>
      <p:ext uri="{BB962C8B-B14F-4D97-AF65-F5344CB8AC3E}">
        <p14:creationId xmlns:p14="http://schemas.microsoft.com/office/powerpoint/2010/main" val="314264304"/>
      </p:ext>
    </p:extLst>
  </p:cSld>
  <p:clrMapOvr>
    <a:masterClrMapping/>
  </p:clrMapOvr>
  <p:transition>
    <p:fade/>
  </p:transition>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6263101"/>
      </p:ext>
    </p:extLst>
  </p:cSld>
  <p:clrMapOvr>
    <a:masterClrMapping/>
  </p:clrMapOvr>
  <p:transition>
    <p:fade/>
  </p:transition>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418131060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672299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258321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Confidentiality Slide - CYAN 300">
    <p:spTree>
      <p:nvGrpSpPr>
        <p:cNvPr id="1" name=""/>
        <p:cNvGrpSpPr/>
        <p:nvPr/>
      </p:nvGrpSpPr>
      <p:grpSpPr>
        <a:xfrm>
          <a:off x="0" y="0"/>
          <a:ext cx="0" cy="0"/>
          <a:chOff x="0" y="0"/>
          <a:chExt cx="0" cy="0"/>
        </a:xfrm>
      </p:grpSpPr>
      <p:sp>
        <p:nvSpPr>
          <p:cNvPr id="10" name="Rectangle 9"/>
          <p:cNvSpPr/>
          <p:nvPr userDrawn="1"/>
        </p:nvSpPr>
        <p:spPr>
          <a:xfrm>
            <a:off x="280813" y="302924"/>
            <a:ext cx="11638845" cy="923201"/>
          </a:xfrm>
          <a:prstGeom prst="rect">
            <a:avLst/>
          </a:prstGeom>
        </p:spPr>
        <p:txBody>
          <a:bodyPr wrap="square">
            <a:spAutoFit/>
          </a:bodyPr>
          <a:lstStyle/>
          <a:p>
            <a:pPr defTabSz="913918"/>
            <a:r>
              <a:rPr lang="en-US" sz="5291" spc="-100" dirty="0">
                <a:ln w="3175">
                  <a:noFill/>
                </a:ln>
                <a:gradFill>
                  <a:gsLst>
                    <a:gs pos="1250">
                      <a:srgbClr val="FFFFFF"/>
                    </a:gs>
                    <a:gs pos="100000">
                      <a:srgbClr val="FFFFFF"/>
                    </a:gs>
                  </a:gsLst>
                  <a:lin ang="5400000" scaled="0"/>
                </a:gradFill>
                <a:latin typeface="Segoe UI Light"/>
                <a:cs typeface="Segoe UI" pitchFamily="34" charset="0"/>
              </a:rPr>
              <a:t>Microsoft Confidential</a:t>
            </a:r>
            <a:endParaRPr lang="en-US" sz="1764" dirty="0">
              <a:solidFill>
                <a:srgbClr val="FFFFFF"/>
              </a:solidFill>
            </a:endParaRPr>
          </a:p>
        </p:txBody>
      </p:sp>
    </p:spTree>
    <p:extLst>
      <p:ext uri="{BB962C8B-B14F-4D97-AF65-F5344CB8AC3E}">
        <p14:creationId xmlns:p14="http://schemas.microsoft.com/office/powerpoint/2010/main" val="56705829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userDrawn="1"/>
        </p:nvSpPr>
        <p:spPr bwMode="white">
          <a:xfrm>
            <a:off x="0" y="857250"/>
            <a:ext cx="12188825" cy="51244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Content Placeholder 4"/>
          <p:cNvSpPr>
            <a:spLocks noGrp="1"/>
          </p:cNvSpPr>
          <p:nvPr>
            <p:ph sz="quarter" idx="11" hasCustomPrompt="1"/>
          </p:nvPr>
        </p:nvSpPr>
        <p:spPr>
          <a:xfrm>
            <a:off x="520700" y="1358053"/>
            <a:ext cx="11152188" cy="2863073"/>
          </a:xfrm>
          <a:prstGeom prst="rect">
            <a:avLst/>
          </a:prstGeom>
        </p:spPr>
        <p:txBody>
          <a:bodyPr>
            <a:normAutofit/>
          </a:bodyPr>
          <a:lstStyle>
            <a:lvl1pPr marL="0" indent="0">
              <a:lnSpc>
                <a:spcPct val="90000"/>
              </a:lnSpc>
              <a:buNone/>
              <a:defRPr sz="64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dirty="0" smtClean="0"/>
              <a:t>“Click to edit Master text styles”</a:t>
            </a:r>
          </a:p>
        </p:txBody>
      </p:sp>
      <p:sp>
        <p:nvSpPr>
          <p:cNvPr id="10"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sp>
        <p:nvSpPr>
          <p:cNvPr id="11" name="Content Placeholder 4"/>
          <p:cNvSpPr>
            <a:spLocks noGrp="1"/>
          </p:cNvSpPr>
          <p:nvPr>
            <p:ph sz="quarter" idx="13"/>
          </p:nvPr>
        </p:nvSpPr>
        <p:spPr>
          <a:xfrm>
            <a:off x="520700" y="4343400"/>
            <a:ext cx="11152188" cy="470747"/>
          </a:xfrm>
          <a:prstGeom prst="rect">
            <a:avLst/>
          </a:prstGeom>
        </p:spPr>
        <p:txBody>
          <a:bodyPr>
            <a:normAutofit/>
          </a:bodyPr>
          <a:lstStyle>
            <a:lvl1pPr marL="0" indent="0">
              <a:lnSpc>
                <a:spcPct val="90000"/>
              </a:lnSpc>
              <a:buNone/>
              <a:defRPr sz="36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smtClean="0"/>
              <a:t>Click to edit Master text styles</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2542615481"/>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Go-Dos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2" name="Rectangle 31"/>
          <p:cNvSpPr/>
          <p:nvPr userDrawn="1"/>
        </p:nvSpPr>
        <p:spPr bwMode="auto">
          <a:xfrm>
            <a:off x="269169" y="1289014"/>
            <a:ext cx="10548172" cy="5272677"/>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653" fontAlgn="base">
              <a:spcBef>
                <a:spcPct val="0"/>
              </a:spcBef>
              <a:spcAft>
                <a:spcPct val="0"/>
              </a:spcAft>
            </a:pPr>
            <a:endParaRPr lang="en-US" sz="1960">
              <a:gradFill>
                <a:gsLst>
                  <a:gs pos="0">
                    <a:srgbClr val="FFFFFF"/>
                  </a:gs>
                  <a:gs pos="100000">
                    <a:srgbClr val="FFFFFF"/>
                  </a:gs>
                </a:gsLst>
                <a:lin ang="5400000" scaled="0"/>
              </a:gradFill>
            </a:endParaRPr>
          </a:p>
        </p:txBody>
      </p:sp>
      <p:sp useBgFill="1">
        <p:nvSpPr>
          <p:cNvPr id="33" name="Rectangle 32"/>
          <p:cNvSpPr/>
          <p:nvPr userDrawn="1"/>
        </p:nvSpPr>
        <p:spPr bwMode="auto">
          <a:xfrm>
            <a:off x="2857115" y="1097965"/>
            <a:ext cx="47148" cy="555862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653" fontAlgn="base">
              <a:spcBef>
                <a:spcPct val="0"/>
              </a:spcBef>
              <a:spcAft>
                <a:spcPct val="0"/>
              </a:spcAft>
            </a:pPr>
            <a:endParaRPr lang="en-US" sz="1960">
              <a:gradFill>
                <a:gsLst>
                  <a:gs pos="0">
                    <a:srgbClr val="FFFFFF"/>
                  </a:gs>
                  <a:gs pos="100000">
                    <a:srgbClr val="FFFFFF"/>
                  </a:gs>
                </a:gsLst>
                <a:lin ang="5400000" scaled="0"/>
              </a:gradFill>
            </a:endParaRPr>
          </a:p>
        </p:txBody>
      </p:sp>
      <p:sp useBgFill="1">
        <p:nvSpPr>
          <p:cNvPr id="34" name="Rectangle 33"/>
          <p:cNvSpPr/>
          <p:nvPr userDrawn="1"/>
        </p:nvSpPr>
        <p:spPr bwMode="auto">
          <a:xfrm>
            <a:off x="5496188" y="1097965"/>
            <a:ext cx="47277" cy="555862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653" fontAlgn="base">
              <a:spcBef>
                <a:spcPct val="0"/>
              </a:spcBef>
              <a:spcAft>
                <a:spcPct val="0"/>
              </a:spcAft>
            </a:pPr>
            <a:endParaRPr lang="en-US" sz="1960">
              <a:gradFill>
                <a:gsLst>
                  <a:gs pos="0">
                    <a:srgbClr val="FFFFFF"/>
                  </a:gs>
                  <a:gs pos="100000">
                    <a:srgbClr val="FFFFFF"/>
                  </a:gs>
                </a:gsLst>
                <a:lin ang="5400000" scaled="0"/>
              </a:gradFill>
            </a:endParaRPr>
          </a:p>
        </p:txBody>
      </p:sp>
      <p:sp useBgFill="1">
        <p:nvSpPr>
          <p:cNvPr id="35" name="Rectangle 34"/>
          <p:cNvSpPr/>
          <p:nvPr userDrawn="1"/>
        </p:nvSpPr>
        <p:spPr bwMode="auto">
          <a:xfrm>
            <a:off x="8134342" y="1097965"/>
            <a:ext cx="47278" cy="555862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653" fontAlgn="base">
              <a:spcBef>
                <a:spcPct val="0"/>
              </a:spcBef>
              <a:spcAft>
                <a:spcPct val="0"/>
              </a:spcAft>
            </a:pPr>
            <a:endParaRPr lang="en-US" sz="1960">
              <a:gradFill>
                <a:gsLst>
                  <a:gs pos="0">
                    <a:srgbClr val="FFFFFF"/>
                  </a:gs>
                  <a:gs pos="100000">
                    <a:srgbClr val="FFFFFF"/>
                  </a:gs>
                </a:gsLst>
                <a:lin ang="5400000" scaled="0"/>
              </a:gradFill>
            </a:endParaRPr>
          </a:p>
        </p:txBody>
      </p:sp>
      <p:sp useBgFill="1">
        <p:nvSpPr>
          <p:cNvPr id="36" name="Rectangle 35"/>
          <p:cNvSpPr/>
          <p:nvPr userDrawn="1"/>
        </p:nvSpPr>
        <p:spPr bwMode="auto">
          <a:xfrm rot="5400000">
            <a:off x="5486717" y="-1517694"/>
            <a:ext cx="44827" cy="10843915"/>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653" fontAlgn="base">
              <a:spcBef>
                <a:spcPct val="0"/>
              </a:spcBef>
              <a:spcAft>
                <a:spcPct val="0"/>
              </a:spcAft>
            </a:pPr>
            <a:endParaRPr lang="en-US" sz="1960">
              <a:gradFill>
                <a:gsLst>
                  <a:gs pos="0">
                    <a:srgbClr val="FFFFFF"/>
                  </a:gs>
                  <a:gs pos="100000">
                    <a:srgbClr val="FFFFFF"/>
                  </a:gs>
                </a:gsLst>
                <a:lin ang="5400000" scaled="0"/>
              </a:gradFill>
            </a:endParaRPr>
          </a:p>
        </p:txBody>
      </p:sp>
      <p:pic>
        <p:nvPicPr>
          <p:cNvPr id="37" name="Picture 3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43183" y="2794027"/>
            <a:ext cx="7600149" cy="2262653"/>
          </a:xfrm>
          <a:prstGeom prst="rect">
            <a:avLst/>
          </a:prstGeom>
        </p:spPr>
      </p:pic>
      <p:sp useBgFill="1">
        <p:nvSpPr>
          <p:cNvPr id="38" name="Rectangle 37"/>
          <p:cNvSpPr/>
          <p:nvPr userDrawn="1"/>
        </p:nvSpPr>
        <p:spPr bwMode="auto">
          <a:xfrm>
            <a:off x="0" y="6561690"/>
            <a:ext cx="12188825" cy="29631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653" fontAlgn="base">
              <a:spcBef>
                <a:spcPct val="0"/>
              </a:spcBef>
              <a:spcAft>
                <a:spcPct val="0"/>
              </a:spcAft>
            </a:pPr>
            <a:endParaRPr lang="en-US" sz="1960">
              <a:gradFill>
                <a:gsLst>
                  <a:gs pos="0">
                    <a:srgbClr val="FFFFFF"/>
                  </a:gs>
                  <a:gs pos="100000">
                    <a:srgbClr val="FFFFFF"/>
                  </a:gs>
                </a:gsLst>
                <a:lin ang="5400000" scaled="0"/>
              </a:gradFill>
            </a:endParaRPr>
          </a:p>
        </p:txBody>
      </p:sp>
      <p:sp useBgFill="1">
        <p:nvSpPr>
          <p:cNvPr id="39" name="Rectangle 38"/>
          <p:cNvSpPr/>
          <p:nvPr userDrawn="1"/>
        </p:nvSpPr>
        <p:spPr bwMode="auto">
          <a:xfrm>
            <a:off x="42677" y="1239892"/>
            <a:ext cx="10965855" cy="5405979"/>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653" fontAlgn="base">
              <a:spcBef>
                <a:spcPct val="0"/>
              </a:spcBef>
              <a:spcAft>
                <a:spcPct val="0"/>
              </a:spcAft>
            </a:pPr>
            <a:endParaRPr lang="en-US" sz="1960">
              <a:gradFill>
                <a:gsLst>
                  <a:gs pos="0">
                    <a:srgbClr val="FFFFFF"/>
                  </a:gs>
                  <a:gs pos="100000">
                    <a:srgbClr val="FFFFFF"/>
                  </a:gs>
                </a:gsLst>
                <a:lin ang="5400000" scaled="0"/>
              </a:gradFill>
            </a:endParaRPr>
          </a:p>
        </p:txBody>
      </p:sp>
      <p:sp>
        <p:nvSpPr>
          <p:cNvPr id="40" name="Rectangle 39"/>
          <p:cNvSpPr/>
          <p:nvPr userDrawn="1"/>
        </p:nvSpPr>
        <p:spPr bwMode="auto">
          <a:xfrm>
            <a:off x="270343" y="3924909"/>
            <a:ext cx="2590751" cy="263678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 tIns="140552" rIns="175690" bIns="140552" numCol="1" spcCol="0" rtlCol="0" fromWordArt="0" anchor="t" anchorCtr="0" forceAA="0" compatLnSpc="1">
            <a:prstTxWarp prst="textNoShape">
              <a:avLst/>
            </a:prstTxWarp>
            <a:noAutofit/>
          </a:bodyPr>
          <a:lstStyle/>
          <a:p>
            <a:pPr defTabSz="895123" fontAlgn="base">
              <a:lnSpc>
                <a:spcPct val="86000"/>
              </a:lnSpc>
              <a:spcBef>
                <a:spcPct val="0"/>
              </a:spcBef>
              <a:spcAft>
                <a:spcPts val="1153"/>
              </a:spcAft>
            </a:pPr>
            <a:endParaRPr lang="en-US" sz="1536"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8181620" y="3924909"/>
            <a:ext cx="2589993" cy="2636782"/>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 tIns="140552" rIns="175690" bIns="140552" numCol="1" spcCol="0" rtlCol="0" fromWordArt="0" anchor="t" anchorCtr="0" forceAA="0" compatLnSpc="1">
            <a:prstTxWarp prst="textNoShape">
              <a:avLst/>
            </a:prstTxWarp>
            <a:noAutofit/>
          </a:bodyPr>
          <a:lstStyle/>
          <a:p>
            <a:pPr defTabSz="895123" fontAlgn="base">
              <a:lnSpc>
                <a:spcPct val="86000"/>
              </a:lnSpc>
              <a:spcBef>
                <a:spcPct val="0"/>
              </a:spcBef>
              <a:spcAft>
                <a:spcPts val="1153"/>
              </a:spcAft>
            </a:pPr>
            <a:endParaRPr lang="en-US" sz="1536"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270343" y="1289016"/>
            <a:ext cx="2590751" cy="2592836"/>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 tIns="140552" rIns="175690" bIns="140552" numCol="1" spcCol="0" rtlCol="0" fromWordArt="0" anchor="t" anchorCtr="0" forceAA="0" compatLnSpc="1">
            <a:prstTxWarp prst="textNoShape">
              <a:avLst/>
            </a:prstTxWarp>
            <a:noAutofit/>
          </a:bodyPr>
          <a:lstStyle/>
          <a:p>
            <a:pPr defTabSz="895123" fontAlgn="base">
              <a:lnSpc>
                <a:spcPct val="86000"/>
              </a:lnSpc>
              <a:spcBef>
                <a:spcPct val="0"/>
              </a:spcBef>
              <a:spcAft>
                <a:spcPts val="1153"/>
              </a:spcAft>
            </a:pPr>
            <a:endParaRPr lang="en-US" sz="1536" dirty="0">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5543592" y="1289016"/>
            <a:ext cx="2590751" cy="2592836"/>
          </a:xfrm>
          <a:prstGeom prst="rect">
            <a:avLst/>
          </a:prstGeom>
          <a:solidFill>
            <a:schemeClr val="accent1">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175690" tIns="140552" rIns="175690" bIns="140552" numCol="1" spcCol="0" rtlCol="0" fromWordArt="0" anchor="t" anchorCtr="0" forceAA="0" compatLnSpc="1">
            <a:prstTxWarp prst="textNoShape">
              <a:avLst/>
            </a:prstTxWarp>
            <a:noAutofit/>
          </a:bodyPr>
          <a:lstStyle/>
          <a:p>
            <a:pPr defTabSz="895123" fontAlgn="base">
              <a:lnSpc>
                <a:spcPct val="86000"/>
              </a:lnSpc>
              <a:spcBef>
                <a:spcPct val="0"/>
              </a:spcBef>
              <a:spcAft>
                <a:spcPts val="1153"/>
              </a:spcAft>
            </a:pPr>
            <a:endParaRPr lang="en-US" sz="1536" dirty="0">
              <a:gradFill>
                <a:gsLst>
                  <a:gs pos="0">
                    <a:srgbClr val="FFFFFF"/>
                  </a:gs>
                  <a:gs pos="100000">
                    <a:srgbClr val="FFFFFF"/>
                  </a:gs>
                </a:gsLst>
                <a:lin ang="5400000" scaled="0"/>
              </a:gradFill>
              <a:ea typeface="Segoe UI" pitchFamily="34" charset="0"/>
              <a:cs typeface="Segoe UI" pitchFamily="34" charset="0"/>
            </a:endParaRPr>
          </a:p>
        </p:txBody>
      </p:sp>
      <p:sp>
        <p:nvSpPr>
          <p:cNvPr id="44" name="Rectangle 43"/>
          <p:cNvSpPr/>
          <p:nvPr userDrawn="1"/>
        </p:nvSpPr>
        <p:spPr bwMode="auto">
          <a:xfrm>
            <a:off x="8181620" y="1289016"/>
            <a:ext cx="2589993" cy="259283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 tIns="140552" rIns="175690" bIns="140552" numCol="1" spcCol="0" rtlCol="0" fromWordArt="0" anchor="t" anchorCtr="0" forceAA="0" compatLnSpc="1">
            <a:prstTxWarp prst="textNoShape">
              <a:avLst/>
            </a:prstTxWarp>
            <a:noAutofit/>
          </a:bodyPr>
          <a:lstStyle/>
          <a:p>
            <a:pPr defTabSz="895123" fontAlgn="base">
              <a:lnSpc>
                <a:spcPct val="86000"/>
              </a:lnSpc>
              <a:spcBef>
                <a:spcPct val="0"/>
              </a:spcBef>
              <a:spcAft>
                <a:spcPts val="1153"/>
              </a:spcAft>
            </a:pPr>
            <a:endParaRPr lang="en-US" sz="1536" dirty="0">
              <a:gradFill>
                <a:gsLst>
                  <a:gs pos="0">
                    <a:srgbClr val="FFFFFF"/>
                  </a:gs>
                  <a:gs pos="100000">
                    <a:srgbClr val="FFFFFF"/>
                  </a:gs>
                </a:gsLst>
                <a:lin ang="5400000" scaled="0"/>
              </a:gradFill>
              <a:ea typeface="Segoe UI" pitchFamily="34" charset="0"/>
              <a:cs typeface="Segoe UI" pitchFamily="34" charset="0"/>
            </a:endParaRPr>
          </a:p>
        </p:txBody>
      </p:sp>
      <p:sp>
        <p:nvSpPr>
          <p:cNvPr id="45" name="Rectangle 44"/>
          <p:cNvSpPr/>
          <p:nvPr userDrawn="1"/>
        </p:nvSpPr>
        <p:spPr bwMode="auto">
          <a:xfrm>
            <a:off x="2904394" y="3924909"/>
            <a:ext cx="2591794" cy="2636782"/>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 tIns="140552" rIns="175690" bIns="140552" numCol="1" spcCol="0" rtlCol="0" fromWordArt="0" anchor="t" anchorCtr="0" forceAA="0" compatLnSpc="1">
            <a:prstTxWarp prst="textNoShape">
              <a:avLst/>
            </a:prstTxWarp>
            <a:noAutofit/>
          </a:bodyPr>
          <a:lstStyle/>
          <a:p>
            <a:pPr defTabSz="895123" fontAlgn="base">
              <a:lnSpc>
                <a:spcPct val="86000"/>
              </a:lnSpc>
              <a:spcBef>
                <a:spcPct val="0"/>
              </a:spcBef>
              <a:spcAft>
                <a:spcPts val="1153"/>
              </a:spcAft>
            </a:pPr>
            <a:endParaRPr lang="en-US" sz="1536" dirty="0">
              <a:gradFill>
                <a:gsLst>
                  <a:gs pos="0">
                    <a:srgbClr val="FFFFFF"/>
                  </a:gs>
                  <a:gs pos="100000">
                    <a:srgbClr val="FFFFFF"/>
                  </a:gs>
                </a:gsLst>
                <a:lin ang="5400000" scaled="0"/>
              </a:gradFill>
              <a:ea typeface="Segoe UI" pitchFamily="34" charset="0"/>
              <a:cs typeface="Segoe UI" pitchFamily="34" charset="0"/>
            </a:endParaRPr>
          </a:p>
        </p:txBody>
      </p:sp>
      <p:sp>
        <p:nvSpPr>
          <p:cNvPr id="46" name="Rectangle 45"/>
          <p:cNvSpPr/>
          <p:nvPr userDrawn="1"/>
        </p:nvSpPr>
        <p:spPr bwMode="auto">
          <a:xfrm>
            <a:off x="2904394" y="1289015"/>
            <a:ext cx="2591794" cy="2592836"/>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5690" tIns="140552" rIns="175690" bIns="140552" numCol="1" spcCol="0" rtlCol="0" fromWordArt="0" anchor="t" anchorCtr="0" forceAA="0" compatLnSpc="1">
            <a:prstTxWarp prst="textNoShape">
              <a:avLst/>
            </a:prstTxWarp>
            <a:noAutofit/>
          </a:bodyPr>
          <a:lstStyle/>
          <a:p>
            <a:pPr defTabSz="895123" fontAlgn="base">
              <a:lnSpc>
                <a:spcPct val="86000"/>
              </a:lnSpc>
              <a:spcBef>
                <a:spcPct val="0"/>
              </a:spcBef>
              <a:spcAft>
                <a:spcPts val="1153"/>
              </a:spcAft>
            </a:pPr>
            <a:endParaRPr lang="en-US" sz="1536" dirty="0">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46"/>
          <p:cNvSpPr/>
          <p:nvPr userDrawn="1"/>
        </p:nvSpPr>
        <p:spPr bwMode="auto">
          <a:xfrm>
            <a:off x="5543592" y="3924909"/>
            <a:ext cx="2590751" cy="263678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 tIns="140552" rIns="175690" bIns="140552" numCol="1" spcCol="0" rtlCol="0" fromWordArt="0" anchor="t" anchorCtr="0" forceAA="0" compatLnSpc="1">
            <a:prstTxWarp prst="textNoShape">
              <a:avLst/>
            </a:prstTxWarp>
            <a:noAutofit/>
          </a:bodyPr>
          <a:lstStyle/>
          <a:p>
            <a:pPr defTabSz="895123" fontAlgn="base">
              <a:lnSpc>
                <a:spcPct val="86000"/>
              </a:lnSpc>
              <a:spcBef>
                <a:spcPct val="0"/>
              </a:spcBef>
              <a:spcAft>
                <a:spcPts val="1153"/>
              </a:spcAft>
            </a:pPr>
            <a:endParaRPr lang="en-US" sz="1536" dirty="0">
              <a:gradFill>
                <a:gsLst>
                  <a:gs pos="0">
                    <a:srgbClr val="FFFFFF"/>
                  </a:gs>
                  <a:gs pos="100000">
                    <a:srgbClr val="FFFFFF"/>
                  </a:gs>
                </a:gsLst>
                <a:lin ang="5400000" scaled="0"/>
              </a:gradFill>
              <a:ea typeface="Segoe UI" pitchFamily="34" charset="0"/>
              <a:cs typeface="Segoe UI" pitchFamily="34" charset="0"/>
            </a:endParaRPr>
          </a:p>
        </p:txBody>
      </p:sp>
      <p:sp>
        <p:nvSpPr>
          <p:cNvPr id="48" name="Text Placeholder 24"/>
          <p:cNvSpPr>
            <a:spLocks noGrp="1"/>
          </p:cNvSpPr>
          <p:nvPr>
            <p:ph type="body" sz="quarter" idx="11"/>
          </p:nvPr>
        </p:nvSpPr>
        <p:spPr>
          <a:xfrm>
            <a:off x="269169" y="1836738"/>
            <a:ext cx="2581218" cy="2034395"/>
          </a:xfrm>
        </p:spPr>
        <p:txBody>
          <a:bodyPr>
            <a:noAutofit/>
          </a:bodyPr>
          <a:lstStyle>
            <a:lvl1pPr marL="0" indent="0">
              <a:buNone/>
              <a:defRPr sz="1764"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dirty="0" smtClean="0"/>
              <a:t>Click to edit Master text styles</a:t>
            </a:r>
          </a:p>
        </p:txBody>
      </p:sp>
      <p:sp>
        <p:nvSpPr>
          <p:cNvPr id="49" name="Text Placeholder 24"/>
          <p:cNvSpPr>
            <a:spLocks noGrp="1"/>
          </p:cNvSpPr>
          <p:nvPr>
            <p:ph type="body" sz="quarter" idx="13"/>
          </p:nvPr>
        </p:nvSpPr>
        <p:spPr>
          <a:xfrm>
            <a:off x="269169" y="4471188"/>
            <a:ext cx="2581218" cy="2079784"/>
          </a:xfrm>
        </p:spPr>
        <p:txBody>
          <a:bodyPr>
            <a:noAutofit/>
          </a:bodyPr>
          <a:lstStyle>
            <a:lvl1pPr marL="0" indent="0">
              <a:buNone/>
              <a:defRPr sz="1764"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dirty="0" smtClean="0"/>
              <a:t>Click to edit Master text styles</a:t>
            </a:r>
          </a:p>
        </p:txBody>
      </p:sp>
      <p:sp>
        <p:nvSpPr>
          <p:cNvPr id="50" name="Text Placeholder 24"/>
          <p:cNvSpPr>
            <a:spLocks noGrp="1"/>
          </p:cNvSpPr>
          <p:nvPr>
            <p:ph type="body" sz="quarter" idx="15"/>
          </p:nvPr>
        </p:nvSpPr>
        <p:spPr>
          <a:xfrm>
            <a:off x="2899005" y="1836738"/>
            <a:ext cx="2581218" cy="2034395"/>
          </a:xfrm>
        </p:spPr>
        <p:txBody>
          <a:bodyPr>
            <a:noAutofit/>
          </a:bodyPr>
          <a:lstStyle>
            <a:lvl1pPr marL="0" indent="0">
              <a:buNone/>
              <a:defRPr sz="1764"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dirty="0" smtClean="0"/>
              <a:t>Click to edit Master text styles</a:t>
            </a:r>
          </a:p>
        </p:txBody>
      </p:sp>
      <p:sp>
        <p:nvSpPr>
          <p:cNvPr id="51" name="Text Placeholder 24"/>
          <p:cNvSpPr>
            <a:spLocks noGrp="1"/>
          </p:cNvSpPr>
          <p:nvPr>
            <p:ph type="body" sz="quarter" idx="17"/>
          </p:nvPr>
        </p:nvSpPr>
        <p:spPr>
          <a:xfrm>
            <a:off x="2899005" y="4471188"/>
            <a:ext cx="2581218" cy="2079784"/>
          </a:xfrm>
        </p:spPr>
        <p:txBody>
          <a:bodyPr>
            <a:noAutofit/>
          </a:bodyPr>
          <a:lstStyle>
            <a:lvl1pPr marL="0" indent="0">
              <a:buNone/>
              <a:defRPr sz="1764"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dirty="0" smtClean="0"/>
              <a:t>Click to edit Master text styles</a:t>
            </a:r>
          </a:p>
        </p:txBody>
      </p:sp>
      <p:sp>
        <p:nvSpPr>
          <p:cNvPr id="52" name="Text Placeholder 24"/>
          <p:cNvSpPr>
            <a:spLocks noGrp="1"/>
          </p:cNvSpPr>
          <p:nvPr>
            <p:ph type="body" sz="quarter" idx="19"/>
          </p:nvPr>
        </p:nvSpPr>
        <p:spPr>
          <a:xfrm>
            <a:off x="5549801" y="1836738"/>
            <a:ext cx="2581218" cy="2034395"/>
          </a:xfrm>
        </p:spPr>
        <p:txBody>
          <a:bodyPr>
            <a:noAutofit/>
          </a:bodyPr>
          <a:lstStyle>
            <a:lvl1pPr marL="0" indent="0">
              <a:buNone/>
              <a:defRPr sz="1764"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dirty="0" smtClean="0"/>
              <a:t>Click to edit Master text styles</a:t>
            </a:r>
          </a:p>
        </p:txBody>
      </p:sp>
      <p:sp>
        <p:nvSpPr>
          <p:cNvPr id="53" name="Text Placeholder 24"/>
          <p:cNvSpPr>
            <a:spLocks noGrp="1"/>
          </p:cNvSpPr>
          <p:nvPr>
            <p:ph type="body" sz="quarter" idx="21"/>
          </p:nvPr>
        </p:nvSpPr>
        <p:spPr>
          <a:xfrm>
            <a:off x="5549801" y="4471188"/>
            <a:ext cx="2581218" cy="2079784"/>
          </a:xfrm>
        </p:spPr>
        <p:txBody>
          <a:bodyPr>
            <a:noAutofit/>
          </a:bodyPr>
          <a:lstStyle>
            <a:lvl1pPr marL="0" indent="0">
              <a:buNone/>
              <a:defRPr sz="1764"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dirty="0" smtClean="0"/>
              <a:t>Click to edit Master text styles</a:t>
            </a:r>
          </a:p>
        </p:txBody>
      </p:sp>
      <p:sp>
        <p:nvSpPr>
          <p:cNvPr id="54" name="Text Placeholder 24"/>
          <p:cNvSpPr>
            <a:spLocks noGrp="1"/>
          </p:cNvSpPr>
          <p:nvPr>
            <p:ph type="body" sz="quarter" idx="23"/>
          </p:nvPr>
        </p:nvSpPr>
        <p:spPr>
          <a:xfrm>
            <a:off x="8175515" y="1836738"/>
            <a:ext cx="2581218" cy="2034395"/>
          </a:xfrm>
        </p:spPr>
        <p:txBody>
          <a:bodyPr>
            <a:noAutofit/>
          </a:bodyPr>
          <a:lstStyle>
            <a:lvl1pPr marL="0" indent="0">
              <a:buNone/>
              <a:defRPr sz="1764"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dirty="0" smtClean="0"/>
              <a:t>Click to edit Master text styles</a:t>
            </a:r>
          </a:p>
        </p:txBody>
      </p:sp>
      <p:sp>
        <p:nvSpPr>
          <p:cNvPr id="55" name="Text Placeholder 24"/>
          <p:cNvSpPr>
            <a:spLocks noGrp="1"/>
          </p:cNvSpPr>
          <p:nvPr>
            <p:ph type="body" sz="quarter" idx="25"/>
          </p:nvPr>
        </p:nvSpPr>
        <p:spPr>
          <a:xfrm>
            <a:off x="8175515" y="4471188"/>
            <a:ext cx="2581218" cy="2079784"/>
          </a:xfrm>
        </p:spPr>
        <p:txBody>
          <a:bodyPr>
            <a:noAutofit/>
          </a:bodyPr>
          <a:lstStyle>
            <a:lvl1pPr marL="0" indent="0">
              <a:buNone/>
              <a:defRPr sz="1764"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dirty="0" smtClean="0"/>
              <a:t>Click to edit Master text styles</a:t>
            </a:r>
          </a:p>
        </p:txBody>
      </p:sp>
      <p:sp>
        <p:nvSpPr>
          <p:cNvPr id="56" name="Text Placeholder 24"/>
          <p:cNvSpPr txBox="1">
            <a:spLocks/>
          </p:cNvSpPr>
          <p:nvPr userDrawn="1"/>
        </p:nvSpPr>
        <p:spPr>
          <a:xfrm>
            <a:off x="270343" y="1289017"/>
            <a:ext cx="896192" cy="438509"/>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135" dirty="0" smtClean="0"/>
              <a:t>1</a:t>
            </a:r>
          </a:p>
        </p:txBody>
      </p:sp>
      <p:sp>
        <p:nvSpPr>
          <p:cNvPr id="57" name="Text Placeholder 24"/>
          <p:cNvSpPr txBox="1">
            <a:spLocks/>
          </p:cNvSpPr>
          <p:nvPr userDrawn="1"/>
        </p:nvSpPr>
        <p:spPr>
          <a:xfrm>
            <a:off x="270343" y="3924908"/>
            <a:ext cx="896192" cy="439310"/>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135" dirty="0" smtClean="0"/>
              <a:t>5</a:t>
            </a:r>
          </a:p>
        </p:txBody>
      </p:sp>
      <p:sp>
        <p:nvSpPr>
          <p:cNvPr id="58" name="Text Placeholder 24"/>
          <p:cNvSpPr txBox="1">
            <a:spLocks/>
          </p:cNvSpPr>
          <p:nvPr userDrawn="1"/>
        </p:nvSpPr>
        <p:spPr>
          <a:xfrm>
            <a:off x="2904394" y="1289013"/>
            <a:ext cx="896192" cy="439310"/>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135" dirty="0" smtClean="0"/>
              <a:t>2</a:t>
            </a:r>
          </a:p>
        </p:txBody>
      </p:sp>
      <p:sp>
        <p:nvSpPr>
          <p:cNvPr id="59" name="Text Placeholder 24"/>
          <p:cNvSpPr txBox="1">
            <a:spLocks/>
          </p:cNvSpPr>
          <p:nvPr userDrawn="1"/>
        </p:nvSpPr>
        <p:spPr>
          <a:xfrm>
            <a:off x="2904394" y="3924908"/>
            <a:ext cx="896192" cy="439310"/>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135" dirty="0" smtClean="0"/>
              <a:t>6</a:t>
            </a:r>
          </a:p>
        </p:txBody>
      </p:sp>
      <p:sp>
        <p:nvSpPr>
          <p:cNvPr id="60" name="Text Placeholder 24"/>
          <p:cNvSpPr txBox="1">
            <a:spLocks/>
          </p:cNvSpPr>
          <p:nvPr userDrawn="1"/>
        </p:nvSpPr>
        <p:spPr>
          <a:xfrm>
            <a:off x="5543590" y="1289014"/>
            <a:ext cx="896192" cy="439310"/>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135" dirty="0" smtClean="0"/>
              <a:t>3</a:t>
            </a:r>
          </a:p>
        </p:txBody>
      </p:sp>
      <p:sp>
        <p:nvSpPr>
          <p:cNvPr id="61" name="Text Placeholder 24"/>
          <p:cNvSpPr txBox="1">
            <a:spLocks/>
          </p:cNvSpPr>
          <p:nvPr userDrawn="1"/>
        </p:nvSpPr>
        <p:spPr>
          <a:xfrm>
            <a:off x="5543590" y="3924908"/>
            <a:ext cx="896192" cy="439310"/>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135" dirty="0" smtClean="0"/>
              <a:t>7</a:t>
            </a:r>
          </a:p>
        </p:txBody>
      </p:sp>
      <p:sp>
        <p:nvSpPr>
          <p:cNvPr id="62" name="Text Placeholder 24"/>
          <p:cNvSpPr txBox="1">
            <a:spLocks/>
          </p:cNvSpPr>
          <p:nvPr userDrawn="1"/>
        </p:nvSpPr>
        <p:spPr>
          <a:xfrm>
            <a:off x="8181621" y="1289014"/>
            <a:ext cx="896192" cy="439310"/>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135" dirty="0" smtClean="0"/>
              <a:t>4</a:t>
            </a:r>
          </a:p>
        </p:txBody>
      </p:sp>
      <p:sp>
        <p:nvSpPr>
          <p:cNvPr id="63" name="Text Placeholder 24"/>
          <p:cNvSpPr txBox="1">
            <a:spLocks/>
          </p:cNvSpPr>
          <p:nvPr userDrawn="1"/>
        </p:nvSpPr>
        <p:spPr>
          <a:xfrm>
            <a:off x="8181621" y="3924908"/>
            <a:ext cx="896192" cy="439310"/>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135" dirty="0" smtClean="0"/>
              <a:t>8</a:t>
            </a:r>
          </a:p>
        </p:txBody>
      </p:sp>
    </p:spTree>
    <p:extLst>
      <p:ext uri="{BB962C8B-B14F-4D97-AF65-F5344CB8AC3E}">
        <p14:creationId xmlns:p14="http://schemas.microsoft.com/office/powerpoint/2010/main" val="37660778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xit" presetSubtype="4" accel="22000" decel="78000" fill="hold" nodeType="withEffect">
                                  <p:stCondLst>
                                    <p:cond delay="750"/>
                                  </p:stCondLst>
                                  <p:childTnLst>
                                    <p:anim calcmode="lin" valueType="num">
                                      <p:cBhvr additive="base">
                                        <p:cTn id="6" dur="500"/>
                                        <p:tgtEl>
                                          <p:spTgt spid="37"/>
                                        </p:tgtEl>
                                        <p:attrNameLst>
                                          <p:attrName>ppt_x</p:attrName>
                                        </p:attrNameLst>
                                      </p:cBhvr>
                                      <p:tavLst>
                                        <p:tav tm="0">
                                          <p:val>
                                            <p:strVal val="ppt_x"/>
                                          </p:val>
                                        </p:tav>
                                        <p:tav tm="100000">
                                          <p:val>
                                            <p:strVal val="ppt_x"/>
                                          </p:val>
                                        </p:tav>
                                      </p:tavLst>
                                    </p:anim>
                                    <p:anim calcmode="lin" valueType="num">
                                      <p:cBhvr additive="base">
                                        <p:cTn id="7" dur="500"/>
                                        <p:tgtEl>
                                          <p:spTgt spid="37"/>
                                        </p:tgtEl>
                                        <p:attrNameLst>
                                          <p:attrName>ppt_y</p:attrName>
                                        </p:attrNameLst>
                                      </p:cBhvr>
                                      <p:tavLst>
                                        <p:tav tm="0">
                                          <p:val>
                                            <p:strVal val="ppt_y"/>
                                          </p:val>
                                        </p:tav>
                                        <p:tav tm="100000">
                                          <p:val>
                                            <p:strVal val="1+ppt_h/2"/>
                                          </p:val>
                                        </p:tav>
                                      </p:tavLst>
                                    </p:anim>
                                    <p:set>
                                      <p:cBhvr>
                                        <p:cTn id="8" dur="1" fill="hold">
                                          <p:stCondLst>
                                            <p:cond delay="499"/>
                                          </p:stCondLst>
                                        </p:cTn>
                                        <p:tgtEl>
                                          <p:spTgt spid="37"/>
                                        </p:tgtEl>
                                        <p:attrNameLst>
                                          <p:attrName>style.visibility</p:attrName>
                                        </p:attrNameLst>
                                      </p:cBhvr>
                                      <p:to>
                                        <p:strVal val="hidden"/>
                                      </p:to>
                                    </p:set>
                                  </p:childTnLst>
                                </p:cTn>
                              </p:par>
                              <p:par>
                                <p:cTn id="9" presetID="2" presetClass="entr" presetSubtype="4" decel="100000" fill="hold" grpId="0" nodeType="withEffect">
                                  <p:stCondLst>
                                    <p:cond delay="1300"/>
                                  </p:stCondLst>
                                  <p:childTnLst>
                                    <p:set>
                                      <p:cBhvr>
                                        <p:cTn id="10" dur="1" fill="hold">
                                          <p:stCondLst>
                                            <p:cond delay="0"/>
                                          </p:stCondLst>
                                        </p:cTn>
                                        <p:tgtEl>
                                          <p:spTgt spid="33"/>
                                        </p:tgtEl>
                                        <p:attrNameLst>
                                          <p:attrName>style.visibility</p:attrName>
                                        </p:attrNameLst>
                                      </p:cBhvr>
                                      <p:to>
                                        <p:strVal val="visible"/>
                                      </p:to>
                                    </p:set>
                                    <p:anim calcmode="lin" valueType="num">
                                      <p:cBhvr additive="base">
                                        <p:cTn id="11" dur="500" fill="hold"/>
                                        <p:tgtEl>
                                          <p:spTgt spid="33"/>
                                        </p:tgtEl>
                                        <p:attrNameLst>
                                          <p:attrName>ppt_x</p:attrName>
                                        </p:attrNameLst>
                                      </p:cBhvr>
                                      <p:tavLst>
                                        <p:tav tm="0">
                                          <p:val>
                                            <p:strVal val="#ppt_x"/>
                                          </p:val>
                                        </p:tav>
                                        <p:tav tm="100000">
                                          <p:val>
                                            <p:strVal val="#ppt_x"/>
                                          </p:val>
                                        </p:tav>
                                      </p:tavLst>
                                    </p:anim>
                                    <p:anim calcmode="lin" valueType="num">
                                      <p:cBhvr additive="base">
                                        <p:cTn id="12" dur="500" fill="hold"/>
                                        <p:tgtEl>
                                          <p:spTgt spid="33"/>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1300"/>
                                  </p:stCondLst>
                                  <p:childTnLst>
                                    <p:set>
                                      <p:cBhvr>
                                        <p:cTn id="14" dur="1" fill="hold">
                                          <p:stCondLst>
                                            <p:cond delay="0"/>
                                          </p:stCondLst>
                                        </p:cTn>
                                        <p:tgtEl>
                                          <p:spTgt spid="34"/>
                                        </p:tgtEl>
                                        <p:attrNameLst>
                                          <p:attrName>style.visibility</p:attrName>
                                        </p:attrNameLst>
                                      </p:cBhvr>
                                      <p:to>
                                        <p:strVal val="visible"/>
                                      </p:to>
                                    </p:set>
                                    <p:anim calcmode="lin" valueType="num">
                                      <p:cBhvr additive="base">
                                        <p:cTn id="15" dur="500" fill="hold"/>
                                        <p:tgtEl>
                                          <p:spTgt spid="34"/>
                                        </p:tgtEl>
                                        <p:attrNameLst>
                                          <p:attrName>ppt_x</p:attrName>
                                        </p:attrNameLst>
                                      </p:cBhvr>
                                      <p:tavLst>
                                        <p:tav tm="0">
                                          <p:val>
                                            <p:strVal val="#ppt_x"/>
                                          </p:val>
                                        </p:tav>
                                        <p:tav tm="100000">
                                          <p:val>
                                            <p:strVal val="#ppt_x"/>
                                          </p:val>
                                        </p:tav>
                                      </p:tavLst>
                                    </p:anim>
                                    <p:anim calcmode="lin" valueType="num">
                                      <p:cBhvr additive="base">
                                        <p:cTn id="16" dur="500" fill="hold"/>
                                        <p:tgtEl>
                                          <p:spTgt spid="34"/>
                                        </p:tgtEl>
                                        <p:attrNameLst>
                                          <p:attrName>ppt_y</p:attrName>
                                        </p:attrNameLst>
                                      </p:cBhvr>
                                      <p:tavLst>
                                        <p:tav tm="0">
                                          <p:val>
                                            <p:strVal val="1+#ppt_h/2"/>
                                          </p:val>
                                        </p:tav>
                                        <p:tav tm="100000">
                                          <p:val>
                                            <p:strVal val="#ppt_y"/>
                                          </p:val>
                                        </p:tav>
                                      </p:tavLst>
                                    </p:anim>
                                  </p:childTnLst>
                                </p:cTn>
                              </p:par>
                              <p:par>
                                <p:cTn id="17" presetID="2" presetClass="entr" presetSubtype="4" decel="100000" fill="hold" grpId="0" nodeType="withEffect">
                                  <p:stCondLst>
                                    <p:cond delay="1300"/>
                                  </p:stCondLst>
                                  <p:childTnLst>
                                    <p:set>
                                      <p:cBhvr>
                                        <p:cTn id="18" dur="1" fill="hold">
                                          <p:stCondLst>
                                            <p:cond delay="0"/>
                                          </p:stCondLst>
                                        </p:cTn>
                                        <p:tgtEl>
                                          <p:spTgt spid="35"/>
                                        </p:tgtEl>
                                        <p:attrNameLst>
                                          <p:attrName>style.visibility</p:attrName>
                                        </p:attrNameLst>
                                      </p:cBhvr>
                                      <p:to>
                                        <p:strVal val="visible"/>
                                      </p:to>
                                    </p:set>
                                    <p:anim calcmode="lin" valueType="num">
                                      <p:cBhvr additive="base">
                                        <p:cTn id="19" dur="500" fill="hold"/>
                                        <p:tgtEl>
                                          <p:spTgt spid="35"/>
                                        </p:tgtEl>
                                        <p:attrNameLst>
                                          <p:attrName>ppt_x</p:attrName>
                                        </p:attrNameLst>
                                      </p:cBhvr>
                                      <p:tavLst>
                                        <p:tav tm="0">
                                          <p:val>
                                            <p:strVal val="#ppt_x"/>
                                          </p:val>
                                        </p:tav>
                                        <p:tav tm="100000">
                                          <p:val>
                                            <p:strVal val="#ppt_x"/>
                                          </p:val>
                                        </p:tav>
                                      </p:tavLst>
                                    </p:anim>
                                    <p:anim calcmode="lin" valueType="num">
                                      <p:cBhvr additive="base">
                                        <p:cTn id="20" dur="500" fill="hold"/>
                                        <p:tgtEl>
                                          <p:spTgt spid="35"/>
                                        </p:tgtEl>
                                        <p:attrNameLst>
                                          <p:attrName>ppt_y</p:attrName>
                                        </p:attrNameLst>
                                      </p:cBhvr>
                                      <p:tavLst>
                                        <p:tav tm="0">
                                          <p:val>
                                            <p:strVal val="1+#ppt_h/2"/>
                                          </p:val>
                                        </p:tav>
                                        <p:tav tm="100000">
                                          <p:val>
                                            <p:strVal val="#ppt_y"/>
                                          </p:val>
                                        </p:tav>
                                      </p:tavLst>
                                    </p:anim>
                                  </p:childTnLst>
                                </p:cTn>
                              </p:par>
                              <p:par>
                                <p:cTn id="21" presetID="2" presetClass="entr" presetSubtype="8" decel="100000" fill="hold" grpId="0" nodeType="withEffect">
                                  <p:stCondLst>
                                    <p:cond delay="1300"/>
                                  </p:stCondLst>
                                  <p:childTnLst>
                                    <p:set>
                                      <p:cBhvr>
                                        <p:cTn id="22" dur="1" fill="hold">
                                          <p:stCondLst>
                                            <p:cond delay="0"/>
                                          </p:stCondLst>
                                        </p:cTn>
                                        <p:tgtEl>
                                          <p:spTgt spid="36"/>
                                        </p:tgtEl>
                                        <p:attrNameLst>
                                          <p:attrName>style.visibility</p:attrName>
                                        </p:attrNameLst>
                                      </p:cBhvr>
                                      <p:to>
                                        <p:strVal val="visible"/>
                                      </p:to>
                                    </p:set>
                                    <p:anim calcmode="lin" valueType="num">
                                      <p:cBhvr additive="base">
                                        <p:cTn id="23" dur="500" fill="hold"/>
                                        <p:tgtEl>
                                          <p:spTgt spid="36"/>
                                        </p:tgtEl>
                                        <p:attrNameLst>
                                          <p:attrName>ppt_x</p:attrName>
                                        </p:attrNameLst>
                                      </p:cBhvr>
                                      <p:tavLst>
                                        <p:tav tm="0">
                                          <p:val>
                                            <p:strVal val="0-#ppt_w/2"/>
                                          </p:val>
                                        </p:tav>
                                        <p:tav tm="100000">
                                          <p:val>
                                            <p:strVal val="#ppt_x"/>
                                          </p:val>
                                        </p:tav>
                                      </p:tavLst>
                                    </p:anim>
                                    <p:anim calcmode="lin" valueType="num">
                                      <p:cBhvr additive="base">
                                        <p:cTn id="24" dur="500" fill="hold"/>
                                        <p:tgtEl>
                                          <p:spTgt spid="36"/>
                                        </p:tgtEl>
                                        <p:attrNameLst>
                                          <p:attrName>ppt_y</p:attrName>
                                        </p:attrNameLst>
                                      </p:cBhvr>
                                      <p:tavLst>
                                        <p:tav tm="0">
                                          <p:val>
                                            <p:strVal val="#ppt_y"/>
                                          </p:val>
                                        </p:tav>
                                        <p:tav tm="100000">
                                          <p:val>
                                            <p:strVal val="#ppt_y"/>
                                          </p:val>
                                        </p:tav>
                                      </p:tavLst>
                                    </p:anim>
                                  </p:childTnLst>
                                </p:cTn>
                              </p:par>
                              <p:par>
                                <p:cTn id="25" presetID="10" presetClass="entr" presetSubtype="0" fill="hold" grpId="0" nodeType="withEffect">
                                  <p:stCondLst>
                                    <p:cond delay="1800"/>
                                  </p:stCondLst>
                                  <p:childTnLst>
                                    <p:set>
                                      <p:cBhvr>
                                        <p:cTn id="26" dur="1" fill="hold">
                                          <p:stCondLst>
                                            <p:cond delay="0"/>
                                          </p:stCondLst>
                                        </p:cTn>
                                        <p:tgtEl>
                                          <p:spTgt spid="42"/>
                                        </p:tgtEl>
                                        <p:attrNameLst>
                                          <p:attrName>style.visibility</p:attrName>
                                        </p:attrNameLst>
                                      </p:cBhvr>
                                      <p:to>
                                        <p:strVal val="visible"/>
                                      </p:to>
                                    </p:set>
                                    <p:animEffect transition="in" filter="fade">
                                      <p:cBhvr>
                                        <p:cTn id="27" dur="250"/>
                                        <p:tgtEl>
                                          <p:spTgt spid="42"/>
                                        </p:tgtEl>
                                      </p:cBhvr>
                                    </p:animEffect>
                                  </p:childTnLst>
                                </p:cTn>
                              </p:par>
                              <p:par>
                                <p:cTn id="28" presetID="10" presetClass="entr" presetSubtype="0" fill="hold" grpId="0" nodeType="withEffect">
                                  <p:stCondLst>
                                    <p:cond delay="2150"/>
                                  </p:stCondLst>
                                  <p:childTnLst>
                                    <p:set>
                                      <p:cBhvr>
                                        <p:cTn id="29" dur="1" fill="hold">
                                          <p:stCondLst>
                                            <p:cond delay="0"/>
                                          </p:stCondLst>
                                        </p:cTn>
                                        <p:tgtEl>
                                          <p:spTgt spid="48"/>
                                        </p:tgtEl>
                                        <p:attrNameLst>
                                          <p:attrName>style.visibility</p:attrName>
                                        </p:attrNameLst>
                                      </p:cBhvr>
                                      <p:to>
                                        <p:strVal val="visible"/>
                                      </p:to>
                                    </p:set>
                                    <p:animEffect transition="in" filter="fade">
                                      <p:cBhvr>
                                        <p:cTn id="30" dur="950"/>
                                        <p:tgtEl>
                                          <p:spTgt spid="48"/>
                                        </p:tgtEl>
                                      </p:cBhvr>
                                    </p:animEffect>
                                  </p:childTnLst>
                                </p:cTn>
                              </p:par>
                              <p:par>
                                <p:cTn id="31" presetID="63" presetClass="path" presetSubtype="0" decel="100000" fill="hold" grpId="1" nodeType="withEffect">
                                  <p:stCondLst>
                                    <p:cond delay="2150"/>
                                  </p:stCondLst>
                                  <p:childTnLst>
                                    <p:animMotion origin="layout" path="M -0.01455 -3.60418E-6 L -4.00817E-6 -3.60418E-6 " pathEditMode="relative" rAng="0" ptsTypes="AA">
                                      <p:cBhvr>
                                        <p:cTn id="32" dur="950" fill="hold"/>
                                        <p:tgtEl>
                                          <p:spTgt spid="48"/>
                                        </p:tgtEl>
                                        <p:attrNameLst>
                                          <p:attrName>ppt_x</p:attrName>
                                          <p:attrName>ppt_y</p:attrName>
                                        </p:attrNameLst>
                                      </p:cBhvr>
                                      <p:rCtr x="728" y="0"/>
                                    </p:animMotion>
                                  </p:childTnLst>
                                </p:cTn>
                              </p:par>
                              <p:par>
                                <p:cTn id="33" presetID="6" presetClass="emph" presetSubtype="0" accel="100000" autoRev="1" fill="hold" grpId="2" nodeType="withEffect">
                                  <p:stCondLst>
                                    <p:cond delay="1450"/>
                                  </p:stCondLst>
                                  <p:childTnLst>
                                    <p:animScale>
                                      <p:cBhvr>
                                        <p:cTn id="34" dur="500" fill="hold"/>
                                        <p:tgtEl>
                                          <p:spTgt spid="48"/>
                                        </p:tgtEl>
                                      </p:cBhvr>
                                      <p:by x="92000" y="92000"/>
                                    </p:animScale>
                                  </p:childTnLst>
                                </p:cTn>
                              </p:par>
                              <p:par>
                                <p:cTn id="35" presetID="10" presetClass="entr" presetSubtype="0" fill="hold" grpId="0" nodeType="withEffect">
                                  <p:stCondLst>
                                    <p:cond delay="1900"/>
                                  </p:stCondLst>
                                  <p:childTnLst>
                                    <p:set>
                                      <p:cBhvr>
                                        <p:cTn id="36" dur="1" fill="hold">
                                          <p:stCondLst>
                                            <p:cond delay="0"/>
                                          </p:stCondLst>
                                        </p:cTn>
                                        <p:tgtEl>
                                          <p:spTgt spid="40"/>
                                        </p:tgtEl>
                                        <p:attrNameLst>
                                          <p:attrName>style.visibility</p:attrName>
                                        </p:attrNameLst>
                                      </p:cBhvr>
                                      <p:to>
                                        <p:strVal val="visible"/>
                                      </p:to>
                                    </p:set>
                                    <p:animEffect transition="in" filter="fade">
                                      <p:cBhvr>
                                        <p:cTn id="37" dur="250"/>
                                        <p:tgtEl>
                                          <p:spTgt spid="40"/>
                                        </p:tgtEl>
                                      </p:cBhvr>
                                    </p:animEffect>
                                  </p:childTnLst>
                                </p:cTn>
                              </p:par>
                              <p:par>
                                <p:cTn id="38" presetID="10" presetClass="entr" presetSubtype="0" fill="hold" grpId="0" nodeType="withEffect">
                                  <p:stCondLst>
                                    <p:cond delay="2250"/>
                                  </p:stCondLst>
                                  <p:childTnLst>
                                    <p:set>
                                      <p:cBhvr>
                                        <p:cTn id="39" dur="1" fill="hold">
                                          <p:stCondLst>
                                            <p:cond delay="0"/>
                                          </p:stCondLst>
                                        </p:cTn>
                                        <p:tgtEl>
                                          <p:spTgt spid="49"/>
                                        </p:tgtEl>
                                        <p:attrNameLst>
                                          <p:attrName>style.visibility</p:attrName>
                                        </p:attrNameLst>
                                      </p:cBhvr>
                                      <p:to>
                                        <p:strVal val="visible"/>
                                      </p:to>
                                    </p:set>
                                    <p:animEffect transition="in" filter="fade">
                                      <p:cBhvr>
                                        <p:cTn id="40" dur="950"/>
                                        <p:tgtEl>
                                          <p:spTgt spid="49"/>
                                        </p:tgtEl>
                                      </p:cBhvr>
                                    </p:animEffect>
                                  </p:childTnLst>
                                </p:cTn>
                              </p:par>
                              <p:par>
                                <p:cTn id="41" presetID="63" presetClass="path" presetSubtype="0" decel="100000" fill="hold" grpId="1" nodeType="withEffect">
                                  <p:stCondLst>
                                    <p:cond delay="2250"/>
                                  </p:stCondLst>
                                  <p:childTnLst>
                                    <p:animMotion origin="layout" path="M -0.01455 3.19564E-6 L -4.00817E-6 3.19564E-6 " pathEditMode="relative" rAng="0" ptsTypes="AA">
                                      <p:cBhvr>
                                        <p:cTn id="42" dur="950" fill="hold"/>
                                        <p:tgtEl>
                                          <p:spTgt spid="49"/>
                                        </p:tgtEl>
                                        <p:attrNameLst>
                                          <p:attrName>ppt_x</p:attrName>
                                          <p:attrName>ppt_y</p:attrName>
                                        </p:attrNameLst>
                                      </p:cBhvr>
                                      <p:rCtr x="728" y="0"/>
                                    </p:animMotion>
                                  </p:childTnLst>
                                </p:cTn>
                              </p:par>
                              <p:par>
                                <p:cTn id="43" presetID="6" presetClass="emph" presetSubtype="0" accel="100000" autoRev="1" fill="hold" grpId="2" nodeType="withEffect">
                                  <p:stCondLst>
                                    <p:cond delay="1550"/>
                                  </p:stCondLst>
                                  <p:childTnLst>
                                    <p:animScale>
                                      <p:cBhvr>
                                        <p:cTn id="44" dur="500" fill="hold"/>
                                        <p:tgtEl>
                                          <p:spTgt spid="49"/>
                                        </p:tgtEl>
                                      </p:cBhvr>
                                      <p:by x="92000" y="92000"/>
                                    </p:animScale>
                                  </p:childTnLst>
                                </p:cTn>
                              </p:par>
                              <p:par>
                                <p:cTn id="45" presetID="10" presetClass="entr" presetSubtype="0" fill="hold" grpId="0" nodeType="withEffect">
                                  <p:stCondLst>
                                    <p:cond delay="2000"/>
                                  </p:stCondLst>
                                  <p:childTnLst>
                                    <p:set>
                                      <p:cBhvr>
                                        <p:cTn id="46" dur="1" fill="hold">
                                          <p:stCondLst>
                                            <p:cond delay="0"/>
                                          </p:stCondLst>
                                        </p:cTn>
                                        <p:tgtEl>
                                          <p:spTgt spid="46"/>
                                        </p:tgtEl>
                                        <p:attrNameLst>
                                          <p:attrName>style.visibility</p:attrName>
                                        </p:attrNameLst>
                                      </p:cBhvr>
                                      <p:to>
                                        <p:strVal val="visible"/>
                                      </p:to>
                                    </p:set>
                                    <p:animEffect transition="in" filter="fade">
                                      <p:cBhvr>
                                        <p:cTn id="47" dur="250"/>
                                        <p:tgtEl>
                                          <p:spTgt spid="46"/>
                                        </p:tgtEl>
                                      </p:cBhvr>
                                    </p:animEffect>
                                  </p:childTnLst>
                                </p:cTn>
                              </p:par>
                              <p:par>
                                <p:cTn id="48" presetID="10" presetClass="entr" presetSubtype="0" fill="hold" grpId="0" nodeType="withEffect">
                                  <p:stCondLst>
                                    <p:cond delay="2350"/>
                                  </p:stCondLst>
                                  <p:childTnLst>
                                    <p:set>
                                      <p:cBhvr>
                                        <p:cTn id="49" dur="1" fill="hold">
                                          <p:stCondLst>
                                            <p:cond delay="0"/>
                                          </p:stCondLst>
                                        </p:cTn>
                                        <p:tgtEl>
                                          <p:spTgt spid="50"/>
                                        </p:tgtEl>
                                        <p:attrNameLst>
                                          <p:attrName>style.visibility</p:attrName>
                                        </p:attrNameLst>
                                      </p:cBhvr>
                                      <p:to>
                                        <p:strVal val="visible"/>
                                      </p:to>
                                    </p:set>
                                    <p:animEffect transition="in" filter="fade">
                                      <p:cBhvr>
                                        <p:cTn id="50" dur="950"/>
                                        <p:tgtEl>
                                          <p:spTgt spid="50"/>
                                        </p:tgtEl>
                                      </p:cBhvr>
                                    </p:animEffect>
                                  </p:childTnLst>
                                </p:cTn>
                              </p:par>
                              <p:par>
                                <p:cTn id="51" presetID="63" presetClass="path" presetSubtype="0" decel="100000" fill="hold" grpId="1" nodeType="withEffect">
                                  <p:stCondLst>
                                    <p:cond delay="2350"/>
                                  </p:stCondLst>
                                  <p:childTnLst>
                                    <p:animMotion origin="layout" path="M -0.01455 -3.60418E-6 L -3.29334E-7 -3.60418E-6 " pathEditMode="relative" rAng="0" ptsTypes="AA">
                                      <p:cBhvr>
                                        <p:cTn id="52" dur="950" fill="hold"/>
                                        <p:tgtEl>
                                          <p:spTgt spid="50"/>
                                        </p:tgtEl>
                                        <p:attrNameLst>
                                          <p:attrName>ppt_x</p:attrName>
                                          <p:attrName>ppt_y</p:attrName>
                                        </p:attrNameLst>
                                      </p:cBhvr>
                                      <p:rCtr x="728" y="0"/>
                                    </p:animMotion>
                                  </p:childTnLst>
                                </p:cTn>
                              </p:par>
                              <p:par>
                                <p:cTn id="53" presetID="6" presetClass="emph" presetSubtype="0" accel="100000" autoRev="1" fill="hold" grpId="2" nodeType="withEffect">
                                  <p:stCondLst>
                                    <p:cond delay="1650"/>
                                  </p:stCondLst>
                                  <p:childTnLst>
                                    <p:animScale>
                                      <p:cBhvr>
                                        <p:cTn id="54" dur="500" fill="hold"/>
                                        <p:tgtEl>
                                          <p:spTgt spid="50"/>
                                        </p:tgtEl>
                                      </p:cBhvr>
                                      <p:by x="92000" y="92000"/>
                                    </p:animScale>
                                  </p:childTnLst>
                                </p:cTn>
                              </p:par>
                              <p:par>
                                <p:cTn id="55" presetID="10" presetClass="entr" presetSubtype="0" fill="hold" grpId="0" nodeType="withEffect">
                                  <p:stCondLst>
                                    <p:cond delay="2100"/>
                                  </p:stCondLst>
                                  <p:childTnLst>
                                    <p:set>
                                      <p:cBhvr>
                                        <p:cTn id="56" dur="1" fill="hold">
                                          <p:stCondLst>
                                            <p:cond delay="0"/>
                                          </p:stCondLst>
                                        </p:cTn>
                                        <p:tgtEl>
                                          <p:spTgt spid="45"/>
                                        </p:tgtEl>
                                        <p:attrNameLst>
                                          <p:attrName>style.visibility</p:attrName>
                                        </p:attrNameLst>
                                      </p:cBhvr>
                                      <p:to>
                                        <p:strVal val="visible"/>
                                      </p:to>
                                    </p:set>
                                    <p:animEffect transition="in" filter="fade">
                                      <p:cBhvr>
                                        <p:cTn id="57" dur="250"/>
                                        <p:tgtEl>
                                          <p:spTgt spid="45"/>
                                        </p:tgtEl>
                                      </p:cBhvr>
                                    </p:animEffect>
                                  </p:childTnLst>
                                </p:cTn>
                              </p:par>
                              <p:par>
                                <p:cTn id="58" presetID="10" presetClass="entr" presetSubtype="0" fill="hold" grpId="0" nodeType="withEffect">
                                  <p:stCondLst>
                                    <p:cond delay="2450"/>
                                  </p:stCondLst>
                                  <p:childTnLst>
                                    <p:set>
                                      <p:cBhvr>
                                        <p:cTn id="59" dur="1" fill="hold">
                                          <p:stCondLst>
                                            <p:cond delay="0"/>
                                          </p:stCondLst>
                                        </p:cTn>
                                        <p:tgtEl>
                                          <p:spTgt spid="51"/>
                                        </p:tgtEl>
                                        <p:attrNameLst>
                                          <p:attrName>style.visibility</p:attrName>
                                        </p:attrNameLst>
                                      </p:cBhvr>
                                      <p:to>
                                        <p:strVal val="visible"/>
                                      </p:to>
                                    </p:set>
                                    <p:animEffect transition="in" filter="fade">
                                      <p:cBhvr>
                                        <p:cTn id="60" dur="950"/>
                                        <p:tgtEl>
                                          <p:spTgt spid="51"/>
                                        </p:tgtEl>
                                      </p:cBhvr>
                                    </p:animEffect>
                                  </p:childTnLst>
                                </p:cTn>
                              </p:par>
                              <p:par>
                                <p:cTn id="61" presetID="63" presetClass="path" presetSubtype="0" decel="100000" fill="hold" grpId="1" nodeType="withEffect">
                                  <p:stCondLst>
                                    <p:cond delay="2450"/>
                                  </p:stCondLst>
                                  <p:childTnLst>
                                    <p:animMotion origin="layout" path="M -0.01455 3.19564E-6 L -3.29334E-7 3.19564E-6 " pathEditMode="relative" rAng="0" ptsTypes="AA">
                                      <p:cBhvr>
                                        <p:cTn id="62" dur="950" fill="hold"/>
                                        <p:tgtEl>
                                          <p:spTgt spid="51"/>
                                        </p:tgtEl>
                                        <p:attrNameLst>
                                          <p:attrName>ppt_x</p:attrName>
                                          <p:attrName>ppt_y</p:attrName>
                                        </p:attrNameLst>
                                      </p:cBhvr>
                                      <p:rCtr x="728" y="0"/>
                                    </p:animMotion>
                                  </p:childTnLst>
                                </p:cTn>
                              </p:par>
                              <p:par>
                                <p:cTn id="63" presetID="6" presetClass="emph" presetSubtype="0" accel="100000" autoRev="1" fill="hold" grpId="2" nodeType="withEffect">
                                  <p:stCondLst>
                                    <p:cond delay="1750"/>
                                  </p:stCondLst>
                                  <p:childTnLst>
                                    <p:animScale>
                                      <p:cBhvr>
                                        <p:cTn id="64" dur="500" fill="hold"/>
                                        <p:tgtEl>
                                          <p:spTgt spid="51"/>
                                        </p:tgtEl>
                                      </p:cBhvr>
                                      <p:by x="92000" y="92000"/>
                                    </p:animScale>
                                  </p:childTnLst>
                                </p:cTn>
                              </p:par>
                              <p:par>
                                <p:cTn id="65" presetID="10" presetClass="entr" presetSubtype="0" fill="hold" grpId="0" nodeType="withEffect">
                                  <p:stCondLst>
                                    <p:cond delay="2200"/>
                                  </p:stCondLst>
                                  <p:childTnLst>
                                    <p:set>
                                      <p:cBhvr>
                                        <p:cTn id="66" dur="1" fill="hold">
                                          <p:stCondLst>
                                            <p:cond delay="0"/>
                                          </p:stCondLst>
                                        </p:cTn>
                                        <p:tgtEl>
                                          <p:spTgt spid="43"/>
                                        </p:tgtEl>
                                        <p:attrNameLst>
                                          <p:attrName>style.visibility</p:attrName>
                                        </p:attrNameLst>
                                      </p:cBhvr>
                                      <p:to>
                                        <p:strVal val="visible"/>
                                      </p:to>
                                    </p:set>
                                    <p:animEffect transition="in" filter="fade">
                                      <p:cBhvr>
                                        <p:cTn id="67" dur="250"/>
                                        <p:tgtEl>
                                          <p:spTgt spid="43"/>
                                        </p:tgtEl>
                                      </p:cBhvr>
                                    </p:animEffect>
                                  </p:childTnLst>
                                </p:cTn>
                              </p:par>
                              <p:par>
                                <p:cTn id="68" presetID="10" presetClass="entr" presetSubtype="0" fill="hold" grpId="0" nodeType="withEffect">
                                  <p:stCondLst>
                                    <p:cond delay="2550"/>
                                  </p:stCondLst>
                                  <p:childTnLst>
                                    <p:set>
                                      <p:cBhvr>
                                        <p:cTn id="69" dur="1" fill="hold">
                                          <p:stCondLst>
                                            <p:cond delay="0"/>
                                          </p:stCondLst>
                                        </p:cTn>
                                        <p:tgtEl>
                                          <p:spTgt spid="52"/>
                                        </p:tgtEl>
                                        <p:attrNameLst>
                                          <p:attrName>style.visibility</p:attrName>
                                        </p:attrNameLst>
                                      </p:cBhvr>
                                      <p:to>
                                        <p:strVal val="visible"/>
                                      </p:to>
                                    </p:set>
                                    <p:animEffect transition="in" filter="fade">
                                      <p:cBhvr>
                                        <p:cTn id="70" dur="950"/>
                                        <p:tgtEl>
                                          <p:spTgt spid="52"/>
                                        </p:tgtEl>
                                      </p:cBhvr>
                                    </p:animEffect>
                                  </p:childTnLst>
                                </p:cTn>
                              </p:par>
                              <p:par>
                                <p:cTn id="71" presetID="63" presetClass="path" presetSubtype="0" decel="100000" fill="hold" grpId="1" nodeType="withEffect">
                                  <p:stCondLst>
                                    <p:cond delay="2550"/>
                                  </p:stCondLst>
                                  <p:childTnLst>
                                    <p:animMotion origin="layout" path="M -0.01455 -3.60418E-6 L -3.73245E-6 -3.60418E-6 " pathEditMode="relative" rAng="0" ptsTypes="AA">
                                      <p:cBhvr>
                                        <p:cTn id="72" dur="950" fill="hold"/>
                                        <p:tgtEl>
                                          <p:spTgt spid="52"/>
                                        </p:tgtEl>
                                        <p:attrNameLst>
                                          <p:attrName>ppt_x</p:attrName>
                                          <p:attrName>ppt_y</p:attrName>
                                        </p:attrNameLst>
                                      </p:cBhvr>
                                      <p:rCtr x="728" y="0"/>
                                    </p:animMotion>
                                  </p:childTnLst>
                                </p:cTn>
                              </p:par>
                              <p:par>
                                <p:cTn id="73" presetID="6" presetClass="emph" presetSubtype="0" accel="100000" autoRev="1" fill="hold" grpId="2" nodeType="withEffect">
                                  <p:stCondLst>
                                    <p:cond delay="1850"/>
                                  </p:stCondLst>
                                  <p:childTnLst>
                                    <p:animScale>
                                      <p:cBhvr>
                                        <p:cTn id="74" dur="500" fill="hold"/>
                                        <p:tgtEl>
                                          <p:spTgt spid="52"/>
                                        </p:tgtEl>
                                      </p:cBhvr>
                                      <p:by x="92000" y="92000"/>
                                    </p:animScale>
                                  </p:childTnLst>
                                </p:cTn>
                              </p:par>
                              <p:par>
                                <p:cTn id="75" presetID="10" presetClass="entr" presetSubtype="0" fill="hold" grpId="0" nodeType="withEffect">
                                  <p:stCondLst>
                                    <p:cond delay="2300"/>
                                  </p:stCondLst>
                                  <p:childTnLst>
                                    <p:set>
                                      <p:cBhvr>
                                        <p:cTn id="76" dur="1" fill="hold">
                                          <p:stCondLst>
                                            <p:cond delay="0"/>
                                          </p:stCondLst>
                                        </p:cTn>
                                        <p:tgtEl>
                                          <p:spTgt spid="47"/>
                                        </p:tgtEl>
                                        <p:attrNameLst>
                                          <p:attrName>style.visibility</p:attrName>
                                        </p:attrNameLst>
                                      </p:cBhvr>
                                      <p:to>
                                        <p:strVal val="visible"/>
                                      </p:to>
                                    </p:set>
                                    <p:animEffect transition="in" filter="fade">
                                      <p:cBhvr>
                                        <p:cTn id="77" dur="250"/>
                                        <p:tgtEl>
                                          <p:spTgt spid="47"/>
                                        </p:tgtEl>
                                      </p:cBhvr>
                                    </p:animEffect>
                                  </p:childTnLst>
                                </p:cTn>
                              </p:par>
                              <p:par>
                                <p:cTn id="78" presetID="10" presetClass="entr" presetSubtype="0" fill="hold" grpId="0" nodeType="withEffect">
                                  <p:stCondLst>
                                    <p:cond delay="2650"/>
                                  </p:stCondLst>
                                  <p:childTnLst>
                                    <p:set>
                                      <p:cBhvr>
                                        <p:cTn id="79" dur="1" fill="hold">
                                          <p:stCondLst>
                                            <p:cond delay="0"/>
                                          </p:stCondLst>
                                        </p:cTn>
                                        <p:tgtEl>
                                          <p:spTgt spid="53"/>
                                        </p:tgtEl>
                                        <p:attrNameLst>
                                          <p:attrName>style.visibility</p:attrName>
                                        </p:attrNameLst>
                                      </p:cBhvr>
                                      <p:to>
                                        <p:strVal val="visible"/>
                                      </p:to>
                                    </p:set>
                                    <p:animEffect transition="in" filter="fade">
                                      <p:cBhvr>
                                        <p:cTn id="80" dur="950"/>
                                        <p:tgtEl>
                                          <p:spTgt spid="53"/>
                                        </p:tgtEl>
                                      </p:cBhvr>
                                    </p:animEffect>
                                  </p:childTnLst>
                                </p:cTn>
                              </p:par>
                              <p:par>
                                <p:cTn id="81" presetID="63" presetClass="path" presetSubtype="0" decel="100000" fill="hold" grpId="1" nodeType="withEffect">
                                  <p:stCondLst>
                                    <p:cond delay="2650"/>
                                  </p:stCondLst>
                                  <p:childTnLst>
                                    <p:animMotion origin="layout" path="M -0.01455 3.19564E-6 L -3.73245E-6 3.19564E-6 " pathEditMode="relative" rAng="0" ptsTypes="AA">
                                      <p:cBhvr>
                                        <p:cTn id="82" dur="950" fill="hold"/>
                                        <p:tgtEl>
                                          <p:spTgt spid="53"/>
                                        </p:tgtEl>
                                        <p:attrNameLst>
                                          <p:attrName>ppt_x</p:attrName>
                                          <p:attrName>ppt_y</p:attrName>
                                        </p:attrNameLst>
                                      </p:cBhvr>
                                      <p:rCtr x="728" y="0"/>
                                    </p:animMotion>
                                  </p:childTnLst>
                                </p:cTn>
                              </p:par>
                              <p:par>
                                <p:cTn id="83" presetID="6" presetClass="emph" presetSubtype="0" accel="100000" autoRev="1" fill="hold" grpId="2" nodeType="withEffect">
                                  <p:stCondLst>
                                    <p:cond delay="1950"/>
                                  </p:stCondLst>
                                  <p:childTnLst>
                                    <p:animScale>
                                      <p:cBhvr>
                                        <p:cTn id="84" dur="500" fill="hold"/>
                                        <p:tgtEl>
                                          <p:spTgt spid="53"/>
                                        </p:tgtEl>
                                      </p:cBhvr>
                                      <p:by x="92000" y="92000"/>
                                    </p:animScale>
                                  </p:childTnLst>
                                </p:cTn>
                              </p:par>
                              <p:par>
                                <p:cTn id="85" presetID="10" presetClass="entr" presetSubtype="0" fill="hold" grpId="0" nodeType="withEffect">
                                  <p:stCondLst>
                                    <p:cond delay="2400"/>
                                  </p:stCondLst>
                                  <p:childTnLst>
                                    <p:set>
                                      <p:cBhvr>
                                        <p:cTn id="86" dur="1" fill="hold">
                                          <p:stCondLst>
                                            <p:cond delay="0"/>
                                          </p:stCondLst>
                                        </p:cTn>
                                        <p:tgtEl>
                                          <p:spTgt spid="44"/>
                                        </p:tgtEl>
                                        <p:attrNameLst>
                                          <p:attrName>style.visibility</p:attrName>
                                        </p:attrNameLst>
                                      </p:cBhvr>
                                      <p:to>
                                        <p:strVal val="visible"/>
                                      </p:to>
                                    </p:set>
                                    <p:animEffect transition="in" filter="fade">
                                      <p:cBhvr>
                                        <p:cTn id="87" dur="250"/>
                                        <p:tgtEl>
                                          <p:spTgt spid="44"/>
                                        </p:tgtEl>
                                      </p:cBhvr>
                                    </p:animEffect>
                                  </p:childTnLst>
                                </p:cTn>
                              </p:par>
                              <p:par>
                                <p:cTn id="88" presetID="10" presetClass="entr" presetSubtype="0" fill="hold" grpId="0" nodeType="withEffect">
                                  <p:stCondLst>
                                    <p:cond delay="2750"/>
                                  </p:stCondLst>
                                  <p:childTnLst>
                                    <p:set>
                                      <p:cBhvr>
                                        <p:cTn id="89" dur="1" fill="hold">
                                          <p:stCondLst>
                                            <p:cond delay="0"/>
                                          </p:stCondLst>
                                        </p:cTn>
                                        <p:tgtEl>
                                          <p:spTgt spid="54"/>
                                        </p:tgtEl>
                                        <p:attrNameLst>
                                          <p:attrName>style.visibility</p:attrName>
                                        </p:attrNameLst>
                                      </p:cBhvr>
                                      <p:to>
                                        <p:strVal val="visible"/>
                                      </p:to>
                                    </p:set>
                                    <p:animEffect transition="in" filter="fade">
                                      <p:cBhvr>
                                        <p:cTn id="90" dur="950"/>
                                        <p:tgtEl>
                                          <p:spTgt spid="54"/>
                                        </p:tgtEl>
                                      </p:cBhvr>
                                    </p:animEffect>
                                  </p:childTnLst>
                                </p:cTn>
                              </p:par>
                              <p:par>
                                <p:cTn id="91" presetID="63" presetClass="path" presetSubtype="0" decel="100000" fill="hold" grpId="1" nodeType="withEffect">
                                  <p:stCondLst>
                                    <p:cond delay="2750"/>
                                  </p:stCondLst>
                                  <p:childTnLst>
                                    <p:animMotion origin="layout" path="M -0.01455 -3.60418E-6 L -4.75619E-6 -3.60418E-6 " pathEditMode="relative" rAng="0" ptsTypes="AA">
                                      <p:cBhvr>
                                        <p:cTn id="92" dur="950" fill="hold"/>
                                        <p:tgtEl>
                                          <p:spTgt spid="54"/>
                                        </p:tgtEl>
                                        <p:attrNameLst>
                                          <p:attrName>ppt_x</p:attrName>
                                          <p:attrName>ppt_y</p:attrName>
                                        </p:attrNameLst>
                                      </p:cBhvr>
                                      <p:rCtr x="728" y="0"/>
                                    </p:animMotion>
                                  </p:childTnLst>
                                </p:cTn>
                              </p:par>
                              <p:par>
                                <p:cTn id="93" presetID="6" presetClass="emph" presetSubtype="0" accel="100000" autoRev="1" fill="hold" grpId="2" nodeType="withEffect">
                                  <p:stCondLst>
                                    <p:cond delay="2050"/>
                                  </p:stCondLst>
                                  <p:childTnLst>
                                    <p:animScale>
                                      <p:cBhvr>
                                        <p:cTn id="94" dur="450" fill="hold"/>
                                        <p:tgtEl>
                                          <p:spTgt spid="54"/>
                                        </p:tgtEl>
                                      </p:cBhvr>
                                      <p:by x="92000" y="92000"/>
                                    </p:animScale>
                                  </p:childTnLst>
                                </p:cTn>
                              </p:par>
                              <p:par>
                                <p:cTn id="95" presetID="10" presetClass="entr" presetSubtype="0" fill="hold" grpId="0" nodeType="withEffect">
                                  <p:stCondLst>
                                    <p:cond delay="2500"/>
                                  </p:stCondLst>
                                  <p:childTnLst>
                                    <p:set>
                                      <p:cBhvr>
                                        <p:cTn id="96" dur="1" fill="hold">
                                          <p:stCondLst>
                                            <p:cond delay="0"/>
                                          </p:stCondLst>
                                        </p:cTn>
                                        <p:tgtEl>
                                          <p:spTgt spid="41"/>
                                        </p:tgtEl>
                                        <p:attrNameLst>
                                          <p:attrName>style.visibility</p:attrName>
                                        </p:attrNameLst>
                                      </p:cBhvr>
                                      <p:to>
                                        <p:strVal val="visible"/>
                                      </p:to>
                                    </p:set>
                                    <p:animEffect transition="in" filter="fade">
                                      <p:cBhvr>
                                        <p:cTn id="97" dur="250"/>
                                        <p:tgtEl>
                                          <p:spTgt spid="41"/>
                                        </p:tgtEl>
                                      </p:cBhvr>
                                    </p:animEffect>
                                  </p:childTnLst>
                                </p:cTn>
                              </p:par>
                              <p:par>
                                <p:cTn id="98" presetID="10" presetClass="entr" presetSubtype="0" fill="hold" grpId="0" nodeType="withEffect">
                                  <p:stCondLst>
                                    <p:cond delay="2850"/>
                                  </p:stCondLst>
                                  <p:childTnLst>
                                    <p:set>
                                      <p:cBhvr>
                                        <p:cTn id="99" dur="1" fill="hold">
                                          <p:stCondLst>
                                            <p:cond delay="0"/>
                                          </p:stCondLst>
                                        </p:cTn>
                                        <p:tgtEl>
                                          <p:spTgt spid="55"/>
                                        </p:tgtEl>
                                        <p:attrNameLst>
                                          <p:attrName>style.visibility</p:attrName>
                                        </p:attrNameLst>
                                      </p:cBhvr>
                                      <p:to>
                                        <p:strVal val="visible"/>
                                      </p:to>
                                    </p:set>
                                    <p:animEffect transition="in" filter="fade">
                                      <p:cBhvr>
                                        <p:cTn id="100" dur="950"/>
                                        <p:tgtEl>
                                          <p:spTgt spid="55"/>
                                        </p:tgtEl>
                                      </p:cBhvr>
                                    </p:animEffect>
                                  </p:childTnLst>
                                </p:cTn>
                              </p:par>
                              <p:par>
                                <p:cTn id="101" presetID="63" presetClass="path" presetSubtype="0" decel="100000" fill="hold" grpId="1" nodeType="withEffect">
                                  <p:stCondLst>
                                    <p:cond delay="2850"/>
                                  </p:stCondLst>
                                  <p:childTnLst>
                                    <p:animMotion origin="layout" path="M -0.01455 3.19564E-6 L -4.75619E-6 3.19564E-6 " pathEditMode="relative" rAng="0" ptsTypes="AA">
                                      <p:cBhvr>
                                        <p:cTn id="102" dur="950" fill="hold"/>
                                        <p:tgtEl>
                                          <p:spTgt spid="55"/>
                                        </p:tgtEl>
                                        <p:attrNameLst>
                                          <p:attrName>ppt_x</p:attrName>
                                          <p:attrName>ppt_y</p:attrName>
                                        </p:attrNameLst>
                                      </p:cBhvr>
                                      <p:rCtr x="728" y="0"/>
                                    </p:animMotion>
                                  </p:childTnLst>
                                </p:cTn>
                              </p:par>
                              <p:par>
                                <p:cTn id="103" presetID="6" presetClass="emph" presetSubtype="0" accel="100000" autoRev="1" fill="hold" grpId="2" nodeType="withEffect">
                                  <p:stCondLst>
                                    <p:cond delay="2150"/>
                                  </p:stCondLst>
                                  <p:childTnLst>
                                    <p:animScale>
                                      <p:cBhvr>
                                        <p:cTn id="104" dur="500" fill="hold"/>
                                        <p:tgtEl>
                                          <p:spTgt spid="55"/>
                                        </p:tgtEl>
                                      </p:cBhvr>
                                      <p:by x="92000" y="92000"/>
                                    </p:animScale>
                                  </p:childTnLst>
                                </p:cTn>
                              </p:par>
                              <p:par>
                                <p:cTn id="105" presetID="1" presetClass="entr" presetSubtype="0" fill="hold" grpId="0" nodeType="withEffect">
                                  <p:stCondLst>
                                    <p:cond delay="2750"/>
                                  </p:stCondLst>
                                  <p:childTnLst>
                                    <p:set>
                                      <p:cBhvr>
                                        <p:cTn id="106" dur="1" fill="hold">
                                          <p:stCondLst>
                                            <p:cond delay="0"/>
                                          </p:stCondLst>
                                        </p:cTn>
                                        <p:tgtEl>
                                          <p:spTgt spid="39"/>
                                        </p:tgtEl>
                                        <p:attrNameLst>
                                          <p:attrName>style.visibility</p:attrName>
                                        </p:attrNameLst>
                                      </p:cBhvr>
                                      <p:to>
                                        <p:strVal val="visible"/>
                                      </p:to>
                                    </p:set>
                                  </p:childTnLst>
                                </p:cTn>
                              </p:par>
                              <p:par>
                                <p:cTn id="107" presetID="10" presetClass="entr" presetSubtype="0" fill="hold" grpId="0" nodeType="withEffect">
                                  <p:stCondLst>
                                    <p:cond delay="2050"/>
                                  </p:stCondLst>
                                  <p:childTnLst>
                                    <p:set>
                                      <p:cBhvr>
                                        <p:cTn id="108" dur="1" fill="hold">
                                          <p:stCondLst>
                                            <p:cond delay="0"/>
                                          </p:stCondLst>
                                        </p:cTn>
                                        <p:tgtEl>
                                          <p:spTgt spid="56"/>
                                        </p:tgtEl>
                                        <p:attrNameLst>
                                          <p:attrName>style.visibility</p:attrName>
                                        </p:attrNameLst>
                                      </p:cBhvr>
                                      <p:to>
                                        <p:strVal val="visible"/>
                                      </p:to>
                                    </p:set>
                                    <p:animEffect transition="in" filter="fade">
                                      <p:cBhvr>
                                        <p:cTn id="109" dur="950"/>
                                        <p:tgtEl>
                                          <p:spTgt spid="56"/>
                                        </p:tgtEl>
                                      </p:cBhvr>
                                    </p:animEffect>
                                  </p:childTnLst>
                                </p:cTn>
                              </p:par>
                              <p:par>
                                <p:cTn id="110" presetID="63" presetClass="path" presetSubtype="0" decel="100000" fill="hold" grpId="1" nodeType="withEffect">
                                  <p:stCondLst>
                                    <p:cond delay="2050"/>
                                  </p:stCondLst>
                                  <p:childTnLst>
                                    <p:animMotion origin="layout" path="M -0.01455 2.62823E-6 L -3.70437E-6 2.62823E-6 " pathEditMode="relative" rAng="0" ptsTypes="AA">
                                      <p:cBhvr>
                                        <p:cTn id="111" dur="950" fill="hold"/>
                                        <p:tgtEl>
                                          <p:spTgt spid="56"/>
                                        </p:tgtEl>
                                        <p:attrNameLst>
                                          <p:attrName>ppt_x</p:attrName>
                                          <p:attrName>ppt_y</p:attrName>
                                        </p:attrNameLst>
                                      </p:cBhvr>
                                      <p:rCtr x="728" y="0"/>
                                    </p:animMotion>
                                  </p:childTnLst>
                                </p:cTn>
                              </p:par>
                              <p:par>
                                <p:cTn id="112" presetID="6" presetClass="emph" presetSubtype="0" accel="100000" autoRev="1" fill="hold" grpId="2" nodeType="withEffect">
                                  <p:stCondLst>
                                    <p:cond delay="1350"/>
                                  </p:stCondLst>
                                  <p:childTnLst>
                                    <p:animScale>
                                      <p:cBhvr>
                                        <p:cTn id="113" dur="500" fill="hold"/>
                                        <p:tgtEl>
                                          <p:spTgt spid="56"/>
                                        </p:tgtEl>
                                      </p:cBhvr>
                                      <p:by x="92000" y="92000"/>
                                    </p:animScale>
                                  </p:childTnLst>
                                </p:cTn>
                              </p:par>
                              <p:par>
                                <p:cTn id="114" presetID="10" presetClass="entr" presetSubtype="0" fill="hold" grpId="0" nodeType="withEffect">
                                  <p:stCondLst>
                                    <p:cond delay="2150"/>
                                  </p:stCondLst>
                                  <p:childTnLst>
                                    <p:set>
                                      <p:cBhvr>
                                        <p:cTn id="115" dur="1" fill="hold">
                                          <p:stCondLst>
                                            <p:cond delay="0"/>
                                          </p:stCondLst>
                                        </p:cTn>
                                        <p:tgtEl>
                                          <p:spTgt spid="57"/>
                                        </p:tgtEl>
                                        <p:attrNameLst>
                                          <p:attrName>style.visibility</p:attrName>
                                        </p:attrNameLst>
                                      </p:cBhvr>
                                      <p:to>
                                        <p:strVal val="visible"/>
                                      </p:to>
                                    </p:set>
                                    <p:animEffect transition="in" filter="fade">
                                      <p:cBhvr>
                                        <p:cTn id="116" dur="950"/>
                                        <p:tgtEl>
                                          <p:spTgt spid="57"/>
                                        </p:tgtEl>
                                      </p:cBhvr>
                                    </p:animEffect>
                                  </p:childTnLst>
                                </p:cTn>
                              </p:par>
                              <p:par>
                                <p:cTn id="117" presetID="63" presetClass="path" presetSubtype="0" decel="100000" fill="hold" grpId="1" nodeType="withEffect">
                                  <p:stCondLst>
                                    <p:cond delay="2150"/>
                                  </p:stCondLst>
                                  <p:childTnLst>
                                    <p:animMotion origin="layout" path="M -0.01455 -3.0867E-6 L -3.70437E-6 -3.0867E-6 " pathEditMode="relative" rAng="0" ptsTypes="AA">
                                      <p:cBhvr>
                                        <p:cTn id="118" dur="950" fill="hold"/>
                                        <p:tgtEl>
                                          <p:spTgt spid="57"/>
                                        </p:tgtEl>
                                        <p:attrNameLst>
                                          <p:attrName>ppt_x</p:attrName>
                                          <p:attrName>ppt_y</p:attrName>
                                        </p:attrNameLst>
                                      </p:cBhvr>
                                      <p:rCtr x="728" y="0"/>
                                    </p:animMotion>
                                  </p:childTnLst>
                                </p:cTn>
                              </p:par>
                              <p:par>
                                <p:cTn id="119" presetID="6" presetClass="emph" presetSubtype="0" accel="100000" autoRev="1" fill="hold" grpId="2" nodeType="withEffect">
                                  <p:stCondLst>
                                    <p:cond delay="1450"/>
                                  </p:stCondLst>
                                  <p:childTnLst>
                                    <p:animScale>
                                      <p:cBhvr>
                                        <p:cTn id="120" dur="500" fill="hold"/>
                                        <p:tgtEl>
                                          <p:spTgt spid="57"/>
                                        </p:tgtEl>
                                      </p:cBhvr>
                                      <p:by x="92000" y="92000"/>
                                    </p:animScale>
                                  </p:childTnLst>
                                </p:cTn>
                              </p:par>
                              <p:par>
                                <p:cTn id="121" presetID="10" presetClass="entr" presetSubtype="0" fill="hold" grpId="0" nodeType="withEffect">
                                  <p:stCondLst>
                                    <p:cond delay="2250"/>
                                  </p:stCondLst>
                                  <p:childTnLst>
                                    <p:set>
                                      <p:cBhvr>
                                        <p:cTn id="122" dur="1" fill="hold">
                                          <p:stCondLst>
                                            <p:cond delay="0"/>
                                          </p:stCondLst>
                                        </p:cTn>
                                        <p:tgtEl>
                                          <p:spTgt spid="58"/>
                                        </p:tgtEl>
                                        <p:attrNameLst>
                                          <p:attrName>style.visibility</p:attrName>
                                        </p:attrNameLst>
                                      </p:cBhvr>
                                      <p:to>
                                        <p:strVal val="visible"/>
                                      </p:to>
                                    </p:set>
                                    <p:animEffect transition="in" filter="fade">
                                      <p:cBhvr>
                                        <p:cTn id="123" dur="950"/>
                                        <p:tgtEl>
                                          <p:spTgt spid="58"/>
                                        </p:tgtEl>
                                      </p:cBhvr>
                                    </p:animEffect>
                                  </p:childTnLst>
                                </p:cTn>
                              </p:par>
                              <p:par>
                                <p:cTn id="124" presetID="63" presetClass="path" presetSubtype="0" decel="100000" fill="hold" grpId="1" nodeType="withEffect">
                                  <p:stCondLst>
                                    <p:cond delay="2250"/>
                                  </p:stCondLst>
                                  <p:childTnLst>
                                    <p:animMotion origin="layout" path="M -0.01455 2.62823E-6 L -2.97166E-6 2.62823E-6 " pathEditMode="relative" rAng="0" ptsTypes="AA">
                                      <p:cBhvr>
                                        <p:cTn id="125" dur="950" fill="hold"/>
                                        <p:tgtEl>
                                          <p:spTgt spid="58"/>
                                        </p:tgtEl>
                                        <p:attrNameLst>
                                          <p:attrName>ppt_x</p:attrName>
                                          <p:attrName>ppt_y</p:attrName>
                                        </p:attrNameLst>
                                      </p:cBhvr>
                                      <p:rCtr x="728" y="0"/>
                                    </p:animMotion>
                                  </p:childTnLst>
                                </p:cTn>
                              </p:par>
                              <p:par>
                                <p:cTn id="126" presetID="6" presetClass="emph" presetSubtype="0" accel="100000" autoRev="1" fill="hold" grpId="2" nodeType="withEffect">
                                  <p:stCondLst>
                                    <p:cond delay="1550"/>
                                  </p:stCondLst>
                                  <p:childTnLst>
                                    <p:animScale>
                                      <p:cBhvr>
                                        <p:cTn id="127" dur="500" fill="hold"/>
                                        <p:tgtEl>
                                          <p:spTgt spid="58"/>
                                        </p:tgtEl>
                                      </p:cBhvr>
                                      <p:by x="92000" y="92000"/>
                                    </p:animScale>
                                  </p:childTnLst>
                                </p:cTn>
                              </p:par>
                              <p:par>
                                <p:cTn id="128" presetID="10" presetClass="entr" presetSubtype="0" fill="hold" grpId="0" nodeType="withEffect">
                                  <p:stCondLst>
                                    <p:cond delay="2350"/>
                                  </p:stCondLst>
                                  <p:childTnLst>
                                    <p:set>
                                      <p:cBhvr>
                                        <p:cTn id="129" dur="1" fill="hold">
                                          <p:stCondLst>
                                            <p:cond delay="0"/>
                                          </p:stCondLst>
                                        </p:cTn>
                                        <p:tgtEl>
                                          <p:spTgt spid="59"/>
                                        </p:tgtEl>
                                        <p:attrNameLst>
                                          <p:attrName>style.visibility</p:attrName>
                                        </p:attrNameLst>
                                      </p:cBhvr>
                                      <p:to>
                                        <p:strVal val="visible"/>
                                      </p:to>
                                    </p:set>
                                    <p:animEffect transition="in" filter="fade">
                                      <p:cBhvr>
                                        <p:cTn id="130" dur="950"/>
                                        <p:tgtEl>
                                          <p:spTgt spid="59"/>
                                        </p:tgtEl>
                                      </p:cBhvr>
                                    </p:animEffect>
                                  </p:childTnLst>
                                </p:cTn>
                              </p:par>
                              <p:par>
                                <p:cTn id="131" presetID="63" presetClass="path" presetSubtype="0" decel="100000" fill="hold" grpId="1" nodeType="withEffect">
                                  <p:stCondLst>
                                    <p:cond delay="2350"/>
                                  </p:stCondLst>
                                  <p:childTnLst>
                                    <p:animMotion origin="layout" path="M -0.01455 -3.0867E-6 L -2.97166E-6 -3.0867E-6 " pathEditMode="relative" rAng="0" ptsTypes="AA">
                                      <p:cBhvr>
                                        <p:cTn id="132" dur="950" fill="hold"/>
                                        <p:tgtEl>
                                          <p:spTgt spid="59"/>
                                        </p:tgtEl>
                                        <p:attrNameLst>
                                          <p:attrName>ppt_x</p:attrName>
                                          <p:attrName>ppt_y</p:attrName>
                                        </p:attrNameLst>
                                      </p:cBhvr>
                                      <p:rCtr x="728" y="0"/>
                                    </p:animMotion>
                                  </p:childTnLst>
                                </p:cTn>
                              </p:par>
                              <p:par>
                                <p:cTn id="133" presetID="6" presetClass="emph" presetSubtype="0" accel="100000" autoRev="1" fill="hold" grpId="2" nodeType="withEffect">
                                  <p:stCondLst>
                                    <p:cond delay="1650"/>
                                  </p:stCondLst>
                                  <p:childTnLst>
                                    <p:animScale>
                                      <p:cBhvr>
                                        <p:cTn id="134" dur="500" fill="hold"/>
                                        <p:tgtEl>
                                          <p:spTgt spid="59"/>
                                        </p:tgtEl>
                                      </p:cBhvr>
                                      <p:by x="92000" y="92000"/>
                                    </p:animScale>
                                  </p:childTnLst>
                                </p:cTn>
                              </p:par>
                              <p:par>
                                <p:cTn id="135" presetID="10" presetClass="entr" presetSubtype="0" fill="hold" grpId="0" nodeType="withEffect">
                                  <p:stCondLst>
                                    <p:cond delay="2450"/>
                                  </p:stCondLst>
                                  <p:childTnLst>
                                    <p:set>
                                      <p:cBhvr>
                                        <p:cTn id="136" dur="1" fill="hold">
                                          <p:stCondLst>
                                            <p:cond delay="0"/>
                                          </p:stCondLst>
                                        </p:cTn>
                                        <p:tgtEl>
                                          <p:spTgt spid="60"/>
                                        </p:tgtEl>
                                        <p:attrNameLst>
                                          <p:attrName>style.visibility</p:attrName>
                                        </p:attrNameLst>
                                      </p:cBhvr>
                                      <p:to>
                                        <p:strVal val="visible"/>
                                      </p:to>
                                    </p:set>
                                    <p:animEffect transition="in" filter="fade">
                                      <p:cBhvr>
                                        <p:cTn id="137" dur="950"/>
                                        <p:tgtEl>
                                          <p:spTgt spid="60"/>
                                        </p:tgtEl>
                                      </p:cBhvr>
                                    </p:animEffect>
                                  </p:childTnLst>
                                </p:cTn>
                              </p:par>
                              <p:par>
                                <p:cTn id="138" presetID="63" presetClass="path" presetSubtype="0" decel="100000" fill="hold" grpId="1" nodeType="withEffect">
                                  <p:stCondLst>
                                    <p:cond delay="2450"/>
                                  </p:stCondLst>
                                  <p:childTnLst>
                                    <p:animMotion origin="layout" path="M -0.01456 2.62823E-6 L 4.81491E-6 2.62823E-6 " pathEditMode="relative" rAng="0" ptsTypes="AA">
                                      <p:cBhvr>
                                        <p:cTn id="139" dur="950" fill="hold"/>
                                        <p:tgtEl>
                                          <p:spTgt spid="60"/>
                                        </p:tgtEl>
                                        <p:attrNameLst>
                                          <p:attrName>ppt_x</p:attrName>
                                          <p:attrName>ppt_y</p:attrName>
                                        </p:attrNameLst>
                                      </p:cBhvr>
                                      <p:rCtr x="728" y="0"/>
                                    </p:animMotion>
                                  </p:childTnLst>
                                </p:cTn>
                              </p:par>
                              <p:par>
                                <p:cTn id="140" presetID="6" presetClass="emph" presetSubtype="0" accel="100000" autoRev="1" fill="hold" grpId="2" nodeType="withEffect">
                                  <p:stCondLst>
                                    <p:cond delay="1750"/>
                                  </p:stCondLst>
                                  <p:childTnLst>
                                    <p:animScale>
                                      <p:cBhvr>
                                        <p:cTn id="141" dur="500" fill="hold"/>
                                        <p:tgtEl>
                                          <p:spTgt spid="60"/>
                                        </p:tgtEl>
                                      </p:cBhvr>
                                      <p:by x="92000" y="92000"/>
                                    </p:animScale>
                                  </p:childTnLst>
                                </p:cTn>
                              </p:par>
                              <p:par>
                                <p:cTn id="142" presetID="10" presetClass="entr" presetSubtype="0" fill="hold" grpId="0" nodeType="withEffect">
                                  <p:stCondLst>
                                    <p:cond delay="2550"/>
                                  </p:stCondLst>
                                  <p:childTnLst>
                                    <p:set>
                                      <p:cBhvr>
                                        <p:cTn id="143" dur="1" fill="hold">
                                          <p:stCondLst>
                                            <p:cond delay="0"/>
                                          </p:stCondLst>
                                        </p:cTn>
                                        <p:tgtEl>
                                          <p:spTgt spid="61"/>
                                        </p:tgtEl>
                                        <p:attrNameLst>
                                          <p:attrName>style.visibility</p:attrName>
                                        </p:attrNameLst>
                                      </p:cBhvr>
                                      <p:to>
                                        <p:strVal val="visible"/>
                                      </p:to>
                                    </p:set>
                                    <p:animEffect transition="in" filter="fade">
                                      <p:cBhvr>
                                        <p:cTn id="144" dur="950"/>
                                        <p:tgtEl>
                                          <p:spTgt spid="61"/>
                                        </p:tgtEl>
                                      </p:cBhvr>
                                    </p:animEffect>
                                  </p:childTnLst>
                                </p:cTn>
                              </p:par>
                              <p:par>
                                <p:cTn id="145" presetID="63" presetClass="path" presetSubtype="0" decel="100000" fill="hold" grpId="1" nodeType="withEffect">
                                  <p:stCondLst>
                                    <p:cond delay="2550"/>
                                  </p:stCondLst>
                                  <p:childTnLst>
                                    <p:animMotion origin="layout" path="M -0.01456 -3.0867E-6 L 4.81491E-6 -3.0867E-6 " pathEditMode="relative" rAng="0" ptsTypes="AA">
                                      <p:cBhvr>
                                        <p:cTn id="146" dur="950" fill="hold"/>
                                        <p:tgtEl>
                                          <p:spTgt spid="61"/>
                                        </p:tgtEl>
                                        <p:attrNameLst>
                                          <p:attrName>ppt_x</p:attrName>
                                          <p:attrName>ppt_y</p:attrName>
                                        </p:attrNameLst>
                                      </p:cBhvr>
                                      <p:rCtr x="728" y="0"/>
                                    </p:animMotion>
                                  </p:childTnLst>
                                </p:cTn>
                              </p:par>
                              <p:par>
                                <p:cTn id="147" presetID="6" presetClass="emph" presetSubtype="0" accel="100000" autoRev="1" fill="hold" grpId="2" nodeType="withEffect">
                                  <p:stCondLst>
                                    <p:cond delay="1850"/>
                                  </p:stCondLst>
                                  <p:childTnLst>
                                    <p:animScale>
                                      <p:cBhvr>
                                        <p:cTn id="148" dur="500" fill="hold"/>
                                        <p:tgtEl>
                                          <p:spTgt spid="61"/>
                                        </p:tgtEl>
                                      </p:cBhvr>
                                      <p:by x="92000" y="92000"/>
                                    </p:animScale>
                                  </p:childTnLst>
                                </p:cTn>
                              </p:par>
                              <p:par>
                                <p:cTn id="149" presetID="10" presetClass="entr" presetSubtype="0" fill="hold" grpId="0" nodeType="withEffect">
                                  <p:stCondLst>
                                    <p:cond delay="2650"/>
                                  </p:stCondLst>
                                  <p:childTnLst>
                                    <p:set>
                                      <p:cBhvr>
                                        <p:cTn id="150" dur="1" fill="hold">
                                          <p:stCondLst>
                                            <p:cond delay="0"/>
                                          </p:stCondLst>
                                        </p:cTn>
                                        <p:tgtEl>
                                          <p:spTgt spid="62"/>
                                        </p:tgtEl>
                                        <p:attrNameLst>
                                          <p:attrName>style.visibility</p:attrName>
                                        </p:attrNameLst>
                                      </p:cBhvr>
                                      <p:to>
                                        <p:strVal val="visible"/>
                                      </p:to>
                                    </p:set>
                                    <p:animEffect transition="in" filter="fade">
                                      <p:cBhvr>
                                        <p:cTn id="151" dur="950"/>
                                        <p:tgtEl>
                                          <p:spTgt spid="62"/>
                                        </p:tgtEl>
                                      </p:cBhvr>
                                    </p:animEffect>
                                  </p:childTnLst>
                                </p:cTn>
                              </p:par>
                              <p:par>
                                <p:cTn id="152" presetID="63" presetClass="path" presetSubtype="0" decel="100000" fill="hold" grpId="1" nodeType="withEffect">
                                  <p:stCondLst>
                                    <p:cond delay="2650"/>
                                  </p:stCondLst>
                                  <p:childTnLst>
                                    <p:animMotion origin="layout" path="M -0.01455 2.62823E-6 L 2.50191E-7 2.62823E-6 " pathEditMode="relative" rAng="0" ptsTypes="AA">
                                      <p:cBhvr>
                                        <p:cTn id="153" dur="950" fill="hold"/>
                                        <p:tgtEl>
                                          <p:spTgt spid="62"/>
                                        </p:tgtEl>
                                        <p:attrNameLst>
                                          <p:attrName>ppt_x</p:attrName>
                                          <p:attrName>ppt_y</p:attrName>
                                        </p:attrNameLst>
                                      </p:cBhvr>
                                      <p:rCtr x="728" y="0"/>
                                    </p:animMotion>
                                  </p:childTnLst>
                                </p:cTn>
                              </p:par>
                              <p:par>
                                <p:cTn id="154" presetID="6" presetClass="emph" presetSubtype="0" accel="100000" autoRev="1" fill="hold" grpId="2" nodeType="withEffect">
                                  <p:stCondLst>
                                    <p:cond delay="1950"/>
                                  </p:stCondLst>
                                  <p:childTnLst>
                                    <p:animScale>
                                      <p:cBhvr>
                                        <p:cTn id="155" dur="500" fill="hold"/>
                                        <p:tgtEl>
                                          <p:spTgt spid="62"/>
                                        </p:tgtEl>
                                      </p:cBhvr>
                                      <p:by x="92000" y="92000"/>
                                    </p:animScale>
                                  </p:childTnLst>
                                </p:cTn>
                              </p:par>
                              <p:par>
                                <p:cTn id="156" presetID="10" presetClass="entr" presetSubtype="0" fill="hold" grpId="0" nodeType="withEffect">
                                  <p:stCondLst>
                                    <p:cond delay="2750"/>
                                  </p:stCondLst>
                                  <p:childTnLst>
                                    <p:set>
                                      <p:cBhvr>
                                        <p:cTn id="157" dur="1" fill="hold">
                                          <p:stCondLst>
                                            <p:cond delay="0"/>
                                          </p:stCondLst>
                                        </p:cTn>
                                        <p:tgtEl>
                                          <p:spTgt spid="63"/>
                                        </p:tgtEl>
                                        <p:attrNameLst>
                                          <p:attrName>style.visibility</p:attrName>
                                        </p:attrNameLst>
                                      </p:cBhvr>
                                      <p:to>
                                        <p:strVal val="visible"/>
                                      </p:to>
                                    </p:set>
                                    <p:animEffect transition="in" filter="fade">
                                      <p:cBhvr>
                                        <p:cTn id="158" dur="950"/>
                                        <p:tgtEl>
                                          <p:spTgt spid="63"/>
                                        </p:tgtEl>
                                      </p:cBhvr>
                                    </p:animEffect>
                                  </p:childTnLst>
                                </p:cTn>
                              </p:par>
                              <p:par>
                                <p:cTn id="159" presetID="63" presetClass="path" presetSubtype="0" decel="100000" fill="hold" grpId="1" nodeType="withEffect">
                                  <p:stCondLst>
                                    <p:cond delay="2750"/>
                                  </p:stCondLst>
                                  <p:childTnLst>
                                    <p:animMotion origin="layout" path="M -0.01455 -3.0867E-6 L 2.50191E-7 -3.0867E-6 " pathEditMode="relative" rAng="0" ptsTypes="AA">
                                      <p:cBhvr>
                                        <p:cTn id="160" dur="950" fill="hold"/>
                                        <p:tgtEl>
                                          <p:spTgt spid="63"/>
                                        </p:tgtEl>
                                        <p:attrNameLst>
                                          <p:attrName>ppt_x</p:attrName>
                                          <p:attrName>ppt_y</p:attrName>
                                        </p:attrNameLst>
                                      </p:cBhvr>
                                      <p:rCtr x="728" y="0"/>
                                    </p:animMotion>
                                  </p:childTnLst>
                                </p:cTn>
                              </p:par>
                              <p:par>
                                <p:cTn id="161" presetID="6" presetClass="emph" presetSubtype="0" accel="100000" autoRev="1" fill="hold" grpId="2" nodeType="withEffect">
                                  <p:stCondLst>
                                    <p:cond delay="2050"/>
                                  </p:stCondLst>
                                  <p:childTnLst>
                                    <p:animScale>
                                      <p:cBhvr>
                                        <p:cTn id="162" dur="500" fill="hold"/>
                                        <p:tgtEl>
                                          <p:spTgt spid="63"/>
                                        </p:tgtEl>
                                      </p:cBhvr>
                                      <p:by x="92000" y="92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P spid="34" grpId="0" animBg="1"/>
      <p:bldP spid="35" grpId="0" animBg="1"/>
      <p:bldP spid="36" grpId="0" animBg="1"/>
      <p:bldP spid="39" grpId="0" animBg="1"/>
      <p:bldP spid="40" grpId="0" animBg="1"/>
      <p:bldP spid="41" grpId="0" animBg="1"/>
      <p:bldP spid="42" grpId="0" animBg="1"/>
      <p:bldP spid="43" grpId="0" animBg="1"/>
      <p:bldP spid="44" grpId="0" animBg="1"/>
      <p:bldP spid="45" grpId="0" animBg="1"/>
      <p:bldP spid="46" grpId="0" animBg="1"/>
      <p:bldP spid="47" grpId="0" animBg="1"/>
      <p:bldP spid="48" grpId="0">
        <p:tmplLst>
          <p:tmpl>
            <p:tnLst>
              <p:par>
                <p:cTn presetID="10" presetClass="entr" presetSubtype="0" fill="hold" nodeType="withEffect">
                  <p:stCondLst>
                    <p:cond delay="2150"/>
                  </p:stCondLst>
                  <p:childTnLst>
                    <p:set>
                      <p:cBhvr>
                        <p:cTn dur="1" fill="hold">
                          <p:stCondLst>
                            <p:cond delay="0"/>
                          </p:stCondLst>
                        </p:cTn>
                        <p:tgtEl>
                          <p:spTgt spid="48"/>
                        </p:tgtEl>
                        <p:attrNameLst>
                          <p:attrName>style.visibility</p:attrName>
                        </p:attrNameLst>
                      </p:cBhvr>
                      <p:to>
                        <p:strVal val="visible"/>
                      </p:to>
                    </p:set>
                    <p:animEffect transition="in" filter="fade">
                      <p:cBhvr>
                        <p:cTn dur="950"/>
                        <p:tgtEl>
                          <p:spTgt spid="48"/>
                        </p:tgtEl>
                      </p:cBhvr>
                    </p:animEffect>
                  </p:childTnLst>
                </p:cTn>
              </p:par>
            </p:tnLst>
          </p:tmpl>
        </p:tmplLst>
      </p:bldP>
      <p:bldP spid="48" grpId="1">
        <p:tmplLst>
          <p:tmpl>
            <p:tnLst>
              <p:par>
                <p:cTn presetID="63" presetClass="path" presetSubtype="0" decel="100000" fill="hold" nodeType="withEffect">
                  <p:stCondLst>
                    <p:cond delay="2150"/>
                  </p:stCondLst>
                  <p:childTnLst>
                    <p:animMotion origin="layout" path="M -0.01455 -3.60418E-6 L -4.00817E-6 -3.60418E-6 " pathEditMode="relative" rAng="0" ptsTypes="AA">
                      <p:cBhvr>
                        <p:cTn dur="950" fill="hold"/>
                        <p:tgtEl>
                          <p:spTgt spid="48"/>
                        </p:tgtEl>
                        <p:attrNameLst>
                          <p:attrName>ppt_x</p:attrName>
                          <p:attrName>ppt_y</p:attrName>
                        </p:attrNameLst>
                      </p:cBhvr>
                      <p:rCtr x="728" y="0"/>
                    </p:animMotion>
                  </p:childTnLst>
                </p:cTn>
              </p:par>
            </p:tnLst>
          </p:tmpl>
        </p:tmplLst>
      </p:bldP>
      <p:bldP spid="48" grpId="2">
        <p:tmplLst>
          <p:tmpl>
            <p:tnLst>
              <p:par>
                <p:cTn presetID="6" presetClass="emph" presetSubtype="0" accel="100000" autoRev="1" fill="hold" nodeType="withEffect">
                  <p:stCondLst>
                    <p:cond delay="1450"/>
                  </p:stCondLst>
                  <p:childTnLst>
                    <p:animScale>
                      <p:cBhvr>
                        <p:cTn dur="500" fill="hold"/>
                        <p:tgtEl>
                          <p:spTgt spid="48"/>
                        </p:tgtEl>
                      </p:cBhvr>
                      <p:by x="92000" y="92000"/>
                    </p:animScale>
                  </p:childTnLst>
                </p:cTn>
              </p:par>
            </p:tnLst>
          </p:tmpl>
        </p:tmplLst>
      </p:bldP>
      <p:bldP spid="49" grpId="0">
        <p:tmplLst>
          <p:tmpl>
            <p:tnLst>
              <p:par>
                <p:cTn presetID="10" presetClass="entr" presetSubtype="0" fill="hold" nodeType="withEffect">
                  <p:stCondLst>
                    <p:cond delay="2250"/>
                  </p:stCondLst>
                  <p:childTnLst>
                    <p:set>
                      <p:cBhvr>
                        <p:cTn dur="1" fill="hold">
                          <p:stCondLst>
                            <p:cond delay="0"/>
                          </p:stCondLst>
                        </p:cTn>
                        <p:tgtEl>
                          <p:spTgt spid="49"/>
                        </p:tgtEl>
                        <p:attrNameLst>
                          <p:attrName>style.visibility</p:attrName>
                        </p:attrNameLst>
                      </p:cBhvr>
                      <p:to>
                        <p:strVal val="visible"/>
                      </p:to>
                    </p:set>
                    <p:animEffect transition="in" filter="fade">
                      <p:cBhvr>
                        <p:cTn dur="950"/>
                        <p:tgtEl>
                          <p:spTgt spid="49"/>
                        </p:tgtEl>
                      </p:cBhvr>
                    </p:animEffect>
                  </p:childTnLst>
                </p:cTn>
              </p:par>
            </p:tnLst>
          </p:tmpl>
        </p:tmplLst>
      </p:bldP>
      <p:bldP spid="49" grpId="1">
        <p:tmplLst>
          <p:tmpl>
            <p:tnLst>
              <p:par>
                <p:cTn presetID="63" presetClass="path" presetSubtype="0" decel="100000" fill="hold" nodeType="withEffect">
                  <p:stCondLst>
                    <p:cond delay="2250"/>
                  </p:stCondLst>
                  <p:childTnLst>
                    <p:animMotion origin="layout" path="M -0.01455 3.19564E-6 L -4.00817E-6 3.19564E-6 " pathEditMode="relative" rAng="0" ptsTypes="AA">
                      <p:cBhvr>
                        <p:cTn dur="950" fill="hold"/>
                        <p:tgtEl>
                          <p:spTgt spid="49"/>
                        </p:tgtEl>
                        <p:attrNameLst>
                          <p:attrName>ppt_x</p:attrName>
                          <p:attrName>ppt_y</p:attrName>
                        </p:attrNameLst>
                      </p:cBhvr>
                      <p:rCtr x="728" y="0"/>
                    </p:animMotion>
                  </p:childTnLst>
                </p:cTn>
              </p:par>
            </p:tnLst>
          </p:tmpl>
        </p:tmplLst>
      </p:bldP>
      <p:bldP spid="49" grpId="2">
        <p:tmplLst>
          <p:tmpl>
            <p:tnLst>
              <p:par>
                <p:cTn presetID="6" presetClass="emph" presetSubtype="0" accel="100000" autoRev="1" fill="hold" nodeType="withEffect">
                  <p:stCondLst>
                    <p:cond delay="1550"/>
                  </p:stCondLst>
                  <p:childTnLst>
                    <p:animScale>
                      <p:cBhvr>
                        <p:cTn dur="500" fill="hold"/>
                        <p:tgtEl>
                          <p:spTgt spid="49"/>
                        </p:tgtEl>
                      </p:cBhvr>
                      <p:by x="92000" y="92000"/>
                    </p:animScale>
                  </p:childTnLst>
                </p:cTn>
              </p:par>
            </p:tnLst>
          </p:tmpl>
        </p:tmplLst>
      </p:bldP>
      <p:bldP spid="50" grpId="0">
        <p:tmplLst>
          <p:tmpl>
            <p:tnLst>
              <p:par>
                <p:cTn presetID="10" presetClass="entr" presetSubtype="0" fill="hold" nodeType="withEffect">
                  <p:stCondLst>
                    <p:cond delay="2350"/>
                  </p:stCondLst>
                  <p:childTnLst>
                    <p:set>
                      <p:cBhvr>
                        <p:cTn dur="1" fill="hold">
                          <p:stCondLst>
                            <p:cond delay="0"/>
                          </p:stCondLst>
                        </p:cTn>
                        <p:tgtEl>
                          <p:spTgt spid="50"/>
                        </p:tgtEl>
                        <p:attrNameLst>
                          <p:attrName>style.visibility</p:attrName>
                        </p:attrNameLst>
                      </p:cBhvr>
                      <p:to>
                        <p:strVal val="visible"/>
                      </p:to>
                    </p:set>
                    <p:animEffect transition="in" filter="fade">
                      <p:cBhvr>
                        <p:cTn dur="950"/>
                        <p:tgtEl>
                          <p:spTgt spid="50"/>
                        </p:tgtEl>
                      </p:cBhvr>
                    </p:animEffect>
                  </p:childTnLst>
                </p:cTn>
              </p:par>
            </p:tnLst>
          </p:tmpl>
        </p:tmplLst>
      </p:bldP>
      <p:bldP spid="50" grpId="1">
        <p:tmplLst>
          <p:tmpl>
            <p:tnLst>
              <p:par>
                <p:cTn presetID="63" presetClass="path" presetSubtype="0" decel="100000" fill="hold" nodeType="withEffect">
                  <p:stCondLst>
                    <p:cond delay="2350"/>
                  </p:stCondLst>
                  <p:childTnLst>
                    <p:animMotion origin="layout" path="M -0.01455 -3.60418E-6 L -3.29334E-7 -3.60418E-6 " pathEditMode="relative" rAng="0" ptsTypes="AA">
                      <p:cBhvr>
                        <p:cTn dur="950" fill="hold"/>
                        <p:tgtEl>
                          <p:spTgt spid="50"/>
                        </p:tgtEl>
                        <p:attrNameLst>
                          <p:attrName>ppt_x</p:attrName>
                          <p:attrName>ppt_y</p:attrName>
                        </p:attrNameLst>
                      </p:cBhvr>
                      <p:rCtr x="728" y="0"/>
                    </p:animMotion>
                  </p:childTnLst>
                </p:cTn>
              </p:par>
            </p:tnLst>
          </p:tmpl>
        </p:tmplLst>
      </p:bldP>
      <p:bldP spid="50" grpId="2">
        <p:tmplLst>
          <p:tmpl>
            <p:tnLst>
              <p:par>
                <p:cTn presetID="6" presetClass="emph" presetSubtype="0" accel="100000" autoRev="1" fill="hold" nodeType="withEffect">
                  <p:stCondLst>
                    <p:cond delay="1650"/>
                  </p:stCondLst>
                  <p:childTnLst>
                    <p:animScale>
                      <p:cBhvr>
                        <p:cTn dur="500" fill="hold"/>
                        <p:tgtEl>
                          <p:spTgt spid="50"/>
                        </p:tgtEl>
                      </p:cBhvr>
                      <p:by x="92000" y="92000"/>
                    </p:animScale>
                  </p:childTnLst>
                </p:cTn>
              </p:par>
            </p:tnLst>
          </p:tmpl>
        </p:tmplLst>
      </p:bldP>
      <p:bldP spid="51" grpId="0">
        <p:tmplLst>
          <p:tmpl>
            <p:tnLst>
              <p:par>
                <p:cTn presetID="10" presetClass="entr" presetSubtype="0" fill="hold" nodeType="withEffect">
                  <p:stCondLst>
                    <p:cond delay="2450"/>
                  </p:stCondLst>
                  <p:childTnLst>
                    <p:set>
                      <p:cBhvr>
                        <p:cTn dur="1" fill="hold">
                          <p:stCondLst>
                            <p:cond delay="0"/>
                          </p:stCondLst>
                        </p:cTn>
                        <p:tgtEl>
                          <p:spTgt spid="51"/>
                        </p:tgtEl>
                        <p:attrNameLst>
                          <p:attrName>style.visibility</p:attrName>
                        </p:attrNameLst>
                      </p:cBhvr>
                      <p:to>
                        <p:strVal val="visible"/>
                      </p:to>
                    </p:set>
                    <p:animEffect transition="in" filter="fade">
                      <p:cBhvr>
                        <p:cTn dur="950"/>
                        <p:tgtEl>
                          <p:spTgt spid="51"/>
                        </p:tgtEl>
                      </p:cBhvr>
                    </p:animEffect>
                  </p:childTnLst>
                </p:cTn>
              </p:par>
            </p:tnLst>
          </p:tmpl>
        </p:tmplLst>
      </p:bldP>
      <p:bldP spid="51" grpId="1">
        <p:tmplLst>
          <p:tmpl>
            <p:tnLst>
              <p:par>
                <p:cTn presetID="63" presetClass="path" presetSubtype="0" decel="100000" fill="hold" nodeType="withEffect">
                  <p:stCondLst>
                    <p:cond delay="2450"/>
                  </p:stCondLst>
                  <p:childTnLst>
                    <p:animMotion origin="layout" path="M -0.01455 3.19564E-6 L -3.29334E-7 3.19564E-6 " pathEditMode="relative" rAng="0" ptsTypes="AA">
                      <p:cBhvr>
                        <p:cTn dur="950" fill="hold"/>
                        <p:tgtEl>
                          <p:spTgt spid="51"/>
                        </p:tgtEl>
                        <p:attrNameLst>
                          <p:attrName>ppt_x</p:attrName>
                          <p:attrName>ppt_y</p:attrName>
                        </p:attrNameLst>
                      </p:cBhvr>
                      <p:rCtr x="728" y="0"/>
                    </p:animMotion>
                  </p:childTnLst>
                </p:cTn>
              </p:par>
            </p:tnLst>
          </p:tmpl>
        </p:tmplLst>
      </p:bldP>
      <p:bldP spid="51" grpId="2">
        <p:tmplLst>
          <p:tmpl>
            <p:tnLst>
              <p:par>
                <p:cTn presetID="6" presetClass="emph" presetSubtype="0" accel="100000" autoRev="1" fill="hold" nodeType="withEffect">
                  <p:stCondLst>
                    <p:cond delay="1750"/>
                  </p:stCondLst>
                  <p:childTnLst>
                    <p:animScale>
                      <p:cBhvr>
                        <p:cTn dur="500" fill="hold"/>
                        <p:tgtEl>
                          <p:spTgt spid="51"/>
                        </p:tgtEl>
                      </p:cBhvr>
                      <p:by x="92000" y="92000"/>
                    </p:animScale>
                  </p:childTnLst>
                </p:cTn>
              </p:par>
            </p:tnLst>
          </p:tmpl>
        </p:tmplLst>
      </p:bldP>
      <p:bldP spid="52" grpId="0">
        <p:tmplLst>
          <p:tmpl>
            <p:tnLst>
              <p:par>
                <p:cTn presetID="10" presetClass="entr" presetSubtype="0" fill="hold" nodeType="withEffect">
                  <p:stCondLst>
                    <p:cond delay="2550"/>
                  </p:stCondLst>
                  <p:childTnLst>
                    <p:set>
                      <p:cBhvr>
                        <p:cTn dur="1" fill="hold">
                          <p:stCondLst>
                            <p:cond delay="0"/>
                          </p:stCondLst>
                        </p:cTn>
                        <p:tgtEl>
                          <p:spTgt spid="52"/>
                        </p:tgtEl>
                        <p:attrNameLst>
                          <p:attrName>style.visibility</p:attrName>
                        </p:attrNameLst>
                      </p:cBhvr>
                      <p:to>
                        <p:strVal val="visible"/>
                      </p:to>
                    </p:set>
                    <p:animEffect transition="in" filter="fade">
                      <p:cBhvr>
                        <p:cTn dur="950"/>
                        <p:tgtEl>
                          <p:spTgt spid="52"/>
                        </p:tgtEl>
                      </p:cBhvr>
                    </p:animEffect>
                  </p:childTnLst>
                </p:cTn>
              </p:par>
            </p:tnLst>
          </p:tmpl>
        </p:tmplLst>
      </p:bldP>
      <p:bldP spid="52" grpId="1">
        <p:tmplLst>
          <p:tmpl>
            <p:tnLst>
              <p:par>
                <p:cTn presetID="63" presetClass="path" presetSubtype="0" decel="100000" fill="hold" nodeType="withEffect">
                  <p:stCondLst>
                    <p:cond delay="2550"/>
                  </p:stCondLst>
                  <p:childTnLst>
                    <p:animMotion origin="layout" path="M -0.01455 -3.60418E-6 L -3.73245E-6 -3.60418E-6 " pathEditMode="relative" rAng="0" ptsTypes="AA">
                      <p:cBhvr>
                        <p:cTn dur="950" fill="hold"/>
                        <p:tgtEl>
                          <p:spTgt spid="52"/>
                        </p:tgtEl>
                        <p:attrNameLst>
                          <p:attrName>ppt_x</p:attrName>
                          <p:attrName>ppt_y</p:attrName>
                        </p:attrNameLst>
                      </p:cBhvr>
                      <p:rCtr x="728" y="0"/>
                    </p:animMotion>
                  </p:childTnLst>
                </p:cTn>
              </p:par>
            </p:tnLst>
          </p:tmpl>
        </p:tmplLst>
      </p:bldP>
      <p:bldP spid="52" grpId="2">
        <p:tmplLst>
          <p:tmpl>
            <p:tnLst>
              <p:par>
                <p:cTn presetID="6" presetClass="emph" presetSubtype="0" accel="100000" autoRev="1" fill="hold" nodeType="withEffect">
                  <p:stCondLst>
                    <p:cond delay="1850"/>
                  </p:stCondLst>
                  <p:childTnLst>
                    <p:animScale>
                      <p:cBhvr>
                        <p:cTn dur="500" fill="hold"/>
                        <p:tgtEl>
                          <p:spTgt spid="52"/>
                        </p:tgtEl>
                      </p:cBhvr>
                      <p:by x="92000" y="92000"/>
                    </p:animScale>
                  </p:childTnLst>
                </p:cTn>
              </p:par>
            </p:tnLst>
          </p:tmpl>
        </p:tmplLst>
      </p:bldP>
      <p:bldP spid="53" grpId="0">
        <p:tmplLst>
          <p:tmpl>
            <p:tnLst>
              <p:par>
                <p:cTn presetID="10" presetClass="entr" presetSubtype="0" fill="hold" nodeType="withEffect">
                  <p:stCondLst>
                    <p:cond delay="2650"/>
                  </p:stCondLst>
                  <p:childTnLst>
                    <p:set>
                      <p:cBhvr>
                        <p:cTn dur="1" fill="hold">
                          <p:stCondLst>
                            <p:cond delay="0"/>
                          </p:stCondLst>
                        </p:cTn>
                        <p:tgtEl>
                          <p:spTgt spid="53"/>
                        </p:tgtEl>
                        <p:attrNameLst>
                          <p:attrName>style.visibility</p:attrName>
                        </p:attrNameLst>
                      </p:cBhvr>
                      <p:to>
                        <p:strVal val="visible"/>
                      </p:to>
                    </p:set>
                    <p:animEffect transition="in" filter="fade">
                      <p:cBhvr>
                        <p:cTn dur="950"/>
                        <p:tgtEl>
                          <p:spTgt spid="53"/>
                        </p:tgtEl>
                      </p:cBhvr>
                    </p:animEffect>
                  </p:childTnLst>
                </p:cTn>
              </p:par>
            </p:tnLst>
          </p:tmpl>
        </p:tmplLst>
      </p:bldP>
      <p:bldP spid="53" grpId="1">
        <p:tmplLst>
          <p:tmpl>
            <p:tnLst>
              <p:par>
                <p:cTn presetID="63" presetClass="path" presetSubtype="0" decel="100000" fill="hold" nodeType="withEffect">
                  <p:stCondLst>
                    <p:cond delay="2650"/>
                  </p:stCondLst>
                  <p:childTnLst>
                    <p:animMotion origin="layout" path="M -0.01455 3.19564E-6 L -3.73245E-6 3.19564E-6 " pathEditMode="relative" rAng="0" ptsTypes="AA">
                      <p:cBhvr>
                        <p:cTn dur="950" fill="hold"/>
                        <p:tgtEl>
                          <p:spTgt spid="53"/>
                        </p:tgtEl>
                        <p:attrNameLst>
                          <p:attrName>ppt_x</p:attrName>
                          <p:attrName>ppt_y</p:attrName>
                        </p:attrNameLst>
                      </p:cBhvr>
                      <p:rCtr x="728" y="0"/>
                    </p:animMotion>
                  </p:childTnLst>
                </p:cTn>
              </p:par>
            </p:tnLst>
          </p:tmpl>
        </p:tmplLst>
      </p:bldP>
      <p:bldP spid="53" grpId="2">
        <p:tmplLst>
          <p:tmpl>
            <p:tnLst>
              <p:par>
                <p:cTn presetID="6" presetClass="emph" presetSubtype="0" accel="100000" autoRev="1" fill="hold" nodeType="withEffect">
                  <p:stCondLst>
                    <p:cond delay="1950"/>
                  </p:stCondLst>
                  <p:childTnLst>
                    <p:animScale>
                      <p:cBhvr>
                        <p:cTn dur="500" fill="hold"/>
                        <p:tgtEl>
                          <p:spTgt spid="53"/>
                        </p:tgtEl>
                      </p:cBhvr>
                      <p:by x="92000" y="92000"/>
                    </p:animScale>
                  </p:childTnLst>
                </p:cTn>
              </p:par>
            </p:tnLst>
          </p:tmpl>
        </p:tmplLst>
      </p:bldP>
      <p:bldP spid="54" grpId="0">
        <p:tmplLst>
          <p:tmpl>
            <p:tnLst>
              <p:par>
                <p:cTn presetID="10" presetClass="entr" presetSubtype="0" fill="hold" nodeType="withEffect">
                  <p:stCondLst>
                    <p:cond delay="2750"/>
                  </p:stCondLst>
                  <p:childTnLst>
                    <p:set>
                      <p:cBhvr>
                        <p:cTn dur="1" fill="hold">
                          <p:stCondLst>
                            <p:cond delay="0"/>
                          </p:stCondLst>
                        </p:cTn>
                        <p:tgtEl>
                          <p:spTgt spid="54"/>
                        </p:tgtEl>
                        <p:attrNameLst>
                          <p:attrName>style.visibility</p:attrName>
                        </p:attrNameLst>
                      </p:cBhvr>
                      <p:to>
                        <p:strVal val="visible"/>
                      </p:to>
                    </p:set>
                    <p:animEffect transition="in" filter="fade">
                      <p:cBhvr>
                        <p:cTn dur="950"/>
                        <p:tgtEl>
                          <p:spTgt spid="54"/>
                        </p:tgtEl>
                      </p:cBhvr>
                    </p:animEffect>
                  </p:childTnLst>
                </p:cTn>
              </p:par>
            </p:tnLst>
          </p:tmpl>
        </p:tmplLst>
      </p:bldP>
      <p:bldP spid="54" grpId="1">
        <p:tmplLst>
          <p:tmpl>
            <p:tnLst>
              <p:par>
                <p:cTn presetID="63" presetClass="path" presetSubtype="0" decel="100000" fill="hold" nodeType="withEffect">
                  <p:stCondLst>
                    <p:cond delay="2750"/>
                  </p:stCondLst>
                  <p:childTnLst>
                    <p:animMotion origin="layout" path="M -0.01455 -3.60418E-6 L -4.75619E-6 -3.60418E-6 " pathEditMode="relative" rAng="0" ptsTypes="AA">
                      <p:cBhvr>
                        <p:cTn dur="950" fill="hold"/>
                        <p:tgtEl>
                          <p:spTgt spid="54"/>
                        </p:tgtEl>
                        <p:attrNameLst>
                          <p:attrName>ppt_x</p:attrName>
                          <p:attrName>ppt_y</p:attrName>
                        </p:attrNameLst>
                      </p:cBhvr>
                      <p:rCtr x="728" y="0"/>
                    </p:animMotion>
                  </p:childTnLst>
                </p:cTn>
              </p:par>
            </p:tnLst>
          </p:tmpl>
        </p:tmplLst>
      </p:bldP>
      <p:bldP spid="54" grpId="2">
        <p:tmplLst>
          <p:tmpl>
            <p:tnLst>
              <p:par>
                <p:cTn presetID="6" presetClass="emph" presetSubtype="0" accel="100000" autoRev="1" fill="hold" nodeType="withEffect">
                  <p:stCondLst>
                    <p:cond delay="2050"/>
                  </p:stCondLst>
                  <p:childTnLst>
                    <p:animScale>
                      <p:cBhvr>
                        <p:cTn dur="450" fill="hold"/>
                        <p:tgtEl>
                          <p:spTgt spid="54"/>
                        </p:tgtEl>
                      </p:cBhvr>
                      <p:by x="92000" y="92000"/>
                    </p:animScale>
                  </p:childTnLst>
                </p:cTn>
              </p:par>
            </p:tnLst>
          </p:tmpl>
        </p:tmplLst>
      </p:bldP>
      <p:bldP spid="55" grpId="0">
        <p:tmplLst>
          <p:tmpl>
            <p:tnLst>
              <p:par>
                <p:cTn presetID="10" presetClass="entr" presetSubtype="0" fill="hold" nodeType="withEffect">
                  <p:stCondLst>
                    <p:cond delay="2850"/>
                  </p:stCondLst>
                  <p:childTnLst>
                    <p:set>
                      <p:cBhvr>
                        <p:cTn dur="1" fill="hold">
                          <p:stCondLst>
                            <p:cond delay="0"/>
                          </p:stCondLst>
                        </p:cTn>
                        <p:tgtEl>
                          <p:spTgt spid="55"/>
                        </p:tgtEl>
                        <p:attrNameLst>
                          <p:attrName>style.visibility</p:attrName>
                        </p:attrNameLst>
                      </p:cBhvr>
                      <p:to>
                        <p:strVal val="visible"/>
                      </p:to>
                    </p:set>
                    <p:animEffect transition="in" filter="fade">
                      <p:cBhvr>
                        <p:cTn dur="950"/>
                        <p:tgtEl>
                          <p:spTgt spid="55"/>
                        </p:tgtEl>
                      </p:cBhvr>
                    </p:animEffect>
                  </p:childTnLst>
                </p:cTn>
              </p:par>
            </p:tnLst>
          </p:tmpl>
        </p:tmplLst>
      </p:bldP>
      <p:bldP spid="55" grpId="1">
        <p:tmplLst>
          <p:tmpl>
            <p:tnLst>
              <p:par>
                <p:cTn presetID="63" presetClass="path" presetSubtype="0" decel="100000" fill="hold" nodeType="withEffect">
                  <p:stCondLst>
                    <p:cond delay="2850"/>
                  </p:stCondLst>
                  <p:childTnLst>
                    <p:animMotion origin="layout" path="M -0.01455 3.19564E-6 L -4.75619E-6 3.19564E-6 " pathEditMode="relative" rAng="0" ptsTypes="AA">
                      <p:cBhvr>
                        <p:cTn dur="950" fill="hold"/>
                        <p:tgtEl>
                          <p:spTgt spid="55"/>
                        </p:tgtEl>
                        <p:attrNameLst>
                          <p:attrName>ppt_x</p:attrName>
                          <p:attrName>ppt_y</p:attrName>
                        </p:attrNameLst>
                      </p:cBhvr>
                      <p:rCtr x="728" y="0"/>
                    </p:animMotion>
                  </p:childTnLst>
                </p:cTn>
              </p:par>
            </p:tnLst>
          </p:tmpl>
        </p:tmplLst>
      </p:bldP>
      <p:bldP spid="55" grpId="2">
        <p:tmplLst>
          <p:tmpl>
            <p:tnLst>
              <p:par>
                <p:cTn presetID="6" presetClass="emph" presetSubtype="0" accel="100000" autoRev="1" fill="hold" nodeType="withEffect">
                  <p:stCondLst>
                    <p:cond delay="2150"/>
                  </p:stCondLst>
                  <p:childTnLst>
                    <p:animScale>
                      <p:cBhvr>
                        <p:cTn dur="500" fill="hold"/>
                        <p:tgtEl>
                          <p:spTgt spid="55"/>
                        </p:tgtEl>
                      </p:cBhvr>
                      <p:by x="92000" y="92000"/>
                    </p:animScale>
                  </p:childTnLst>
                </p:cTn>
              </p:par>
            </p:tnLst>
          </p:tmpl>
        </p:tmplLst>
      </p:bldP>
      <p:bldP spid="56" grpId="0">
        <p:tmplLst>
          <p:tmpl>
            <p:tnLst>
              <p:par>
                <p:cTn presetID="10" presetClass="entr" presetSubtype="0" fill="hold" nodeType="withEffect">
                  <p:stCondLst>
                    <p:cond delay="2050"/>
                  </p:stCondLst>
                  <p:childTnLst>
                    <p:set>
                      <p:cBhvr>
                        <p:cTn dur="1" fill="hold">
                          <p:stCondLst>
                            <p:cond delay="0"/>
                          </p:stCondLst>
                        </p:cTn>
                        <p:tgtEl>
                          <p:spTgt spid="56"/>
                        </p:tgtEl>
                        <p:attrNameLst>
                          <p:attrName>style.visibility</p:attrName>
                        </p:attrNameLst>
                      </p:cBhvr>
                      <p:to>
                        <p:strVal val="visible"/>
                      </p:to>
                    </p:set>
                    <p:animEffect transition="in" filter="fade">
                      <p:cBhvr>
                        <p:cTn dur="950"/>
                        <p:tgtEl>
                          <p:spTgt spid="56"/>
                        </p:tgtEl>
                      </p:cBhvr>
                    </p:animEffect>
                  </p:childTnLst>
                </p:cTn>
              </p:par>
            </p:tnLst>
          </p:tmpl>
        </p:tmplLst>
      </p:bldP>
      <p:bldP spid="56" grpId="1">
        <p:tmplLst>
          <p:tmpl>
            <p:tnLst>
              <p:par>
                <p:cTn presetID="63" presetClass="path" presetSubtype="0" decel="100000" fill="hold" nodeType="withEffect">
                  <p:stCondLst>
                    <p:cond delay="2050"/>
                  </p:stCondLst>
                  <p:childTnLst>
                    <p:animMotion origin="layout" path="M -0.01456 2.62823E-6 L 3.94435E-6 2.62823E-6 " pathEditMode="relative" rAng="0" ptsTypes="AA">
                      <p:cBhvr>
                        <p:cTn dur="950" fill="hold"/>
                        <p:tgtEl>
                          <p:spTgt spid="56"/>
                        </p:tgtEl>
                        <p:attrNameLst>
                          <p:attrName>ppt_x</p:attrName>
                          <p:attrName>ppt_y</p:attrName>
                        </p:attrNameLst>
                      </p:cBhvr>
                      <p:rCtr x="728" y="0"/>
                    </p:animMotion>
                  </p:childTnLst>
                </p:cTn>
              </p:par>
            </p:tnLst>
          </p:tmpl>
        </p:tmplLst>
      </p:bldP>
      <p:bldP spid="56" grpId="2">
        <p:tmplLst>
          <p:tmpl>
            <p:tnLst>
              <p:par>
                <p:cTn presetID="6" presetClass="emph" presetSubtype="0" accel="100000" autoRev="1" fill="hold" nodeType="withEffect">
                  <p:stCondLst>
                    <p:cond delay="1350"/>
                  </p:stCondLst>
                  <p:childTnLst>
                    <p:animScale>
                      <p:cBhvr>
                        <p:cTn dur="500" fill="hold"/>
                        <p:tgtEl>
                          <p:spTgt spid="56"/>
                        </p:tgtEl>
                      </p:cBhvr>
                      <p:by x="92000" y="92000"/>
                    </p:animScale>
                  </p:childTnLst>
                </p:cTn>
              </p:par>
            </p:tnLst>
          </p:tmpl>
        </p:tmplLst>
      </p:bldP>
      <p:bldP spid="57" grpId="0">
        <p:tmplLst>
          <p:tmpl>
            <p:tnLst>
              <p:par>
                <p:cTn presetID="10" presetClass="entr" presetSubtype="0" fill="hold" nodeType="withEffect">
                  <p:stCondLst>
                    <p:cond delay="2150"/>
                  </p:stCondLst>
                  <p:childTnLst>
                    <p:set>
                      <p:cBhvr>
                        <p:cTn dur="1" fill="hold">
                          <p:stCondLst>
                            <p:cond delay="0"/>
                          </p:stCondLst>
                        </p:cTn>
                        <p:tgtEl>
                          <p:spTgt spid="57"/>
                        </p:tgtEl>
                        <p:attrNameLst>
                          <p:attrName>style.visibility</p:attrName>
                        </p:attrNameLst>
                      </p:cBhvr>
                      <p:to>
                        <p:strVal val="visible"/>
                      </p:to>
                    </p:set>
                    <p:animEffect transition="in" filter="fade">
                      <p:cBhvr>
                        <p:cTn dur="950"/>
                        <p:tgtEl>
                          <p:spTgt spid="57"/>
                        </p:tgtEl>
                      </p:cBhvr>
                    </p:animEffect>
                  </p:childTnLst>
                </p:cTn>
              </p:par>
            </p:tnLst>
          </p:tmpl>
        </p:tmplLst>
      </p:bldP>
      <p:bldP spid="57" grpId="1">
        <p:tmplLst>
          <p:tmpl>
            <p:tnLst>
              <p:par>
                <p:cTn presetID="63" presetClass="path" presetSubtype="0" decel="100000" fill="hold" nodeType="withEffect">
                  <p:stCondLst>
                    <p:cond delay="2150"/>
                  </p:stCondLst>
                  <p:childTnLst>
                    <p:animMotion origin="layout" path="M -0.01456 3.87653E-6 L 3.94435E-6 3.87653E-6 " pathEditMode="relative" rAng="0" ptsTypes="AA">
                      <p:cBhvr>
                        <p:cTn dur="950" fill="hold"/>
                        <p:tgtEl>
                          <p:spTgt spid="57"/>
                        </p:tgtEl>
                        <p:attrNameLst>
                          <p:attrName>ppt_x</p:attrName>
                          <p:attrName>ppt_y</p:attrName>
                        </p:attrNameLst>
                      </p:cBhvr>
                      <p:rCtr x="728" y="0"/>
                    </p:animMotion>
                  </p:childTnLst>
                </p:cTn>
              </p:par>
            </p:tnLst>
          </p:tmpl>
        </p:tmplLst>
      </p:bldP>
      <p:bldP spid="57" grpId="2">
        <p:tmplLst>
          <p:tmpl>
            <p:tnLst>
              <p:par>
                <p:cTn presetID="6" presetClass="emph" presetSubtype="0" accel="100000" autoRev="1" fill="hold" nodeType="withEffect">
                  <p:stCondLst>
                    <p:cond delay="1450"/>
                  </p:stCondLst>
                  <p:childTnLst>
                    <p:animScale>
                      <p:cBhvr>
                        <p:cTn dur="500" fill="hold"/>
                        <p:tgtEl>
                          <p:spTgt spid="57"/>
                        </p:tgtEl>
                      </p:cBhvr>
                      <p:by x="92000" y="92000"/>
                    </p:animScale>
                  </p:childTnLst>
                </p:cTn>
              </p:par>
            </p:tnLst>
          </p:tmpl>
        </p:tmplLst>
      </p:bldP>
      <p:bldP spid="58" grpId="0">
        <p:tmplLst>
          <p:tmpl>
            <p:tnLst>
              <p:par>
                <p:cTn presetID="10" presetClass="entr" presetSubtype="0" fill="hold" nodeType="withEffect">
                  <p:stCondLst>
                    <p:cond delay="2250"/>
                  </p:stCondLst>
                  <p:childTnLst>
                    <p:set>
                      <p:cBhvr>
                        <p:cTn dur="1" fill="hold">
                          <p:stCondLst>
                            <p:cond delay="0"/>
                          </p:stCondLst>
                        </p:cTn>
                        <p:tgtEl>
                          <p:spTgt spid="58"/>
                        </p:tgtEl>
                        <p:attrNameLst>
                          <p:attrName>style.visibility</p:attrName>
                        </p:attrNameLst>
                      </p:cBhvr>
                      <p:to>
                        <p:strVal val="visible"/>
                      </p:to>
                    </p:set>
                    <p:animEffect transition="in" filter="fade">
                      <p:cBhvr>
                        <p:cTn dur="950"/>
                        <p:tgtEl>
                          <p:spTgt spid="58"/>
                        </p:tgtEl>
                      </p:cBhvr>
                    </p:animEffect>
                  </p:childTnLst>
                </p:cTn>
              </p:par>
            </p:tnLst>
          </p:tmpl>
        </p:tmplLst>
      </p:bldP>
      <p:bldP spid="58" grpId="1">
        <p:tmplLst>
          <p:tmpl>
            <p:tnLst>
              <p:par>
                <p:cTn presetID="63" presetClass="path" presetSubtype="0" decel="100000" fill="hold" nodeType="withEffect">
                  <p:stCondLst>
                    <p:cond delay="2250"/>
                  </p:stCondLst>
                  <p:childTnLst>
                    <p:animMotion origin="layout" path="M -0.01455 2.62823E-6 L -2.37682E-6 2.62823E-6 " pathEditMode="relative" rAng="0" ptsTypes="AA">
                      <p:cBhvr>
                        <p:cTn dur="950" fill="hold"/>
                        <p:tgtEl>
                          <p:spTgt spid="58"/>
                        </p:tgtEl>
                        <p:attrNameLst>
                          <p:attrName>ppt_x</p:attrName>
                          <p:attrName>ppt_y</p:attrName>
                        </p:attrNameLst>
                      </p:cBhvr>
                      <p:rCtr x="728" y="0"/>
                    </p:animMotion>
                  </p:childTnLst>
                </p:cTn>
              </p:par>
            </p:tnLst>
          </p:tmpl>
        </p:tmplLst>
      </p:bldP>
      <p:bldP spid="58" grpId="2">
        <p:tmplLst>
          <p:tmpl>
            <p:tnLst>
              <p:par>
                <p:cTn presetID="6" presetClass="emph" presetSubtype="0" accel="100000" autoRev="1" fill="hold" nodeType="withEffect">
                  <p:stCondLst>
                    <p:cond delay="1550"/>
                  </p:stCondLst>
                  <p:childTnLst>
                    <p:animScale>
                      <p:cBhvr>
                        <p:cTn dur="500" fill="hold"/>
                        <p:tgtEl>
                          <p:spTgt spid="58"/>
                        </p:tgtEl>
                      </p:cBhvr>
                      <p:by x="92000" y="92000"/>
                    </p:animScale>
                  </p:childTnLst>
                </p:cTn>
              </p:par>
            </p:tnLst>
          </p:tmpl>
        </p:tmplLst>
      </p:bldP>
      <p:bldP spid="59" grpId="0">
        <p:tmplLst>
          <p:tmpl>
            <p:tnLst>
              <p:par>
                <p:cTn presetID="10" presetClass="entr" presetSubtype="0" fill="hold" nodeType="withEffect">
                  <p:stCondLst>
                    <p:cond delay="2350"/>
                  </p:stCondLst>
                  <p:childTnLst>
                    <p:set>
                      <p:cBhvr>
                        <p:cTn dur="1" fill="hold">
                          <p:stCondLst>
                            <p:cond delay="0"/>
                          </p:stCondLst>
                        </p:cTn>
                        <p:tgtEl>
                          <p:spTgt spid="59"/>
                        </p:tgtEl>
                        <p:attrNameLst>
                          <p:attrName>style.visibility</p:attrName>
                        </p:attrNameLst>
                      </p:cBhvr>
                      <p:to>
                        <p:strVal val="visible"/>
                      </p:to>
                    </p:set>
                    <p:animEffect transition="in" filter="fade">
                      <p:cBhvr>
                        <p:cTn dur="950"/>
                        <p:tgtEl>
                          <p:spTgt spid="59"/>
                        </p:tgtEl>
                      </p:cBhvr>
                    </p:animEffect>
                  </p:childTnLst>
                </p:cTn>
              </p:par>
            </p:tnLst>
          </p:tmpl>
        </p:tmplLst>
      </p:bldP>
      <p:bldP spid="59" grpId="1">
        <p:tmplLst>
          <p:tmpl>
            <p:tnLst>
              <p:par>
                <p:cTn presetID="63" presetClass="path" presetSubtype="0" decel="100000" fill="hold" nodeType="withEffect">
                  <p:stCondLst>
                    <p:cond delay="2350"/>
                  </p:stCondLst>
                  <p:childTnLst>
                    <p:animMotion origin="layout" path="M -0.01455 3.87653E-6 L -2.37682E-6 3.87653E-6 " pathEditMode="relative" rAng="0" ptsTypes="AA">
                      <p:cBhvr>
                        <p:cTn dur="950" fill="hold"/>
                        <p:tgtEl>
                          <p:spTgt spid="59"/>
                        </p:tgtEl>
                        <p:attrNameLst>
                          <p:attrName>ppt_x</p:attrName>
                          <p:attrName>ppt_y</p:attrName>
                        </p:attrNameLst>
                      </p:cBhvr>
                      <p:rCtr x="728" y="0"/>
                    </p:animMotion>
                  </p:childTnLst>
                </p:cTn>
              </p:par>
            </p:tnLst>
          </p:tmpl>
        </p:tmplLst>
      </p:bldP>
      <p:bldP spid="59" grpId="2">
        <p:tmplLst>
          <p:tmpl>
            <p:tnLst>
              <p:par>
                <p:cTn presetID="6" presetClass="emph" presetSubtype="0" accel="100000" autoRev="1" fill="hold" nodeType="withEffect">
                  <p:stCondLst>
                    <p:cond delay="1650"/>
                  </p:stCondLst>
                  <p:childTnLst>
                    <p:animScale>
                      <p:cBhvr>
                        <p:cTn dur="500" fill="hold"/>
                        <p:tgtEl>
                          <p:spTgt spid="59"/>
                        </p:tgtEl>
                      </p:cBhvr>
                      <p:by x="92000" y="92000"/>
                    </p:animScale>
                  </p:childTnLst>
                </p:cTn>
              </p:par>
            </p:tnLst>
          </p:tmpl>
        </p:tmplLst>
      </p:bldP>
      <p:bldP spid="60" grpId="0">
        <p:tmplLst>
          <p:tmpl>
            <p:tnLst>
              <p:par>
                <p:cTn presetID="10" presetClass="entr" presetSubtype="0" fill="hold" nodeType="withEffect">
                  <p:stCondLst>
                    <p:cond delay="2450"/>
                  </p:stCondLst>
                  <p:childTnLst>
                    <p:set>
                      <p:cBhvr>
                        <p:cTn dur="1" fill="hold">
                          <p:stCondLst>
                            <p:cond delay="0"/>
                          </p:stCondLst>
                        </p:cTn>
                        <p:tgtEl>
                          <p:spTgt spid="60"/>
                        </p:tgtEl>
                        <p:attrNameLst>
                          <p:attrName>style.visibility</p:attrName>
                        </p:attrNameLst>
                      </p:cBhvr>
                      <p:to>
                        <p:strVal val="visible"/>
                      </p:to>
                    </p:set>
                    <p:animEffect transition="in" filter="fade">
                      <p:cBhvr>
                        <p:cTn dur="950"/>
                        <p:tgtEl>
                          <p:spTgt spid="60"/>
                        </p:tgtEl>
                      </p:cBhvr>
                    </p:animEffect>
                  </p:childTnLst>
                </p:cTn>
              </p:par>
            </p:tnLst>
          </p:tmpl>
        </p:tmplLst>
      </p:bldP>
      <p:bldP spid="60" grpId="1">
        <p:tmplLst>
          <p:tmpl>
            <p:tnLst>
              <p:par>
                <p:cTn presetID="63" presetClass="path" presetSubtype="0" decel="100000" fill="hold" nodeType="withEffect">
                  <p:stCondLst>
                    <p:cond delay="2450"/>
                  </p:stCondLst>
                  <p:childTnLst>
                    <p:animMotion origin="layout" path="M -0.01456 2.62823E-6 L 4.22007E-6 2.62823E-6 " pathEditMode="relative" rAng="0" ptsTypes="AA">
                      <p:cBhvr>
                        <p:cTn dur="950" fill="hold"/>
                        <p:tgtEl>
                          <p:spTgt spid="60"/>
                        </p:tgtEl>
                        <p:attrNameLst>
                          <p:attrName>ppt_x</p:attrName>
                          <p:attrName>ppt_y</p:attrName>
                        </p:attrNameLst>
                      </p:cBhvr>
                      <p:rCtr x="728" y="0"/>
                    </p:animMotion>
                  </p:childTnLst>
                </p:cTn>
              </p:par>
            </p:tnLst>
          </p:tmpl>
        </p:tmplLst>
      </p:bldP>
      <p:bldP spid="60" grpId="2">
        <p:tmplLst>
          <p:tmpl>
            <p:tnLst>
              <p:par>
                <p:cTn presetID="6" presetClass="emph" presetSubtype="0" accel="100000" autoRev="1" fill="hold" nodeType="withEffect">
                  <p:stCondLst>
                    <p:cond delay="1750"/>
                  </p:stCondLst>
                  <p:childTnLst>
                    <p:animScale>
                      <p:cBhvr>
                        <p:cTn dur="500" fill="hold"/>
                        <p:tgtEl>
                          <p:spTgt spid="60"/>
                        </p:tgtEl>
                      </p:cBhvr>
                      <p:by x="92000" y="92000"/>
                    </p:animScale>
                  </p:childTnLst>
                </p:cTn>
              </p:par>
            </p:tnLst>
          </p:tmpl>
        </p:tmplLst>
      </p:bldP>
      <p:bldP spid="61" grpId="0">
        <p:tmplLst>
          <p:tmpl>
            <p:tnLst>
              <p:par>
                <p:cTn presetID="10" presetClass="entr" presetSubtype="0" fill="hold" nodeType="withEffect">
                  <p:stCondLst>
                    <p:cond delay="2550"/>
                  </p:stCondLst>
                  <p:childTnLst>
                    <p:set>
                      <p:cBhvr>
                        <p:cTn dur="1" fill="hold">
                          <p:stCondLst>
                            <p:cond delay="0"/>
                          </p:stCondLst>
                        </p:cTn>
                        <p:tgtEl>
                          <p:spTgt spid="61"/>
                        </p:tgtEl>
                        <p:attrNameLst>
                          <p:attrName>style.visibility</p:attrName>
                        </p:attrNameLst>
                      </p:cBhvr>
                      <p:to>
                        <p:strVal val="visible"/>
                      </p:to>
                    </p:set>
                    <p:animEffect transition="in" filter="fade">
                      <p:cBhvr>
                        <p:cTn dur="950"/>
                        <p:tgtEl>
                          <p:spTgt spid="61"/>
                        </p:tgtEl>
                      </p:cBhvr>
                    </p:animEffect>
                  </p:childTnLst>
                </p:cTn>
              </p:par>
            </p:tnLst>
          </p:tmpl>
        </p:tmplLst>
      </p:bldP>
      <p:bldP spid="61" grpId="1">
        <p:tmplLst>
          <p:tmpl>
            <p:tnLst>
              <p:par>
                <p:cTn presetID="63" presetClass="path" presetSubtype="0" decel="100000" fill="hold" nodeType="withEffect">
                  <p:stCondLst>
                    <p:cond delay="2550"/>
                  </p:stCondLst>
                  <p:childTnLst>
                    <p:animMotion origin="layout" path="M -0.01456 3.87653E-6 L 4.22007E-6 3.87653E-6 " pathEditMode="relative" rAng="0" ptsTypes="AA">
                      <p:cBhvr>
                        <p:cTn dur="950" fill="hold"/>
                        <p:tgtEl>
                          <p:spTgt spid="61"/>
                        </p:tgtEl>
                        <p:attrNameLst>
                          <p:attrName>ppt_x</p:attrName>
                          <p:attrName>ppt_y</p:attrName>
                        </p:attrNameLst>
                      </p:cBhvr>
                      <p:rCtr x="728" y="0"/>
                    </p:animMotion>
                  </p:childTnLst>
                </p:cTn>
              </p:par>
            </p:tnLst>
          </p:tmpl>
        </p:tmplLst>
      </p:bldP>
      <p:bldP spid="61" grpId="2">
        <p:tmplLst>
          <p:tmpl>
            <p:tnLst>
              <p:par>
                <p:cTn presetID="6" presetClass="emph" presetSubtype="0" accel="100000" autoRev="1" fill="hold" nodeType="withEffect">
                  <p:stCondLst>
                    <p:cond delay="1850"/>
                  </p:stCondLst>
                  <p:childTnLst>
                    <p:animScale>
                      <p:cBhvr>
                        <p:cTn dur="500" fill="hold"/>
                        <p:tgtEl>
                          <p:spTgt spid="61"/>
                        </p:tgtEl>
                      </p:cBhvr>
                      <p:by x="92000" y="92000"/>
                    </p:animScale>
                  </p:childTnLst>
                </p:cTn>
              </p:par>
            </p:tnLst>
          </p:tmpl>
        </p:tmplLst>
      </p:bldP>
      <p:bldP spid="62" grpId="0">
        <p:tmplLst>
          <p:tmpl>
            <p:tnLst>
              <p:par>
                <p:cTn presetID="10" presetClass="entr" presetSubtype="0" fill="hold" nodeType="withEffect">
                  <p:stCondLst>
                    <p:cond delay="2650"/>
                  </p:stCondLst>
                  <p:childTnLst>
                    <p:set>
                      <p:cBhvr>
                        <p:cTn dur="1" fill="hold">
                          <p:stCondLst>
                            <p:cond delay="0"/>
                          </p:stCondLst>
                        </p:cTn>
                        <p:tgtEl>
                          <p:spTgt spid="62"/>
                        </p:tgtEl>
                        <p:attrNameLst>
                          <p:attrName>style.visibility</p:attrName>
                        </p:attrNameLst>
                      </p:cBhvr>
                      <p:to>
                        <p:strVal val="visible"/>
                      </p:to>
                    </p:set>
                    <p:animEffect transition="in" filter="fade">
                      <p:cBhvr>
                        <p:cTn dur="950"/>
                        <p:tgtEl>
                          <p:spTgt spid="62"/>
                        </p:tgtEl>
                      </p:cBhvr>
                    </p:animEffect>
                  </p:childTnLst>
                </p:cTn>
              </p:par>
            </p:tnLst>
          </p:tmpl>
        </p:tmplLst>
      </p:bldP>
      <p:bldP spid="62" grpId="1">
        <p:tmplLst>
          <p:tmpl>
            <p:tnLst>
              <p:par>
                <p:cTn presetID="63" presetClass="path" presetSubtype="0" decel="100000" fill="hold" nodeType="withEffect">
                  <p:stCondLst>
                    <p:cond delay="2650"/>
                  </p:stCondLst>
                  <p:childTnLst>
                    <p:animMotion origin="layout" path="M -0.01456 2.62823E-6 L 3.19632E-6 2.62823E-6 " pathEditMode="relative" rAng="0" ptsTypes="AA">
                      <p:cBhvr>
                        <p:cTn dur="950" fill="hold"/>
                        <p:tgtEl>
                          <p:spTgt spid="62"/>
                        </p:tgtEl>
                        <p:attrNameLst>
                          <p:attrName>ppt_x</p:attrName>
                          <p:attrName>ppt_y</p:attrName>
                        </p:attrNameLst>
                      </p:cBhvr>
                      <p:rCtr x="728" y="0"/>
                    </p:animMotion>
                  </p:childTnLst>
                </p:cTn>
              </p:par>
            </p:tnLst>
          </p:tmpl>
        </p:tmplLst>
      </p:bldP>
      <p:bldP spid="62" grpId="2">
        <p:tmplLst>
          <p:tmpl>
            <p:tnLst>
              <p:par>
                <p:cTn presetID="6" presetClass="emph" presetSubtype="0" accel="100000" autoRev="1" fill="hold" nodeType="withEffect">
                  <p:stCondLst>
                    <p:cond delay="1950"/>
                  </p:stCondLst>
                  <p:childTnLst>
                    <p:animScale>
                      <p:cBhvr>
                        <p:cTn dur="500" fill="hold"/>
                        <p:tgtEl>
                          <p:spTgt spid="62"/>
                        </p:tgtEl>
                      </p:cBhvr>
                      <p:by x="92000" y="92000"/>
                    </p:animScale>
                  </p:childTnLst>
                </p:cTn>
              </p:par>
            </p:tnLst>
          </p:tmpl>
        </p:tmplLst>
      </p:bldP>
      <p:bldP spid="63" grpId="0">
        <p:tmplLst>
          <p:tmpl>
            <p:tnLst>
              <p:par>
                <p:cTn presetID="10" presetClass="entr" presetSubtype="0" fill="hold" nodeType="withEffect">
                  <p:stCondLst>
                    <p:cond delay="2750"/>
                  </p:stCondLst>
                  <p:childTnLst>
                    <p:set>
                      <p:cBhvr>
                        <p:cTn dur="1" fill="hold">
                          <p:stCondLst>
                            <p:cond delay="0"/>
                          </p:stCondLst>
                        </p:cTn>
                        <p:tgtEl>
                          <p:spTgt spid="63"/>
                        </p:tgtEl>
                        <p:attrNameLst>
                          <p:attrName>style.visibility</p:attrName>
                        </p:attrNameLst>
                      </p:cBhvr>
                      <p:to>
                        <p:strVal val="visible"/>
                      </p:to>
                    </p:set>
                    <p:animEffect transition="in" filter="fade">
                      <p:cBhvr>
                        <p:cTn dur="950"/>
                        <p:tgtEl>
                          <p:spTgt spid="63"/>
                        </p:tgtEl>
                      </p:cBhvr>
                    </p:animEffect>
                  </p:childTnLst>
                </p:cTn>
              </p:par>
            </p:tnLst>
          </p:tmpl>
        </p:tmplLst>
      </p:bldP>
      <p:bldP spid="63" grpId="1">
        <p:tmplLst>
          <p:tmpl>
            <p:tnLst>
              <p:par>
                <p:cTn presetID="63" presetClass="path" presetSubtype="0" decel="100000" fill="hold" nodeType="withEffect">
                  <p:stCondLst>
                    <p:cond delay="2750"/>
                  </p:stCondLst>
                  <p:childTnLst>
                    <p:animMotion origin="layout" path="M -0.01456 3.87653E-6 L 3.19632E-6 3.87653E-6 " pathEditMode="relative" rAng="0" ptsTypes="AA">
                      <p:cBhvr>
                        <p:cTn dur="950" fill="hold"/>
                        <p:tgtEl>
                          <p:spTgt spid="63"/>
                        </p:tgtEl>
                        <p:attrNameLst>
                          <p:attrName>ppt_x</p:attrName>
                          <p:attrName>ppt_y</p:attrName>
                        </p:attrNameLst>
                      </p:cBhvr>
                      <p:rCtr x="728" y="0"/>
                    </p:animMotion>
                  </p:childTnLst>
                </p:cTn>
              </p:par>
            </p:tnLst>
          </p:tmpl>
        </p:tmplLst>
      </p:bldP>
      <p:bldP spid="63" grpId="2">
        <p:tmplLst>
          <p:tmpl>
            <p:tnLst>
              <p:par>
                <p:cTn presetID="6" presetClass="emph" presetSubtype="0" accel="100000" autoRev="1" fill="hold" nodeType="withEffect">
                  <p:stCondLst>
                    <p:cond delay="2050"/>
                  </p:stCondLst>
                  <p:childTnLst>
                    <p:animScale>
                      <p:cBhvr>
                        <p:cTn dur="500" fill="hold"/>
                        <p:tgtEl>
                          <p:spTgt spid="63"/>
                        </p:tgtEl>
                      </p:cBhvr>
                      <p:by x="92000" y="92000"/>
                    </p:animScale>
                  </p:childTnLst>
                </p:cTn>
              </p:par>
            </p:tnLst>
          </p:tmpl>
        </p:tmplLst>
      </p:bldP>
    </p:bld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3" tIns="45703" rIns="45703" bIns="45703" numCol="1" spcCol="0" rtlCol="0" fromWordArt="0" anchor="ctr" anchorCtr="0" forceAA="0" compatLnSpc="1">
            <a:prstTxWarp prst="textNoShape">
              <a:avLst/>
            </a:prstTxWarp>
            <a:noAutofit/>
          </a:bodyPr>
          <a:lstStyle/>
          <a:p>
            <a:pPr algn="ctr" defTabSz="913653" fontAlgn="base">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69" y="1192417"/>
            <a:ext cx="11650487" cy="2089751"/>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5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12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78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393729663"/>
      </p:ext>
    </p:extLst>
  </p:cSld>
  <p:clrMapOvr>
    <a:masterClrMapping/>
  </p:clrMapOvr>
  <p:transition>
    <p:fade/>
  </p:transition>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70" y="1189179"/>
            <a:ext cx="11650488" cy="2396047"/>
          </a:xfrm>
          <a:prstGeom prst="rect">
            <a:avLst/>
          </a:prstGeom>
        </p:spPr>
        <p:txBody>
          <a:bodyPr/>
          <a:lstStyle>
            <a:lvl1pPr marL="284650" indent="-284650">
              <a:buClr>
                <a:schemeClr val="tx1"/>
              </a:buClr>
              <a:buSzPct val="90000"/>
              <a:buFont typeface="Wingdings" panose="05000000000000000000" pitchFamily="2" charset="2"/>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966" indent="-275318">
              <a:buClr>
                <a:schemeClr val="tx1"/>
              </a:buClr>
              <a:buSzPct val="90000"/>
              <a:buFont typeface="Wingdings" panose="05000000000000000000" pitchFamily="2" charset="2"/>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616" indent="-284650">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602" indent="-223987">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588" indent="-223987">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02620264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28542" y="3905563"/>
            <a:ext cx="6271784" cy="514037"/>
          </a:xfrm>
          <a:noFill/>
        </p:spPr>
        <p:txBody>
          <a:bodyPr lIns="146304" tIns="109728" rIns="146304" bIns="109728">
            <a:noAutofit/>
          </a:bodyPr>
          <a:lstStyle>
            <a:lvl1pPr marL="0" indent="0">
              <a:spcBef>
                <a:spcPts val="0"/>
              </a:spcBef>
              <a:buNone/>
              <a:defRPr sz="2799" spc="0" baseline="0">
                <a:gradFill>
                  <a:gsLst>
                    <a:gs pos="0">
                      <a:schemeClr val="tx1"/>
                    </a:gs>
                    <a:gs pos="100000">
                      <a:schemeClr val="tx1"/>
                    </a:gs>
                  </a:gsLst>
                  <a:lin ang="5400000" scaled="0"/>
                </a:gradFill>
                <a:latin typeface="Segoe UI Light" panose="020B0502040204020203" pitchFamily="34" charset="0"/>
                <a:cs typeface="Segoe UI Light" panose="020B0502040204020203" pitchFamily="34" charset="0"/>
              </a:defRPr>
            </a:lvl1pPr>
          </a:lstStyle>
          <a:p>
            <a:pPr lvl="0"/>
            <a:r>
              <a:rPr lang="en-US" dirty="0" smtClean="0"/>
              <a:t>Speaker name</a:t>
            </a:r>
          </a:p>
        </p:txBody>
      </p:sp>
      <p:sp>
        <p:nvSpPr>
          <p:cNvPr id="9" name="Title 1"/>
          <p:cNvSpPr>
            <a:spLocks noGrp="1"/>
          </p:cNvSpPr>
          <p:nvPr>
            <p:ph type="title" hasCustomPrompt="1"/>
          </p:nvPr>
        </p:nvSpPr>
        <p:spPr>
          <a:xfrm>
            <a:off x="228541" y="2075840"/>
            <a:ext cx="9858042" cy="1801436"/>
          </a:xfrm>
          <a:noFill/>
        </p:spPr>
        <p:txBody>
          <a:bodyPr lIns="146304" tIns="91440" rIns="146304" bIns="91440" anchor="t" anchorCtr="0"/>
          <a:lstStyle>
            <a:lvl1pPr>
              <a:defRPr sz="5996" spc="-98"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11" name="Footer Placeholder 6"/>
          <p:cNvSpPr txBox="1">
            <a:spLocks/>
          </p:cNvSpPr>
          <p:nvPr userDrawn="1"/>
        </p:nvSpPr>
        <p:spPr>
          <a:xfrm>
            <a:off x="10526714" y="6553200"/>
            <a:ext cx="1663258"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dirty="0" smtClean="0">
                <a:solidFill>
                  <a:prstClr val="white"/>
                </a:solidFill>
              </a:rPr>
              <a:t>MICROSOFT CONFIDENTI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269234" y="480504"/>
            <a:ext cx="2557077" cy="547905"/>
          </a:xfrm>
          <a:prstGeom prst="rect">
            <a:avLst/>
          </a:prstGeom>
        </p:spPr>
      </p:pic>
    </p:spTree>
    <p:extLst>
      <p:ext uri="{BB962C8B-B14F-4D97-AF65-F5344CB8AC3E}">
        <p14:creationId xmlns:p14="http://schemas.microsoft.com/office/powerpoint/2010/main" val="7855242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144">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6"/>
            <a:ext cx="5377147" cy="2491607"/>
          </a:xfrm>
        </p:spPr>
        <p:txBody>
          <a:bodyPr wrap="square">
            <a:spAutoFit/>
          </a:bodyPr>
          <a:lstStyle>
            <a:lvl1pPr marL="0" indent="0">
              <a:spcBef>
                <a:spcPts val="1200"/>
              </a:spcBef>
              <a:buClr>
                <a:schemeClr val="tx1"/>
              </a:buClr>
              <a:buFont typeface="Wingdings" pitchFamily="2" charset="2"/>
              <a:buNone/>
              <a:defRPr sz="3499">
                <a:gradFill>
                  <a:gsLst>
                    <a:gs pos="1250">
                      <a:schemeClr val="tx2"/>
                    </a:gs>
                    <a:gs pos="99000">
                      <a:schemeClr val="tx2"/>
                    </a:gs>
                  </a:gsLst>
                  <a:lin ang="5400000" scaled="0"/>
                </a:gradFill>
              </a:defRPr>
            </a:lvl1pPr>
            <a:lvl2pPr marL="0" indent="0">
              <a:buNone/>
              <a:defRPr sz="1999"/>
            </a:lvl2pPr>
            <a:lvl3pPr marL="227097" indent="0">
              <a:buNone/>
              <a:tabLst/>
              <a:defRPr sz="1999"/>
            </a:lvl3pPr>
            <a:lvl4pPr marL="451084" indent="0">
              <a:buNone/>
              <a:defRPr/>
            </a:lvl4pPr>
            <a:lvl5pPr marL="67195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91607"/>
          </a:xfrm>
        </p:spPr>
        <p:txBody>
          <a:bodyPr wrap="square">
            <a:spAutoFit/>
          </a:bodyPr>
          <a:lstStyle>
            <a:lvl1pPr marL="0" indent="0">
              <a:spcBef>
                <a:spcPts val="1200"/>
              </a:spcBef>
              <a:buClr>
                <a:schemeClr val="tx1"/>
              </a:buClr>
              <a:buFont typeface="Wingdings" pitchFamily="2" charset="2"/>
              <a:buNone/>
              <a:defRPr sz="3499">
                <a:gradFill>
                  <a:gsLst>
                    <a:gs pos="1250">
                      <a:schemeClr val="tx2"/>
                    </a:gs>
                    <a:gs pos="99000">
                      <a:schemeClr val="tx2"/>
                    </a:gs>
                  </a:gsLst>
                  <a:lin ang="5400000" scaled="0"/>
                </a:gradFill>
              </a:defRPr>
            </a:lvl1pPr>
            <a:lvl2pPr marL="0" indent="0">
              <a:buNone/>
              <a:defRPr sz="1999"/>
            </a:lvl2pPr>
            <a:lvl3pPr marL="227097" indent="0">
              <a:buNone/>
              <a:tabLst/>
              <a:defRPr sz="1999"/>
            </a:lvl3pPr>
            <a:lvl4pPr marL="451084" indent="0">
              <a:buNone/>
              <a:defRPr/>
            </a:lvl4pPr>
            <a:lvl5pPr marL="67195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Date Placeholder 2"/>
          <p:cNvSpPr>
            <a:spLocks noGrp="1"/>
          </p:cNvSpPr>
          <p:nvPr>
            <p:ph type="dt" sz="half" idx="12"/>
          </p:nvPr>
        </p:nvSpPr>
        <p:spPr>
          <a:xfrm>
            <a:off x="6938850" y="6356802"/>
            <a:ext cx="2741474" cy="364224"/>
          </a:xfrm>
          <a:prstGeom prst="rect">
            <a:avLst/>
          </a:prstGeom>
        </p:spPr>
        <p:txBody>
          <a:bodyPr lIns="89639" tIns="44819" rIns="89639" bIns="44819"/>
          <a:lstStyle/>
          <a:p>
            <a:pPr defTabSz="913951"/>
            <a:fld id="{D2467E7F-CF77-45C3-A44E-ED167671D9A0}" type="datetime1">
              <a:rPr lang="en-US" smtClean="0">
                <a:solidFill>
                  <a:srgbClr val="1A1A1A"/>
                </a:solidFill>
              </a:rPr>
              <a:pPr defTabSz="913951"/>
              <a:t>2/9/2015</a:t>
            </a:fld>
            <a:endParaRPr lang="en-US">
              <a:solidFill>
                <a:srgbClr val="1A1A1A"/>
              </a:solidFill>
            </a:endParaRPr>
          </a:p>
        </p:txBody>
      </p:sp>
      <p:sp>
        <p:nvSpPr>
          <p:cNvPr id="8" name="Slide Number Placeholder 7"/>
          <p:cNvSpPr>
            <a:spLocks noGrp="1"/>
          </p:cNvSpPr>
          <p:nvPr>
            <p:ph type="sldNum" sz="quarter" idx="14"/>
          </p:nvPr>
        </p:nvSpPr>
        <p:spPr>
          <a:xfrm>
            <a:off x="11443556" y="6356803"/>
            <a:ext cx="476103" cy="364224"/>
          </a:xfrm>
          <a:prstGeom prst="rect">
            <a:avLst/>
          </a:prstGeom>
        </p:spPr>
        <p:txBody>
          <a:bodyPr lIns="89639" tIns="44819" rIns="89639" bIns="44819"/>
          <a:lstStyle/>
          <a:p>
            <a:pPr defTabSz="913951"/>
            <a:fld id="{2775DF8E-1151-4C45-8C93-3AB060627CA9}" type="slidenum">
              <a:rPr lang="en-US" smtClean="0">
                <a:solidFill>
                  <a:srgbClr val="1A1A1A"/>
                </a:solidFill>
              </a:rPr>
              <a:pPr defTabSz="913951"/>
              <a:t>‹#›</a:t>
            </a:fld>
            <a:endParaRPr lang="en-US">
              <a:solidFill>
                <a:srgbClr val="1A1A1A"/>
              </a:solidFill>
            </a:endParaRPr>
          </a:p>
        </p:txBody>
      </p:sp>
      <p:pic>
        <p:nvPicPr>
          <p:cNvPr id="10" name="Picture 9"/>
          <p:cNvPicPr>
            <a:picLocks noChangeAspect="1"/>
          </p:cNvPicPr>
          <p:nvPr userDrawn="1"/>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66969" y="6260887"/>
            <a:ext cx="1350186" cy="457242"/>
          </a:xfrm>
          <a:prstGeom prst="rect">
            <a:avLst/>
          </a:prstGeom>
        </p:spPr>
      </p:pic>
    </p:spTree>
    <p:extLst>
      <p:ext uri="{BB962C8B-B14F-4D97-AF65-F5344CB8AC3E}">
        <p14:creationId xmlns:p14="http://schemas.microsoft.com/office/powerpoint/2010/main" val="2444519768"/>
      </p:ext>
    </p:extLst>
  </p:cSld>
  <p:clrMapOvr>
    <a:masterClrMapping/>
  </p:clrMapOvr>
  <p:transition>
    <p:fade/>
  </p:transition>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7" name="Footer Placeholder 10"/>
          <p:cNvSpPr>
            <a:spLocks noGrp="1"/>
          </p:cNvSpPr>
          <p:nvPr>
            <p:ph type="ftr" sz="quarter" idx="17"/>
          </p:nvPr>
        </p:nvSpPr>
        <p:spPr>
          <a:xfrm>
            <a:off x="560564" y="6577026"/>
            <a:ext cx="1813767" cy="128574"/>
          </a:xfrm>
          <a:prstGeom prst="rect">
            <a:avLst/>
          </a:prstGeom>
        </p:spPr>
        <p:txBody>
          <a:bodyPr/>
          <a:lstStyle/>
          <a:p>
            <a:pPr defTabSz="913951"/>
            <a:r>
              <a:rPr lang="en-US" smtClean="0">
                <a:solidFill>
                  <a:srgbClr val="1A1A1A"/>
                </a:solidFill>
              </a:rPr>
              <a:t>MICROSOFT CONFIDENTIAL</a:t>
            </a:r>
            <a:endParaRPr lang="en-US" dirty="0">
              <a:solidFill>
                <a:srgbClr val="1A1A1A"/>
              </a:solidFill>
            </a:endParaRPr>
          </a:p>
        </p:txBody>
      </p:sp>
      <p:sp>
        <p:nvSpPr>
          <p:cNvPr id="9" name="Title 1"/>
          <p:cNvSpPr>
            <a:spLocks noGrp="1"/>
          </p:cNvSpPr>
          <p:nvPr>
            <p:ph type="title"/>
          </p:nvPr>
        </p:nvSpPr>
        <p:spPr>
          <a:xfrm>
            <a:off x="560565" y="0"/>
            <a:ext cx="11209271" cy="1143000"/>
          </a:xfrm>
        </p:spPr>
        <p:txBody>
          <a:bodyPr/>
          <a:lstStyle/>
          <a:p>
            <a:r>
              <a:rPr lang="en-US" smtClean="0"/>
              <a:t>Click to edit Master title style</a:t>
            </a:r>
            <a:endParaRPr lang="en-US" dirty="0"/>
          </a:p>
        </p:txBody>
      </p:sp>
      <p:sp>
        <p:nvSpPr>
          <p:cNvPr id="6" name="Slide Number Placeholder 4"/>
          <p:cNvSpPr>
            <a:spLocks noGrp="1"/>
          </p:cNvSpPr>
          <p:nvPr>
            <p:ph type="sldNum" sz="quarter" idx="4"/>
          </p:nvPr>
        </p:nvSpPr>
        <p:spPr>
          <a:xfrm>
            <a:off x="11376238" y="6548451"/>
            <a:ext cx="393597" cy="128574"/>
          </a:xfrm>
          <a:prstGeom prst="rect">
            <a:avLst/>
          </a:prstGeom>
        </p:spPr>
        <p:txBody>
          <a:bodyPr vert="horz" lIns="0" tIns="0" rIns="0" bIns="0" rtlCol="0" anchor="b"/>
          <a:lstStyle>
            <a:lvl1pPr marL="0" algn="r" defTabSz="913951" rtl="0" eaLnBrk="1" latinLnBrk="0" hangingPunct="1">
              <a:defRPr lang="en-US" sz="800" kern="1200" baseline="0" smtClean="0">
                <a:solidFill>
                  <a:srgbClr val="808285"/>
                </a:solidFill>
                <a:latin typeface="Segoe UI" pitchFamily="34" charset="0"/>
                <a:ea typeface="Segoe UI" pitchFamily="34" charset="0"/>
                <a:cs typeface="Segoe UI" pitchFamily="34" charset="0"/>
              </a:defRPr>
            </a:lvl1pPr>
          </a:lstStyle>
          <a:p>
            <a:fld id="{375243E8-1C51-4BF5-9A6E-FEB2A7267706}" type="slidenum">
              <a:rPr/>
              <a:pPr/>
              <a:t>‹#›</a:t>
            </a:fld>
            <a:endParaRPr dirty="0"/>
          </a:p>
        </p:txBody>
      </p:sp>
      <p:sp>
        <p:nvSpPr>
          <p:cNvPr id="12" name="Content Placeholder 11"/>
          <p:cNvSpPr>
            <a:spLocks noGrp="1"/>
          </p:cNvSpPr>
          <p:nvPr>
            <p:ph sz="quarter" idx="19"/>
          </p:nvPr>
        </p:nvSpPr>
        <p:spPr>
          <a:xfrm>
            <a:off x="560565" y="1447801"/>
            <a:ext cx="11209271" cy="2414027"/>
          </a:xfrm>
        </p:spPr>
        <p:txBody>
          <a:bodyPr/>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016737087"/>
      </p:ext>
    </p:extLst>
  </p:cSld>
  <p:clrMapOvr>
    <a:masterClrMapping/>
  </p:clrMapOvr>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16" name="Title 1"/>
          <p:cNvSpPr>
            <a:spLocks noGrp="1"/>
          </p:cNvSpPr>
          <p:nvPr>
            <p:ph type="title"/>
          </p:nvPr>
        </p:nvSpPr>
        <p:spPr>
          <a:xfrm>
            <a:off x="303963" y="87503"/>
            <a:ext cx="11031626" cy="910024"/>
          </a:xfrm>
        </p:spPr>
        <p:txBody>
          <a:bodyPr lIns="0">
            <a:normAutofit/>
          </a:bodyPr>
          <a:lstStyle>
            <a:lvl1pPr algn="l">
              <a:defRPr sz="3731"/>
            </a:lvl1pPr>
          </a:lstStyle>
          <a:p>
            <a:r>
              <a:rPr lang="en-US" dirty="0" smtClean="0"/>
              <a:t>Click to edit Master title style</a:t>
            </a:r>
            <a:endParaRPr lang="en-US" dirty="0"/>
          </a:p>
        </p:txBody>
      </p:sp>
      <p:sp>
        <p:nvSpPr>
          <p:cNvPr id="15" name="Content Placeholder 14"/>
          <p:cNvSpPr>
            <a:spLocks noGrp="1"/>
          </p:cNvSpPr>
          <p:nvPr>
            <p:ph sz="quarter" idx="18"/>
          </p:nvPr>
        </p:nvSpPr>
        <p:spPr>
          <a:xfrm>
            <a:off x="560570" y="1507482"/>
            <a:ext cx="9570002" cy="2514617"/>
          </a:xfrm>
        </p:spPr>
        <p:txBody>
          <a:bodyPr/>
          <a:lstStyle>
            <a:lvl1pPr>
              <a:lnSpc>
                <a:spcPct val="100000"/>
              </a:lnSpc>
              <a:spcBef>
                <a:spcPts val="800"/>
              </a:spcBef>
              <a:defRPr/>
            </a:lvl1pPr>
            <a:lvl2pPr>
              <a:lnSpc>
                <a:spcPct val="100000"/>
              </a:lnSpc>
              <a:spcBef>
                <a:spcPts val="800"/>
              </a:spcBef>
              <a:defRPr/>
            </a:lvl2pPr>
            <a:lvl3pPr>
              <a:lnSpc>
                <a:spcPct val="100000"/>
              </a:lnSpc>
              <a:spcBef>
                <a:spcPts val="800"/>
              </a:spcBef>
              <a:defRPr/>
            </a:lvl3pPr>
            <a:lvl4pPr>
              <a:lnSpc>
                <a:spcPct val="100000"/>
              </a:lnSpc>
              <a:spcBef>
                <a:spcPts val="800"/>
              </a:spcBef>
              <a:defRPr/>
            </a:lvl4pPr>
            <a:lvl5pPr>
              <a:lnSpc>
                <a:spcPct val="100000"/>
              </a:lnSpc>
              <a:spcBef>
                <a:spcPts val="800"/>
              </a:spcBef>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23756632"/>
      </p:ext>
    </p:extLst>
  </p:cSld>
  <p:clrMapOvr>
    <a:masterClrMapping/>
  </p:clrMapOvr>
  <p:transition spd="med">
    <p:pull/>
  </p:transition>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1_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626398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12" name="Text Placeholder 12"/>
          <p:cNvSpPr>
            <a:spLocks noGrp="1"/>
          </p:cNvSpPr>
          <p:nvPr>
            <p:ph type="body" sz="quarter" idx="13" hasCustomPrompt="1"/>
          </p:nvPr>
        </p:nvSpPr>
        <p:spPr>
          <a:xfrm>
            <a:off x="560569" y="1446215"/>
            <a:ext cx="10982750" cy="304801"/>
          </a:xfrm>
        </p:spPr>
        <p:txBody>
          <a:bodyPr lIns="0" anchor="ctr" anchorCtr="0">
            <a:noAutofit/>
          </a:bodyPr>
          <a:lstStyle>
            <a:lvl1pPr marL="0" indent="0" algn="l">
              <a:buFont typeface="Arial" pitchFamily="34" charset="0"/>
              <a:buNone/>
              <a:defRPr sz="1865" b="0" cap="all" spc="0" baseline="0">
                <a:solidFill>
                  <a:schemeClr val="tx1">
                    <a:lumMod val="75000"/>
                    <a:lumOff val="25000"/>
                  </a:schemeClr>
                </a:solidFill>
              </a:defRPr>
            </a:lvl1pPr>
          </a:lstStyle>
          <a:p>
            <a:r>
              <a:rPr lang="en-US" dirty="0" smtClean="0"/>
              <a:t>CLICK TO EDIT SUBTITLE</a:t>
            </a:r>
            <a:endParaRPr lang="en-US" dirty="0"/>
          </a:p>
        </p:txBody>
      </p:sp>
      <p:sp>
        <p:nvSpPr>
          <p:cNvPr id="16" name="Title 1"/>
          <p:cNvSpPr>
            <a:spLocks noGrp="1"/>
          </p:cNvSpPr>
          <p:nvPr>
            <p:ph type="title"/>
          </p:nvPr>
        </p:nvSpPr>
        <p:spPr>
          <a:xfrm>
            <a:off x="303963" y="81671"/>
            <a:ext cx="11031626" cy="898359"/>
          </a:xfrm>
        </p:spPr>
        <p:txBody>
          <a:bodyPr lIns="0">
            <a:normAutofit/>
          </a:bodyPr>
          <a:lstStyle>
            <a:lvl1pPr algn="l">
              <a:defRPr sz="3731"/>
            </a:lvl1pPr>
          </a:lstStyle>
          <a:p>
            <a:r>
              <a:rPr lang="en-US" dirty="0" smtClean="0"/>
              <a:t>Click to edit Master title style</a:t>
            </a:r>
            <a:endParaRPr lang="en-US" dirty="0"/>
          </a:p>
        </p:txBody>
      </p:sp>
      <p:sp>
        <p:nvSpPr>
          <p:cNvPr id="13" name="Text Placeholder 3"/>
          <p:cNvSpPr>
            <a:spLocks noGrp="1"/>
          </p:cNvSpPr>
          <p:nvPr>
            <p:ph type="body" sz="half" idx="2"/>
          </p:nvPr>
        </p:nvSpPr>
        <p:spPr>
          <a:xfrm>
            <a:off x="582657" y="6258609"/>
            <a:ext cx="9547913" cy="304800"/>
          </a:xfrm>
        </p:spPr>
        <p:txBody>
          <a:bodyPr>
            <a:noAutofit/>
          </a:bodyPr>
          <a:lstStyle>
            <a:lvl1pPr marL="0" indent="0">
              <a:lnSpc>
                <a:spcPts val="2399"/>
              </a:lnSpc>
              <a:spcBef>
                <a:spcPts val="0"/>
              </a:spcBef>
              <a:spcAft>
                <a:spcPts val="0"/>
              </a:spcAft>
              <a:buNone/>
              <a:defRPr sz="1600" spc="-53" baseline="0"/>
            </a:lvl1pPr>
            <a:lvl2pPr marL="609285" indent="0">
              <a:buNone/>
              <a:defRPr sz="1600"/>
            </a:lvl2pPr>
            <a:lvl3pPr marL="1218569" indent="0">
              <a:buNone/>
              <a:defRPr sz="1333"/>
            </a:lvl3pPr>
            <a:lvl4pPr marL="1827854" indent="0">
              <a:buNone/>
              <a:defRPr sz="1200"/>
            </a:lvl4pPr>
            <a:lvl5pPr marL="2437140" indent="0">
              <a:buNone/>
              <a:defRPr sz="1200"/>
            </a:lvl5pPr>
            <a:lvl6pPr marL="3046425" indent="0">
              <a:buNone/>
              <a:defRPr sz="1200"/>
            </a:lvl6pPr>
            <a:lvl7pPr marL="3655709" indent="0">
              <a:buNone/>
              <a:defRPr sz="1200"/>
            </a:lvl7pPr>
            <a:lvl8pPr marL="4264993" indent="0">
              <a:buNone/>
              <a:defRPr sz="1200"/>
            </a:lvl8pPr>
            <a:lvl9pPr marL="4874279" indent="0">
              <a:buNone/>
              <a:defRPr sz="1200"/>
            </a:lvl9pPr>
          </a:lstStyle>
          <a:p>
            <a:pPr lvl="0"/>
            <a:r>
              <a:rPr lang="en-US" dirty="0" smtClean="0"/>
              <a:t>Click to edit Master text styles</a:t>
            </a:r>
          </a:p>
        </p:txBody>
      </p:sp>
    </p:spTree>
    <p:extLst>
      <p:ext uri="{BB962C8B-B14F-4D97-AF65-F5344CB8AC3E}">
        <p14:creationId xmlns:p14="http://schemas.microsoft.com/office/powerpoint/2010/main" val="2295820810"/>
      </p:ext>
    </p:extLst>
  </p:cSld>
  <p:clrMapOvr>
    <a:masterClrMapping/>
  </p:clrMapOvr>
  <p:transition>
    <p:fade/>
  </p:transition>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16" name="Title 1"/>
          <p:cNvSpPr>
            <a:spLocks noGrp="1"/>
          </p:cNvSpPr>
          <p:nvPr>
            <p:ph type="title"/>
          </p:nvPr>
        </p:nvSpPr>
        <p:spPr>
          <a:xfrm>
            <a:off x="303963" y="75836"/>
            <a:ext cx="11031626" cy="910024"/>
          </a:xfrm>
        </p:spPr>
        <p:txBody>
          <a:bodyPr lIns="0">
            <a:normAutofit/>
          </a:bodyPr>
          <a:lstStyle>
            <a:lvl1pPr algn="l">
              <a:defRPr sz="3731"/>
            </a:lvl1pPr>
          </a:lstStyle>
          <a:p>
            <a:r>
              <a:rPr lang="en-US" dirty="0" smtClean="0"/>
              <a:t>Click to edit Master title style</a:t>
            </a:r>
            <a:endParaRPr lang="en-US" dirty="0"/>
          </a:p>
        </p:txBody>
      </p:sp>
    </p:spTree>
    <p:extLst>
      <p:ext uri="{BB962C8B-B14F-4D97-AF65-F5344CB8AC3E}">
        <p14:creationId xmlns:p14="http://schemas.microsoft.com/office/powerpoint/2010/main" val="1326008003"/>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4"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_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7" tIns="45697" rIns="45697" bIns="45697" numCol="1" spcCol="0" rtlCol="0" fromWordArt="0" anchor="ctr" anchorCtr="0" forceAA="0" compatLnSpc="1">
            <a:prstTxWarp prst="textNoShape">
              <a:avLst/>
            </a:prstTxWarp>
            <a:noAutofit/>
          </a:bodyPr>
          <a:lstStyle/>
          <a:p>
            <a:pPr algn="ctr" defTabSz="913593"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70" y="1192418"/>
            <a:ext cx="11650487" cy="2154777"/>
          </a:xfrm>
        </p:spPr>
        <p:txBody>
          <a:bodyPr/>
          <a:lstStyle>
            <a:lvl1pPr marL="0" indent="0">
              <a:buNone/>
              <a:defRPr sz="3232">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3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77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07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71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98325987"/>
      </p:ext>
    </p:extLst>
  </p:cSld>
  <p:clrMapOvr>
    <a:masterClrMapping/>
  </p:clrMapOvr>
  <p:transition>
    <p:fade/>
  </p:transition>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1_Title &amp; Content_with Subtitle">
    <p:spTree>
      <p:nvGrpSpPr>
        <p:cNvPr id="1" name=""/>
        <p:cNvGrpSpPr/>
        <p:nvPr/>
      </p:nvGrpSpPr>
      <p:grpSpPr>
        <a:xfrm>
          <a:off x="0" y="0"/>
          <a:ext cx="0" cy="0"/>
          <a:chOff x="0" y="0"/>
          <a:chExt cx="0" cy="0"/>
        </a:xfrm>
      </p:grpSpPr>
      <p:sp>
        <p:nvSpPr>
          <p:cNvPr id="3" name="Text Placeholder 8"/>
          <p:cNvSpPr>
            <a:spLocks noGrp="1"/>
          </p:cNvSpPr>
          <p:nvPr>
            <p:ph type="body" sz="quarter" idx="15"/>
          </p:nvPr>
        </p:nvSpPr>
        <p:spPr>
          <a:xfrm>
            <a:off x="499408" y="503769"/>
            <a:ext cx="11200599" cy="728133"/>
          </a:xfrm>
        </p:spPr>
        <p:txBody>
          <a:bodyPr>
            <a:noAutofit/>
          </a:bodyPr>
          <a:lstStyle>
            <a:lvl1pPr>
              <a:lnSpc>
                <a:spcPct val="95000"/>
              </a:lnSpc>
              <a:defRPr sz="4799"/>
            </a:lvl1pPr>
          </a:lstStyle>
          <a:p>
            <a:pPr lvl="0"/>
            <a:r>
              <a:rPr lang="en-US" dirty="0" smtClean="0"/>
              <a:t>Click to edit Master text styles</a:t>
            </a:r>
          </a:p>
        </p:txBody>
      </p:sp>
    </p:spTree>
    <p:extLst>
      <p:ext uri="{BB962C8B-B14F-4D97-AF65-F5344CB8AC3E}">
        <p14:creationId xmlns:p14="http://schemas.microsoft.com/office/powerpoint/2010/main" val="2693910304"/>
      </p:ext>
    </p:extLst>
  </p:cSld>
  <p:clrMapOvr>
    <a:masterClrMapping/>
  </p:clrMapOvr>
  <p:transition>
    <p:fade/>
  </p:transition>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16" name="Title 1"/>
          <p:cNvSpPr>
            <a:spLocks noGrp="1"/>
          </p:cNvSpPr>
          <p:nvPr>
            <p:ph type="title"/>
          </p:nvPr>
        </p:nvSpPr>
        <p:spPr>
          <a:xfrm>
            <a:off x="303963" y="87503"/>
            <a:ext cx="11031626" cy="910024"/>
          </a:xfrm>
        </p:spPr>
        <p:txBody>
          <a:bodyPr lIns="0">
            <a:normAutofit/>
          </a:bodyPr>
          <a:lstStyle>
            <a:lvl1pPr algn="l">
              <a:defRPr sz="3731"/>
            </a:lvl1pPr>
          </a:lstStyle>
          <a:p>
            <a:r>
              <a:rPr lang="en-US" dirty="0" smtClean="0"/>
              <a:t>Click to edit Master title style</a:t>
            </a:r>
            <a:endParaRPr lang="en-US" dirty="0"/>
          </a:p>
        </p:txBody>
      </p:sp>
      <p:sp>
        <p:nvSpPr>
          <p:cNvPr id="15" name="Content Placeholder 14"/>
          <p:cNvSpPr>
            <a:spLocks noGrp="1"/>
          </p:cNvSpPr>
          <p:nvPr>
            <p:ph sz="quarter" idx="18"/>
          </p:nvPr>
        </p:nvSpPr>
        <p:spPr>
          <a:xfrm>
            <a:off x="560570" y="1507482"/>
            <a:ext cx="9570002" cy="2514617"/>
          </a:xfrm>
        </p:spPr>
        <p:txBody>
          <a:bodyPr/>
          <a:lstStyle>
            <a:lvl1pPr>
              <a:lnSpc>
                <a:spcPct val="100000"/>
              </a:lnSpc>
              <a:spcBef>
                <a:spcPts val="800"/>
              </a:spcBef>
              <a:defRPr/>
            </a:lvl1pPr>
            <a:lvl2pPr>
              <a:lnSpc>
                <a:spcPct val="100000"/>
              </a:lnSpc>
              <a:spcBef>
                <a:spcPts val="800"/>
              </a:spcBef>
              <a:defRPr/>
            </a:lvl2pPr>
            <a:lvl3pPr>
              <a:lnSpc>
                <a:spcPct val="100000"/>
              </a:lnSpc>
              <a:spcBef>
                <a:spcPts val="800"/>
              </a:spcBef>
              <a:defRPr/>
            </a:lvl3pPr>
            <a:lvl4pPr>
              <a:lnSpc>
                <a:spcPct val="100000"/>
              </a:lnSpc>
              <a:spcBef>
                <a:spcPts val="800"/>
              </a:spcBef>
              <a:defRPr/>
            </a:lvl4pPr>
            <a:lvl5pPr>
              <a:lnSpc>
                <a:spcPct val="100000"/>
              </a:lnSpc>
              <a:spcBef>
                <a:spcPts val="800"/>
              </a:spcBef>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53026599"/>
      </p:ext>
    </p:extLst>
  </p:cSld>
  <p:clrMapOvr>
    <a:masterClrMapping/>
  </p:clrMapOvr>
  <p:transition>
    <p:fade/>
  </p:transition>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12" name="Text Placeholder 12"/>
          <p:cNvSpPr>
            <a:spLocks noGrp="1"/>
          </p:cNvSpPr>
          <p:nvPr>
            <p:ph type="body" sz="quarter" idx="13" hasCustomPrompt="1"/>
          </p:nvPr>
        </p:nvSpPr>
        <p:spPr>
          <a:xfrm>
            <a:off x="560569" y="1446215"/>
            <a:ext cx="10982750" cy="304801"/>
          </a:xfrm>
        </p:spPr>
        <p:txBody>
          <a:bodyPr lIns="0" anchor="ctr" anchorCtr="0">
            <a:noAutofit/>
          </a:bodyPr>
          <a:lstStyle>
            <a:lvl1pPr marL="0" indent="0" algn="l">
              <a:buFont typeface="Arial" pitchFamily="34" charset="0"/>
              <a:buNone/>
              <a:defRPr sz="1865" b="0" cap="all" spc="0" baseline="0">
                <a:solidFill>
                  <a:schemeClr val="tx1">
                    <a:lumMod val="75000"/>
                    <a:lumOff val="25000"/>
                  </a:schemeClr>
                </a:solidFill>
              </a:defRPr>
            </a:lvl1pPr>
          </a:lstStyle>
          <a:p>
            <a:r>
              <a:rPr lang="en-US" dirty="0" smtClean="0"/>
              <a:t>CLICK TO EDIT SUBTITLE</a:t>
            </a:r>
            <a:endParaRPr lang="en-US" dirty="0"/>
          </a:p>
        </p:txBody>
      </p:sp>
      <p:sp>
        <p:nvSpPr>
          <p:cNvPr id="16" name="Title 1"/>
          <p:cNvSpPr>
            <a:spLocks noGrp="1"/>
          </p:cNvSpPr>
          <p:nvPr>
            <p:ph type="title"/>
          </p:nvPr>
        </p:nvSpPr>
        <p:spPr>
          <a:xfrm>
            <a:off x="303963" y="81671"/>
            <a:ext cx="11031626" cy="898359"/>
          </a:xfrm>
        </p:spPr>
        <p:txBody>
          <a:bodyPr lIns="0">
            <a:normAutofit/>
          </a:bodyPr>
          <a:lstStyle>
            <a:lvl1pPr algn="l">
              <a:defRPr sz="3731"/>
            </a:lvl1pPr>
          </a:lstStyle>
          <a:p>
            <a:r>
              <a:rPr lang="en-US" dirty="0" smtClean="0"/>
              <a:t>Click to edit Master title style</a:t>
            </a:r>
            <a:endParaRPr lang="en-US" dirty="0"/>
          </a:p>
        </p:txBody>
      </p:sp>
      <p:sp>
        <p:nvSpPr>
          <p:cNvPr id="13" name="Text Placeholder 3"/>
          <p:cNvSpPr>
            <a:spLocks noGrp="1"/>
          </p:cNvSpPr>
          <p:nvPr>
            <p:ph type="body" sz="half" idx="2"/>
          </p:nvPr>
        </p:nvSpPr>
        <p:spPr>
          <a:xfrm>
            <a:off x="582657" y="6258609"/>
            <a:ext cx="9547913" cy="304800"/>
          </a:xfrm>
        </p:spPr>
        <p:txBody>
          <a:bodyPr>
            <a:noAutofit/>
          </a:bodyPr>
          <a:lstStyle>
            <a:lvl1pPr marL="0" indent="0">
              <a:lnSpc>
                <a:spcPts val="2399"/>
              </a:lnSpc>
              <a:spcBef>
                <a:spcPts val="0"/>
              </a:spcBef>
              <a:spcAft>
                <a:spcPts val="0"/>
              </a:spcAft>
              <a:buNone/>
              <a:defRPr sz="1600" spc="-53" baseline="0"/>
            </a:lvl1pPr>
            <a:lvl2pPr marL="609285" indent="0">
              <a:buNone/>
              <a:defRPr sz="1600"/>
            </a:lvl2pPr>
            <a:lvl3pPr marL="1218569" indent="0">
              <a:buNone/>
              <a:defRPr sz="1333"/>
            </a:lvl3pPr>
            <a:lvl4pPr marL="1827854" indent="0">
              <a:buNone/>
              <a:defRPr sz="1200"/>
            </a:lvl4pPr>
            <a:lvl5pPr marL="2437140" indent="0">
              <a:buNone/>
              <a:defRPr sz="1200"/>
            </a:lvl5pPr>
            <a:lvl6pPr marL="3046425" indent="0">
              <a:buNone/>
              <a:defRPr sz="1200"/>
            </a:lvl6pPr>
            <a:lvl7pPr marL="3655709" indent="0">
              <a:buNone/>
              <a:defRPr sz="1200"/>
            </a:lvl7pPr>
            <a:lvl8pPr marL="4264993" indent="0">
              <a:buNone/>
              <a:defRPr sz="1200"/>
            </a:lvl8pPr>
            <a:lvl9pPr marL="4874279" indent="0">
              <a:buNone/>
              <a:defRPr sz="1200"/>
            </a:lvl9pPr>
          </a:lstStyle>
          <a:p>
            <a:pPr lvl="0"/>
            <a:r>
              <a:rPr lang="en-US" dirty="0" smtClean="0"/>
              <a:t>Click to edit Master text styles</a:t>
            </a:r>
          </a:p>
        </p:txBody>
      </p:sp>
    </p:spTree>
    <p:extLst>
      <p:ext uri="{BB962C8B-B14F-4D97-AF65-F5344CB8AC3E}">
        <p14:creationId xmlns:p14="http://schemas.microsoft.com/office/powerpoint/2010/main" val="535410812"/>
      </p:ext>
    </p:extLst>
  </p:cSld>
  <p:clrMapOvr>
    <a:masterClrMapping/>
  </p:clrMapOvr>
  <p:transition>
    <p:fade/>
  </p:transition>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16" name="Title 1"/>
          <p:cNvSpPr>
            <a:spLocks noGrp="1"/>
          </p:cNvSpPr>
          <p:nvPr>
            <p:ph type="title"/>
          </p:nvPr>
        </p:nvSpPr>
        <p:spPr>
          <a:xfrm>
            <a:off x="303963" y="75836"/>
            <a:ext cx="11031626" cy="910024"/>
          </a:xfrm>
        </p:spPr>
        <p:txBody>
          <a:bodyPr lIns="0">
            <a:normAutofit/>
          </a:bodyPr>
          <a:lstStyle>
            <a:lvl1pPr algn="l">
              <a:defRPr sz="3731"/>
            </a:lvl1pPr>
          </a:lstStyle>
          <a:p>
            <a:r>
              <a:rPr lang="en-US" dirty="0" smtClean="0"/>
              <a:t>Click to edit Master title style</a:t>
            </a:r>
            <a:endParaRPr lang="en-US" dirty="0"/>
          </a:p>
        </p:txBody>
      </p:sp>
    </p:spTree>
    <p:extLst>
      <p:ext uri="{BB962C8B-B14F-4D97-AF65-F5344CB8AC3E}">
        <p14:creationId xmlns:p14="http://schemas.microsoft.com/office/powerpoint/2010/main" val="1515408992"/>
      </p:ext>
    </p:extLst>
  </p:cSld>
  <p:clrMapOvr>
    <a:masterClrMapping/>
  </p:clrMapOvr>
  <p:transition>
    <p:fade/>
  </p:transition>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611188" y="1449390"/>
            <a:ext cx="10972801" cy="2172903"/>
          </a:xfrm>
        </p:spPr>
        <p:txBody>
          <a:bodyPr>
            <a:spAutoFit/>
          </a:bodyPr>
          <a:lstStyle>
            <a:lvl1pPr>
              <a:defRPr>
                <a:latin typeface="Segoe UI" pitchFamily="34" charset="0"/>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227455489"/>
      </p:ext>
    </p:extLst>
  </p:cSld>
  <p:clrMapOvr>
    <a:masterClrMapping/>
  </p:clrMapOvr>
  <p:transition>
    <p:fade/>
  </p:transition>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0" y="3314228"/>
            <a:ext cx="12188825" cy="624348"/>
          </a:xfrm>
        </p:spPr>
        <p:txBody>
          <a:bodyPr/>
          <a:lstStyle>
            <a:lvl1pPr marL="0" indent="0" algn="ctr">
              <a:buNone/>
              <a:defRPr sz="3199"/>
            </a:lvl1pPr>
          </a:lstStyle>
          <a:p>
            <a:pPr lvl="0"/>
            <a:r>
              <a:rPr lang="en-US" dirty="0" smtClean="0"/>
              <a:t>Section Heading</a:t>
            </a:r>
          </a:p>
        </p:txBody>
      </p:sp>
    </p:spTree>
    <p:extLst>
      <p:ext uri="{BB962C8B-B14F-4D97-AF65-F5344CB8AC3E}">
        <p14:creationId xmlns:p14="http://schemas.microsoft.com/office/powerpoint/2010/main" val="2522909569"/>
      </p:ext>
    </p:extLst>
  </p:cSld>
  <p:clrMapOvr>
    <a:masterClrMapping/>
  </p:clrMapOvr>
  <p:transition>
    <p:fade/>
  </p:transition>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2_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7" tIns="45697" rIns="45697" bIns="45697" numCol="1" spcCol="0" rtlCol="0" fromWordArt="0" anchor="ctr" anchorCtr="0" forceAA="0" compatLnSpc="1">
            <a:prstTxWarp prst="textNoShape">
              <a:avLst/>
            </a:prstTxWarp>
            <a:noAutofit/>
          </a:bodyPr>
          <a:lstStyle/>
          <a:p>
            <a:pPr algn="ctr" defTabSz="913593"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70" y="1192418"/>
            <a:ext cx="11650487" cy="2154777"/>
          </a:xfrm>
        </p:spPr>
        <p:txBody>
          <a:bodyPr/>
          <a:lstStyle>
            <a:lvl1pPr marL="0" indent="0">
              <a:buNone/>
              <a:defRPr sz="3232">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3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77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07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71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87854510"/>
      </p:ext>
    </p:extLst>
  </p:cSld>
  <p:clrMapOvr>
    <a:masterClrMapping/>
  </p:clrMapOvr>
  <p:transition>
    <p:fade/>
  </p:transition>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28542" y="3905563"/>
            <a:ext cx="6271784" cy="514037"/>
          </a:xfrm>
          <a:noFill/>
        </p:spPr>
        <p:txBody>
          <a:bodyPr lIns="146304" tIns="109728" rIns="146304" bIns="109728">
            <a:noAutofit/>
          </a:bodyPr>
          <a:lstStyle>
            <a:lvl1pPr marL="0" indent="0">
              <a:spcBef>
                <a:spcPts val="0"/>
              </a:spcBef>
              <a:buNone/>
              <a:defRPr sz="2799" spc="0" baseline="0">
                <a:gradFill>
                  <a:gsLst>
                    <a:gs pos="0">
                      <a:schemeClr val="tx1"/>
                    </a:gs>
                    <a:gs pos="100000">
                      <a:schemeClr val="tx1"/>
                    </a:gs>
                  </a:gsLst>
                  <a:lin ang="5400000" scaled="0"/>
                </a:gradFill>
                <a:latin typeface="Segoe UI Light" panose="020B0502040204020203" pitchFamily="34" charset="0"/>
                <a:cs typeface="Segoe UI Light" panose="020B0502040204020203" pitchFamily="34" charset="0"/>
              </a:defRPr>
            </a:lvl1pPr>
          </a:lstStyle>
          <a:p>
            <a:pPr lvl="0"/>
            <a:r>
              <a:rPr lang="en-US" dirty="0" smtClean="0"/>
              <a:t>Speaker name</a:t>
            </a:r>
          </a:p>
        </p:txBody>
      </p:sp>
      <p:sp>
        <p:nvSpPr>
          <p:cNvPr id="9" name="Title 1"/>
          <p:cNvSpPr>
            <a:spLocks noGrp="1"/>
          </p:cNvSpPr>
          <p:nvPr>
            <p:ph type="title" hasCustomPrompt="1"/>
          </p:nvPr>
        </p:nvSpPr>
        <p:spPr>
          <a:xfrm>
            <a:off x="228541" y="2075840"/>
            <a:ext cx="9858042" cy="1801436"/>
          </a:xfrm>
          <a:noFill/>
        </p:spPr>
        <p:txBody>
          <a:bodyPr lIns="146304" tIns="91440" rIns="146304" bIns="91440" anchor="t" anchorCtr="0"/>
          <a:lstStyle>
            <a:lvl1pPr>
              <a:defRPr sz="5996" spc="-98"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11" name="Footer Placeholder 6"/>
          <p:cNvSpPr txBox="1">
            <a:spLocks/>
          </p:cNvSpPr>
          <p:nvPr userDrawn="1"/>
        </p:nvSpPr>
        <p:spPr>
          <a:xfrm>
            <a:off x="10526714" y="6553200"/>
            <a:ext cx="1663258"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dirty="0" smtClean="0">
                <a:solidFill>
                  <a:prstClr val="white"/>
                </a:solidFill>
              </a:rPr>
              <a:t>MICROSOFT CONFIDENTI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269234" y="480504"/>
            <a:ext cx="2557077" cy="547905"/>
          </a:xfrm>
          <a:prstGeom prst="rect">
            <a:avLst/>
          </a:prstGeom>
        </p:spPr>
      </p:pic>
    </p:spTree>
    <p:extLst>
      <p:ext uri="{BB962C8B-B14F-4D97-AF65-F5344CB8AC3E}">
        <p14:creationId xmlns:p14="http://schemas.microsoft.com/office/powerpoint/2010/main" val="41914993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144">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941500703"/>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7" name="Footer Placeholder 10"/>
          <p:cNvSpPr>
            <a:spLocks noGrp="1"/>
          </p:cNvSpPr>
          <p:nvPr>
            <p:ph type="ftr" sz="quarter" idx="17"/>
          </p:nvPr>
        </p:nvSpPr>
        <p:spPr>
          <a:xfrm>
            <a:off x="560564" y="6577026"/>
            <a:ext cx="1813767" cy="128574"/>
          </a:xfrm>
          <a:prstGeom prst="rect">
            <a:avLst/>
          </a:prstGeom>
        </p:spPr>
        <p:txBody>
          <a:bodyPr/>
          <a:lstStyle/>
          <a:p>
            <a:pPr defTabSz="913951"/>
            <a:r>
              <a:rPr lang="en-US" smtClean="0">
                <a:solidFill>
                  <a:srgbClr val="1A1A1A"/>
                </a:solidFill>
              </a:rPr>
              <a:t>MICROSOFT CONFIDENTIAL</a:t>
            </a:r>
            <a:endParaRPr lang="en-US" dirty="0">
              <a:solidFill>
                <a:srgbClr val="1A1A1A"/>
              </a:solidFill>
            </a:endParaRPr>
          </a:p>
        </p:txBody>
      </p:sp>
      <p:sp>
        <p:nvSpPr>
          <p:cNvPr id="9" name="Title 1"/>
          <p:cNvSpPr>
            <a:spLocks noGrp="1"/>
          </p:cNvSpPr>
          <p:nvPr>
            <p:ph type="title"/>
          </p:nvPr>
        </p:nvSpPr>
        <p:spPr>
          <a:xfrm>
            <a:off x="560565" y="0"/>
            <a:ext cx="11209271" cy="1143000"/>
          </a:xfrm>
        </p:spPr>
        <p:txBody>
          <a:bodyPr/>
          <a:lstStyle/>
          <a:p>
            <a:r>
              <a:rPr lang="en-US" smtClean="0"/>
              <a:t>Click to edit Master title style</a:t>
            </a:r>
            <a:endParaRPr lang="en-US" dirty="0"/>
          </a:p>
        </p:txBody>
      </p:sp>
      <p:sp>
        <p:nvSpPr>
          <p:cNvPr id="6" name="Slide Number Placeholder 4"/>
          <p:cNvSpPr>
            <a:spLocks noGrp="1"/>
          </p:cNvSpPr>
          <p:nvPr>
            <p:ph type="sldNum" sz="quarter" idx="4"/>
          </p:nvPr>
        </p:nvSpPr>
        <p:spPr>
          <a:xfrm>
            <a:off x="11376238" y="6548451"/>
            <a:ext cx="393597" cy="128574"/>
          </a:xfrm>
          <a:prstGeom prst="rect">
            <a:avLst/>
          </a:prstGeom>
        </p:spPr>
        <p:txBody>
          <a:bodyPr vert="horz" lIns="0" tIns="0" rIns="0" bIns="0" rtlCol="0" anchor="b"/>
          <a:lstStyle>
            <a:lvl1pPr marL="0" algn="r" defTabSz="913951" rtl="0" eaLnBrk="1" latinLnBrk="0" hangingPunct="1">
              <a:defRPr lang="en-US" sz="800" kern="1200" baseline="0" smtClean="0">
                <a:solidFill>
                  <a:srgbClr val="808285"/>
                </a:solidFill>
                <a:latin typeface="Segoe UI" pitchFamily="34" charset="0"/>
                <a:ea typeface="Segoe UI" pitchFamily="34" charset="0"/>
                <a:cs typeface="Segoe UI" pitchFamily="34" charset="0"/>
              </a:defRPr>
            </a:lvl1pPr>
          </a:lstStyle>
          <a:p>
            <a:fld id="{375243E8-1C51-4BF5-9A6E-FEB2A7267706}" type="slidenum">
              <a:rPr/>
              <a:pPr/>
              <a:t>‹#›</a:t>
            </a:fld>
            <a:endParaRPr dirty="0"/>
          </a:p>
        </p:txBody>
      </p:sp>
      <p:sp>
        <p:nvSpPr>
          <p:cNvPr id="12" name="Content Placeholder 11"/>
          <p:cNvSpPr>
            <a:spLocks noGrp="1"/>
          </p:cNvSpPr>
          <p:nvPr>
            <p:ph sz="quarter" idx="19"/>
          </p:nvPr>
        </p:nvSpPr>
        <p:spPr>
          <a:xfrm>
            <a:off x="560565" y="1447801"/>
            <a:ext cx="11209271" cy="2414027"/>
          </a:xfrm>
        </p:spPr>
        <p:txBody>
          <a:bodyPr/>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085237764"/>
      </p:ext>
    </p:extLst>
  </p:cSld>
  <p:clrMapOvr>
    <a:masterClrMapping/>
  </p:clrMapOvr>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Logo on Background">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18667" y="1944769"/>
            <a:ext cx="7151491" cy="3355587"/>
          </a:xfrm>
          <a:prstGeom prst="rect">
            <a:avLst/>
          </a:prstGeom>
        </p:spPr>
      </p:pic>
    </p:spTree>
    <p:extLst>
      <p:ext uri="{BB962C8B-B14F-4D97-AF65-F5344CB8AC3E}">
        <p14:creationId xmlns:p14="http://schemas.microsoft.com/office/powerpoint/2010/main" val="202971471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380"/>
            <a:ext cx="12188825" cy="6856620"/>
          </a:xfrm>
          <a:prstGeom prst="rect">
            <a:avLst/>
          </a:prstGeom>
        </p:spPr>
      </p:pic>
      <p:pic>
        <p:nvPicPr>
          <p:cNvPr id="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62149" y="474237"/>
            <a:ext cx="1775047" cy="380393"/>
          </a:xfrm>
          <a:prstGeom prst="rect">
            <a:avLst/>
          </a:prstGeom>
        </p:spPr>
      </p:pic>
    </p:spTree>
    <p:extLst>
      <p:ext uri="{BB962C8B-B14F-4D97-AF65-F5344CB8AC3E}">
        <p14:creationId xmlns:p14="http://schemas.microsoft.com/office/powerpoint/2010/main" val="154496674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Slide Photo Layout">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t="15937" r="3431" b="2608"/>
          <a:stretch/>
        </p:blipFill>
        <p:spPr>
          <a:xfrm>
            <a:off x="2" y="-7783"/>
            <a:ext cx="12218386" cy="6873565"/>
          </a:xfrm>
          <a:prstGeom prst="rect">
            <a:avLst/>
          </a:prstGeom>
        </p:spPr>
      </p:pic>
      <p:sp>
        <p:nvSpPr>
          <p:cNvPr id="19" name="Dark gradation top"/>
          <p:cNvSpPr/>
          <p:nvPr userDrawn="1"/>
        </p:nvSpPr>
        <p:spPr bwMode="gray">
          <a:xfrm>
            <a:off x="1" y="-7783"/>
            <a:ext cx="12103070" cy="6568608"/>
          </a:xfrm>
          <a:prstGeom prst="rect">
            <a:avLst/>
          </a:prstGeom>
          <a:gradFill flip="none" rotWithShape="1">
            <a:gsLst>
              <a:gs pos="0">
                <a:srgbClr val="000000">
                  <a:alpha val="7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p:cNvSpPr/>
          <p:nvPr userDrawn="1"/>
        </p:nvSpPr>
        <p:spPr bwMode="gray">
          <a:xfrm>
            <a:off x="269170" y="2084172"/>
            <a:ext cx="5899925" cy="3586208"/>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14" y="2084172"/>
            <a:ext cx="5901482" cy="2062069"/>
          </a:xfrm>
          <a:solidFill>
            <a:schemeClr val="tx1"/>
          </a:solidFill>
        </p:spPr>
        <p:txBody>
          <a:bodyPr vert="horz" wrap="square" lIns="146304" tIns="91440" rIns="146304" bIns="91440" rtlCol="0" anchor="t" anchorCtr="0">
            <a:noAutofit/>
          </a:bodyPr>
          <a:lstStyle>
            <a:lvl1pPr>
              <a:defRPr lang="en-US" sz="5880" spc="-98" baseline="0" dirty="0">
                <a:solidFill>
                  <a:schemeClr val="bg1">
                    <a:lumMod val="75000"/>
                  </a:schemeClr>
                </a:soli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170" y="4146242"/>
            <a:ext cx="5899925" cy="1524136"/>
          </a:xfrm>
          <a:solidFill>
            <a:schemeClr val="tx1"/>
          </a:solidFill>
        </p:spPr>
        <p:txBody>
          <a:bodyPr tIns="109728" bIns="109728">
            <a:noAutofit/>
          </a:bodyPr>
          <a:lstStyle>
            <a:lvl1pPr marL="0" indent="0">
              <a:spcBef>
                <a:spcPts val="0"/>
              </a:spcBef>
              <a:buNone/>
              <a:defRPr sz="3136">
                <a:solidFill>
                  <a:schemeClr val="bg1">
                    <a:lumMod val="75000"/>
                  </a:schemeClr>
                </a:solidFill>
              </a:defRPr>
            </a:lvl1pPr>
          </a:lstStyle>
          <a:p>
            <a:pPr lvl="0"/>
            <a:r>
              <a:rPr lang="en-US" dirty="0" smtClean="0"/>
              <a:t>Speaker Name</a:t>
            </a:r>
            <a:endParaRPr lang="en-US" dirty="0"/>
          </a:p>
        </p:txBody>
      </p:sp>
      <p:pic>
        <p:nvPicPr>
          <p:cNvPr id="11"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205" y="6061767"/>
            <a:ext cx="1522008" cy="326167"/>
          </a:xfrm>
          <a:prstGeom prst="rect">
            <a:avLst/>
          </a:prstGeom>
        </p:spPr>
      </p:pic>
    </p:spTree>
    <p:extLst>
      <p:ext uri="{BB962C8B-B14F-4D97-AF65-F5344CB8AC3E}">
        <p14:creationId xmlns:p14="http://schemas.microsoft.com/office/powerpoint/2010/main" val="29301394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2"/>
            <a:ext cx="6271784"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8065659" cy="1801436"/>
          </a:xfrm>
          <a:noFill/>
        </p:spPr>
        <p:txBody>
          <a:bodyPr lIns="146304" tIns="91440" rIns="146304" bIns="91440" anchor="t" anchorCtr="0"/>
          <a:lstStyle>
            <a:lvl1pPr>
              <a:defRPr sz="5880"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8" name="MS logo whit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449205" y="6061767"/>
            <a:ext cx="1522008" cy="326167"/>
          </a:xfrm>
          <a:prstGeom prst="rect">
            <a:avLst/>
          </a:prstGeom>
        </p:spPr>
      </p:pic>
    </p:spTree>
    <p:extLst>
      <p:ext uri="{BB962C8B-B14F-4D97-AF65-F5344CB8AC3E}">
        <p14:creationId xmlns:p14="http://schemas.microsoft.com/office/powerpoint/2010/main" val="2307555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232" y="1187644"/>
            <a:ext cx="806566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1" y="1186356"/>
            <a:ext cx="8065721" cy="2697988"/>
          </a:xfrm>
          <a:noFill/>
        </p:spPr>
        <p:txBody>
          <a:bodyPr tIns="91440" bIns="91440" anchor="t" anchorCtr="0"/>
          <a:lstStyle>
            <a:lvl1pPr>
              <a:defRPr sz="7056" spc="-98"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69" y="3877278"/>
            <a:ext cx="8065712" cy="1793881"/>
          </a:xfrm>
          <a:noFill/>
        </p:spPr>
        <p:txBody>
          <a:bodyPr lIns="182880" tIns="146304" rIns="182880" bIns="146304">
            <a:noAutofit/>
          </a:bodyPr>
          <a:lstStyle>
            <a:lvl1pPr marL="0" indent="0">
              <a:spcBef>
                <a:spcPts val="0"/>
              </a:spcBef>
              <a:buNone/>
              <a:defRPr sz="3528" spc="0" baseline="0">
                <a:gradFill>
                  <a:gsLst>
                    <a:gs pos="0">
                      <a:srgbClr val="FFFFFF"/>
                    </a:gs>
                    <a:gs pos="100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1397065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232" y="1187644"/>
            <a:ext cx="806566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1" y="1186356"/>
            <a:ext cx="8065721" cy="2697988"/>
          </a:xfrm>
          <a:noFill/>
        </p:spPr>
        <p:txBody>
          <a:bodyPr tIns="91440" bIns="91440" anchor="t" anchorCtr="0"/>
          <a:lstStyle>
            <a:lvl1pPr>
              <a:defRPr sz="7056" spc="-98"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8680072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defRPr sz="8624" spc="-98"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654722791"/>
      </p:ext>
    </p:extLst>
  </p:cSld>
  <p:clrMapOvr>
    <a:masterClrMapping/>
  </p:clrMapOvr>
  <p:transition>
    <p:fade/>
  </p:transition>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defRPr sz="8624" spc="-98"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275765753"/>
      </p:ext>
    </p:extLst>
  </p:cSld>
  <p:clrMapOvr>
    <a:masterClrMapping/>
  </p:clrMapOvr>
  <p:transition>
    <p:fade/>
  </p:transition>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4093" rtl="0" eaLnBrk="1" latinLnBrk="0" hangingPunct="1">
              <a:lnSpc>
                <a:spcPct val="90000"/>
              </a:lnSpc>
              <a:spcBef>
                <a:spcPct val="0"/>
              </a:spcBef>
              <a:buNone/>
              <a:defRPr lang="en-US" sz="8624" b="0" kern="1200" cap="none" spc="-98"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080056066"/>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smtClean="0"/>
              <a:t>Slide for Developer Code</a:t>
            </a:r>
            <a:endParaRPr lang="en-US" dirty="0"/>
          </a:p>
        </p:txBody>
      </p:sp>
      <p:sp>
        <p:nvSpPr>
          <p:cNvPr id="3" name="Rectangle 2"/>
          <p:cNvSpPr/>
          <p:nvPr userDrawn="1"/>
        </p:nvSpPr>
        <p:spPr bwMode="hidden">
          <a:xfrm>
            <a:off x="0" y="1155940"/>
            <a:ext cx="12188825"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318" y="1447800"/>
            <a:ext cx="11152188" cy="1988237"/>
          </a:xfrm>
        </p:spPr>
        <p:txBody>
          <a:bodyPr/>
          <a:lstStyle>
            <a:lvl1pPr marL="0" indent="0">
              <a:lnSpc>
                <a:spcPct val="95000"/>
              </a:lnSpc>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4093" rtl="0" eaLnBrk="1" latinLnBrk="0" hangingPunct="1">
              <a:lnSpc>
                <a:spcPct val="90000"/>
              </a:lnSpc>
              <a:spcBef>
                <a:spcPct val="0"/>
              </a:spcBef>
              <a:buNone/>
              <a:defRPr lang="en-US" sz="8624"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1697876775"/>
      </p:ext>
    </p:extLst>
  </p:cSld>
  <p:clrMapOvr>
    <a:masterClrMapping/>
  </p:clrMapOvr>
  <p:transition>
    <p:fade/>
  </p:transition>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7"/>
            <a:ext cx="11652805" cy="2018835"/>
          </a:xfrm>
        </p:spPr>
        <p:txBody>
          <a:bodyPr/>
          <a:lstStyle>
            <a:lvl1pPr marL="0" indent="0">
              <a:buNone/>
              <a:defRPr/>
            </a:lvl1pPr>
            <a:lvl2pPr marL="28004" indent="0">
              <a:buNone/>
              <a:defRPr sz="1960"/>
            </a:lvl2pPr>
            <a:lvl3pPr marL="219362" indent="0">
              <a:buNone/>
              <a:defRPr sz="1960"/>
            </a:lvl3pPr>
            <a:lvl4pPr marL="466728" indent="0">
              <a:buNone/>
              <a:defRPr sz="1764"/>
            </a:lvl4pPr>
            <a:lvl5pPr marL="72498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57954473"/>
      </p:ext>
    </p:extLst>
  </p:cSld>
  <p:clrMapOvr>
    <a:masterClrMapping/>
  </p:clrMapOvr>
  <p:transition>
    <p:fade/>
  </p:transition>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7"/>
            <a:ext cx="11652805" cy="2018835"/>
          </a:xfrm>
        </p:spPr>
        <p:txBody>
          <a:bodyPr/>
          <a:lstStyle>
            <a:lvl1pPr marL="0" indent="0">
              <a:buNone/>
              <a:defRPr>
                <a:gradFill>
                  <a:gsLst>
                    <a:gs pos="2920">
                      <a:schemeClr val="tx1"/>
                    </a:gs>
                    <a:gs pos="100000">
                      <a:schemeClr val="tx1"/>
                    </a:gs>
                  </a:gsLst>
                  <a:lin ang="5400000" scaled="0"/>
                </a:gradFill>
              </a:defRPr>
            </a:lvl1pPr>
            <a:lvl2pPr marL="28004" indent="0">
              <a:buNone/>
              <a:defRPr sz="1960"/>
            </a:lvl2pPr>
            <a:lvl3pPr marL="219362" indent="0">
              <a:buNone/>
              <a:defRPr sz="1960"/>
            </a:lvl3pPr>
            <a:lvl4pPr marL="466728" indent="0">
              <a:buNone/>
              <a:defRPr sz="1764"/>
            </a:lvl4pPr>
            <a:lvl5pPr marL="72498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45320131"/>
      </p:ext>
    </p:extLst>
  </p:cSld>
  <p:clrMapOvr>
    <a:masterClrMapping/>
  </p:clrMapOvr>
  <p:transition>
    <p:fade/>
  </p:transition>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288830003"/>
      </p:ext>
    </p:extLst>
  </p:cSld>
  <p:clrMapOvr>
    <a:masterClrMapping/>
  </p:clrMapOvr>
  <p:transition>
    <p:fade/>
  </p:transition>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1pPr>
              <a:buClr>
                <a:schemeClr val="tx2"/>
              </a:buClr>
              <a:defRPr>
                <a:gradFill>
                  <a:gsLst>
                    <a:gs pos="0">
                      <a:schemeClr val="tx1"/>
                    </a:gs>
                    <a:gs pos="100000">
                      <a:schemeClr val="tx1"/>
                    </a:gs>
                  </a:gsLst>
                  <a:lin ang="5400000" scaled="0"/>
                </a:gradFill>
              </a:defRPr>
            </a:lvl1pPr>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573511492"/>
      </p:ext>
    </p:extLst>
  </p:cSld>
  <p:clrMapOvr>
    <a:masterClrMapping/>
  </p:clrMapOvr>
  <p:transition>
    <p:fade/>
  </p:transition>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27128262"/>
      </p:ext>
    </p:extLst>
  </p:cSld>
  <p:clrMapOvr>
    <a:masterClrMapping/>
  </p:clrMapOvr>
  <p:transition>
    <p:fade/>
  </p:transition>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6578"/>
          </a:xfrm>
        </p:spPr>
        <p:txBody>
          <a:bodyPr wrap="square">
            <a:spAutoFit/>
          </a:bodyPr>
          <a:lstStyle>
            <a:lvl1pPr marL="0" indent="0">
              <a:spcBef>
                <a:spcPts val="1200"/>
              </a:spcBef>
              <a:buClr>
                <a:schemeClr val="tx1"/>
              </a:buClr>
              <a:buFont typeface="Wingdings" pitchFamily="2" charset="2"/>
              <a:buNone/>
              <a:defRPr sz="3528">
                <a:solidFill>
                  <a:schemeClr val="tx1"/>
                </a:solidFill>
              </a:defRPr>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6578"/>
          </a:xfrm>
        </p:spPr>
        <p:txBody>
          <a:bodyPr wrap="square">
            <a:spAutoFit/>
          </a:bodyPr>
          <a:lstStyle>
            <a:lvl1pPr marL="0" indent="0">
              <a:spcBef>
                <a:spcPts val="1200"/>
              </a:spcBef>
              <a:buClr>
                <a:schemeClr val="tx1"/>
              </a:buClr>
              <a:buFont typeface="Wingdings" pitchFamily="2" charset="2"/>
              <a:buNone/>
              <a:defRPr sz="3528">
                <a:solidFill>
                  <a:schemeClr val="tx1"/>
                </a:solidFill>
              </a:defRPr>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55077071"/>
      </p:ext>
    </p:extLst>
  </p:cSld>
  <p:clrMapOvr>
    <a:masterClrMapping/>
  </p:clrMapOvr>
  <p:transition>
    <p:fade/>
  </p:transition>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7"/>
            <a:ext cx="5377147" cy="2552967"/>
          </a:xfrm>
        </p:spPr>
        <p:txBody>
          <a:bodyPr wrap="square">
            <a:spAutoFit/>
          </a:bodyPr>
          <a:lstStyle>
            <a:lvl1pPr marL="281592" indent="-281592">
              <a:spcBef>
                <a:spcPts val="1200"/>
              </a:spcBef>
              <a:buClr>
                <a:schemeClr val="tx1"/>
              </a:buClr>
              <a:buFontTx/>
              <a:buBlip>
                <a:blip r:embed="rId2"/>
              </a:buBlip>
              <a:defRPr sz="3528"/>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7"/>
            <a:ext cx="5377147" cy="2552967"/>
          </a:xfrm>
        </p:spPr>
        <p:txBody>
          <a:bodyPr wrap="square">
            <a:spAutoFit/>
          </a:bodyPr>
          <a:lstStyle>
            <a:lvl1pPr marL="281592" indent="-281592">
              <a:spcBef>
                <a:spcPts val="1200"/>
              </a:spcBef>
              <a:buClr>
                <a:schemeClr val="tx1"/>
              </a:buClr>
              <a:buFontTx/>
              <a:buBlip>
                <a:blip r:embed="rId2"/>
              </a:buBlip>
              <a:defRPr sz="3528"/>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26185516"/>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7"/>
            <a:ext cx="5377147" cy="2552967"/>
          </a:xfrm>
        </p:spPr>
        <p:txBody>
          <a:bodyPr wrap="square">
            <a:spAutoFit/>
          </a:bodyPr>
          <a:lstStyle>
            <a:lvl1pPr marL="281592" indent="-281592">
              <a:spcBef>
                <a:spcPts val="1200"/>
              </a:spcBef>
              <a:buClr>
                <a:schemeClr val="tx2"/>
              </a:buClr>
              <a:buFontTx/>
              <a:buBlip>
                <a:blip r:embed="rId2"/>
              </a:buBlip>
              <a:defRPr sz="3528">
                <a:solidFill>
                  <a:schemeClr val="tx1"/>
                </a:solidFill>
              </a:defRPr>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7"/>
            <a:ext cx="5377147" cy="2552967"/>
          </a:xfrm>
        </p:spPr>
        <p:txBody>
          <a:bodyPr wrap="square">
            <a:spAutoFit/>
          </a:bodyPr>
          <a:lstStyle>
            <a:lvl1pPr marL="281592" indent="-281592">
              <a:spcBef>
                <a:spcPts val="1200"/>
              </a:spcBef>
              <a:buClr>
                <a:schemeClr val="tx2"/>
              </a:buClr>
              <a:buFontTx/>
              <a:buBlip>
                <a:blip r:embed="rId2"/>
              </a:buBlip>
              <a:defRPr sz="3528">
                <a:solidFill>
                  <a:schemeClr val="tx1"/>
                </a:solidFill>
              </a:defRPr>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7829556"/>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818651291"/>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p:spPr>
        <p:txBody>
          <a:bodyPr anchor="b" anchorCtr="0"/>
          <a:lstStyle>
            <a:lvl1pPr>
              <a:defRPr sz="8800" spc="-300" baseline="0">
                <a:gradFill>
                  <a:gsLst>
                    <a:gs pos="100000">
                      <a:schemeClr val="bg1"/>
                    </a:gs>
                    <a:gs pos="0">
                      <a:schemeClr val="bg1"/>
                    </a:gs>
                  </a:gsLst>
                  <a:lin ang="5400000" scaled="0"/>
                </a:gradFill>
              </a:defRPr>
            </a:lvl1pPr>
          </a:lstStyle>
          <a:p>
            <a:r>
              <a:rPr lang="en-US" dirty="0" smtClean="0"/>
              <a:t>Click to edit title style</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3312" y="6014913"/>
            <a:ext cx="1738860" cy="815899"/>
          </a:xfrm>
          <a:prstGeom prst="rect">
            <a:avLst/>
          </a:prstGeom>
        </p:spPr>
      </p:pic>
    </p:spTree>
    <p:extLst>
      <p:ext uri="{BB962C8B-B14F-4D97-AF65-F5344CB8AC3E}">
        <p14:creationId xmlns:p14="http://schemas.microsoft.com/office/powerpoint/2010/main" val="2065750825"/>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700" y="228600"/>
            <a:ext cx="11152188"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112" y="1447799"/>
            <a:ext cx="11149013"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3530996961"/>
      </p:ext>
    </p:extLst>
  </p:cSld>
  <p:clrMapOvr>
    <a:masterClrMapping/>
  </p:clrMapOvr>
  <p:transition>
    <p:fade/>
  </p:transition>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6949" y="1187622"/>
            <a:ext cx="11652805" cy="899665"/>
          </a:xfrm>
        </p:spPr>
        <p:txBody>
          <a:bodyPr/>
          <a:lstStyle>
            <a:lvl1pPr>
              <a:defRPr sz="7056" baseline="0"/>
            </a:lvl1pPr>
          </a:lstStyle>
          <a:p>
            <a:r>
              <a:rPr lang="en-US" smtClean="0"/>
              <a:t>Click to edit Master title style</a:t>
            </a:r>
            <a:endParaRPr lang="en-US" dirty="0"/>
          </a:p>
        </p:txBody>
      </p:sp>
    </p:spTree>
    <p:extLst>
      <p:ext uri="{BB962C8B-B14F-4D97-AF65-F5344CB8AC3E}">
        <p14:creationId xmlns:p14="http://schemas.microsoft.com/office/powerpoint/2010/main" val="2102198985"/>
      </p:ext>
    </p:extLst>
  </p:cSld>
  <p:clrMapOvr>
    <a:masterClrMapping/>
  </p:clrMapOvr>
  <p:transition>
    <p:fade/>
  </p:transition>
  <p:timing>
    <p:tnLst>
      <p:par>
        <p:cT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1" cy="1793104"/>
          </a:xfrm>
        </p:spPr>
        <p:txBody>
          <a:bodyPr/>
          <a:lstStyle>
            <a:lvl1pPr>
              <a:defRPr sz="5880" baseline="0"/>
            </a:lvl1pPr>
          </a:lstStyle>
          <a:p>
            <a:r>
              <a:rPr lang="en-US" smtClean="0"/>
              <a:t>Click to edit Master title style</a:t>
            </a:r>
            <a:endParaRPr lang="en-US" dirty="0"/>
          </a:p>
        </p:txBody>
      </p:sp>
    </p:spTree>
    <p:extLst>
      <p:ext uri="{BB962C8B-B14F-4D97-AF65-F5344CB8AC3E}">
        <p14:creationId xmlns:p14="http://schemas.microsoft.com/office/powerpoint/2010/main" val="2061680411"/>
      </p:ext>
    </p:extLst>
  </p:cSld>
  <p:clrMapOvr>
    <a:masterClrMapping/>
  </p:clrMapOvr>
  <p:transition>
    <p:fade/>
  </p:transition>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Fact Layout_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1" cy="1793104"/>
          </a:xfrm>
        </p:spPr>
        <p:txBody>
          <a:bodyPr/>
          <a:lstStyle>
            <a:lvl1pPr>
              <a:defRPr sz="5880" baseline="0"/>
            </a:lvl1pPr>
          </a:lstStyle>
          <a:p>
            <a:r>
              <a:rPr lang="en-US" smtClean="0"/>
              <a:t>Click to edit Master title style</a:t>
            </a:r>
            <a:endParaRPr lang="en-US" dirty="0"/>
          </a:p>
        </p:txBody>
      </p:sp>
    </p:spTree>
    <p:extLst>
      <p:ext uri="{BB962C8B-B14F-4D97-AF65-F5344CB8AC3E}">
        <p14:creationId xmlns:p14="http://schemas.microsoft.com/office/powerpoint/2010/main" val="4085442164"/>
      </p:ext>
    </p:extLst>
  </p:cSld>
  <p:clrMapOvr>
    <a:masterClrMapping/>
  </p:clrMapOvr>
  <p:transition>
    <p:fade/>
  </p:transition>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1178350"/>
            <a:ext cx="9858104" cy="899665"/>
          </a:xfrm>
        </p:spPr>
        <p:txBody>
          <a:bodyPr/>
          <a:lstStyle>
            <a:lvl1pPr marL="228697" indent="-228697">
              <a:defRPr sz="5880"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8" y="5025984"/>
            <a:ext cx="5377148" cy="1050156"/>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874091522"/>
      </p:ext>
    </p:extLst>
  </p:cSld>
  <p:clrMapOvr>
    <a:masterClrMapping/>
  </p:clrMapOvr>
  <p:transition>
    <p:fade/>
  </p:transition>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Quote Layout_Accent Color 2">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2084174"/>
            <a:ext cx="9858104" cy="899665"/>
          </a:xfrm>
        </p:spPr>
        <p:txBody>
          <a:bodyPr/>
          <a:lstStyle>
            <a:lvl1pPr marL="276925" indent="-276925">
              <a:tabLst>
                <a:tab pos="276925" algn="l"/>
              </a:tabLst>
              <a:defRPr sz="5880"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8" y="4773813"/>
            <a:ext cx="5377148" cy="1050156"/>
          </a:xfrm>
        </p:spPr>
        <p:txBody>
          <a:bodyPr/>
          <a:lstStyle>
            <a:lvl1pPr marL="0" indent="0">
              <a:spcBef>
                <a:spcPts val="0"/>
              </a:spcBef>
              <a:buNone/>
              <a:defRPr sz="3136"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3178924499"/>
      </p:ext>
    </p:extLst>
  </p:cSld>
  <p:clrMapOvr>
    <a:masterClrMapping/>
  </p:clrMapOvr>
  <p:transition>
    <p:fade/>
  </p:transition>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49" y="2383023"/>
            <a:ext cx="11650488" cy="914360"/>
          </a:xfrm>
        </p:spPr>
        <p:txBody>
          <a:bodyPr/>
          <a:lstStyle>
            <a:lvl1pPr marL="0" indent="0">
              <a:buNone/>
              <a:defRPr sz="5292">
                <a:gradFill>
                  <a:gsLst>
                    <a:gs pos="3333">
                      <a:schemeClr val="tx1"/>
                    </a:gs>
                    <a:gs pos="39000">
                      <a:schemeClr val="tx1"/>
                    </a:gs>
                  </a:gsLst>
                  <a:lin ang="5400000" scaled="0"/>
                </a:gradFill>
              </a:defRPr>
            </a:lvl1pPr>
            <a:lvl2pPr marL="0" indent="0">
              <a:buFontTx/>
              <a:buNone/>
              <a:defRPr sz="1960"/>
            </a:lvl2pPr>
            <a:lvl3pPr marL="224030" indent="0">
              <a:buNone/>
              <a:defRPr/>
            </a:lvl3pPr>
            <a:lvl4pPr marL="448059" indent="0">
              <a:buNone/>
              <a:defRPr/>
            </a:lvl4pPr>
            <a:lvl5pPr marL="672088" indent="0">
              <a:buNone/>
              <a:defRPr/>
            </a:lvl5pPr>
          </a:lstStyle>
          <a:p>
            <a:pPr lvl="0"/>
            <a:r>
              <a:rPr lang="en-US" smtClean="0"/>
              <a:t>Click to edit Master text styles</a:t>
            </a:r>
          </a:p>
        </p:txBody>
      </p:sp>
      <p:sp>
        <p:nvSpPr>
          <p:cNvPr id="4" name="Title 1"/>
          <p:cNvSpPr>
            <a:spLocks noGrp="1"/>
          </p:cNvSpPr>
          <p:nvPr>
            <p:ph type="title"/>
          </p:nvPr>
        </p:nvSpPr>
        <p:spPr>
          <a:xfrm>
            <a:off x="276949" y="1187622"/>
            <a:ext cx="11652805" cy="899665"/>
          </a:xfrm>
        </p:spPr>
        <p:txBody>
          <a:bodyPr/>
          <a:lstStyle>
            <a:lvl1pPr>
              <a:defRPr sz="7056"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376095388"/>
      </p:ext>
    </p:extLst>
  </p:cSld>
  <p:clrMapOvr>
    <a:masterClrMapping/>
  </p:clrMapOvr>
  <p:transition>
    <p:fade/>
  </p:transition>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1_50-50 Right Photo Layout_02">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872" y="440492"/>
            <a:ext cx="2870723" cy="1318654"/>
          </a:xfrm>
          <a:prstGeom prst="rect">
            <a:avLst/>
          </a:prstGeom>
        </p:spPr>
      </p:pic>
      <p:sp>
        <p:nvSpPr>
          <p:cNvPr id="4" name="Title 1"/>
          <p:cNvSpPr>
            <a:spLocks noGrp="1"/>
          </p:cNvSpPr>
          <p:nvPr>
            <p:ph type="title" hasCustomPrompt="1"/>
          </p:nvPr>
        </p:nvSpPr>
        <p:spPr bwMode="invGray">
          <a:xfrm>
            <a:off x="269171" y="2095971"/>
            <a:ext cx="5377148" cy="2677859"/>
          </a:xfrm>
          <a:noFill/>
        </p:spPr>
        <p:txBody>
          <a:bodyPr vert="horz" wrap="square" lIns="146304" tIns="91440" rIns="146304" bIns="91440" rtlCol="0" anchor="t" anchorCtr="0">
            <a:noAutofit/>
          </a:bodyPr>
          <a:lstStyle>
            <a:lvl1pPr>
              <a:defRPr lang="en-US" sz="5880" spc="-98"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0771" y="4773830"/>
            <a:ext cx="5375815" cy="896551"/>
          </a:xfrm>
        </p:spPr>
        <p:txBody>
          <a:bodyPr tIns="109728" bIns="109728">
            <a:noAutofit/>
          </a:bodyPr>
          <a:lstStyle>
            <a:lvl1pPr marL="0" indent="0">
              <a:spcBef>
                <a:spcPts val="0"/>
              </a:spcBef>
              <a:buNone/>
              <a:defRPr sz="3136">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48096" y="6061767"/>
            <a:ext cx="1522008" cy="326167"/>
          </a:xfrm>
          <a:prstGeom prst="rect">
            <a:avLst/>
          </a:prstGeom>
        </p:spPr>
      </p:pic>
      <p:pic>
        <p:nvPicPr>
          <p:cNvPr id="8"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23279" r="17893"/>
          <a:stretch/>
        </p:blipFill>
        <p:spPr>
          <a:xfrm>
            <a:off x="6169094" y="0"/>
            <a:ext cx="6049292" cy="6858000"/>
          </a:xfrm>
          <a:prstGeom prst="rect">
            <a:avLst/>
          </a:prstGeom>
        </p:spPr>
      </p:pic>
      <p:pic>
        <p:nvPicPr>
          <p:cNvPr id="9" name="Picture Placeholder 4"/>
          <p:cNvPicPr>
            <a:picLocks noChangeAspect="1"/>
          </p:cNvPicPr>
          <p:nvPr userDrawn="1"/>
        </p:nvPicPr>
        <p:blipFill rotWithShape="1">
          <a:blip r:embed="rId5">
            <a:extLst>
              <a:ext uri="{28A0092B-C50C-407E-A947-70E740481C1C}">
                <a14:useLocalDpi xmlns:a14="http://schemas.microsoft.com/office/drawing/2010/main" val="0"/>
              </a:ext>
            </a:extLst>
          </a:blip>
          <a:srcRect l="-503" t="26090" r="67" b="-1"/>
          <a:stretch/>
        </p:blipFill>
        <p:spPr>
          <a:xfrm>
            <a:off x="6145398" y="-7783"/>
            <a:ext cx="6072988" cy="6873565"/>
          </a:xfrm>
          <a:prstGeom prst="rect">
            <a:avLst/>
          </a:prstGeom>
        </p:spPr>
      </p:pic>
    </p:spTree>
    <p:extLst>
      <p:ext uri="{BB962C8B-B14F-4D97-AF65-F5344CB8AC3E}">
        <p14:creationId xmlns:p14="http://schemas.microsoft.com/office/powerpoint/2010/main" val="2962122170"/>
      </p:ext>
    </p:extLst>
  </p:cSld>
  <p:clrMapOvr>
    <a:masterClrMapping/>
  </p:clrMapOvr>
  <p:transition>
    <p:fade/>
  </p:transition>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1_50-50 Right Photo Layout_03">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872" y="440492"/>
            <a:ext cx="2870723" cy="1318654"/>
          </a:xfrm>
          <a:prstGeom prst="rect">
            <a:avLst/>
          </a:prstGeom>
        </p:spPr>
      </p:pic>
      <p:sp>
        <p:nvSpPr>
          <p:cNvPr id="4" name="Title 1"/>
          <p:cNvSpPr>
            <a:spLocks noGrp="1"/>
          </p:cNvSpPr>
          <p:nvPr>
            <p:ph type="title" hasCustomPrompt="1"/>
          </p:nvPr>
        </p:nvSpPr>
        <p:spPr bwMode="invGray">
          <a:xfrm>
            <a:off x="269171" y="2095971"/>
            <a:ext cx="5377148" cy="2677859"/>
          </a:xfrm>
          <a:noFill/>
        </p:spPr>
        <p:txBody>
          <a:bodyPr vert="horz" wrap="square" lIns="146304" tIns="91440" rIns="146304" bIns="91440" rtlCol="0" anchor="t" anchorCtr="0">
            <a:noAutofit/>
          </a:bodyPr>
          <a:lstStyle>
            <a:lvl1pPr>
              <a:defRPr lang="en-US" sz="5880" spc="-98"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0771" y="4773830"/>
            <a:ext cx="5375815" cy="896551"/>
          </a:xfrm>
        </p:spPr>
        <p:txBody>
          <a:bodyPr tIns="109728" bIns="109728">
            <a:noAutofit/>
          </a:bodyPr>
          <a:lstStyle>
            <a:lvl1pPr marL="0" indent="0">
              <a:spcBef>
                <a:spcPts val="0"/>
              </a:spcBef>
              <a:buNone/>
              <a:defRPr sz="3136">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48096" y="6061767"/>
            <a:ext cx="1522008" cy="326167"/>
          </a:xfrm>
          <a:prstGeom prst="rect">
            <a:avLst/>
          </a:prstGeom>
        </p:spPr>
      </p:pic>
      <p:pic>
        <p:nvPicPr>
          <p:cNvPr id="8"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1536" t="114" r="36245" b="-114"/>
          <a:stretch/>
        </p:blipFill>
        <p:spPr>
          <a:xfrm>
            <a:off x="6169094" y="2"/>
            <a:ext cx="6049292" cy="6857999"/>
          </a:xfrm>
          <a:prstGeom prst="rect">
            <a:avLst/>
          </a:prstGeom>
        </p:spPr>
      </p:pic>
    </p:spTree>
    <p:extLst>
      <p:ext uri="{BB962C8B-B14F-4D97-AF65-F5344CB8AC3E}">
        <p14:creationId xmlns:p14="http://schemas.microsoft.com/office/powerpoint/2010/main" val="496797471"/>
      </p:ext>
    </p:extLst>
  </p:cSld>
  <p:clrMapOvr>
    <a:masterClrMapping/>
  </p:clrMapOvr>
  <p:transition>
    <p:fade/>
  </p:transition>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2805345"/>
      </p:ext>
    </p:extLst>
  </p:cSld>
  <p:clrMapOvr>
    <a:masterClrMapping/>
  </p:clrMapOvr>
  <p:transition>
    <p:fade/>
  </p:transition>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761413"/>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Punchy Slide Grey">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3" y="2819604"/>
            <a:ext cx="11149013" cy="1218795"/>
          </a:xfrm>
          <a:prstGeom prst="rect">
            <a:avLst/>
          </a:prstGeom>
        </p:spPr>
        <p:txBody>
          <a:bodyPr anchor="b" anchorCtr="0"/>
          <a:lstStyle>
            <a:lvl1pPr>
              <a:defRPr sz="8796" spc="-300" baseline="0">
                <a:solidFill>
                  <a:schemeClr val="tx1"/>
                </a:solidFill>
              </a:defRPr>
            </a:lvl1pPr>
          </a:lstStyle>
          <a:p>
            <a:r>
              <a:rPr lang="en-US" dirty="0" smtClean="0"/>
              <a:t>Click to edit title style</a:t>
            </a:r>
            <a:endParaRPr lang="en-US" dirty="0"/>
          </a:p>
        </p:txBody>
      </p:sp>
    </p:spTree>
    <p:extLst>
      <p:ext uri="{BB962C8B-B14F-4D97-AF65-F5344CB8AC3E}">
        <p14:creationId xmlns:p14="http://schemas.microsoft.com/office/powerpoint/2010/main" val="3798538680"/>
      </p:ext>
    </p:extLst>
  </p:cSld>
  <p:clrMapOvr>
    <a:masterClrMapping/>
  </p:clrMapOvr>
  <p:transition>
    <p:fade/>
  </p:transition>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740463763"/>
      </p:ext>
    </p:extLst>
  </p:cSld>
  <p:clrMapOvr>
    <a:masterClrMapping/>
  </p:clrMapOvr>
  <p:transition>
    <p:fade/>
  </p:transition>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3800714"/>
      </p:ext>
    </p:extLst>
  </p:cSld>
  <p:clrMapOvr>
    <a:masterClrMapping/>
  </p:clrMapOvr>
  <p:transition>
    <p:fade/>
  </p:transition>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396047"/>
          </a:xfrm>
          <a:prstGeom prst="rect">
            <a:avLst/>
          </a:prstGeom>
        </p:spPr>
        <p:txBody>
          <a:bodyPr/>
          <a:lstStyle>
            <a:lvl1pPr marL="284705" indent="-28470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73" indent="-275370">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77" indent="-284705">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807" indent="-224030">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837" indent="-224030">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7"/>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8406817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Black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396047"/>
          </a:xfrm>
          <a:prstGeom prst="rect">
            <a:avLst/>
          </a:prstGeom>
        </p:spPr>
        <p:txBody>
          <a:bodyPr/>
          <a:lstStyle>
            <a:lvl1pPr marL="284705" indent="-28470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73" indent="-275370">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77" indent="-284705">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807" indent="-224030">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837" indent="-224030">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14545504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2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dirty="0" smtClean="0"/>
              <a:t>Click to edit Master title style</a:t>
            </a:r>
            <a:endParaRPr lang="en-US" dirty="0"/>
          </a:p>
        </p:txBody>
      </p:sp>
      <p:sp>
        <p:nvSpPr>
          <p:cNvPr id="5" name="TextBox 7"/>
          <p:cNvSpPr txBox="1"/>
          <p:nvPr userDrawn="1"/>
        </p:nvSpPr>
        <p:spPr bwMode="white">
          <a:xfrm>
            <a:off x="4241321" y="6566899"/>
            <a:ext cx="3706183"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solidFill>
                  <a:srgbClr val="D2D2D2"/>
                </a:solidFill>
                <a:latin typeface="Segoe Semibold" pitchFamily="34" charset="0"/>
              </a:rPr>
              <a:t>MICROSOFT CONFIDENTIAL – INTERNAL ONLY</a:t>
            </a:r>
          </a:p>
        </p:txBody>
      </p:sp>
      <p:sp>
        <p:nvSpPr>
          <p:cNvPr id="6" name="Slide Number Placeholder 9"/>
          <p:cNvSpPr>
            <a:spLocks noGrp="1"/>
          </p:cNvSpPr>
          <p:nvPr>
            <p:ph type="sldNum" sz="quarter" idx="12"/>
          </p:nvPr>
        </p:nvSpPr>
        <p:spPr>
          <a:xfrm>
            <a:off x="0" y="6541165"/>
            <a:ext cx="560686" cy="219456"/>
          </a:xfrm>
          <a:prstGeom prst="rect">
            <a:avLst/>
          </a:prstGeom>
        </p:spPr>
        <p:txBody>
          <a:bodyPr lIns="121899" tIns="60949" rIns="121899" bIns="60949" anchor="ctr"/>
          <a:lstStyle>
            <a:lvl1pPr algn="l">
              <a:defRPr sz="1600">
                <a:solidFill>
                  <a:schemeClr val="tx2"/>
                </a:solidFill>
              </a:defRPr>
            </a:lvl1pPr>
          </a:lstStyle>
          <a:p>
            <a:pPr defTabSz="913914"/>
            <a:fld id="{727B4C2D-45E2-4621-8491-2995EB46A674}" type="slidenum">
              <a:rPr lang="en-US" smtClean="0">
                <a:solidFill>
                  <a:srgbClr val="D2D2D2"/>
                </a:solidFill>
              </a:rPr>
              <a:pPr defTabSz="913914"/>
              <a:t>‹#›</a:t>
            </a:fld>
            <a:endParaRPr lang="en-US" dirty="0">
              <a:solidFill>
                <a:srgbClr val="D2D2D2"/>
              </a:solidFill>
            </a:endParaRPr>
          </a:p>
        </p:txBody>
      </p:sp>
    </p:spTree>
    <p:extLst>
      <p:ext uri="{BB962C8B-B14F-4D97-AF65-F5344CB8AC3E}">
        <p14:creationId xmlns:p14="http://schemas.microsoft.com/office/powerpoint/2010/main" val="2449154427"/>
      </p:ext>
    </p:extLst>
  </p:cSld>
  <p:clrMapOvr>
    <a:masterClrMapping/>
  </p:clrMapOvr>
  <p:transition>
    <p:fade/>
  </p:transition>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Walki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49206" y="6063380"/>
            <a:ext cx="1522007" cy="324553"/>
          </a:xfrm>
          <a:prstGeom prst="rect">
            <a:avLst/>
          </a:prstGeom>
        </p:spPr>
      </p:pic>
      <p:sp>
        <p:nvSpPr>
          <p:cNvPr id="3" name="Rectangle 2"/>
          <p:cNvSpPr/>
          <p:nvPr userDrawn="1"/>
        </p:nvSpPr>
        <p:spPr bwMode="gray">
          <a:xfrm>
            <a:off x="1060493" y="2575465"/>
            <a:ext cx="8056760" cy="667558"/>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4" name="Rectangle 3"/>
          <p:cNvSpPr/>
          <p:nvPr userDrawn="1"/>
        </p:nvSpPr>
        <p:spPr bwMode="gray">
          <a:xfrm>
            <a:off x="0" y="2839081"/>
            <a:ext cx="7910383" cy="661643"/>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5" name="Rectangle 4"/>
          <p:cNvSpPr/>
          <p:nvPr userDrawn="1"/>
        </p:nvSpPr>
        <p:spPr bwMode="gray">
          <a:xfrm>
            <a:off x="269169" y="3429001"/>
            <a:ext cx="8028069" cy="661643"/>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pic>
        <p:nvPicPr>
          <p:cNvPr id="8" name="Picture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479768" y="2880666"/>
            <a:ext cx="4602425" cy="940887"/>
          </a:xfrm>
          <a:prstGeom prst="rect">
            <a:avLst/>
          </a:prstGeom>
        </p:spPr>
      </p:pic>
    </p:spTree>
    <p:extLst>
      <p:ext uri="{BB962C8B-B14F-4D97-AF65-F5344CB8AC3E}">
        <p14:creationId xmlns:p14="http://schemas.microsoft.com/office/powerpoint/2010/main" val="39065434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850" fill="hold"/>
                                        <p:tgtEl>
                                          <p:spTgt spid="3"/>
                                        </p:tgtEl>
                                        <p:attrNameLst>
                                          <p:attrName>ppt_x</p:attrName>
                                        </p:attrNameLst>
                                      </p:cBhvr>
                                      <p:tavLst>
                                        <p:tav tm="0">
                                          <p:val>
                                            <p:strVal val="0-#ppt_w/2"/>
                                          </p:val>
                                        </p:tav>
                                        <p:tav tm="100000">
                                          <p:val>
                                            <p:strVal val="#ppt_x"/>
                                          </p:val>
                                        </p:tav>
                                      </p:tavLst>
                                    </p:anim>
                                    <p:anim calcmode="lin" valueType="num">
                                      <p:cBhvr additive="base">
                                        <p:cTn id="8" dur="850" fill="hold"/>
                                        <p:tgtEl>
                                          <p:spTgt spid="3"/>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850" fill="hold"/>
                                        <p:tgtEl>
                                          <p:spTgt spid="4"/>
                                        </p:tgtEl>
                                        <p:attrNameLst>
                                          <p:attrName>ppt_x</p:attrName>
                                        </p:attrNameLst>
                                      </p:cBhvr>
                                      <p:tavLst>
                                        <p:tav tm="0">
                                          <p:val>
                                            <p:strVal val="1+#ppt_w/2"/>
                                          </p:val>
                                        </p:tav>
                                        <p:tav tm="100000">
                                          <p:val>
                                            <p:strVal val="#ppt_x"/>
                                          </p:val>
                                        </p:tav>
                                      </p:tavLst>
                                    </p:anim>
                                    <p:anim calcmode="lin" valueType="num">
                                      <p:cBhvr additive="base">
                                        <p:cTn id="12" dur="850" fill="hold"/>
                                        <p:tgtEl>
                                          <p:spTgt spid="4"/>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25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850" fill="hold"/>
                                        <p:tgtEl>
                                          <p:spTgt spid="5"/>
                                        </p:tgtEl>
                                        <p:attrNameLst>
                                          <p:attrName>ppt_x</p:attrName>
                                        </p:attrNameLst>
                                      </p:cBhvr>
                                      <p:tavLst>
                                        <p:tav tm="0">
                                          <p:val>
                                            <p:strVal val="0-#ppt_w/2"/>
                                          </p:val>
                                        </p:tav>
                                        <p:tav tm="100000">
                                          <p:val>
                                            <p:strVal val="#ppt_x"/>
                                          </p:val>
                                        </p:tav>
                                      </p:tavLst>
                                    </p:anim>
                                    <p:anim calcmode="lin" valueType="num">
                                      <p:cBhvr additive="base">
                                        <p:cTn id="16" dur="850" fill="hold"/>
                                        <p:tgtEl>
                                          <p:spTgt spid="5"/>
                                        </p:tgtEl>
                                        <p:attrNameLst>
                                          <p:attrName>ppt_y</p:attrName>
                                        </p:attrNameLst>
                                      </p:cBhvr>
                                      <p:tavLst>
                                        <p:tav tm="0">
                                          <p:val>
                                            <p:strVal val="#ppt_y"/>
                                          </p:val>
                                        </p:tav>
                                        <p:tav tm="100000">
                                          <p:val>
                                            <p:strVal val="#ppt_y"/>
                                          </p:val>
                                        </p:tav>
                                      </p:tavLst>
                                    </p:anim>
                                  </p:childTnLst>
                                </p:cTn>
                              </p:par>
                              <p:par>
                                <p:cTn id="17" presetID="10" presetClass="entr" presetSubtype="0" fill="hold" nodeType="withEffect">
                                  <p:stCondLst>
                                    <p:cond delay="58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750"/>
                                        <p:tgtEl>
                                          <p:spTgt spid="8"/>
                                        </p:tgtEl>
                                      </p:cBhvr>
                                    </p:animEffect>
                                  </p:childTnLst>
                                </p:cTn>
                              </p:par>
                              <p:par>
                                <p:cTn id="20" presetID="63" presetClass="path" presetSubtype="0" decel="100000" fill="hold" nodeType="withEffect">
                                  <p:stCondLst>
                                    <p:cond delay="580"/>
                                  </p:stCondLst>
                                  <p:childTnLst>
                                    <p:animMotion origin="layout" path="M -0.02409 1.50289E-6 L -4.16667E-7 1.50289E-6 " pathEditMode="relative" rAng="0" ptsTypes="AA">
                                      <p:cBhvr>
                                        <p:cTn id="21" dur="500" fill="hold"/>
                                        <p:tgtEl>
                                          <p:spTgt spid="8"/>
                                        </p:tgtEl>
                                        <p:attrNameLst>
                                          <p:attrName>ppt_x</p:attrName>
                                          <p:attrName>ppt_y</p:attrName>
                                        </p:attrNameLst>
                                      </p:cBhvr>
                                      <p:rCtr x="119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Slide Phot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Rectangle 7"/>
          <p:cNvSpPr/>
          <p:nvPr userDrawn="1"/>
        </p:nvSpPr>
        <p:spPr bwMode="gray">
          <a:xfrm>
            <a:off x="1523886" y="470068"/>
            <a:ext cx="4861478" cy="912117"/>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11" name="Rectangle 10"/>
          <p:cNvSpPr/>
          <p:nvPr userDrawn="1"/>
        </p:nvSpPr>
        <p:spPr bwMode="gray">
          <a:xfrm>
            <a:off x="443515" y="652746"/>
            <a:ext cx="4844999" cy="912117"/>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12" name="Rectangle 11"/>
          <p:cNvSpPr/>
          <p:nvPr userDrawn="1"/>
        </p:nvSpPr>
        <p:spPr bwMode="gray">
          <a:xfrm>
            <a:off x="6895731" y="3697962"/>
            <a:ext cx="4844999" cy="627580"/>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13" name="Rectangle 12"/>
          <p:cNvSpPr/>
          <p:nvPr userDrawn="1"/>
        </p:nvSpPr>
        <p:spPr bwMode="gray">
          <a:xfrm>
            <a:off x="7055018" y="3860155"/>
            <a:ext cx="4864639" cy="935768"/>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14" name="Rectangle 13"/>
          <p:cNvSpPr/>
          <p:nvPr userDrawn="1"/>
        </p:nvSpPr>
        <p:spPr bwMode="gray">
          <a:xfrm>
            <a:off x="6895731" y="4697932"/>
            <a:ext cx="4844999" cy="1607817"/>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8853" y="588334"/>
            <a:ext cx="10081073" cy="6405091"/>
          </a:xfrm>
          <a:prstGeom prst="rect">
            <a:avLst/>
          </a:prstGeom>
          <a:effectLst>
            <a:outerShdw blurRad="127000" sx="101000" sy="101000" algn="ctr" rotWithShape="0">
              <a:prstClr val="black">
                <a:alpha val="20000"/>
              </a:prstClr>
            </a:outerShdw>
          </a:effectLst>
        </p:spPr>
      </p:pic>
      <p:sp>
        <p:nvSpPr>
          <p:cNvPr id="9" name="Title 1"/>
          <p:cNvSpPr>
            <a:spLocks noGrp="1"/>
          </p:cNvSpPr>
          <p:nvPr>
            <p:ph type="title" hasCustomPrompt="1"/>
          </p:nvPr>
        </p:nvSpPr>
        <p:spPr bwMode="ltGray">
          <a:xfrm>
            <a:off x="1893416" y="3001156"/>
            <a:ext cx="8050654" cy="1344828"/>
          </a:xfrm>
          <a:noFill/>
        </p:spPr>
        <p:txBody>
          <a:bodyPr vert="horz" wrap="square" lIns="146304" tIns="91440" rIns="146304" bIns="91440" rtlCol="0" anchor="t" anchorCtr="0">
            <a:noAutofit/>
          </a:bodyPr>
          <a:lstStyle>
            <a:lvl1pPr>
              <a:defRPr lang="en-US" sz="4312" spc="-98" baseline="0" dirty="0">
                <a:gradFill>
                  <a:gsLst>
                    <a:gs pos="0">
                      <a:schemeClr val="bg2">
                        <a:lumMod val="10000"/>
                      </a:schemeClr>
                    </a:gs>
                    <a:gs pos="100000">
                      <a:schemeClr val="bg2">
                        <a:lumMod val="10000"/>
                      </a:schemeClr>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1893416" y="4370376"/>
            <a:ext cx="8050654" cy="1344828"/>
          </a:xfrm>
        </p:spPr>
        <p:txBody>
          <a:bodyPr tIns="109728" bIns="109728">
            <a:noAutofit/>
          </a:bodyPr>
          <a:lstStyle>
            <a:lvl1pPr marL="0" indent="0">
              <a:spcBef>
                <a:spcPts val="0"/>
              </a:spcBef>
              <a:buNone/>
              <a:defRPr lang="en-US" sz="3136" b="0" kern="1200" cap="none" spc="-98" baseline="0" dirty="0">
                <a:ln w="3175">
                  <a:noFill/>
                </a:ln>
                <a:gradFill>
                  <a:gsLst>
                    <a:gs pos="0">
                      <a:schemeClr val="bg2">
                        <a:lumMod val="10000"/>
                      </a:schemeClr>
                    </a:gs>
                    <a:gs pos="100000">
                      <a:schemeClr val="bg2">
                        <a:lumMod val="10000"/>
                      </a:schemeClr>
                    </a:gs>
                  </a:gsLst>
                  <a:lin ang="5400000" scaled="0"/>
                </a:gradFill>
                <a:effectLst/>
                <a:latin typeface="+mj-lt"/>
                <a:ea typeface="+mn-ea"/>
                <a:cs typeface="Segoe UI" pitchFamily="34" charset="0"/>
              </a:defRPr>
            </a:lvl1pPr>
          </a:lstStyle>
          <a:p>
            <a:pPr lvl="0" algn="l" defTabSz="914180" rtl="0" eaLnBrk="1" latinLnBrk="0" hangingPunct="1">
              <a:lnSpc>
                <a:spcPct val="90000"/>
              </a:lnSpc>
              <a:spcBef>
                <a:spcPct val="0"/>
              </a:spcBef>
              <a:buNone/>
            </a:pPr>
            <a:r>
              <a:rPr lang="en-US" dirty="0" smtClean="0"/>
              <a:t>Speaker Name</a:t>
            </a:r>
            <a:endParaRPr lang="en-US" dirty="0"/>
          </a:p>
        </p:txBody>
      </p:sp>
      <p:pic>
        <p:nvPicPr>
          <p:cNvPr id="17" name="Picture 1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gray">
          <a:xfrm>
            <a:off x="11023466" y="470068"/>
            <a:ext cx="717264" cy="152949"/>
          </a:xfrm>
          <a:prstGeom prst="rect">
            <a:avLst/>
          </a:prstGeom>
        </p:spPr>
      </p:pic>
      <p:sp>
        <p:nvSpPr>
          <p:cNvPr id="5" name="Text Placeholder 4"/>
          <p:cNvSpPr>
            <a:spLocks noGrp="1"/>
          </p:cNvSpPr>
          <p:nvPr>
            <p:ph type="body" sz="quarter" idx="15" hasCustomPrompt="1"/>
          </p:nvPr>
        </p:nvSpPr>
        <p:spPr>
          <a:xfrm>
            <a:off x="8624971" y="1559050"/>
            <a:ext cx="1568335" cy="425495"/>
          </a:xfrm>
        </p:spPr>
        <p:txBody>
          <a:bodyPr/>
          <a:lstStyle>
            <a:lvl1pPr marL="0" indent="0" algn="r">
              <a:buNone/>
              <a:defRPr sz="1764" baseline="0"/>
            </a:lvl1pPr>
          </a:lstStyle>
          <a:p>
            <a:pPr lvl="0"/>
            <a:r>
              <a:rPr lang="en-US" dirty="0" smtClean="0"/>
              <a:t>Session Code</a:t>
            </a:r>
            <a:endParaRPr lang="en-US" dirty="0"/>
          </a:p>
        </p:txBody>
      </p:sp>
    </p:spTree>
    <p:extLst>
      <p:ext uri="{BB962C8B-B14F-4D97-AF65-F5344CB8AC3E}">
        <p14:creationId xmlns:p14="http://schemas.microsoft.com/office/powerpoint/2010/main" val="20009640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750" fill="hold"/>
                                        <p:tgtEl>
                                          <p:spTgt spid="8"/>
                                        </p:tgtEl>
                                        <p:attrNameLst>
                                          <p:attrName>ppt_x</p:attrName>
                                        </p:attrNameLst>
                                      </p:cBhvr>
                                      <p:tavLst>
                                        <p:tav tm="0">
                                          <p:val>
                                            <p:strVal val="0-#ppt_w/2"/>
                                          </p:val>
                                        </p:tav>
                                        <p:tav tm="100000">
                                          <p:val>
                                            <p:strVal val="#ppt_x"/>
                                          </p:val>
                                        </p:tav>
                                      </p:tavLst>
                                    </p:anim>
                                    <p:anim calcmode="lin" valueType="num">
                                      <p:cBhvr additive="base">
                                        <p:cTn id="8" dur="750" fill="hold"/>
                                        <p:tgtEl>
                                          <p:spTgt spid="8"/>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25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750" fill="hold"/>
                                        <p:tgtEl>
                                          <p:spTgt spid="11"/>
                                        </p:tgtEl>
                                        <p:attrNameLst>
                                          <p:attrName>ppt_x</p:attrName>
                                        </p:attrNameLst>
                                      </p:cBhvr>
                                      <p:tavLst>
                                        <p:tav tm="0">
                                          <p:val>
                                            <p:strVal val="0-#ppt_w/2"/>
                                          </p:val>
                                        </p:tav>
                                        <p:tav tm="100000">
                                          <p:val>
                                            <p:strVal val="#ppt_x"/>
                                          </p:val>
                                        </p:tav>
                                      </p:tavLst>
                                    </p:anim>
                                    <p:anim calcmode="lin" valueType="num">
                                      <p:cBhvr additive="base">
                                        <p:cTn id="12" dur="750" fill="hold"/>
                                        <p:tgtEl>
                                          <p:spTgt spid="11"/>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250"/>
                                  </p:stCondLst>
                                  <p:childTnLst>
                                    <p:set>
                                      <p:cBhvr>
                                        <p:cTn id="14" dur="1" fill="hold">
                                          <p:stCondLst>
                                            <p:cond delay="0"/>
                                          </p:stCondLst>
                                        </p:cTn>
                                        <p:tgtEl>
                                          <p:spTgt spid="12"/>
                                        </p:tgtEl>
                                        <p:attrNameLst>
                                          <p:attrName>style.visibility</p:attrName>
                                        </p:attrNameLst>
                                      </p:cBhvr>
                                      <p:to>
                                        <p:strVal val="visible"/>
                                      </p:to>
                                    </p:set>
                                    <p:anim calcmode="lin" valueType="num">
                                      <p:cBhvr additive="base">
                                        <p:cTn id="15" dur="750" fill="hold"/>
                                        <p:tgtEl>
                                          <p:spTgt spid="12"/>
                                        </p:tgtEl>
                                        <p:attrNameLst>
                                          <p:attrName>ppt_x</p:attrName>
                                        </p:attrNameLst>
                                      </p:cBhvr>
                                      <p:tavLst>
                                        <p:tav tm="0">
                                          <p:val>
                                            <p:strVal val="1+#ppt_w/2"/>
                                          </p:val>
                                        </p:tav>
                                        <p:tav tm="100000">
                                          <p:val>
                                            <p:strVal val="#ppt_x"/>
                                          </p:val>
                                        </p:tav>
                                      </p:tavLst>
                                    </p:anim>
                                    <p:anim calcmode="lin" valueType="num">
                                      <p:cBhvr additive="base">
                                        <p:cTn id="16" dur="750" fill="hold"/>
                                        <p:tgtEl>
                                          <p:spTgt spid="12"/>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750"/>
                                  </p:stCondLst>
                                  <p:childTnLst>
                                    <p:set>
                                      <p:cBhvr>
                                        <p:cTn id="18" dur="1" fill="hold">
                                          <p:stCondLst>
                                            <p:cond delay="0"/>
                                          </p:stCondLst>
                                        </p:cTn>
                                        <p:tgtEl>
                                          <p:spTgt spid="14"/>
                                        </p:tgtEl>
                                        <p:attrNameLst>
                                          <p:attrName>style.visibility</p:attrName>
                                        </p:attrNameLst>
                                      </p:cBhvr>
                                      <p:to>
                                        <p:strVal val="visible"/>
                                      </p:to>
                                    </p:set>
                                    <p:anim calcmode="lin" valueType="num">
                                      <p:cBhvr additive="base">
                                        <p:cTn id="19" dur="750" fill="hold"/>
                                        <p:tgtEl>
                                          <p:spTgt spid="14"/>
                                        </p:tgtEl>
                                        <p:attrNameLst>
                                          <p:attrName>ppt_x</p:attrName>
                                        </p:attrNameLst>
                                      </p:cBhvr>
                                      <p:tavLst>
                                        <p:tav tm="0">
                                          <p:val>
                                            <p:strVal val="1+#ppt_w/2"/>
                                          </p:val>
                                        </p:tav>
                                        <p:tav tm="100000">
                                          <p:val>
                                            <p:strVal val="#ppt_x"/>
                                          </p:val>
                                        </p:tav>
                                      </p:tavLst>
                                    </p:anim>
                                    <p:anim calcmode="lin" valueType="num">
                                      <p:cBhvr additive="base">
                                        <p:cTn id="20" dur="750" fill="hold"/>
                                        <p:tgtEl>
                                          <p:spTgt spid="14"/>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1100"/>
                                  </p:stCondLst>
                                  <p:childTnLst>
                                    <p:set>
                                      <p:cBhvr>
                                        <p:cTn id="22" dur="1" fill="hold">
                                          <p:stCondLst>
                                            <p:cond delay="0"/>
                                          </p:stCondLst>
                                        </p:cTn>
                                        <p:tgtEl>
                                          <p:spTgt spid="13"/>
                                        </p:tgtEl>
                                        <p:attrNameLst>
                                          <p:attrName>style.visibility</p:attrName>
                                        </p:attrNameLst>
                                      </p:cBhvr>
                                      <p:to>
                                        <p:strVal val="visible"/>
                                      </p:to>
                                    </p:set>
                                    <p:anim calcmode="lin" valueType="num">
                                      <p:cBhvr additive="base">
                                        <p:cTn id="23" dur="750" fill="hold"/>
                                        <p:tgtEl>
                                          <p:spTgt spid="13"/>
                                        </p:tgtEl>
                                        <p:attrNameLst>
                                          <p:attrName>ppt_x</p:attrName>
                                        </p:attrNameLst>
                                      </p:cBhvr>
                                      <p:tavLst>
                                        <p:tav tm="0">
                                          <p:val>
                                            <p:strVal val="1+#ppt_w/2"/>
                                          </p:val>
                                        </p:tav>
                                        <p:tav tm="100000">
                                          <p:val>
                                            <p:strVal val="#ppt_x"/>
                                          </p:val>
                                        </p:tav>
                                      </p:tavLst>
                                    </p:anim>
                                    <p:anim calcmode="lin" valueType="num">
                                      <p:cBhvr additive="base">
                                        <p:cTn id="24" dur="750" fill="hold"/>
                                        <p:tgtEl>
                                          <p:spTgt spid="13"/>
                                        </p:tgtEl>
                                        <p:attrNameLst>
                                          <p:attrName>ppt_y</p:attrName>
                                        </p:attrNameLst>
                                      </p:cBhvr>
                                      <p:tavLst>
                                        <p:tav tm="0">
                                          <p:val>
                                            <p:strVal val="#ppt_y"/>
                                          </p:val>
                                        </p:tav>
                                        <p:tav tm="100000">
                                          <p:val>
                                            <p:strVal val="#ppt_y"/>
                                          </p:val>
                                        </p:tav>
                                      </p:tavLst>
                                    </p:anim>
                                  </p:childTnLst>
                                </p:cTn>
                              </p:par>
                              <p:par>
                                <p:cTn id="25" presetID="10" presetClass="entr" presetSubtype="0" fill="hold" grpId="0" nodeType="withEffect">
                                  <p:stCondLst>
                                    <p:cond delay="58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750"/>
                                        <p:tgtEl>
                                          <p:spTgt spid="9"/>
                                        </p:tgtEl>
                                      </p:cBhvr>
                                    </p:animEffect>
                                  </p:childTnLst>
                                </p:cTn>
                              </p:par>
                              <p:par>
                                <p:cTn id="28" presetID="63" presetClass="path" presetSubtype="0" decel="100000" fill="hold" grpId="1" nodeType="withEffect">
                                  <p:stCondLst>
                                    <p:cond delay="580"/>
                                  </p:stCondLst>
                                  <p:childTnLst>
                                    <p:animMotion origin="layout" path="M -0.02413 -3.22742E-6 L 4.30431E-6 -3.22742E-6 " pathEditMode="relative" rAng="0" ptsTypes="AA">
                                      <p:cBhvr>
                                        <p:cTn id="29" dur="500" fill="hold"/>
                                        <p:tgtEl>
                                          <p:spTgt spid="9"/>
                                        </p:tgtEl>
                                        <p:attrNameLst>
                                          <p:attrName>ppt_x</p:attrName>
                                          <p:attrName>ppt_y</p:attrName>
                                        </p:attrNameLst>
                                      </p:cBhvr>
                                      <p:rCtr x="1200" y="0"/>
                                    </p:animMotion>
                                  </p:childTnLst>
                                </p:cTn>
                              </p:par>
                              <p:par>
                                <p:cTn id="30" presetID="10" presetClass="entr" presetSubtype="0" fill="hold" grpId="0" nodeType="withEffect">
                                  <p:stCondLst>
                                    <p:cond delay="680"/>
                                  </p:stCondLst>
                                  <p:childTnLst>
                                    <p:set>
                                      <p:cBhvr>
                                        <p:cTn id="31" dur="1" fill="hold">
                                          <p:stCondLst>
                                            <p:cond delay="0"/>
                                          </p:stCondLst>
                                        </p:cTn>
                                        <p:tgtEl>
                                          <p:spTgt spid="3"/>
                                        </p:tgtEl>
                                        <p:attrNameLst>
                                          <p:attrName>style.visibility</p:attrName>
                                        </p:attrNameLst>
                                      </p:cBhvr>
                                      <p:to>
                                        <p:strVal val="visible"/>
                                      </p:to>
                                    </p:set>
                                    <p:animEffect transition="in" filter="fade">
                                      <p:cBhvr>
                                        <p:cTn id="32" dur="750"/>
                                        <p:tgtEl>
                                          <p:spTgt spid="3"/>
                                        </p:tgtEl>
                                      </p:cBhvr>
                                    </p:animEffect>
                                  </p:childTnLst>
                                </p:cTn>
                              </p:par>
                              <p:par>
                                <p:cTn id="33" presetID="63" presetClass="path" presetSubtype="0" decel="100000" fill="hold" grpId="1" nodeType="withEffect">
                                  <p:stCondLst>
                                    <p:cond delay="680"/>
                                  </p:stCondLst>
                                  <p:childTnLst>
                                    <p:animMotion origin="layout" path="M -0.02413 -8.71539E-7 L 4.30431E-6 -8.71539E-7 " pathEditMode="relative" rAng="0" ptsTypes="AA">
                                      <p:cBhvr>
                                        <p:cTn id="34" dur="500" fill="hold"/>
                                        <p:tgtEl>
                                          <p:spTgt spid="3"/>
                                        </p:tgtEl>
                                        <p:attrNameLst>
                                          <p:attrName>ppt_x</p:attrName>
                                          <p:attrName>ppt_y</p:attrName>
                                        </p:attrNameLst>
                                      </p:cBhvr>
                                      <p:rCtr x="12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1" grpId="0" animBg="1"/>
      <p:bldP spid="12" grpId="0" animBg="1"/>
      <p:bldP spid="13" grpId="0" animBg="1"/>
      <p:bldP spid="14" grpId="0" animBg="1"/>
      <p:bldP spid="9" grpId="0"/>
      <p:bldP spid="9" grpId="1"/>
      <p:bldP spid="3" grpId="0">
        <p:tmplLst>
          <p:tmpl>
            <p:tnLst>
              <p:par>
                <p:cTn presetID="10" presetClass="entr" presetSubtype="0" fill="hold" nodeType="withEffect">
                  <p:stCondLst>
                    <p:cond delay="68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p:tmplLst>
          <p:tmpl>
            <p:tnLst>
              <p:par>
                <p:cTn presetID="63" presetClass="path" presetSubtype="0" decel="100000" fill="hold" nodeType="withEffect">
                  <p:stCondLst>
                    <p:cond delay="680"/>
                  </p:stCondLst>
                  <p:childTnLst>
                    <p:animMotion origin="layout" path="M -0.02413 -8.71539E-7 L 4.30431E-6 -8.71539E-7 " pathEditMode="relative" rAng="0" ptsTypes="AA">
                      <p:cBhvr>
                        <p:cTn dur="500" fill="hold"/>
                        <p:tgtEl>
                          <p:spTgt spid="3"/>
                        </p:tgtEl>
                        <p:attrNameLst>
                          <p:attrName>ppt_x</p:attrName>
                          <p:attrName>ppt_y</p:attrName>
                        </p:attrNameLst>
                      </p:cBhvr>
                      <p:rCtr x="1200" y="0"/>
                    </p:animMotion>
                  </p:childTnLst>
                </p:cTn>
              </p:par>
            </p:tnLst>
          </p:tmpl>
        </p:tmplLst>
      </p:bldP>
    </p:bld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Dem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6"/>
            <a:ext cx="9856549" cy="2697988"/>
          </a:xfrm>
          <a:noFill/>
        </p:spPr>
        <p:txBody>
          <a:bodyPr tIns="91440" bIns="91440" anchor="t" anchorCtr="0"/>
          <a:lstStyle>
            <a:lvl1pPr>
              <a:defRPr sz="7057" spc="-98" baseline="0">
                <a:gradFill>
                  <a:gsLst>
                    <a:gs pos="91241">
                      <a:schemeClr val="tx1"/>
                    </a:gs>
                    <a:gs pos="57000">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0" y="3877277"/>
            <a:ext cx="9858106" cy="1793881"/>
          </a:xfrm>
          <a:noFill/>
        </p:spPr>
        <p:txBody>
          <a:bodyPr lIns="182880" tIns="146304" rIns="182880" bIns="146304">
            <a:noAutofit/>
          </a:bodyPr>
          <a:lstStyle>
            <a:lvl1pPr marL="0" indent="0">
              <a:spcBef>
                <a:spcPts val="0"/>
              </a:spcBef>
              <a:buNone/>
              <a:defRPr sz="3528" spc="0" baseline="0">
                <a:gradFill>
                  <a:gsLst>
                    <a:gs pos="91241">
                      <a:schemeClr val="tx1"/>
                    </a:gs>
                    <a:gs pos="57000">
                      <a:schemeClr val="tx1"/>
                    </a:gs>
                    <a:gs pos="18000">
                      <a:schemeClr val="tx1"/>
                    </a:gs>
                  </a:gsLst>
                  <a:lin ang="5400000" scaled="0"/>
                </a:gradFill>
                <a:latin typeface="+mj-lt"/>
              </a:defRPr>
            </a:lvl1pPr>
          </a:lstStyle>
          <a:p>
            <a:pPr lvl="0"/>
            <a:r>
              <a:rPr lang="en-US" dirty="0" smtClean="0"/>
              <a:t>Speaker Name</a:t>
            </a:r>
          </a:p>
        </p:txBody>
      </p:sp>
      <p:sp>
        <p:nvSpPr>
          <p:cNvPr id="12" name="Rectangle 11"/>
          <p:cNvSpPr/>
          <p:nvPr userDrawn="1"/>
        </p:nvSpPr>
        <p:spPr bwMode="gray">
          <a:xfrm flipH="1">
            <a:off x="6542508" y="5629606"/>
            <a:ext cx="4989553" cy="413419"/>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13" name="Rectangle 12"/>
          <p:cNvSpPr/>
          <p:nvPr userDrawn="1"/>
        </p:nvSpPr>
        <p:spPr bwMode="gray">
          <a:xfrm flipH="1">
            <a:off x="7289923" y="5795020"/>
            <a:ext cx="4898902" cy="409756"/>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14" name="Rectangle 13"/>
          <p:cNvSpPr/>
          <p:nvPr userDrawn="1"/>
        </p:nvSpPr>
        <p:spPr bwMode="gray">
          <a:xfrm flipH="1">
            <a:off x="7050344" y="6160357"/>
            <a:ext cx="4971785" cy="409756"/>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Tree>
    <p:extLst>
      <p:ext uri="{BB962C8B-B14F-4D97-AF65-F5344CB8AC3E}">
        <p14:creationId xmlns:p14="http://schemas.microsoft.com/office/powerpoint/2010/main" val="5480763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850" fill="hold"/>
                                        <p:tgtEl>
                                          <p:spTgt spid="12"/>
                                        </p:tgtEl>
                                        <p:attrNameLst>
                                          <p:attrName>ppt_x</p:attrName>
                                        </p:attrNameLst>
                                      </p:cBhvr>
                                      <p:tavLst>
                                        <p:tav tm="0">
                                          <p:val>
                                            <p:strVal val="1+#ppt_w/2"/>
                                          </p:val>
                                        </p:tav>
                                        <p:tav tm="100000">
                                          <p:val>
                                            <p:strVal val="#ppt_x"/>
                                          </p:val>
                                        </p:tav>
                                      </p:tavLst>
                                    </p:anim>
                                    <p:anim calcmode="lin" valueType="num">
                                      <p:cBhvr additive="base">
                                        <p:cTn id="8" dur="850" fill="hold"/>
                                        <p:tgtEl>
                                          <p:spTgt spid="12"/>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14"/>
                                        </p:tgtEl>
                                        <p:attrNameLst>
                                          <p:attrName>style.visibility</p:attrName>
                                        </p:attrNameLst>
                                      </p:cBhvr>
                                      <p:to>
                                        <p:strVal val="visible"/>
                                      </p:to>
                                    </p:set>
                                    <p:anim calcmode="lin" valueType="num">
                                      <p:cBhvr additive="base">
                                        <p:cTn id="11" dur="850" fill="hold"/>
                                        <p:tgtEl>
                                          <p:spTgt spid="14"/>
                                        </p:tgtEl>
                                        <p:attrNameLst>
                                          <p:attrName>ppt_x</p:attrName>
                                        </p:attrNameLst>
                                      </p:cBhvr>
                                      <p:tavLst>
                                        <p:tav tm="0">
                                          <p:val>
                                            <p:strVal val="1+#ppt_w/2"/>
                                          </p:val>
                                        </p:tav>
                                        <p:tav tm="100000">
                                          <p:val>
                                            <p:strVal val="#ppt_x"/>
                                          </p:val>
                                        </p:tav>
                                      </p:tavLst>
                                    </p:anim>
                                    <p:anim calcmode="lin" valueType="num">
                                      <p:cBhvr additive="base">
                                        <p:cTn id="12" dur="850" fill="hold"/>
                                        <p:tgtEl>
                                          <p:spTgt spid="14"/>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250"/>
                                  </p:stCondLst>
                                  <p:childTnLst>
                                    <p:set>
                                      <p:cBhvr>
                                        <p:cTn id="14" dur="1" fill="hold">
                                          <p:stCondLst>
                                            <p:cond delay="0"/>
                                          </p:stCondLst>
                                        </p:cTn>
                                        <p:tgtEl>
                                          <p:spTgt spid="13"/>
                                        </p:tgtEl>
                                        <p:attrNameLst>
                                          <p:attrName>style.visibility</p:attrName>
                                        </p:attrNameLst>
                                      </p:cBhvr>
                                      <p:to>
                                        <p:strVal val="visible"/>
                                      </p:to>
                                    </p:set>
                                    <p:anim calcmode="lin" valueType="num">
                                      <p:cBhvr additive="base">
                                        <p:cTn id="15" dur="850" fill="hold"/>
                                        <p:tgtEl>
                                          <p:spTgt spid="13"/>
                                        </p:tgtEl>
                                        <p:attrNameLst>
                                          <p:attrName>ppt_x</p:attrName>
                                        </p:attrNameLst>
                                      </p:cBhvr>
                                      <p:tavLst>
                                        <p:tav tm="0">
                                          <p:val>
                                            <p:strVal val="0-#ppt_w/2"/>
                                          </p:val>
                                        </p:tav>
                                        <p:tav tm="100000">
                                          <p:val>
                                            <p:strVal val="#ppt_x"/>
                                          </p:val>
                                        </p:tav>
                                      </p:tavLst>
                                    </p:anim>
                                    <p:anim calcmode="lin" valueType="num">
                                      <p:cBhvr additive="base">
                                        <p:cTn id="16" dur="850" fill="hold"/>
                                        <p:tgtEl>
                                          <p:spTgt spid="13"/>
                                        </p:tgtEl>
                                        <p:attrNameLst>
                                          <p:attrName>ppt_y</p:attrName>
                                        </p:attrNameLst>
                                      </p:cBhvr>
                                      <p:tavLst>
                                        <p:tav tm="0">
                                          <p:val>
                                            <p:strVal val="#ppt_y"/>
                                          </p:val>
                                        </p:tav>
                                        <p:tav tm="100000">
                                          <p:val>
                                            <p:strVal val="#ppt_y"/>
                                          </p:val>
                                        </p:tav>
                                      </p:tavLst>
                                    </p:anim>
                                  </p:childTnLst>
                                </p:cTn>
                              </p:par>
                              <p:par>
                                <p:cTn id="17" presetID="10" presetClass="entr" presetSubtype="0" fill="hold" grpId="0" nodeType="withEffect">
                                  <p:stCondLst>
                                    <p:cond delay="580"/>
                                  </p:stCondLst>
                                  <p:childTnLst>
                                    <p:set>
                                      <p:cBhvr>
                                        <p:cTn id="18" dur="1" fill="hold">
                                          <p:stCondLst>
                                            <p:cond delay="0"/>
                                          </p:stCondLst>
                                        </p:cTn>
                                        <p:tgtEl>
                                          <p:spTgt spid="2"/>
                                        </p:tgtEl>
                                        <p:attrNameLst>
                                          <p:attrName>style.visibility</p:attrName>
                                        </p:attrNameLst>
                                      </p:cBhvr>
                                      <p:to>
                                        <p:strVal val="visible"/>
                                      </p:to>
                                    </p:set>
                                    <p:animEffect transition="in" filter="fade">
                                      <p:cBhvr>
                                        <p:cTn id="19" dur="750"/>
                                        <p:tgtEl>
                                          <p:spTgt spid="2"/>
                                        </p:tgtEl>
                                      </p:cBhvr>
                                    </p:animEffect>
                                  </p:childTnLst>
                                </p:cTn>
                              </p:par>
                              <p:par>
                                <p:cTn id="20" presetID="63" presetClass="path" presetSubtype="0" decel="100000" fill="hold" grpId="1" nodeType="withEffect">
                                  <p:stCondLst>
                                    <p:cond delay="580"/>
                                  </p:stCondLst>
                                  <p:childTnLst>
                                    <p:animMotion origin="layout" path="M -0.02409 1.50289E-6 L -4.16667E-7 1.50289E-6 " pathEditMode="relative" rAng="0" ptsTypes="AA">
                                      <p:cBhvr>
                                        <p:cTn id="21" dur="500" fill="hold"/>
                                        <p:tgtEl>
                                          <p:spTgt spid="2"/>
                                        </p:tgtEl>
                                        <p:attrNameLst>
                                          <p:attrName>ppt_x</p:attrName>
                                          <p:attrName>ppt_y</p:attrName>
                                        </p:attrNameLst>
                                      </p:cBhvr>
                                      <p:rCtr x="1198" y="0"/>
                                    </p:animMotion>
                                  </p:childTnLst>
                                </p:cTn>
                              </p:par>
                              <p:par>
                                <p:cTn id="22" presetID="10" presetClass="entr" presetSubtype="0" fill="hold" grpId="0" nodeType="withEffect">
                                  <p:stCondLst>
                                    <p:cond delay="68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750"/>
                                        <p:tgtEl>
                                          <p:spTgt spid="5"/>
                                        </p:tgtEl>
                                      </p:cBhvr>
                                    </p:animEffect>
                                  </p:childTnLst>
                                </p:cTn>
                              </p:par>
                              <p:par>
                                <p:cTn id="25" presetID="63" presetClass="path" presetSubtype="0" decel="100000" fill="hold" grpId="1" nodeType="withEffect">
                                  <p:stCondLst>
                                    <p:cond delay="680"/>
                                  </p:stCondLst>
                                  <p:childTnLst>
                                    <p:animMotion origin="layout" path="M -0.02409 1.50289E-6 L -4.16667E-7 1.50289E-6 " pathEditMode="relative" rAng="0" ptsTypes="AA">
                                      <p:cBhvr>
                                        <p:cTn id="26" dur="500" fill="hold"/>
                                        <p:tgtEl>
                                          <p:spTgt spid="5"/>
                                        </p:tgtEl>
                                        <p:attrNameLst>
                                          <p:attrName>ppt_x</p:attrName>
                                          <p:attrName>ppt_y</p:attrName>
                                        </p:attrNameLst>
                                      </p:cBhvr>
                                      <p:rCtr x="119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680"/>
                  </p:stCondLst>
                  <p:childTnLst>
                    <p:set>
                      <p:cBhvr>
                        <p:cTn dur="1" fill="hold">
                          <p:stCondLst>
                            <p:cond delay="0"/>
                          </p:stCondLst>
                        </p:cTn>
                        <p:tgtEl>
                          <p:spTgt spid="5"/>
                        </p:tgtEl>
                        <p:attrNameLst>
                          <p:attrName>style.visibility</p:attrName>
                        </p:attrNameLst>
                      </p:cBhvr>
                      <p:to>
                        <p:strVal val="visible"/>
                      </p:to>
                    </p:set>
                    <p:animEffect transition="in" filter="fade">
                      <p:cBhvr>
                        <p:cTn dur="750"/>
                        <p:tgtEl>
                          <p:spTgt spid="5"/>
                        </p:tgtEl>
                      </p:cBhvr>
                    </p:animEffect>
                  </p:childTnLst>
                </p:cTn>
              </p:par>
            </p:tnLst>
          </p:tmpl>
        </p:tmplLst>
      </p:bldP>
      <p:bldP spid="5" grpId="1">
        <p:tmplLst>
          <p:tmpl>
            <p:tnLst>
              <p:par>
                <p:cTn presetID="63" presetClass="path" presetSubtype="0" decel="100000" fill="hold" nodeType="withEffect">
                  <p:stCondLst>
                    <p:cond delay="680"/>
                  </p:stCondLst>
                  <p:childTnLst>
                    <p:animMotion origin="layout" path="M -0.02409 1.50289E-6 L -4.16667E-7 1.50289E-6 " pathEditMode="relative" rAng="0" ptsTypes="AA">
                      <p:cBhvr>
                        <p:cTn dur="500" fill="hold"/>
                        <p:tgtEl>
                          <p:spTgt spid="5"/>
                        </p:tgtEl>
                        <p:attrNameLst>
                          <p:attrName>ppt_x</p:attrName>
                          <p:attrName>ppt_y</p:attrName>
                        </p:attrNameLst>
                      </p:cBhvr>
                      <p:rCtr x="1198" y="0"/>
                    </p:animMotion>
                  </p:childTnLst>
                </p:cTn>
              </p:par>
            </p:tnLst>
          </p:tmpl>
        </p:tmplLst>
      </p:bldP>
      <p:bldP spid="12" grpId="0" animBg="1"/>
      <p:bldP spid="13" grpId="0" animBg="1"/>
      <p:bldP spid="14" grpId="0" animBg="1"/>
    </p:bld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Vide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6"/>
            <a:ext cx="9856549" cy="2697988"/>
          </a:xfrm>
          <a:noFill/>
        </p:spPr>
        <p:txBody>
          <a:bodyPr tIns="91440" bIns="91440" anchor="t" anchorCtr="0"/>
          <a:lstStyle>
            <a:lvl1pPr>
              <a:defRPr sz="7057" spc="-98" baseline="0">
                <a:gradFill>
                  <a:gsLst>
                    <a:gs pos="91241">
                      <a:schemeClr val="tx1"/>
                    </a:gs>
                    <a:gs pos="57000">
                      <a:schemeClr val="tx1"/>
                    </a:gs>
                    <a:gs pos="18000">
                      <a:schemeClr val="tx1"/>
                    </a:gs>
                  </a:gsLst>
                  <a:lin ang="5400000" scaled="0"/>
                </a:gradFill>
              </a:defRPr>
            </a:lvl1pPr>
          </a:lstStyle>
          <a:p>
            <a:r>
              <a:rPr lang="en-US" dirty="0" smtClean="0"/>
              <a:t>Video title</a:t>
            </a:r>
            <a:endParaRPr lang="en-US" dirty="0"/>
          </a:p>
        </p:txBody>
      </p:sp>
      <p:sp>
        <p:nvSpPr>
          <p:cNvPr id="8" name="Rectangle 7"/>
          <p:cNvSpPr/>
          <p:nvPr userDrawn="1"/>
        </p:nvSpPr>
        <p:spPr bwMode="gray">
          <a:xfrm flipH="1">
            <a:off x="6542508" y="5629606"/>
            <a:ext cx="4989553" cy="413419"/>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9" name="Rectangle 8"/>
          <p:cNvSpPr/>
          <p:nvPr userDrawn="1"/>
        </p:nvSpPr>
        <p:spPr bwMode="gray">
          <a:xfrm flipH="1">
            <a:off x="7289923" y="5795020"/>
            <a:ext cx="4898902" cy="409756"/>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10" name="Rectangle 9"/>
          <p:cNvSpPr/>
          <p:nvPr userDrawn="1"/>
        </p:nvSpPr>
        <p:spPr bwMode="gray">
          <a:xfrm flipH="1">
            <a:off x="7050344" y="6160357"/>
            <a:ext cx="4971785" cy="409756"/>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Tree>
    <p:extLst>
      <p:ext uri="{BB962C8B-B14F-4D97-AF65-F5344CB8AC3E}">
        <p14:creationId xmlns:p14="http://schemas.microsoft.com/office/powerpoint/2010/main" val="29168170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8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750"/>
                                        <p:tgtEl>
                                          <p:spTgt spid="2"/>
                                        </p:tgtEl>
                                      </p:cBhvr>
                                    </p:animEffect>
                                  </p:childTnLst>
                                </p:cTn>
                              </p:par>
                              <p:par>
                                <p:cTn id="8" presetID="63" presetClass="path" presetSubtype="0" decel="100000" fill="hold" grpId="1" nodeType="withEffect">
                                  <p:stCondLst>
                                    <p:cond delay="580"/>
                                  </p:stCondLst>
                                  <p:childTnLst>
                                    <p:animMotion origin="layout" path="M -0.02409 1.50289E-6 L -4.16667E-7 1.50289E-6 " pathEditMode="relative" rAng="0" ptsTypes="AA">
                                      <p:cBhvr>
                                        <p:cTn id="9" dur="500" fill="hold"/>
                                        <p:tgtEl>
                                          <p:spTgt spid="2"/>
                                        </p:tgtEl>
                                        <p:attrNameLst>
                                          <p:attrName>ppt_x</p:attrName>
                                          <p:attrName>ppt_y</p:attrName>
                                        </p:attrNameLst>
                                      </p:cBhvr>
                                      <p:rCtr x="1198" y="0"/>
                                    </p:animMotion>
                                  </p:childTnLst>
                                </p:cTn>
                              </p:par>
                              <p:par>
                                <p:cTn id="10" presetID="2" presetClass="entr" presetSubtype="2" decel="10000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 calcmode="lin" valueType="num">
                                      <p:cBhvr additive="base">
                                        <p:cTn id="12" dur="850" fill="hold"/>
                                        <p:tgtEl>
                                          <p:spTgt spid="8"/>
                                        </p:tgtEl>
                                        <p:attrNameLst>
                                          <p:attrName>ppt_x</p:attrName>
                                        </p:attrNameLst>
                                      </p:cBhvr>
                                      <p:tavLst>
                                        <p:tav tm="0">
                                          <p:val>
                                            <p:strVal val="1+#ppt_w/2"/>
                                          </p:val>
                                        </p:tav>
                                        <p:tav tm="100000">
                                          <p:val>
                                            <p:strVal val="#ppt_x"/>
                                          </p:val>
                                        </p:tav>
                                      </p:tavLst>
                                    </p:anim>
                                    <p:anim calcmode="lin" valueType="num">
                                      <p:cBhvr additive="base">
                                        <p:cTn id="13" dur="850" fill="hold"/>
                                        <p:tgtEl>
                                          <p:spTgt spid="8"/>
                                        </p:tgtEl>
                                        <p:attrNameLst>
                                          <p:attrName>ppt_y</p:attrName>
                                        </p:attrNameLst>
                                      </p:cBhvr>
                                      <p:tavLst>
                                        <p:tav tm="0">
                                          <p:val>
                                            <p:strVal val="#ppt_y"/>
                                          </p:val>
                                        </p:tav>
                                        <p:tav tm="100000">
                                          <p:val>
                                            <p:strVal val="#ppt_y"/>
                                          </p:val>
                                        </p:tav>
                                      </p:tavLst>
                                    </p:anim>
                                  </p:childTnLst>
                                </p:cTn>
                              </p:par>
                              <p:par>
                                <p:cTn id="14" presetID="2" presetClass="entr" presetSubtype="2" decel="100000" fill="hold" grpId="0" nodeType="withEffect">
                                  <p:stCondLst>
                                    <p:cond delay="250"/>
                                  </p:stCondLst>
                                  <p:childTnLst>
                                    <p:set>
                                      <p:cBhvr>
                                        <p:cTn id="15" dur="1" fill="hold">
                                          <p:stCondLst>
                                            <p:cond delay="0"/>
                                          </p:stCondLst>
                                        </p:cTn>
                                        <p:tgtEl>
                                          <p:spTgt spid="10"/>
                                        </p:tgtEl>
                                        <p:attrNameLst>
                                          <p:attrName>style.visibility</p:attrName>
                                        </p:attrNameLst>
                                      </p:cBhvr>
                                      <p:to>
                                        <p:strVal val="visible"/>
                                      </p:to>
                                    </p:set>
                                    <p:anim calcmode="lin" valueType="num">
                                      <p:cBhvr additive="base">
                                        <p:cTn id="16" dur="850" fill="hold"/>
                                        <p:tgtEl>
                                          <p:spTgt spid="10"/>
                                        </p:tgtEl>
                                        <p:attrNameLst>
                                          <p:attrName>ppt_x</p:attrName>
                                        </p:attrNameLst>
                                      </p:cBhvr>
                                      <p:tavLst>
                                        <p:tav tm="0">
                                          <p:val>
                                            <p:strVal val="1+#ppt_w/2"/>
                                          </p:val>
                                        </p:tav>
                                        <p:tav tm="100000">
                                          <p:val>
                                            <p:strVal val="#ppt_x"/>
                                          </p:val>
                                        </p:tav>
                                      </p:tavLst>
                                    </p:anim>
                                    <p:anim calcmode="lin" valueType="num">
                                      <p:cBhvr additive="base">
                                        <p:cTn id="17" dur="850" fill="hold"/>
                                        <p:tgtEl>
                                          <p:spTgt spid="10"/>
                                        </p:tgtEl>
                                        <p:attrNameLst>
                                          <p:attrName>ppt_y</p:attrName>
                                        </p:attrNameLst>
                                      </p:cBhvr>
                                      <p:tavLst>
                                        <p:tav tm="0">
                                          <p:val>
                                            <p:strVal val="#ppt_y"/>
                                          </p:val>
                                        </p:tav>
                                        <p:tav tm="100000">
                                          <p:val>
                                            <p:strVal val="#ppt_y"/>
                                          </p:val>
                                        </p:tav>
                                      </p:tavLst>
                                    </p:anim>
                                  </p:childTnLst>
                                </p:cTn>
                              </p:par>
                              <p:par>
                                <p:cTn id="18" presetID="2" presetClass="entr" presetSubtype="8" decel="100000" fill="hold" grpId="0" nodeType="withEffect">
                                  <p:stCondLst>
                                    <p:cond delay="250"/>
                                  </p:stCondLst>
                                  <p:childTnLst>
                                    <p:set>
                                      <p:cBhvr>
                                        <p:cTn id="19" dur="1" fill="hold">
                                          <p:stCondLst>
                                            <p:cond delay="0"/>
                                          </p:stCondLst>
                                        </p:cTn>
                                        <p:tgtEl>
                                          <p:spTgt spid="9"/>
                                        </p:tgtEl>
                                        <p:attrNameLst>
                                          <p:attrName>style.visibility</p:attrName>
                                        </p:attrNameLst>
                                      </p:cBhvr>
                                      <p:to>
                                        <p:strVal val="visible"/>
                                      </p:to>
                                    </p:set>
                                    <p:anim calcmode="lin" valueType="num">
                                      <p:cBhvr additive="base">
                                        <p:cTn id="20" dur="850" fill="hold"/>
                                        <p:tgtEl>
                                          <p:spTgt spid="9"/>
                                        </p:tgtEl>
                                        <p:attrNameLst>
                                          <p:attrName>ppt_x</p:attrName>
                                        </p:attrNameLst>
                                      </p:cBhvr>
                                      <p:tavLst>
                                        <p:tav tm="0">
                                          <p:val>
                                            <p:strVal val="0-#ppt_w/2"/>
                                          </p:val>
                                        </p:tav>
                                        <p:tav tm="100000">
                                          <p:val>
                                            <p:strVal val="#ppt_x"/>
                                          </p:val>
                                        </p:tav>
                                      </p:tavLst>
                                    </p:anim>
                                    <p:anim calcmode="lin" valueType="num">
                                      <p:cBhvr additive="base">
                                        <p:cTn id="21" dur="85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8" grpId="0" animBg="1"/>
      <p:bldP spid="9" grpId="0" animBg="1"/>
      <p:bldP spid="10" grpId="0" animBg="1"/>
    </p:bld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Section Title Textur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defRPr sz="8625"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
        <p:nvSpPr>
          <p:cNvPr id="5" name="Rectangle 4"/>
          <p:cNvSpPr/>
          <p:nvPr userDrawn="1"/>
        </p:nvSpPr>
        <p:spPr bwMode="gray">
          <a:xfrm>
            <a:off x="680052" y="470068"/>
            <a:ext cx="3186321" cy="597822"/>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6" name="Rectangle 5"/>
          <p:cNvSpPr/>
          <p:nvPr userDrawn="1"/>
        </p:nvSpPr>
        <p:spPr bwMode="gray">
          <a:xfrm>
            <a:off x="-28047" y="589799"/>
            <a:ext cx="3175520" cy="597822"/>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8" name="Rectangle 7"/>
          <p:cNvSpPr/>
          <p:nvPr userDrawn="1"/>
        </p:nvSpPr>
        <p:spPr bwMode="gray">
          <a:xfrm flipH="1">
            <a:off x="6542508" y="5629606"/>
            <a:ext cx="4989553" cy="413419"/>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9" name="Rectangle 8"/>
          <p:cNvSpPr/>
          <p:nvPr userDrawn="1"/>
        </p:nvSpPr>
        <p:spPr bwMode="gray">
          <a:xfrm flipH="1">
            <a:off x="7289923" y="5795020"/>
            <a:ext cx="4898902" cy="409756"/>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10" name="Rectangle 9"/>
          <p:cNvSpPr/>
          <p:nvPr userDrawn="1"/>
        </p:nvSpPr>
        <p:spPr bwMode="gray">
          <a:xfrm flipH="1">
            <a:off x="7050344" y="6160357"/>
            <a:ext cx="4971785" cy="409756"/>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Tree>
    <p:extLst>
      <p:ext uri="{BB962C8B-B14F-4D97-AF65-F5344CB8AC3E}">
        <p14:creationId xmlns:p14="http://schemas.microsoft.com/office/powerpoint/2010/main" val="276985288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850" fill="hold"/>
                                        <p:tgtEl>
                                          <p:spTgt spid="6"/>
                                        </p:tgtEl>
                                        <p:attrNameLst>
                                          <p:attrName>ppt_x</p:attrName>
                                        </p:attrNameLst>
                                      </p:cBhvr>
                                      <p:tavLst>
                                        <p:tav tm="0">
                                          <p:val>
                                            <p:strVal val="0-#ppt_w/2"/>
                                          </p:val>
                                        </p:tav>
                                        <p:tav tm="100000">
                                          <p:val>
                                            <p:strVal val="#ppt_x"/>
                                          </p:val>
                                        </p:tav>
                                      </p:tavLst>
                                    </p:anim>
                                    <p:anim calcmode="lin" valueType="num">
                                      <p:cBhvr additive="base">
                                        <p:cTn id="8" dur="850" fill="hold"/>
                                        <p:tgtEl>
                                          <p:spTgt spid="6"/>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850" fill="hold"/>
                                        <p:tgtEl>
                                          <p:spTgt spid="5"/>
                                        </p:tgtEl>
                                        <p:attrNameLst>
                                          <p:attrName>ppt_x</p:attrName>
                                        </p:attrNameLst>
                                      </p:cBhvr>
                                      <p:tavLst>
                                        <p:tav tm="0">
                                          <p:val>
                                            <p:strVal val="1+#ppt_w/2"/>
                                          </p:val>
                                        </p:tav>
                                        <p:tav tm="100000">
                                          <p:val>
                                            <p:strVal val="#ppt_x"/>
                                          </p:val>
                                        </p:tav>
                                      </p:tavLst>
                                    </p:anim>
                                    <p:anim calcmode="lin" valueType="num">
                                      <p:cBhvr additive="base">
                                        <p:cTn id="12" dur="850" fill="hold"/>
                                        <p:tgtEl>
                                          <p:spTgt spid="5"/>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58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750"/>
                                        <p:tgtEl>
                                          <p:spTgt spid="2"/>
                                        </p:tgtEl>
                                      </p:cBhvr>
                                    </p:animEffect>
                                  </p:childTnLst>
                                </p:cTn>
                              </p:par>
                              <p:par>
                                <p:cTn id="16" presetID="63" presetClass="path" presetSubtype="0" decel="100000" fill="hold" grpId="1" nodeType="withEffect">
                                  <p:stCondLst>
                                    <p:cond delay="580"/>
                                  </p:stCondLst>
                                  <p:childTnLst>
                                    <p:animMotion origin="layout" path="M -0.02409 1.50289E-6 L -4.16667E-7 1.50289E-6 " pathEditMode="relative" rAng="0" ptsTypes="AA">
                                      <p:cBhvr>
                                        <p:cTn id="17" dur="500" fill="hold"/>
                                        <p:tgtEl>
                                          <p:spTgt spid="2"/>
                                        </p:tgtEl>
                                        <p:attrNameLst>
                                          <p:attrName>ppt_x</p:attrName>
                                          <p:attrName>ppt_y</p:attrName>
                                        </p:attrNameLst>
                                      </p:cBhvr>
                                      <p:rCtr x="1198" y="0"/>
                                    </p:animMotion>
                                  </p:childTnLst>
                                </p:cTn>
                              </p:par>
                              <p:par>
                                <p:cTn id="18" presetID="2" presetClass="entr" presetSubtype="2" decel="100000" fill="hold" grpId="0" nodeType="withEffect">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cBhvr additive="base">
                                        <p:cTn id="20" dur="850" fill="hold"/>
                                        <p:tgtEl>
                                          <p:spTgt spid="8"/>
                                        </p:tgtEl>
                                        <p:attrNameLst>
                                          <p:attrName>ppt_x</p:attrName>
                                        </p:attrNameLst>
                                      </p:cBhvr>
                                      <p:tavLst>
                                        <p:tav tm="0">
                                          <p:val>
                                            <p:strVal val="1+#ppt_w/2"/>
                                          </p:val>
                                        </p:tav>
                                        <p:tav tm="100000">
                                          <p:val>
                                            <p:strVal val="#ppt_x"/>
                                          </p:val>
                                        </p:tav>
                                      </p:tavLst>
                                    </p:anim>
                                    <p:anim calcmode="lin" valueType="num">
                                      <p:cBhvr additive="base">
                                        <p:cTn id="21" dur="850" fill="hold"/>
                                        <p:tgtEl>
                                          <p:spTgt spid="8"/>
                                        </p:tgtEl>
                                        <p:attrNameLst>
                                          <p:attrName>ppt_y</p:attrName>
                                        </p:attrNameLst>
                                      </p:cBhvr>
                                      <p:tavLst>
                                        <p:tav tm="0">
                                          <p:val>
                                            <p:strVal val="#ppt_y"/>
                                          </p:val>
                                        </p:tav>
                                        <p:tav tm="100000">
                                          <p:val>
                                            <p:strVal val="#ppt_y"/>
                                          </p:val>
                                        </p:tav>
                                      </p:tavLst>
                                    </p:anim>
                                  </p:childTnLst>
                                </p:cTn>
                              </p:par>
                              <p:par>
                                <p:cTn id="22" presetID="2" presetClass="entr" presetSubtype="2" decel="100000" fill="hold" grpId="0" nodeType="withEffect">
                                  <p:stCondLst>
                                    <p:cond delay="250"/>
                                  </p:stCondLst>
                                  <p:childTnLst>
                                    <p:set>
                                      <p:cBhvr>
                                        <p:cTn id="23" dur="1" fill="hold">
                                          <p:stCondLst>
                                            <p:cond delay="0"/>
                                          </p:stCondLst>
                                        </p:cTn>
                                        <p:tgtEl>
                                          <p:spTgt spid="10"/>
                                        </p:tgtEl>
                                        <p:attrNameLst>
                                          <p:attrName>style.visibility</p:attrName>
                                        </p:attrNameLst>
                                      </p:cBhvr>
                                      <p:to>
                                        <p:strVal val="visible"/>
                                      </p:to>
                                    </p:set>
                                    <p:anim calcmode="lin" valueType="num">
                                      <p:cBhvr additive="base">
                                        <p:cTn id="24" dur="850" fill="hold"/>
                                        <p:tgtEl>
                                          <p:spTgt spid="10"/>
                                        </p:tgtEl>
                                        <p:attrNameLst>
                                          <p:attrName>ppt_x</p:attrName>
                                        </p:attrNameLst>
                                      </p:cBhvr>
                                      <p:tavLst>
                                        <p:tav tm="0">
                                          <p:val>
                                            <p:strVal val="1+#ppt_w/2"/>
                                          </p:val>
                                        </p:tav>
                                        <p:tav tm="100000">
                                          <p:val>
                                            <p:strVal val="#ppt_x"/>
                                          </p:val>
                                        </p:tav>
                                      </p:tavLst>
                                    </p:anim>
                                    <p:anim calcmode="lin" valueType="num">
                                      <p:cBhvr additive="base">
                                        <p:cTn id="25" dur="850" fill="hold"/>
                                        <p:tgtEl>
                                          <p:spTgt spid="10"/>
                                        </p:tgtEl>
                                        <p:attrNameLst>
                                          <p:attrName>ppt_y</p:attrName>
                                        </p:attrNameLst>
                                      </p:cBhvr>
                                      <p:tavLst>
                                        <p:tav tm="0">
                                          <p:val>
                                            <p:strVal val="#ppt_y"/>
                                          </p:val>
                                        </p:tav>
                                        <p:tav tm="100000">
                                          <p:val>
                                            <p:strVal val="#ppt_y"/>
                                          </p:val>
                                        </p:tav>
                                      </p:tavLst>
                                    </p:anim>
                                  </p:childTnLst>
                                </p:cTn>
                              </p:par>
                              <p:par>
                                <p:cTn id="26" presetID="2" presetClass="entr" presetSubtype="8" decel="100000" fill="hold" grpId="0" nodeType="withEffect">
                                  <p:stCondLst>
                                    <p:cond delay="250"/>
                                  </p:stCondLst>
                                  <p:childTnLst>
                                    <p:set>
                                      <p:cBhvr>
                                        <p:cTn id="27" dur="1" fill="hold">
                                          <p:stCondLst>
                                            <p:cond delay="0"/>
                                          </p:stCondLst>
                                        </p:cTn>
                                        <p:tgtEl>
                                          <p:spTgt spid="9"/>
                                        </p:tgtEl>
                                        <p:attrNameLst>
                                          <p:attrName>style.visibility</p:attrName>
                                        </p:attrNameLst>
                                      </p:cBhvr>
                                      <p:to>
                                        <p:strVal val="visible"/>
                                      </p:to>
                                    </p:set>
                                    <p:anim calcmode="lin" valueType="num">
                                      <p:cBhvr additive="base">
                                        <p:cTn id="28" dur="850" fill="hold"/>
                                        <p:tgtEl>
                                          <p:spTgt spid="9"/>
                                        </p:tgtEl>
                                        <p:attrNameLst>
                                          <p:attrName>ppt_x</p:attrName>
                                        </p:attrNameLst>
                                      </p:cBhvr>
                                      <p:tavLst>
                                        <p:tav tm="0">
                                          <p:val>
                                            <p:strVal val="0-#ppt_w/2"/>
                                          </p:val>
                                        </p:tav>
                                        <p:tav tm="100000">
                                          <p:val>
                                            <p:strVal val="#ppt_x"/>
                                          </p:val>
                                        </p:tav>
                                      </p:tavLst>
                                    </p:anim>
                                    <p:anim calcmode="lin" valueType="num">
                                      <p:cBhvr additive="base">
                                        <p:cTn id="29" dur="85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animBg="1"/>
      <p:bldP spid="6" grpId="0" animBg="1"/>
      <p:bldP spid="8" grpId="0" animBg="1"/>
      <p:bldP spid="9" grpId="0" animBg="1"/>
      <p:bldP spid="10" grpId="0" animBg="1"/>
    </p:bld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1966692"/>
          </a:xfrm>
        </p:spPr>
        <p:txBody>
          <a:bodyPr>
            <a:spAutoFit/>
          </a:bodyPr>
          <a:lstStyle>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82662641"/>
      </p:ext>
    </p:extLst>
  </p:cSld>
  <p:clrMapOvr>
    <a:masterClrMapping/>
  </p:clrMapOvr>
  <p:transition>
    <p:fade/>
  </p:transition>
  <p:timing>
    <p:tnLst>
      <p:par>
        <p:cT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defRPr sz="8625"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28920930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409098533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187515640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66073853"/>
      </p:ext>
    </p:extLst>
  </p:cSld>
  <p:clrMapOvr>
    <a:masterClrMapping/>
  </p:clrMapOvr>
  <p:transition>
    <p:fade/>
  </p:transition>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31830616"/>
      </p:ext>
    </p:extLst>
  </p:cSld>
  <p:clrMapOvr>
    <a:masterClrMapping/>
  </p:clrMapOvr>
  <p:transition>
    <p:fade/>
  </p:transition>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33162228"/>
      </p:ext>
    </p:extLst>
  </p:cSld>
  <p:clrMapOvr>
    <a:masterClrMapping/>
  </p:clrMapOvr>
  <p:transition>
    <p:fade/>
  </p:transition>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289918407"/>
      </p:ext>
    </p:extLst>
  </p:cSld>
  <p:clrMapOvr>
    <a:masterClrMapping/>
  </p:clrMapOvr>
  <p:transition>
    <p:fade/>
  </p:transition>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89421045"/>
      </p:ext>
    </p:extLst>
  </p:cSld>
  <p:clrMapOvr>
    <a:masterClrMapping/>
  </p:clrMapOvr>
  <p:transition>
    <p:fade/>
  </p:transition>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5109">
                      <a:schemeClr val="tx2"/>
                    </a:gs>
                    <a:gs pos="2500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100000">
                      <a:schemeClr val="tx2"/>
                    </a:gs>
                    <a:gs pos="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14289752"/>
      </p:ext>
    </p:extLst>
  </p:cSld>
  <p:clrMapOvr>
    <a:masterClrMapping/>
  </p:clrMapOvr>
  <p:transition>
    <p:fade/>
  </p:transition>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95494501"/>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1_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3" y="1447799"/>
            <a:ext cx="11149013" cy="1975926"/>
          </a:xfrm>
          <a:prstGeom prst="rect">
            <a:avLst/>
          </a:prstGeom>
        </p:spPr>
        <p:txBody>
          <a:bodyPr/>
          <a:lstStyle>
            <a:lvl1pPr marL="0" indent="0">
              <a:spcBef>
                <a:spcPts val="2399"/>
              </a:spcBef>
              <a:buNone/>
              <a:defRPr sz="3999">
                <a:gradFill>
                  <a:gsLst>
                    <a:gs pos="100000">
                      <a:schemeClr val="bg2"/>
                    </a:gs>
                    <a:gs pos="0">
                      <a:schemeClr val="bg2"/>
                    </a:gs>
                  </a:gsLst>
                  <a:lin ang="5400000" scaled="0"/>
                </a:gradFill>
                <a:latin typeface="+mj-lt"/>
              </a:defRPr>
            </a:lvl1pPr>
            <a:lvl2pPr marL="0" indent="0">
              <a:buNone/>
              <a:defRPr sz="1999">
                <a:gradFill>
                  <a:gsLst>
                    <a:gs pos="100000">
                      <a:schemeClr val="bg2"/>
                    </a:gs>
                    <a:gs pos="0">
                      <a:schemeClr val="bg2"/>
                    </a:gs>
                  </a:gsLst>
                  <a:lin ang="5400000" scaled="0"/>
                </a:gradFill>
              </a:defRPr>
            </a:lvl2pPr>
            <a:lvl3pPr marL="231683" indent="0">
              <a:buNone/>
              <a:defRPr sz="1999">
                <a:gradFill>
                  <a:gsLst>
                    <a:gs pos="100000">
                      <a:schemeClr val="bg2"/>
                    </a:gs>
                    <a:gs pos="0">
                      <a:schemeClr val="bg2"/>
                    </a:gs>
                  </a:gsLst>
                  <a:lin ang="5400000" scaled="0"/>
                </a:gradFill>
              </a:defRPr>
            </a:lvl3pPr>
            <a:lvl4pPr marL="457019" indent="0">
              <a:buNone/>
              <a:defRPr sz="1999">
                <a:gradFill>
                  <a:gsLst>
                    <a:gs pos="100000">
                      <a:schemeClr val="bg2"/>
                    </a:gs>
                    <a:gs pos="0">
                      <a:schemeClr val="bg2"/>
                    </a:gs>
                  </a:gsLst>
                  <a:lin ang="5400000" scaled="0"/>
                </a:gradFill>
              </a:defRPr>
            </a:lvl4pPr>
            <a:lvl5pPr marL="693463" indent="0">
              <a:buNone/>
              <a:defRPr sz="1999">
                <a:gradFill>
                  <a:gsLst>
                    <a:gs pos="100000">
                      <a:schemeClr val="bg2"/>
                    </a:gs>
                    <a:gs pos="0">
                      <a:schemeClr val="bg2"/>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6"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defTabSz="914001"/>
            <a:fld id="{727B4C2D-45E2-4621-8491-2995EB46A674}" type="slidenum">
              <a:rPr lang="en-US" smtClean="0">
                <a:gradFill>
                  <a:gsLst>
                    <a:gs pos="100000">
                      <a:srgbClr val="797A7D"/>
                    </a:gs>
                    <a:gs pos="0">
                      <a:srgbClr val="797A7D"/>
                    </a:gs>
                  </a:gsLst>
                  <a:lin ang="5400000" scaled="0"/>
                </a:gradFill>
              </a:rPr>
              <a:pPr defTabSz="914001"/>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608464890"/>
      </p:ext>
    </p:extLst>
  </p:cSld>
  <p:clrMapOvr>
    <a:masterClrMapping/>
  </p:clrMapOvr>
  <p:transition>
    <p:fade/>
  </p:transition>
  <p:timing>
    <p:tnLst>
      <p:par>
        <p:cTn id="1" dur="indefinite" restart="never" nodeType="tmRoot"/>
      </p:par>
    </p:tn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79512846"/>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616929571"/>
      </p:ext>
    </p:extLst>
  </p:cSld>
  <p:clrMapOvr>
    <a:masterClrMapping/>
  </p:clrMapOvr>
  <p:transition>
    <p:fade/>
  </p:transition>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Picture Placeholder 3"/>
          <p:cNvSpPr>
            <a:spLocks noGrp="1"/>
          </p:cNvSpPr>
          <p:nvPr>
            <p:ph type="pic" sz="quarter" idx="10"/>
          </p:nvPr>
        </p:nvSpPr>
        <p:spPr>
          <a:xfrm>
            <a:off x="6106791" y="1475741"/>
            <a:ext cx="5633939" cy="727571"/>
          </a:xfrm>
        </p:spPr>
        <p:txBody>
          <a:bodyPr/>
          <a:lstStyle/>
          <a:p>
            <a:endParaRPr lang="en-US"/>
          </a:p>
        </p:txBody>
      </p:sp>
    </p:spTree>
    <p:extLst>
      <p:ext uri="{BB962C8B-B14F-4D97-AF65-F5344CB8AC3E}">
        <p14:creationId xmlns:p14="http://schemas.microsoft.com/office/powerpoint/2010/main" val="4030093318"/>
      </p:ext>
    </p:extLst>
  </p:cSld>
  <p:clrMapOvr>
    <a:masterClrMapping/>
  </p:clrMapOvr>
  <p:transition>
    <p:fade/>
  </p:transition>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6949" y="1187621"/>
            <a:ext cx="11652805" cy="899665"/>
          </a:xfrm>
        </p:spPr>
        <p:txBody>
          <a:bodyPr/>
          <a:lstStyle>
            <a:lvl1pPr>
              <a:defRPr sz="7057" baseline="0"/>
            </a:lvl1pPr>
          </a:lstStyle>
          <a:p>
            <a:r>
              <a:rPr lang="en-US" smtClean="0"/>
              <a:t>Click to edit Master title style</a:t>
            </a:r>
            <a:endParaRPr lang="en-US" dirty="0"/>
          </a:p>
        </p:txBody>
      </p:sp>
    </p:spTree>
    <p:extLst>
      <p:ext uri="{BB962C8B-B14F-4D97-AF65-F5344CB8AC3E}">
        <p14:creationId xmlns:p14="http://schemas.microsoft.com/office/powerpoint/2010/main" val="3705317604"/>
      </p:ext>
    </p:extLst>
  </p:cSld>
  <p:clrMapOvr>
    <a:masterClrMapping/>
  </p:clrMapOvr>
  <p:transition>
    <p:fade/>
  </p:transition>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584551214"/>
      </p:ext>
    </p:extLst>
  </p:cSld>
  <p:clrMapOvr>
    <a:masterClrMapping/>
  </p:clrMapOvr>
  <p:transition>
    <p:fade/>
  </p:transition>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398385607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1178349"/>
            <a:ext cx="9858104" cy="899665"/>
          </a:xfrm>
        </p:spPr>
        <p:txBody>
          <a:bodyPr/>
          <a:lstStyle>
            <a:lvl1pPr marL="228719" indent="-228719">
              <a:defRPr sz="5881"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5025984"/>
            <a:ext cx="5377148" cy="1050156"/>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3388809227"/>
      </p:ext>
    </p:extLst>
  </p:cSld>
  <p:clrMapOvr>
    <a:masterClrMapping/>
  </p:clrMapOvr>
  <p:transition>
    <p:fade/>
  </p:transition>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2084173"/>
            <a:ext cx="9858104" cy="899665"/>
          </a:xfrm>
        </p:spPr>
        <p:txBody>
          <a:bodyPr/>
          <a:lstStyle>
            <a:lvl1pPr marL="276952" indent="-276952">
              <a:tabLst>
                <a:tab pos="276952" algn="l"/>
              </a:tabLst>
              <a:defRPr sz="5881"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4773813"/>
            <a:ext cx="5377148" cy="1050156"/>
          </a:xfrm>
        </p:spPr>
        <p:txBody>
          <a:bodyPr/>
          <a:lstStyle>
            <a:lvl1pPr marL="0" indent="0">
              <a:spcBef>
                <a:spcPts val="0"/>
              </a:spcBef>
              <a:buNone/>
              <a:defRPr sz="3136"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15959327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49" y="2383023"/>
            <a:ext cx="11650488"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smtClean="0"/>
              <a:t>Click to edit Master text styles</a:t>
            </a:r>
          </a:p>
        </p:txBody>
      </p:sp>
      <p:sp>
        <p:nvSpPr>
          <p:cNvPr id="4" name="Title 1"/>
          <p:cNvSpPr>
            <a:spLocks noGrp="1"/>
          </p:cNvSpPr>
          <p:nvPr>
            <p:ph type="title"/>
          </p:nvPr>
        </p:nvSpPr>
        <p:spPr>
          <a:xfrm>
            <a:off x="276949" y="1187621"/>
            <a:ext cx="11652805" cy="899665"/>
          </a:xfrm>
        </p:spPr>
        <p:txBody>
          <a:bodyPr/>
          <a:lstStyle>
            <a:lvl1pPr>
              <a:defRPr sz="7057"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1098602184"/>
      </p:ext>
    </p:extLst>
  </p:cSld>
  <p:clrMapOvr>
    <a:masterClrMapping/>
  </p:clrMapOvr>
  <p:transition>
    <p:fade/>
  </p:transition>
  <p:timing>
    <p:tnLst>
      <p:par>
        <p:cTn id="1" dur="indefinite" restart="never" nodeType="tmRoot"/>
      </p:par>
    </p:tn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9087702"/>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232756" y="157943"/>
            <a:ext cx="11722682" cy="1205345"/>
          </a:xfrm>
          <a:prstGeom prst="rect">
            <a:avLst/>
          </a:prstGeom>
        </p:spPr>
        <p:txBody>
          <a:bodyPr/>
          <a:lstStyle>
            <a:lvl1pPr>
              <a:defRPr sz="3999">
                <a:solidFill>
                  <a:srgbClr val="002050"/>
                </a:solidFill>
                <a:latin typeface="Segoe UI Light" pitchFamily="34" charset="0"/>
              </a:defRPr>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436563" y="1487489"/>
            <a:ext cx="11533187" cy="5159375"/>
          </a:xfrm>
          <a:prstGeom prst="rect">
            <a:avLst/>
          </a:prstGeom>
        </p:spPr>
        <p:txBody>
          <a:bodyPr/>
          <a:lstStyle>
            <a:lvl1pPr marL="342764" indent="-342764">
              <a:lnSpc>
                <a:spcPct val="100000"/>
              </a:lnSpc>
              <a:spcBef>
                <a:spcPts val="1799"/>
              </a:spcBef>
              <a:buClr>
                <a:schemeClr val="accent1"/>
              </a:buClr>
              <a:buSzPct val="100000"/>
              <a:buFont typeface="Arial" pitchFamily="34" charset="0"/>
              <a:buChar char="•"/>
              <a:defRPr sz="3199">
                <a:solidFill>
                  <a:srgbClr val="002050">
                    <a:alpha val="99000"/>
                  </a:srgbClr>
                </a:solidFill>
                <a:latin typeface="Segoe UI Light" panose="020B0502040204020203" pitchFamily="34" charset="0"/>
                <a:cs typeface="Segoe UI Light" panose="020B0502040204020203" pitchFamily="34" charset="0"/>
              </a:defRPr>
            </a:lvl1pPr>
            <a:lvl2pPr marL="807718" indent="-344351">
              <a:lnSpc>
                <a:spcPct val="100000"/>
              </a:lnSpc>
              <a:spcBef>
                <a:spcPts val="400"/>
              </a:spcBef>
              <a:spcAft>
                <a:spcPts val="400"/>
              </a:spcAft>
              <a:buClr>
                <a:schemeClr val="tx1">
                  <a:lumMod val="75000"/>
                  <a:lumOff val="25000"/>
                </a:schemeClr>
              </a:buClr>
              <a:buSzPct val="85000"/>
              <a:buFont typeface="Segoe UI" pitchFamily="34" charset="0"/>
              <a:buChar char="–"/>
              <a:defRPr sz="2799">
                <a:solidFill>
                  <a:schemeClr val="tx1">
                    <a:alpha val="99000"/>
                  </a:schemeClr>
                </a:solidFill>
                <a:latin typeface="Segoe UI Light" panose="020B0502040204020203" pitchFamily="34" charset="0"/>
                <a:cs typeface="Segoe UI Light" panose="020B0502040204020203" pitchFamily="34" charset="0"/>
              </a:defRPr>
            </a:lvl2pPr>
            <a:lvl3pPr marL="1198088" indent="-342764">
              <a:lnSpc>
                <a:spcPct val="100000"/>
              </a:lnSpc>
              <a:spcBef>
                <a:spcPts val="200"/>
              </a:spcBef>
              <a:spcAft>
                <a:spcPts val="200"/>
              </a:spcAft>
              <a:buClr>
                <a:schemeClr val="tx1">
                  <a:lumMod val="75000"/>
                  <a:lumOff val="25000"/>
                </a:schemeClr>
              </a:buClr>
              <a:buSzPct val="85000"/>
              <a:buFont typeface="Courier New" pitchFamily="49" charset="0"/>
              <a:buChar char="o"/>
              <a:defRPr sz="1799">
                <a:solidFill>
                  <a:schemeClr val="tx1">
                    <a:alpha val="99000"/>
                  </a:schemeClr>
                </a:solidFill>
                <a:latin typeface="Segoe UI Light" panose="020B0502040204020203" pitchFamily="34" charset="0"/>
                <a:cs typeface="Segoe UI Light" panose="020B0502040204020203" pitchFamily="34" charset="0"/>
              </a:defRPr>
            </a:lvl3pPr>
            <a:lvl4pPr>
              <a:defRPr sz="1999"/>
            </a:lvl4pPr>
            <a:lvl5pPr>
              <a:defRPr sz="1999"/>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327175645"/>
      </p:ext>
    </p:extLst>
  </p:cSld>
  <p:clrMapOvr>
    <a:masterClrMapping/>
  </p:clrMapOvr>
  <p:transition>
    <p:fade/>
  </p:transition>
  <p:timing>
    <p:tnLst>
      <p:par>
        <p:cTn id="1" dur="indefinite" restart="never" nodeType="tmRoot"/>
      </p:par>
    </p:tnLst>
  </p:timing>
  <p:hf hdr="0"/>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25284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4638653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417211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98836289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115" y="228602"/>
            <a:ext cx="11149013" cy="747897"/>
          </a:xfrm>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5" y="1447799"/>
            <a:ext cx="11149013" cy="2198551"/>
          </a:xfrm>
          <a:prstGeom prst="rect">
            <a:avLst/>
          </a:prstGeom>
        </p:spPr>
        <p:txBody>
          <a:bodyPr/>
          <a:lstStyle>
            <a:lvl1pPr marL="283635" indent="-283635">
              <a:buFont typeface="Wingdings" pitchFamily="2" charset="2"/>
              <a:buChar char=""/>
              <a:defRPr sz="3999"/>
            </a:lvl1pPr>
            <a:lvl2pPr marL="516563" indent="-232929">
              <a:buFont typeface="Wingdings" pitchFamily="2" charset="2"/>
              <a:buChar char=""/>
              <a:defRPr>
                <a:latin typeface="+mn-lt"/>
              </a:defRPr>
            </a:lvl2pPr>
            <a:lvl3pPr marL="739981" indent="-223422">
              <a:buFont typeface="Wingdings" pitchFamily="2" charset="2"/>
              <a:buChar char=""/>
              <a:tabLst/>
              <a:defRPr>
                <a:latin typeface="+mn-lt"/>
              </a:defRPr>
            </a:lvl3pPr>
            <a:lvl4pPr marL="912697" indent="-172715">
              <a:buFont typeface="Wingdings" pitchFamily="2" charset="2"/>
              <a:buChar char=""/>
              <a:defRPr>
                <a:latin typeface="+mn-lt"/>
              </a:defRPr>
            </a:lvl4pPr>
            <a:lvl5pPr marL="1085413" indent="-172715">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9"/>
          <p:cNvSpPr>
            <a:spLocks noGrp="1"/>
          </p:cNvSpPr>
          <p:nvPr>
            <p:ph type="sldNum" sz="quarter" idx="12"/>
          </p:nvPr>
        </p:nvSpPr>
        <p:spPr>
          <a:xfrm>
            <a:off x="520701" y="6399557"/>
            <a:ext cx="560686"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4038"/>
            <a:fld id="{FA4A93B8-B23A-4F35-A6A2-2F1F9227CD90}" type="slidenum">
              <a:rPr lang="en-US" smtClean="0">
                <a:gradFill>
                  <a:gsLst>
                    <a:gs pos="100000">
                      <a:srgbClr val="797A7D"/>
                    </a:gs>
                    <a:gs pos="0">
                      <a:srgbClr val="797A7D"/>
                    </a:gs>
                  </a:gsLst>
                  <a:lin ang="5400000" scaled="0"/>
                </a:gradFill>
              </a:rPr>
              <a:pPr defTabSz="914038"/>
              <a:t>‹#›</a:t>
            </a:fld>
            <a:endParaRPr lang="en-US">
              <a:gradFill>
                <a:gsLst>
                  <a:gs pos="100000">
                    <a:srgbClr val="797A7D"/>
                  </a:gs>
                  <a:gs pos="0">
                    <a:srgbClr val="797A7D"/>
                  </a:gs>
                </a:gsLst>
                <a:lin ang="5400000" scaled="0"/>
              </a:gradFill>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2862" y="6309360"/>
            <a:ext cx="1774550" cy="548640"/>
          </a:xfrm>
          <a:prstGeom prst="rect">
            <a:avLst/>
          </a:prstGeom>
        </p:spPr>
      </p:pic>
    </p:spTree>
    <p:extLst>
      <p:ext uri="{BB962C8B-B14F-4D97-AF65-F5344CB8AC3E}">
        <p14:creationId xmlns:p14="http://schemas.microsoft.com/office/powerpoint/2010/main" val="2544034021"/>
      </p:ext>
    </p:extLst>
  </p:cSld>
  <p:clrMapOvr>
    <a:masterClrMapping/>
  </p:clrMapOvr>
  <p:transition>
    <p:fade/>
  </p:transition>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380"/>
            <a:ext cx="12188825" cy="6856620"/>
          </a:xfrm>
          <a:prstGeom prst="rect">
            <a:avLst/>
          </a:prstGeom>
        </p:spPr>
      </p:pic>
      <p:pic>
        <p:nvPicPr>
          <p:cNvPr id="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62149" y="474237"/>
            <a:ext cx="1775047" cy="380393"/>
          </a:xfrm>
          <a:prstGeom prst="rect">
            <a:avLst/>
          </a:prstGeom>
        </p:spPr>
      </p:pic>
    </p:spTree>
    <p:extLst>
      <p:ext uri="{BB962C8B-B14F-4D97-AF65-F5344CB8AC3E}">
        <p14:creationId xmlns:p14="http://schemas.microsoft.com/office/powerpoint/2010/main" val="248276537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Slide Photo Layout">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t="15937" r="3431" b="2608"/>
          <a:stretch/>
        </p:blipFill>
        <p:spPr>
          <a:xfrm>
            <a:off x="2" y="-7783"/>
            <a:ext cx="12218386" cy="6873565"/>
          </a:xfrm>
          <a:prstGeom prst="rect">
            <a:avLst/>
          </a:prstGeom>
        </p:spPr>
      </p:pic>
      <p:sp>
        <p:nvSpPr>
          <p:cNvPr id="19" name="Dark gradation top"/>
          <p:cNvSpPr/>
          <p:nvPr userDrawn="1"/>
        </p:nvSpPr>
        <p:spPr bwMode="gray">
          <a:xfrm>
            <a:off x="1" y="-7783"/>
            <a:ext cx="12103070" cy="6568608"/>
          </a:xfrm>
          <a:prstGeom prst="rect">
            <a:avLst/>
          </a:prstGeom>
          <a:gradFill flip="none" rotWithShape="1">
            <a:gsLst>
              <a:gs pos="0">
                <a:srgbClr val="000000">
                  <a:alpha val="7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14" y="539681"/>
            <a:ext cx="5901482" cy="2062069"/>
          </a:xfrm>
          <a:noFill/>
        </p:spPr>
        <p:txBody>
          <a:bodyPr vert="horz" wrap="square" lIns="146304" tIns="91440" rIns="146304" bIns="91440" rtlCol="0" anchor="t" anchorCtr="0">
            <a:noAutofit/>
          </a:bodyPr>
          <a:lstStyle>
            <a:lvl1pPr>
              <a:defRPr lang="en-US" sz="5880" spc="-98" baseline="0" dirty="0">
                <a:solidFill>
                  <a:schemeClr val="tx1"/>
                </a:solidFill>
              </a:defRPr>
            </a:lvl1pPr>
          </a:lstStyle>
          <a:p>
            <a:pPr lvl="0"/>
            <a:r>
              <a:rPr lang="en-US" dirty="0" smtClean="0"/>
              <a:t>Presentation title</a:t>
            </a:r>
            <a:endParaRPr lang="en-US" dirty="0"/>
          </a:p>
        </p:txBody>
      </p:sp>
      <p:pic>
        <p:nvPicPr>
          <p:cNvPr id="11"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205" y="6061767"/>
            <a:ext cx="1522008" cy="326167"/>
          </a:xfrm>
          <a:prstGeom prst="rect">
            <a:avLst/>
          </a:prstGeom>
        </p:spPr>
      </p:pic>
    </p:spTree>
    <p:extLst>
      <p:ext uri="{BB962C8B-B14F-4D97-AF65-F5344CB8AC3E}">
        <p14:creationId xmlns:p14="http://schemas.microsoft.com/office/powerpoint/2010/main" val="17464795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2"/>
            <a:ext cx="6271784" cy="1794661"/>
          </a:xfrm>
          <a:noFill/>
        </p:spPr>
        <p:txBody>
          <a:bodyPr lIns="146304" tIns="109728" rIns="146304" bIns="109728">
            <a:noAutofit/>
          </a:bodyPr>
          <a:lstStyle>
            <a:lvl1pPr marL="0" indent="0">
              <a:spcBef>
                <a:spcPts val="0"/>
              </a:spcBef>
              <a:buNone/>
              <a:defRPr sz="3528" spc="0" baseline="0">
                <a:solidFill>
                  <a:schemeClr val="bg1">
                    <a:lumMod val="75000"/>
                  </a:schemeClr>
                </a:soli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8065659" cy="1801436"/>
          </a:xfrm>
          <a:noFill/>
        </p:spPr>
        <p:txBody>
          <a:bodyPr lIns="146304" tIns="91440" rIns="146304" bIns="91440" anchor="t" anchorCtr="0"/>
          <a:lstStyle>
            <a:lvl1pPr>
              <a:defRPr sz="5880" spc="-98" baseline="0">
                <a:solidFill>
                  <a:schemeClr val="bg1">
                    <a:lumMod val="75000"/>
                  </a:schemeClr>
                </a:solidFill>
              </a:defRPr>
            </a:lvl1pPr>
          </a:lstStyle>
          <a:p>
            <a:r>
              <a:rPr lang="en-US" dirty="0" smtClean="0"/>
              <a:t>Presentation title</a:t>
            </a:r>
            <a:endParaRPr lang="en-US" dirty="0"/>
          </a:p>
        </p:txBody>
      </p:sp>
      <p:pic>
        <p:nvPicPr>
          <p:cNvPr id="8" name="MS logo whit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449205" y="6061767"/>
            <a:ext cx="1522008" cy="326167"/>
          </a:xfrm>
          <a:prstGeom prst="rect">
            <a:avLst/>
          </a:prstGeom>
        </p:spPr>
      </p:pic>
    </p:spTree>
    <p:extLst>
      <p:ext uri="{BB962C8B-B14F-4D97-AF65-F5344CB8AC3E}">
        <p14:creationId xmlns:p14="http://schemas.microsoft.com/office/powerpoint/2010/main" val="2084692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232" y="1187644"/>
            <a:ext cx="806566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1" y="1186356"/>
            <a:ext cx="8065721" cy="2697988"/>
          </a:xfrm>
          <a:noFill/>
        </p:spPr>
        <p:txBody>
          <a:bodyPr tIns="91440" bIns="91440" anchor="t" anchorCtr="0"/>
          <a:lstStyle>
            <a:lvl1pPr>
              <a:defRPr sz="7056" spc="-98"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69" y="3877278"/>
            <a:ext cx="8065712" cy="1793881"/>
          </a:xfrm>
          <a:noFill/>
        </p:spPr>
        <p:txBody>
          <a:bodyPr lIns="182880" tIns="146304" rIns="182880" bIns="146304">
            <a:noAutofit/>
          </a:bodyPr>
          <a:lstStyle>
            <a:lvl1pPr marL="0" indent="0">
              <a:spcBef>
                <a:spcPts val="0"/>
              </a:spcBef>
              <a:buNone/>
              <a:defRPr sz="3528" spc="0" baseline="0">
                <a:gradFill>
                  <a:gsLst>
                    <a:gs pos="0">
                      <a:srgbClr val="FFFFFF"/>
                    </a:gs>
                    <a:gs pos="100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2433484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232" y="1187644"/>
            <a:ext cx="806566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1" y="1186356"/>
            <a:ext cx="8065721" cy="2697988"/>
          </a:xfrm>
          <a:noFill/>
        </p:spPr>
        <p:txBody>
          <a:bodyPr tIns="91440" bIns="91440" anchor="t" anchorCtr="0"/>
          <a:lstStyle>
            <a:lvl1pPr>
              <a:defRPr sz="7056" spc="-98"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71042021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Microsoft Slide">
    <p:bg>
      <p:bgPr>
        <a:solidFill>
          <a:srgbClr val="4668C5"/>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val="0"/>
              </a:ext>
            </a:extLst>
          </a:blip>
          <a:srcRect l="9719"/>
          <a:stretch/>
        </p:blipFill>
        <p:spPr>
          <a:xfrm>
            <a:off x="512762" y="2922746"/>
            <a:ext cx="5767719" cy="2350013"/>
          </a:xfrm>
          <a:prstGeom prst="rect">
            <a:avLst/>
          </a:prstGeom>
        </p:spPr>
      </p:pic>
      <p:sp>
        <p:nvSpPr>
          <p:cNvPr id="9" name="Rectangle 2"/>
          <p:cNvSpPr>
            <a:spLocks noChangeArrowheads="1"/>
          </p:cNvSpPr>
          <p:nvPr userDrawn="1"/>
        </p:nvSpPr>
        <p:spPr bwMode="auto">
          <a:xfrm>
            <a:off x="530087" y="5960743"/>
            <a:ext cx="11078818" cy="751488"/>
          </a:xfrm>
          <a:prstGeom prst="rect">
            <a:avLst/>
          </a:prstGeom>
          <a:noFill/>
          <a:ln w="9525">
            <a:noFill/>
            <a:miter lim="800000"/>
            <a:headEnd/>
            <a:tailEnd/>
          </a:ln>
        </p:spPr>
        <p:txBody>
          <a:bodyPr wrap="square">
            <a:spAutoFit/>
          </a:bodyPr>
          <a:lstStyle/>
          <a:p>
            <a:pPr marL="0" lvl="1" defTabSz="913726">
              <a:defRPr/>
            </a:pPr>
            <a:r>
              <a:rPr lang="en-US" sz="1050" dirty="0">
                <a:solidFill>
                  <a:prstClr val="white">
                    <a:lumMod val="85000"/>
                  </a:prstClr>
                </a:solidFill>
                <a:latin typeface="Calibri"/>
              </a:rPr>
              <a:t>©2013 Microsoft Corporation. All rights reserved. Microsoft, Windows, Office, Azure, System Center, Dynamic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078107480"/>
      </p:ext>
    </p:extLst>
  </p:cSld>
  <p:clrMapOvr>
    <a:masterClrMapping/>
  </p:clrMapOvr>
  <p:timing>
    <p:tnLst>
      <p:par>
        <p:cTn id="1" dur="indefinite" restart="never" nodeType="tmRoot"/>
      </p:par>
    </p:tnLst>
  </p:timing>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defRPr sz="8624" spc="-98"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099085946"/>
      </p:ext>
    </p:extLst>
  </p:cSld>
  <p:clrMapOvr>
    <a:masterClrMapping/>
  </p:clrMapOvr>
  <p:transition>
    <p:fade/>
  </p:transition>
  <p:timing>
    <p:tnLst>
      <p:par>
        <p:cTn id="1" dur="indefinite" restart="never" nodeType="tmRoot"/>
      </p:par>
    </p:tnLst>
  </p:timing>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defRPr sz="8624" spc="-98"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601418742"/>
      </p:ext>
    </p:extLst>
  </p:cSld>
  <p:clrMapOvr>
    <a:masterClrMapping/>
  </p:clrMapOvr>
  <p:transition>
    <p:fade/>
  </p:transition>
  <p:timing>
    <p:tnLst>
      <p:par>
        <p:cT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4093" rtl="0" eaLnBrk="1" latinLnBrk="0" hangingPunct="1">
              <a:lnSpc>
                <a:spcPct val="90000"/>
              </a:lnSpc>
              <a:spcBef>
                <a:spcPct val="0"/>
              </a:spcBef>
              <a:buNone/>
              <a:defRPr lang="en-US" sz="8624" b="0" kern="1200" cap="none" spc="-98"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224968642"/>
      </p:ext>
    </p:extLst>
  </p:cSld>
  <p:clrMapOvr>
    <a:masterClrMapping/>
  </p:clrMapOvr>
  <p:transition>
    <p:fade/>
  </p:transition>
  <p:timing>
    <p:tnLst>
      <p:par>
        <p:cT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4093" rtl="0" eaLnBrk="1" latinLnBrk="0" hangingPunct="1">
              <a:lnSpc>
                <a:spcPct val="90000"/>
              </a:lnSpc>
              <a:spcBef>
                <a:spcPct val="0"/>
              </a:spcBef>
              <a:buNone/>
              <a:defRPr lang="en-US" sz="8624"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2647108327"/>
      </p:ext>
    </p:extLst>
  </p:cSld>
  <p:clrMapOvr>
    <a:masterClrMapping/>
  </p:clrMapOvr>
  <p:transition>
    <p:fade/>
  </p:transition>
  <p:timing>
    <p:tnLst>
      <p:par>
        <p:cTn id="1" dur="indefinite" restart="never" nodeType="tmRoot"/>
      </p:par>
    </p:tnLst>
  </p:timing>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7"/>
            <a:ext cx="11652805" cy="2018835"/>
          </a:xfrm>
        </p:spPr>
        <p:txBody>
          <a:bodyPr/>
          <a:lstStyle>
            <a:lvl1pPr marL="0" indent="0">
              <a:buNone/>
              <a:defRPr/>
            </a:lvl1pPr>
            <a:lvl2pPr marL="28004" indent="0">
              <a:buNone/>
              <a:defRPr sz="1960"/>
            </a:lvl2pPr>
            <a:lvl3pPr marL="219362" indent="0">
              <a:buNone/>
              <a:defRPr sz="1960"/>
            </a:lvl3pPr>
            <a:lvl4pPr marL="466728" indent="0">
              <a:buNone/>
              <a:defRPr sz="1764"/>
            </a:lvl4pPr>
            <a:lvl5pPr marL="72498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0443685"/>
      </p:ext>
    </p:extLst>
  </p:cSld>
  <p:clrMapOvr>
    <a:masterClrMapping/>
  </p:clrMapOvr>
  <p:transition>
    <p:fade/>
  </p:transition>
  <p:timing>
    <p:tnLst>
      <p:par>
        <p:cTn id="1" dur="indefinite" restart="never" nodeType="tmRoot"/>
      </p:par>
    </p:tnLst>
  </p:timing>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7"/>
            <a:ext cx="11652805" cy="2018835"/>
          </a:xfrm>
        </p:spPr>
        <p:txBody>
          <a:bodyPr/>
          <a:lstStyle>
            <a:lvl1pPr marL="0" indent="0">
              <a:buNone/>
              <a:defRPr>
                <a:gradFill>
                  <a:gsLst>
                    <a:gs pos="2920">
                      <a:schemeClr val="tx1"/>
                    </a:gs>
                    <a:gs pos="100000">
                      <a:schemeClr val="tx1"/>
                    </a:gs>
                  </a:gsLst>
                  <a:lin ang="5400000" scaled="0"/>
                </a:gradFill>
              </a:defRPr>
            </a:lvl1pPr>
            <a:lvl2pPr marL="28004" indent="0">
              <a:buNone/>
              <a:defRPr sz="1960"/>
            </a:lvl2pPr>
            <a:lvl3pPr marL="219362" indent="0">
              <a:buNone/>
              <a:defRPr sz="1960"/>
            </a:lvl3pPr>
            <a:lvl4pPr marL="466728" indent="0">
              <a:buNone/>
              <a:defRPr sz="1764"/>
            </a:lvl4pPr>
            <a:lvl5pPr marL="72498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31634957"/>
      </p:ext>
    </p:extLst>
  </p:cSld>
  <p:clrMapOvr>
    <a:masterClrMapping/>
  </p:clrMapOvr>
  <p:transition>
    <p:fade/>
  </p:transition>
  <p:timing>
    <p:tnLst>
      <p:par>
        <p:cTn id="1" dur="indefinite" restart="never" nodeType="tmRoot"/>
      </p:par>
    </p:tnLst>
  </p:timing>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82166357"/>
      </p:ext>
    </p:extLst>
  </p:cSld>
  <p:clrMapOvr>
    <a:masterClrMapping/>
  </p:clrMapOvr>
  <p:transition>
    <p:fade/>
  </p:transition>
  <p:timing>
    <p:tnLst>
      <p:par>
        <p:cTn id="1" dur="indefinite" restart="never" nodeType="tmRoot"/>
      </p:par>
    </p:tnLst>
  </p:timing>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1pPr>
              <a:buClr>
                <a:schemeClr val="tx2"/>
              </a:buClr>
              <a:defRPr>
                <a:gradFill>
                  <a:gsLst>
                    <a:gs pos="0">
                      <a:schemeClr val="tx1"/>
                    </a:gs>
                    <a:gs pos="100000">
                      <a:schemeClr val="tx1"/>
                    </a:gs>
                  </a:gsLst>
                  <a:lin ang="5400000" scaled="0"/>
                </a:gradFill>
              </a:defRPr>
            </a:lvl1pPr>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160122550"/>
      </p:ext>
    </p:extLst>
  </p:cSld>
  <p:clrMapOvr>
    <a:masterClrMapping/>
  </p:clrMapOvr>
  <p:transition>
    <p:fade/>
  </p:transition>
  <p:timing>
    <p:tnLst>
      <p:par>
        <p:cT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00594735"/>
      </p:ext>
    </p:extLst>
  </p:cSld>
  <p:clrMapOvr>
    <a:masterClrMapping/>
  </p:clrMapOvr>
  <p:transition>
    <p:fade/>
  </p:transition>
  <p:timing>
    <p:tnLst>
      <p:par>
        <p:cT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6578"/>
          </a:xfrm>
        </p:spPr>
        <p:txBody>
          <a:bodyPr wrap="square">
            <a:spAutoFit/>
          </a:bodyPr>
          <a:lstStyle>
            <a:lvl1pPr marL="0" indent="0">
              <a:spcBef>
                <a:spcPts val="1200"/>
              </a:spcBef>
              <a:buClr>
                <a:schemeClr val="tx1"/>
              </a:buClr>
              <a:buFont typeface="Wingdings" pitchFamily="2" charset="2"/>
              <a:buNone/>
              <a:defRPr sz="3528">
                <a:solidFill>
                  <a:schemeClr val="tx1"/>
                </a:solidFill>
              </a:defRPr>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6578"/>
          </a:xfrm>
        </p:spPr>
        <p:txBody>
          <a:bodyPr wrap="square">
            <a:spAutoFit/>
          </a:bodyPr>
          <a:lstStyle>
            <a:lvl1pPr marL="0" indent="0">
              <a:spcBef>
                <a:spcPts val="1200"/>
              </a:spcBef>
              <a:buClr>
                <a:schemeClr val="tx1"/>
              </a:buClr>
              <a:buFont typeface="Wingdings" pitchFamily="2" charset="2"/>
              <a:buNone/>
              <a:defRPr sz="3528">
                <a:solidFill>
                  <a:schemeClr val="tx1"/>
                </a:solidFill>
              </a:defRPr>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96041565"/>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1_Demo Slide">
    <p:bg>
      <p:bgPr>
        <a:solidFill>
          <a:srgbClr val="007233"/>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415636" y="4771506"/>
            <a:ext cx="10484896" cy="1604356"/>
          </a:xfrm>
          <a:prstGeom prst="rect">
            <a:avLst/>
          </a:prstGeom>
        </p:spPr>
        <p:txBody>
          <a:bodyPr anchor="ctr">
            <a:noAutofit/>
          </a:bodyPr>
          <a:lstStyle>
            <a:lvl1pPr marL="0" marR="0" indent="0" algn="l" defTabSz="914001" rtl="0" eaLnBrk="1" fontAlgn="auto" latinLnBrk="0" hangingPunct="1">
              <a:lnSpc>
                <a:spcPct val="90000"/>
              </a:lnSpc>
              <a:spcBef>
                <a:spcPts val="0"/>
              </a:spcBef>
              <a:spcAft>
                <a:spcPts val="0"/>
              </a:spcAft>
              <a:buClr>
                <a:srgbClr val="00DCFF"/>
              </a:buClr>
              <a:buSzPct val="90000"/>
              <a:buFont typeface="Arial" pitchFamily="34" charset="0"/>
              <a:buNone/>
              <a:tabLst/>
              <a:defRPr sz="2799" b="1" cap="all" baseline="0">
                <a:solidFill>
                  <a:schemeClr val="bg1">
                    <a:alpha val="99000"/>
                  </a:schemeClr>
                </a:solidFill>
              </a:defRPr>
            </a:lvl1pPr>
            <a:lvl2pPr marL="457001" indent="0" algn="ctr">
              <a:buNone/>
              <a:defRPr>
                <a:solidFill>
                  <a:schemeClr val="tx1">
                    <a:tint val="75000"/>
                  </a:schemeClr>
                </a:solidFill>
              </a:defRPr>
            </a:lvl2pPr>
            <a:lvl3pPr marL="914001" indent="0" algn="ctr">
              <a:buNone/>
              <a:defRPr>
                <a:solidFill>
                  <a:schemeClr val="tx1">
                    <a:tint val="75000"/>
                  </a:schemeClr>
                </a:solidFill>
              </a:defRPr>
            </a:lvl3pPr>
            <a:lvl4pPr marL="1371002" indent="0" algn="ctr">
              <a:buNone/>
              <a:defRPr>
                <a:solidFill>
                  <a:schemeClr val="tx1">
                    <a:tint val="75000"/>
                  </a:schemeClr>
                </a:solidFill>
              </a:defRPr>
            </a:lvl4pPr>
            <a:lvl5pPr marL="1828003" indent="0" algn="ctr">
              <a:buNone/>
              <a:defRPr>
                <a:solidFill>
                  <a:schemeClr val="tx1">
                    <a:tint val="75000"/>
                  </a:schemeClr>
                </a:solidFill>
              </a:defRPr>
            </a:lvl5pPr>
            <a:lvl6pPr marL="2285004" indent="0" algn="ctr">
              <a:buNone/>
              <a:defRPr>
                <a:solidFill>
                  <a:schemeClr val="tx1">
                    <a:tint val="75000"/>
                  </a:schemeClr>
                </a:solidFill>
              </a:defRPr>
            </a:lvl6pPr>
            <a:lvl7pPr marL="2742003" indent="0" algn="ctr">
              <a:buNone/>
              <a:defRPr>
                <a:solidFill>
                  <a:schemeClr val="tx1">
                    <a:tint val="75000"/>
                  </a:schemeClr>
                </a:solidFill>
              </a:defRPr>
            </a:lvl7pPr>
            <a:lvl8pPr marL="3199004" indent="0" algn="ctr">
              <a:buNone/>
              <a:defRPr>
                <a:solidFill>
                  <a:schemeClr val="tx1">
                    <a:tint val="75000"/>
                  </a:schemeClr>
                </a:solidFill>
              </a:defRPr>
            </a:lvl8pPr>
            <a:lvl9pPr marL="3656005" indent="0" algn="ctr">
              <a:buNone/>
              <a:defRPr>
                <a:solidFill>
                  <a:schemeClr val="tx1">
                    <a:tint val="75000"/>
                  </a:schemeClr>
                </a:solidFill>
              </a:defRPr>
            </a:lvl9pPr>
          </a:lstStyle>
          <a:p>
            <a:r>
              <a:rPr lang="en-US" b="0" dirty="0" smtClean="0"/>
              <a:t>{Sample Code Location e.g., Codeshow.codeplex.com} </a:t>
            </a:r>
          </a:p>
          <a:p>
            <a:r>
              <a:rPr lang="en-US" dirty="0" smtClean="0"/>
              <a:t>(</a:t>
            </a:r>
            <a:r>
              <a:rPr lang="en-US" dirty="0" err="1" smtClean="0"/>
              <a:t>dEMO</a:t>
            </a:r>
            <a:r>
              <a:rPr lang="en-US" dirty="0" smtClean="0"/>
              <a:t> NAME)</a:t>
            </a:r>
            <a:endParaRPr lang="en-US" dirty="0"/>
          </a:p>
        </p:txBody>
      </p:sp>
      <p:sp>
        <p:nvSpPr>
          <p:cNvPr id="10" name="Text Placeholder 9"/>
          <p:cNvSpPr>
            <a:spLocks noGrp="1"/>
          </p:cNvSpPr>
          <p:nvPr>
            <p:ph type="body" sz="quarter" idx="10" hasCustomPrompt="1"/>
          </p:nvPr>
        </p:nvSpPr>
        <p:spPr>
          <a:xfrm>
            <a:off x="415636" y="3117272"/>
            <a:ext cx="10720676" cy="1383983"/>
          </a:xfrm>
          <a:prstGeom prst="rect">
            <a:avLst/>
          </a:prstGeom>
        </p:spPr>
        <p:txBody>
          <a:bodyPr anchor="ctr"/>
          <a:lstStyle>
            <a:lvl1pPr algn="l">
              <a:defRPr sz="7197" baseline="0">
                <a:solidFill>
                  <a:schemeClr val="bg1">
                    <a:alpha val="99000"/>
                  </a:schemeClr>
                </a:solidFill>
                <a:latin typeface="Segoe UI Light" panose="020B0502040204020203" pitchFamily="34" charset="0"/>
                <a:cs typeface="Segoe UI Light" panose="020B0502040204020203" pitchFamily="34" charset="0"/>
              </a:defRPr>
            </a:lvl1pPr>
            <a:lvl2pPr>
              <a:defRPr sz="5997">
                <a:solidFill>
                  <a:schemeClr val="bg1">
                    <a:alpha val="99000"/>
                  </a:schemeClr>
                </a:solidFill>
                <a:latin typeface="+mj-lt"/>
              </a:defRPr>
            </a:lvl2pPr>
            <a:lvl3pPr>
              <a:defRPr sz="5997">
                <a:solidFill>
                  <a:schemeClr val="bg1">
                    <a:alpha val="99000"/>
                  </a:schemeClr>
                </a:solidFill>
                <a:latin typeface="+mj-lt"/>
              </a:defRPr>
            </a:lvl3pPr>
            <a:lvl4pPr>
              <a:defRPr sz="5997">
                <a:solidFill>
                  <a:schemeClr val="bg1">
                    <a:alpha val="99000"/>
                  </a:schemeClr>
                </a:solidFill>
                <a:latin typeface="+mj-lt"/>
              </a:defRPr>
            </a:lvl4pPr>
            <a:lvl5pPr>
              <a:defRPr sz="5997">
                <a:solidFill>
                  <a:schemeClr val="bg1">
                    <a:alpha val="99000"/>
                  </a:schemeClr>
                </a:solidFill>
                <a:latin typeface="+mj-lt"/>
              </a:defRPr>
            </a:lvl5pPr>
          </a:lstStyle>
          <a:p>
            <a:pPr lvl="0"/>
            <a:r>
              <a:rPr lang="en-US" dirty="0" smtClean="0"/>
              <a:t>demo</a:t>
            </a:r>
            <a:endParaRPr lang="en-US" dirty="0"/>
          </a:p>
        </p:txBody>
      </p:sp>
    </p:spTree>
    <p:extLst>
      <p:ext uri="{BB962C8B-B14F-4D97-AF65-F5344CB8AC3E}">
        <p14:creationId xmlns:p14="http://schemas.microsoft.com/office/powerpoint/2010/main" val="189632485"/>
      </p:ext>
    </p:extLst>
  </p:cSld>
  <p:clrMapOvr>
    <a:masterClrMapping/>
  </p:clrMapOvr>
  <p:transition>
    <p:fade/>
  </p:transition>
  <p:timing>
    <p:tnLst>
      <p:par>
        <p:cTn id="1" dur="indefinite" restart="never" nodeType="tmRoot"/>
      </p:par>
    </p:tnLst>
  </p:timing>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7"/>
            <a:ext cx="5377147" cy="2552967"/>
          </a:xfrm>
        </p:spPr>
        <p:txBody>
          <a:bodyPr wrap="square">
            <a:spAutoFit/>
          </a:bodyPr>
          <a:lstStyle>
            <a:lvl1pPr marL="281592" indent="-281592">
              <a:spcBef>
                <a:spcPts val="1200"/>
              </a:spcBef>
              <a:buClr>
                <a:schemeClr val="tx1"/>
              </a:buClr>
              <a:buFontTx/>
              <a:buBlip>
                <a:blip r:embed="rId2"/>
              </a:buBlip>
              <a:defRPr sz="3528"/>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7"/>
            <a:ext cx="5377147" cy="2552967"/>
          </a:xfrm>
        </p:spPr>
        <p:txBody>
          <a:bodyPr wrap="square">
            <a:spAutoFit/>
          </a:bodyPr>
          <a:lstStyle>
            <a:lvl1pPr marL="281592" indent="-281592">
              <a:spcBef>
                <a:spcPts val="1200"/>
              </a:spcBef>
              <a:buClr>
                <a:schemeClr val="tx1"/>
              </a:buClr>
              <a:buFontTx/>
              <a:buBlip>
                <a:blip r:embed="rId2"/>
              </a:buBlip>
              <a:defRPr sz="3528"/>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40857708"/>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7"/>
            <a:ext cx="5377147" cy="2552967"/>
          </a:xfrm>
        </p:spPr>
        <p:txBody>
          <a:bodyPr wrap="square">
            <a:spAutoFit/>
          </a:bodyPr>
          <a:lstStyle>
            <a:lvl1pPr marL="281592" indent="-281592">
              <a:spcBef>
                <a:spcPts val="1200"/>
              </a:spcBef>
              <a:buClr>
                <a:schemeClr val="tx2"/>
              </a:buClr>
              <a:buFontTx/>
              <a:buBlip>
                <a:blip r:embed="rId2"/>
              </a:buBlip>
              <a:defRPr sz="3528">
                <a:solidFill>
                  <a:schemeClr val="tx1"/>
                </a:solidFill>
              </a:defRPr>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7"/>
            <a:ext cx="5377147" cy="2552967"/>
          </a:xfrm>
        </p:spPr>
        <p:txBody>
          <a:bodyPr wrap="square">
            <a:spAutoFit/>
          </a:bodyPr>
          <a:lstStyle>
            <a:lvl1pPr marL="281592" indent="-281592">
              <a:spcBef>
                <a:spcPts val="1200"/>
              </a:spcBef>
              <a:buClr>
                <a:schemeClr val="tx2"/>
              </a:buClr>
              <a:buFontTx/>
              <a:buBlip>
                <a:blip r:embed="rId2"/>
              </a:buBlip>
              <a:defRPr sz="3528">
                <a:solidFill>
                  <a:schemeClr val="tx1"/>
                </a:solidFill>
              </a:defRPr>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62726163"/>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45619033"/>
      </p:ext>
    </p:extLst>
  </p:cSld>
  <p:clrMapOvr>
    <a:masterClrMapping/>
  </p:clrMapOvr>
  <p:transition>
    <p:fade/>
  </p:transition>
  <p:timing>
    <p:tnLst>
      <p:par>
        <p:cTn id="1" dur="indefinite" restart="never" nodeType="tmRoot"/>
      </p:par>
    </p:tnLst>
  </p:timing>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Big Idea Layou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6949" y="1187622"/>
            <a:ext cx="11652805" cy="899665"/>
          </a:xfrm>
        </p:spPr>
        <p:txBody>
          <a:bodyPr/>
          <a:lstStyle>
            <a:lvl1pPr>
              <a:defRPr sz="7056" baseline="0"/>
            </a:lvl1pPr>
          </a:lstStyle>
          <a:p>
            <a:r>
              <a:rPr lang="en-US" smtClean="0"/>
              <a:t>Click to edit Master title style</a:t>
            </a:r>
            <a:endParaRPr lang="en-US" dirty="0"/>
          </a:p>
        </p:txBody>
      </p:sp>
    </p:spTree>
    <p:extLst>
      <p:ext uri="{BB962C8B-B14F-4D97-AF65-F5344CB8AC3E}">
        <p14:creationId xmlns:p14="http://schemas.microsoft.com/office/powerpoint/2010/main" val="2955580714"/>
      </p:ext>
    </p:extLst>
  </p:cSld>
  <p:clrMapOvr>
    <a:masterClrMapping/>
  </p:clrMapOvr>
  <p:transition>
    <p:fade/>
  </p:transition>
  <p:timing>
    <p:tnLst>
      <p:par>
        <p:cTn id="1" dur="indefinite" restart="never" nodeType="tmRoot"/>
      </p:par>
    </p:tnLst>
  </p:timing>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Fact Layou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1" cy="1793104"/>
          </a:xfrm>
        </p:spPr>
        <p:txBody>
          <a:bodyPr/>
          <a:lstStyle>
            <a:lvl1pPr>
              <a:defRPr sz="5880" baseline="0"/>
            </a:lvl1pPr>
          </a:lstStyle>
          <a:p>
            <a:r>
              <a:rPr lang="en-US" smtClean="0"/>
              <a:t>Click to edit Master title style</a:t>
            </a:r>
            <a:endParaRPr lang="en-US" dirty="0"/>
          </a:p>
        </p:txBody>
      </p:sp>
    </p:spTree>
    <p:extLst>
      <p:ext uri="{BB962C8B-B14F-4D97-AF65-F5344CB8AC3E}">
        <p14:creationId xmlns:p14="http://schemas.microsoft.com/office/powerpoint/2010/main" val="3378047603"/>
      </p:ext>
    </p:extLst>
  </p:cSld>
  <p:clrMapOvr>
    <a:masterClrMapping/>
  </p:clrMapOvr>
  <p:transition>
    <p:fade/>
  </p:transition>
  <p:timing>
    <p:tnLst>
      <p:par>
        <p:cTn id="1" dur="indefinite" restart="never" nodeType="tmRoot"/>
      </p:par>
    </p:tnLst>
  </p:timing>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1" cy="1793104"/>
          </a:xfrm>
        </p:spPr>
        <p:txBody>
          <a:bodyPr/>
          <a:lstStyle>
            <a:lvl1pPr>
              <a:defRPr sz="5880" baseline="0"/>
            </a:lvl1pPr>
          </a:lstStyle>
          <a:p>
            <a:r>
              <a:rPr lang="en-US" smtClean="0"/>
              <a:t>Click to edit Master title style</a:t>
            </a:r>
            <a:endParaRPr lang="en-US" dirty="0"/>
          </a:p>
        </p:txBody>
      </p:sp>
    </p:spTree>
    <p:extLst>
      <p:ext uri="{BB962C8B-B14F-4D97-AF65-F5344CB8AC3E}">
        <p14:creationId xmlns:p14="http://schemas.microsoft.com/office/powerpoint/2010/main" val="2249711573"/>
      </p:ext>
    </p:extLst>
  </p:cSld>
  <p:clrMapOvr>
    <a:masterClrMapping/>
  </p:clrMapOvr>
  <p:transition>
    <p:fade/>
  </p:transition>
  <p:timing>
    <p:tnLst>
      <p:par>
        <p:cTn id="1" dur="indefinite" restart="never" nodeType="tmRoot"/>
      </p:par>
    </p:tnLst>
  </p:timing>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Quote Layout">
    <p:bg>
      <p:bgPr>
        <a:solidFill>
          <a:schemeClr val="tx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1178350"/>
            <a:ext cx="9858104" cy="899665"/>
          </a:xfrm>
        </p:spPr>
        <p:txBody>
          <a:bodyPr/>
          <a:lstStyle>
            <a:lvl1pPr marL="228697" indent="-228697">
              <a:defRPr sz="5880"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8" y="5025984"/>
            <a:ext cx="5377148" cy="1050156"/>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3710681707"/>
      </p:ext>
    </p:extLst>
  </p:cSld>
  <p:clrMapOvr>
    <a:masterClrMapping/>
  </p:clrMapOvr>
  <p:transition>
    <p:fade/>
  </p:transition>
  <p:timing>
    <p:tnLst>
      <p:par>
        <p:cTn id="1" dur="indefinite" restart="never" nodeType="tmRoot"/>
      </p:par>
    </p:tnLst>
  </p:timing>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tx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2084174"/>
            <a:ext cx="9858104" cy="899665"/>
          </a:xfrm>
        </p:spPr>
        <p:txBody>
          <a:bodyPr/>
          <a:lstStyle>
            <a:lvl1pPr marL="276925" indent="-276925">
              <a:tabLst>
                <a:tab pos="276925" algn="l"/>
              </a:tabLst>
              <a:defRPr sz="5880"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8" y="4773813"/>
            <a:ext cx="5377148" cy="1050156"/>
          </a:xfrm>
        </p:spPr>
        <p:txBody>
          <a:bodyPr/>
          <a:lstStyle>
            <a:lvl1pPr marL="0" indent="0">
              <a:spcBef>
                <a:spcPts val="0"/>
              </a:spcBef>
              <a:buNone/>
              <a:defRPr sz="3136"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2838114938"/>
      </p:ext>
    </p:extLst>
  </p:cSld>
  <p:clrMapOvr>
    <a:masterClrMapping/>
  </p:clrMapOvr>
  <p:transition>
    <p:fade/>
  </p:transition>
  <p:timing>
    <p:tnLst>
      <p:par>
        <p:cTn id="1" dur="indefinite" restart="never" nodeType="tmRoot"/>
      </p:par>
    </p:tnLst>
  </p:timing>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Big Idea &amp; 3 Points">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49" y="2383023"/>
            <a:ext cx="11650488" cy="914360"/>
          </a:xfrm>
        </p:spPr>
        <p:txBody>
          <a:bodyPr/>
          <a:lstStyle>
            <a:lvl1pPr marL="0" indent="0">
              <a:buNone/>
              <a:defRPr sz="5292">
                <a:gradFill>
                  <a:gsLst>
                    <a:gs pos="3333">
                      <a:schemeClr val="tx1"/>
                    </a:gs>
                    <a:gs pos="39000">
                      <a:schemeClr val="tx1"/>
                    </a:gs>
                  </a:gsLst>
                  <a:lin ang="5400000" scaled="0"/>
                </a:gradFill>
              </a:defRPr>
            </a:lvl1pPr>
            <a:lvl2pPr marL="0" indent="0">
              <a:buFontTx/>
              <a:buNone/>
              <a:defRPr sz="1960"/>
            </a:lvl2pPr>
            <a:lvl3pPr marL="224030" indent="0">
              <a:buNone/>
              <a:defRPr/>
            </a:lvl3pPr>
            <a:lvl4pPr marL="448059" indent="0">
              <a:buNone/>
              <a:defRPr/>
            </a:lvl4pPr>
            <a:lvl5pPr marL="672088" indent="0">
              <a:buNone/>
              <a:defRPr/>
            </a:lvl5pPr>
          </a:lstStyle>
          <a:p>
            <a:pPr lvl="0"/>
            <a:r>
              <a:rPr lang="en-US" smtClean="0"/>
              <a:t>Click to edit Master text styles</a:t>
            </a:r>
          </a:p>
        </p:txBody>
      </p:sp>
      <p:sp>
        <p:nvSpPr>
          <p:cNvPr id="4" name="Title 1"/>
          <p:cNvSpPr>
            <a:spLocks noGrp="1"/>
          </p:cNvSpPr>
          <p:nvPr>
            <p:ph type="title"/>
          </p:nvPr>
        </p:nvSpPr>
        <p:spPr>
          <a:xfrm>
            <a:off x="276949" y="1187622"/>
            <a:ext cx="11652805" cy="899665"/>
          </a:xfrm>
        </p:spPr>
        <p:txBody>
          <a:bodyPr/>
          <a:lstStyle>
            <a:lvl1pPr>
              <a:defRPr sz="7056"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4194828586"/>
      </p:ext>
    </p:extLst>
  </p:cSld>
  <p:clrMapOvr>
    <a:masterClrMapping/>
  </p:clrMapOvr>
  <p:transition>
    <p:fade/>
  </p:transition>
  <p:timing>
    <p:tnLst>
      <p:par>
        <p:cT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1_50-50 Right Photo Layout_02">
    <p:bg bwMode="auto">
      <p:bgPr>
        <a:solidFill>
          <a:schemeClr val="tx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bwMode="invGray">
          <a:xfrm>
            <a:off x="269171" y="2095971"/>
            <a:ext cx="5377148" cy="2677859"/>
          </a:xfrm>
          <a:noFill/>
        </p:spPr>
        <p:txBody>
          <a:bodyPr vert="horz" wrap="square" lIns="146304" tIns="91440" rIns="146304" bIns="91440" rtlCol="0" anchor="t" anchorCtr="0">
            <a:noAutofit/>
          </a:bodyPr>
          <a:lstStyle>
            <a:lvl1pPr>
              <a:defRPr lang="en-US" sz="5880" spc="-98" baseline="0" dirty="0">
                <a:solidFill>
                  <a:schemeClr val="bg1"/>
                </a:soli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0771" y="4773830"/>
            <a:ext cx="5375815" cy="896551"/>
          </a:xfrm>
        </p:spPr>
        <p:txBody>
          <a:bodyPr tIns="109728" bIns="109728">
            <a:noAutofit/>
          </a:bodyPr>
          <a:lstStyle>
            <a:lvl1pPr marL="0" indent="0">
              <a:spcBef>
                <a:spcPts val="0"/>
              </a:spcBef>
              <a:buNone/>
              <a:defRPr sz="3136">
                <a:solidFill>
                  <a:schemeClr val="bg1"/>
                </a:solidFill>
              </a:defRPr>
            </a:lvl1pPr>
          </a:lstStyle>
          <a:p>
            <a:pPr lvl="0"/>
            <a:r>
              <a:rPr lang="en-US" dirty="0" smtClean="0"/>
              <a:t>Speaker Name</a:t>
            </a:r>
            <a:endParaRPr lang="en-US" dirty="0"/>
          </a:p>
        </p:txBody>
      </p:sp>
      <p:pic>
        <p:nvPicPr>
          <p:cNvPr id="8" name="Picture Placeholder 4"/>
          <p:cNvPicPr>
            <a:picLocks noChangeAspect="1"/>
          </p:cNvPicPr>
          <p:nvPr userDrawn="1"/>
        </p:nvPicPr>
        <p:blipFill rotWithShape="1">
          <a:blip r:embed="rId2">
            <a:extLst>
              <a:ext uri="{28A0092B-C50C-407E-A947-70E740481C1C}">
                <a14:useLocalDpi xmlns:a14="http://schemas.microsoft.com/office/drawing/2010/main" val="0"/>
              </a:ext>
            </a:extLst>
          </a:blip>
          <a:srcRect l="23279" r="17893"/>
          <a:stretch/>
        </p:blipFill>
        <p:spPr>
          <a:xfrm>
            <a:off x="6169094" y="0"/>
            <a:ext cx="6049292" cy="6858000"/>
          </a:xfrm>
          <a:prstGeom prst="rect">
            <a:avLst/>
          </a:prstGeom>
        </p:spPr>
      </p:pic>
      <p:pic>
        <p:nvPicPr>
          <p:cNvPr id="9" name="Picture Placeholder 4"/>
          <p:cNvPicPr>
            <a:picLocks noChangeAspect="1"/>
          </p:cNvPicPr>
          <p:nvPr userDrawn="1"/>
        </p:nvPicPr>
        <p:blipFill rotWithShape="1">
          <a:blip r:embed="rId3">
            <a:extLst>
              <a:ext uri="{28A0092B-C50C-407E-A947-70E740481C1C}">
                <a14:useLocalDpi xmlns:a14="http://schemas.microsoft.com/office/drawing/2010/main" val="0"/>
              </a:ext>
            </a:extLst>
          </a:blip>
          <a:srcRect l="-503" t="26090" r="67" b="-1"/>
          <a:stretch/>
        </p:blipFill>
        <p:spPr>
          <a:xfrm>
            <a:off x="6145398" y="-7783"/>
            <a:ext cx="6072988" cy="6873565"/>
          </a:xfrm>
          <a:prstGeom prst="rect">
            <a:avLst/>
          </a:prstGeom>
        </p:spPr>
      </p:pic>
    </p:spTree>
    <p:extLst>
      <p:ext uri="{BB962C8B-B14F-4D97-AF65-F5344CB8AC3E}">
        <p14:creationId xmlns:p14="http://schemas.microsoft.com/office/powerpoint/2010/main" val="3363267653"/>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Module Layout">
    <p:bg>
      <p:bgPr>
        <a:solidFill>
          <a:srgbClr val="4668C5"/>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45911" y="3775166"/>
            <a:ext cx="11354938" cy="1933979"/>
          </a:xfrm>
          <a:prstGeom prst="rect">
            <a:avLst/>
          </a:prstGeom>
        </p:spPr>
        <p:txBody>
          <a:bodyPr anchor="t" anchorCtr="0">
            <a:noAutofit/>
          </a:bodyPr>
          <a:lstStyle>
            <a:lvl1pPr algn="l">
              <a:lnSpc>
                <a:spcPct val="90000"/>
              </a:lnSpc>
              <a:defRPr sz="4799" spc="-150" baseline="0">
                <a:solidFill>
                  <a:schemeClr val="bg1">
                    <a:alpha val="99000"/>
                  </a:schemeClr>
                </a:solidFill>
                <a:latin typeface="Segoe UI Light" pitchFamily="34" charset="0"/>
              </a:defRPr>
            </a:lvl1pPr>
          </a:lstStyle>
          <a:p>
            <a:r>
              <a:rPr lang="en-US" dirty="0" smtClean="0"/>
              <a:t>Module or Section transition style</a:t>
            </a:r>
            <a:endParaRPr lang="en-US" dirty="0"/>
          </a:p>
        </p:txBody>
      </p:sp>
      <p:sp>
        <p:nvSpPr>
          <p:cNvPr id="9" name="Subtitle 2"/>
          <p:cNvSpPr>
            <a:spLocks noGrp="1"/>
          </p:cNvSpPr>
          <p:nvPr>
            <p:ph type="subTitle" idx="1" hasCustomPrompt="1"/>
          </p:nvPr>
        </p:nvSpPr>
        <p:spPr>
          <a:xfrm>
            <a:off x="545911" y="2942705"/>
            <a:ext cx="11354938" cy="748146"/>
          </a:xfrm>
          <a:prstGeom prst="rect">
            <a:avLst/>
          </a:prstGeom>
        </p:spPr>
        <p:txBody>
          <a:bodyPr>
            <a:noAutofit/>
          </a:bodyPr>
          <a:lstStyle>
            <a:lvl1pPr marL="0" indent="0" algn="l">
              <a:lnSpc>
                <a:spcPct val="90000"/>
              </a:lnSpc>
              <a:spcBef>
                <a:spcPts val="0"/>
              </a:spcBef>
              <a:buNone/>
              <a:defRPr sz="2399" b="0" cap="none" baseline="0">
                <a:solidFill>
                  <a:schemeClr val="bg1">
                    <a:alpha val="99000"/>
                  </a:schemeClr>
                </a:solidFill>
                <a:latin typeface="Segoe UI Light" pitchFamily="34" charset="0"/>
              </a:defRPr>
            </a:lvl1pPr>
            <a:lvl2pPr marL="457001" indent="0" algn="ctr">
              <a:buNone/>
              <a:defRPr>
                <a:solidFill>
                  <a:schemeClr val="tx1">
                    <a:tint val="75000"/>
                  </a:schemeClr>
                </a:solidFill>
              </a:defRPr>
            </a:lvl2pPr>
            <a:lvl3pPr marL="914001" indent="0" algn="ctr">
              <a:buNone/>
              <a:defRPr>
                <a:solidFill>
                  <a:schemeClr val="tx1">
                    <a:tint val="75000"/>
                  </a:schemeClr>
                </a:solidFill>
              </a:defRPr>
            </a:lvl3pPr>
            <a:lvl4pPr marL="1371002" indent="0" algn="ctr">
              <a:buNone/>
              <a:defRPr>
                <a:solidFill>
                  <a:schemeClr val="tx1">
                    <a:tint val="75000"/>
                  </a:schemeClr>
                </a:solidFill>
              </a:defRPr>
            </a:lvl4pPr>
            <a:lvl5pPr marL="1828003" indent="0" algn="ctr">
              <a:buNone/>
              <a:defRPr>
                <a:solidFill>
                  <a:schemeClr val="tx1">
                    <a:tint val="75000"/>
                  </a:schemeClr>
                </a:solidFill>
              </a:defRPr>
            </a:lvl5pPr>
            <a:lvl6pPr marL="2285004" indent="0" algn="ctr">
              <a:buNone/>
              <a:defRPr>
                <a:solidFill>
                  <a:schemeClr val="tx1">
                    <a:tint val="75000"/>
                  </a:schemeClr>
                </a:solidFill>
              </a:defRPr>
            </a:lvl6pPr>
            <a:lvl7pPr marL="2742003" indent="0" algn="ctr">
              <a:buNone/>
              <a:defRPr>
                <a:solidFill>
                  <a:schemeClr val="tx1">
                    <a:tint val="75000"/>
                  </a:schemeClr>
                </a:solidFill>
              </a:defRPr>
            </a:lvl7pPr>
            <a:lvl8pPr marL="3199004" indent="0" algn="ctr">
              <a:buNone/>
              <a:defRPr>
                <a:solidFill>
                  <a:schemeClr val="tx1">
                    <a:tint val="75000"/>
                  </a:schemeClr>
                </a:solidFill>
              </a:defRPr>
            </a:lvl8pPr>
            <a:lvl9pPr marL="3656005" indent="0" algn="ctr">
              <a:buNone/>
              <a:defRPr>
                <a:solidFill>
                  <a:schemeClr val="tx1">
                    <a:tint val="75000"/>
                  </a:schemeClr>
                </a:solidFill>
              </a:defRPr>
            </a:lvl9pPr>
          </a:lstStyle>
          <a:p>
            <a:r>
              <a:rPr lang="en-US" dirty="0" smtClean="0"/>
              <a:t>Course Title Style</a:t>
            </a:r>
            <a:endParaRPr lang="en-US" dirty="0"/>
          </a:p>
        </p:txBody>
      </p:sp>
    </p:spTree>
    <p:extLst>
      <p:ext uri="{BB962C8B-B14F-4D97-AF65-F5344CB8AC3E}">
        <p14:creationId xmlns:p14="http://schemas.microsoft.com/office/powerpoint/2010/main" val="2318690200"/>
      </p:ext>
    </p:extLst>
  </p:cSld>
  <p:clrMapOvr>
    <a:masterClrMapping/>
  </p:clrMapOvr>
  <p:transition>
    <p:fade/>
  </p:transition>
  <p:timing>
    <p:tnLst>
      <p:par>
        <p:cTn id="1" dur="indefinite" restart="never" nodeType="tmRoot"/>
      </p:par>
    </p:tnLst>
  </p:timing>
  <p:hf hdr="0"/>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1_50-50 Right Photo Layout_03">
    <p:bg bwMode="auto">
      <p:bgPr>
        <a:solidFill>
          <a:schemeClr val="tx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bwMode="invGray">
          <a:xfrm>
            <a:off x="269171" y="2095971"/>
            <a:ext cx="5377148" cy="2677859"/>
          </a:xfrm>
          <a:noFill/>
        </p:spPr>
        <p:txBody>
          <a:bodyPr vert="horz" wrap="square" lIns="146304" tIns="91440" rIns="146304" bIns="91440" rtlCol="0" anchor="t" anchorCtr="0">
            <a:noAutofit/>
          </a:bodyPr>
          <a:lstStyle>
            <a:lvl1pPr>
              <a:defRPr lang="en-US" sz="5880" spc="-98" baseline="0" dirty="0">
                <a:solidFill>
                  <a:schemeClr val="bg1"/>
                </a:soli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0771" y="4773830"/>
            <a:ext cx="5375815" cy="896551"/>
          </a:xfrm>
        </p:spPr>
        <p:txBody>
          <a:bodyPr tIns="109728" bIns="109728">
            <a:noAutofit/>
          </a:bodyPr>
          <a:lstStyle>
            <a:lvl1pPr marL="0" indent="0">
              <a:spcBef>
                <a:spcPts val="0"/>
              </a:spcBef>
              <a:buNone/>
              <a:defRPr sz="3136">
                <a:solidFill>
                  <a:schemeClr val="bg1"/>
                </a:solidFill>
              </a:defRPr>
            </a:lvl1pPr>
          </a:lstStyle>
          <a:p>
            <a:pPr lvl="0"/>
            <a:r>
              <a:rPr lang="en-US" dirty="0" smtClean="0"/>
              <a:t>Speaker Name</a:t>
            </a:r>
            <a:endParaRPr lang="en-US" dirty="0"/>
          </a:p>
        </p:txBody>
      </p:sp>
      <p:pic>
        <p:nvPicPr>
          <p:cNvPr id="8" name="Picture Placeholder 4"/>
          <p:cNvPicPr>
            <a:picLocks noChangeAspect="1"/>
          </p:cNvPicPr>
          <p:nvPr userDrawn="1"/>
        </p:nvPicPr>
        <p:blipFill rotWithShape="1">
          <a:blip r:embed="rId2">
            <a:extLst>
              <a:ext uri="{28A0092B-C50C-407E-A947-70E740481C1C}">
                <a14:useLocalDpi xmlns:a14="http://schemas.microsoft.com/office/drawing/2010/main" val="0"/>
              </a:ext>
            </a:extLst>
          </a:blip>
          <a:srcRect l="1536" t="114" r="36245" b="-114"/>
          <a:stretch/>
        </p:blipFill>
        <p:spPr>
          <a:xfrm>
            <a:off x="6169094" y="2"/>
            <a:ext cx="6049292" cy="6857999"/>
          </a:xfrm>
          <a:prstGeom prst="rect">
            <a:avLst/>
          </a:prstGeom>
        </p:spPr>
      </p:pic>
    </p:spTree>
    <p:extLst>
      <p:ext uri="{BB962C8B-B14F-4D97-AF65-F5344CB8AC3E}">
        <p14:creationId xmlns:p14="http://schemas.microsoft.com/office/powerpoint/2010/main" val="2835177029"/>
      </p:ext>
    </p:extLst>
  </p:cSld>
  <p:clrMapOvr>
    <a:masterClrMapping/>
  </p:clrMapOvr>
  <p:transition>
    <p:fade/>
  </p:transition>
  <p:timing>
    <p:tnLst>
      <p:par>
        <p:cTn id="1" dur="indefinite" restart="never" nodeType="tmRoot"/>
      </p:par>
    </p:tnLst>
  </p:timing>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291139"/>
      </p:ext>
    </p:extLst>
  </p:cSld>
  <p:clrMapOvr>
    <a:masterClrMapping/>
  </p:clrMapOvr>
  <p:transition>
    <p:fade/>
  </p:transition>
  <p:timing>
    <p:tnLst>
      <p:par>
        <p:cTn id="1" dur="indefinite" restart="never" nodeType="tmRoot"/>
      </p:par>
    </p:tnLst>
  </p:timing>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3416757"/>
      </p:ext>
    </p:extLst>
  </p:cSld>
  <p:clrMapOvr>
    <a:masterClrMapping/>
  </p:clrMapOvr>
  <p:transition>
    <p:fade/>
  </p:transition>
  <p:timing>
    <p:tnLst>
      <p:par>
        <p:cTn id="1" dur="indefinite" restart="never" nodeType="tmRoot"/>
      </p:par>
    </p:tnLst>
  </p:timing>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38923919"/>
      </p:ext>
    </p:extLst>
  </p:cSld>
  <p:clrMapOvr>
    <a:masterClrMapping/>
  </p:clrMapOvr>
  <p:transition>
    <p:fade/>
  </p:transition>
  <p:timing>
    <p:tnLst>
      <p:par>
        <p:cTn id="1" dur="indefinite" restart="never" nodeType="tmRoot"/>
      </p:par>
    </p:tnLst>
  </p:timing>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19576193"/>
      </p:ext>
    </p:extLst>
  </p:cSld>
  <p:clrMapOvr>
    <a:masterClrMapping/>
  </p:clrMapOvr>
  <p:transition>
    <p:fade/>
  </p:transition>
  <p:timing>
    <p:tnLst>
      <p:par>
        <p:cTn id="1" dur="indefinite" restart="never" nodeType="tmRoot"/>
      </p:par>
    </p:tnLst>
  </p:timing>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396047"/>
          </a:xfrm>
          <a:prstGeom prst="rect">
            <a:avLst/>
          </a:prstGeom>
        </p:spPr>
        <p:txBody>
          <a:bodyPr/>
          <a:lstStyle>
            <a:lvl1pPr marL="284705" indent="-284705">
              <a:buClr>
                <a:schemeClr val="tx1"/>
              </a:buClr>
              <a:buSzPct val="90000"/>
              <a:buFont typeface="Wingdings" panose="05000000000000000000" pitchFamily="2" charset="2"/>
              <a:buChar char="§"/>
              <a:defRPr sz="3528">
                <a:solidFill>
                  <a:schemeClr val="bg1"/>
                </a:solidFill>
                <a:latin typeface="Segoe UI" pitchFamily="34" charset="0"/>
                <a:ea typeface="Segoe UI" pitchFamily="34" charset="0"/>
                <a:cs typeface="Segoe UI" pitchFamily="34" charset="0"/>
              </a:defRPr>
            </a:lvl1pPr>
            <a:lvl2pPr marL="560073" indent="-275370">
              <a:buClr>
                <a:schemeClr val="tx1"/>
              </a:buClr>
              <a:buSzPct val="90000"/>
              <a:buFont typeface="Wingdings" panose="05000000000000000000" pitchFamily="2" charset="2"/>
              <a:buChar char="§"/>
              <a:defRPr sz="3136">
                <a:solidFill>
                  <a:schemeClr val="bg1"/>
                </a:solidFill>
                <a:latin typeface="Segoe UI" pitchFamily="34" charset="0"/>
                <a:ea typeface="Segoe UI" pitchFamily="34" charset="0"/>
                <a:cs typeface="Segoe UI" pitchFamily="34" charset="0"/>
              </a:defRPr>
            </a:lvl2pPr>
            <a:lvl3pPr marL="844777" indent="-284705">
              <a:buClr>
                <a:schemeClr val="tx1"/>
              </a:buClr>
              <a:buSzPct val="90000"/>
              <a:buFont typeface="Wingdings" panose="05000000000000000000" pitchFamily="2" charset="2"/>
              <a:buChar char="§"/>
              <a:defRPr sz="2744">
                <a:solidFill>
                  <a:schemeClr val="bg1"/>
                </a:solidFill>
                <a:latin typeface="Segoe UI" pitchFamily="34" charset="0"/>
                <a:ea typeface="Segoe UI" pitchFamily="34" charset="0"/>
                <a:cs typeface="Segoe UI" pitchFamily="34" charset="0"/>
              </a:defRPr>
            </a:lvl3pPr>
            <a:lvl4pPr marL="1068807" indent="-224030">
              <a:buClr>
                <a:schemeClr val="tx1"/>
              </a:buClr>
              <a:buSzPct val="90000"/>
              <a:buFont typeface="Wingdings" panose="05000000000000000000" pitchFamily="2" charset="2"/>
              <a:buChar char="§"/>
              <a:defRPr sz="2352">
                <a:solidFill>
                  <a:schemeClr val="bg1"/>
                </a:solidFill>
                <a:latin typeface="Segoe UI" pitchFamily="34" charset="0"/>
                <a:ea typeface="Segoe UI" pitchFamily="34" charset="0"/>
                <a:cs typeface="Segoe UI" pitchFamily="34" charset="0"/>
              </a:defRPr>
            </a:lvl4pPr>
            <a:lvl5pPr marL="1292837" indent="-224030">
              <a:buClr>
                <a:schemeClr val="tx1"/>
              </a:buClr>
              <a:buSzPct val="90000"/>
              <a:buFont typeface="Wingdings" panose="05000000000000000000" pitchFamily="2" charset="2"/>
              <a:buChar char="§"/>
              <a:defRPr sz="1960">
                <a:solidFill>
                  <a:schemeClr val="bg1"/>
                </a:soli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7"/>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solidFill>
                  <a:schemeClr val="bg1"/>
                </a:soli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89921860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396047"/>
          </a:xfrm>
          <a:prstGeom prst="rect">
            <a:avLst/>
          </a:prstGeom>
        </p:spPr>
        <p:txBody>
          <a:bodyPr/>
          <a:lstStyle>
            <a:lvl1pPr marL="284705" indent="-28470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73" indent="-275370">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77" indent="-284705">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807" indent="-224030">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837" indent="-224030">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79467645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77.xml><?xml version="1.0" encoding="utf-8"?>
<p:sldLayout xmlns:a="http://schemas.openxmlformats.org/drawingml/2006/main" xmlns:r="http://schemas.openxmlformats.org/officeDocument/2006/relationships" xmlns:p="http://schemas.openxmlformats.org/presentationml/2006/main" userDrawn="1">
  <p:cSld name="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858" y="291103"/>
            <a:ext cx="11650799" cy="896518"/>
          </a:xfrm>
        </p:spPr>
        <p:txBody>
          <a:bodyPr/>
          <a:lstStyle>
            <a:lvl1pPr>
              <a:defRPr sz="5684">
                <a:solidFill>
                  <a:schemeClr val="bg1"/>
                </a:soli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169" y="1663939"/>
            <a:ext cx="10754297" cy="1865319"/>
          </a:xfrm>
        </p:spPr>
        <p:txBody>
          <a:bodyPr/>
          <a:lstStyle>
            <a:lvl1pPr>
              <a:defRPr sz="2548">
                <a:solidFill>
                  <a:schemeClr val="bg1"/>
                </a:solidFill>
                <a:latin typeface="+mn-lt"/>
              </a:defRPr>
            </a:lvl1pPr>
            <a:lvl2pPr>
              <a:defRPr sz="2352">
                <a:solidFill>
                  <a:schemeClr val="bg1"/>
                </a:solidFill>
              </a:defRPr>
            </a:lvl2pPr>
            <a:lvl3pPr>
              <a:defRPr sz="1960">
                <a:solidFill>
                  <a:schemeClr val="bg1"/>
                </a:solidFill>
              </a:defRPr>
            </a:lvl3pPr>
            <a:lvl4pPr>
              <a:defRPr sz="1764">
                <a:solidFill>
                  <a:schemeClr val="bg1"/>
                </a:solidFill>
              </a:defRPr>
            </a:lvl4pPr>
            <a:lvl5pPr>
              <a:defRPr sz="1764">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74677454"/>
      </p:ext>
    </p:extLst>
  </p:cSld>
  <p:clrMapOvr>
    <a:masterClrMapping/>
  </p:clrMapOvr>
  <p:transition>
    <p:fade/>
  </p:transition>
  <p:timing>
    <p:tnLst>
      <p:par>
        <p:cTn id="1" dur="indefinite" restart="never" nodeType="tmRoot"/>
      </p:par>
    </p:tnLst>
  </p:timing>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380"/>
            <a:ext cx="12188825" cy="6856620"/>
          </a:xfrm>
          <a:prstGeom prst="rect">
            <a:avLst/>
          </a:prstGeom>
        </p:spPr>
      </p:pic>
      <p:pic>
        <p:nvPicPr>
          <p:cNvPr id="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62149" y="474237"/>
            <a:ext cx="1775047" cy="380393"/>
          </a:xfrm>
          <a:prstGeom prst="rect">
            <a:avLst/>
          </a:prstGeom>
        </p:spPr>
      </p:pic>
    </p:spTree>
    <p:extLst>
      <p:ext uri="{BB962C8B-B14F-4D97-AF65-F5344CB8AC3E}">
        <p14:creationId xmlns:p14="http://schemas.microsoft.com/office/powerpoint/2010/main" val="1345329040"/>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Slide Photo Layout">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t="15937" r="3431" b="2608"/>
          <a:stretch/>
        </p:blipFill>
        <p:spPr>
          <a:xfrm>
            <a:off x="2" y="-7783"/>
            <a:ext cx="12218386" cy="6873565"/>
          </a:xfrm>
          <a:prstGeom prst="rect">
            <a:avLst/>
          </a:prstGeom>
        </p:spPr>
      </p:pic>
      <p:sp>
        <p:nvSpPr>
          <p:cNvPr id="19" name="Dark gradation top"/>
          <p:cNvSpPr/>
          <p:nvPr userDrawn="1"/>
        </p:nvSpPr>
        <p:spPr bwMode="gray">
          <a:xfrm>
            <a:off x="1" y="-7783"/>
            <a:ext cx="12103070" cy="6568608"/>
          </a:xfrm>
          <a:prstGeom prst="rect">
            <a:avLst/>
          </a:prstGeom>
          <a:gradFill flip="none" rotWithShape="1">
            <a:gsLst>
              <a:gs pos="0">
                <a:srgbClr val="000000">
                  <a:alpha val="7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14" y="539681"/>
            <a:ext cx="5901482" cy="2062069"/>
          </a:xfrm>
          <a:noFill/>
        </p:spPr>
        <p:txBody>
          <a:bodyPr vert="horz" wrap="square" lIns="146304" tIns="91440" rIns="146304" bIns="91440" rtlCol="0" anchor="t" anchorCtr="0">
            <a:noAutofit/>
          </a:bodyPr>
          <a:lstStyle>
            <a:lvl1pPr>
              <a:defRPr lang="en-US" sz="5880" spc="-98" baseline="0" dirty="0">
                <a:solidFill>
                  <a:schemeClr val="tx1"/>
                </a:solidFill>
              </a:defRPr>
            </a:lvl1pPr>
          </a:lstStyle>
          <a:p>
            <a:pPr lvl="0"/>
            <a:r>
              <a:rPr lang="en-US" dirty="0" smtClean="0"/>
              <a:t>Presentation title</a:t>
            </a:r>
            <a:endParaRPr lang="en-US" dirty="0"/>
          </a:p>
        </p:txBody>
      </p:sp>
      <p:pic>
        <p:nvPicPr>
          <p:cNvPr id="11"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205" y="6061767"/>
            <a:ext cx="1522008" cy="326167"/>
          </a:xfrm>
          <a:prstGeom prst="rect">
            <a:avLst/>
          </a:prstGeom>
        </p:spPr>
      </p:pic>
    </p:spTree>
    <p:extLst>
      <p:ext uri="{BB962C8B-B14F-4D97-AF65-F5344CB8AC3E}">
        <p14:creationId xmlns:p14="http://schemas.microsoft.com/office/powerpoint/2010/main" val="27029183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666852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2"/>
            <a:ext cx="6271784" cy="1794661"/>
          </a:xfrm>
          <a:noFill/>
        </p:spPr>
        <p:txBody>
          <a:bodyPr lIns="146304" tIns="109728" rIns="146304" bIns="109728">
            <a:noAutofit/>
          </a:bodyPr>
          <a:lstStyle>
            <a:lvl1pPr marL="0" indent="0">
              <a:spcBef>
                <a:spcPts val="0"/>
              </a:spcBef>
              <a:buNone/>
              <a:defRPr sz="3528" spc="0" baseline="0">
                <a:solidFill>
                  <a:schemeClr val="bg1">
                    <a:lumMod val="75000"/>
                  </a:schemeClr>
                </a:soli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8065659" cy="1801436"/>
          </a:xfrm>
          <a:noFill/>
        </p:spPr>
        <p:txBody>
          <a:bodyPr lIns="146304" tIns="91440" rIns="146304" bIns="91440" anchor="t" anchorCtr="0"/>
          <a:lstStyle>
            <a:lvl1pPr>
              <a:defRPr sz="5880" spc="-98" baseline="0">
                <a:solidFill>
                  <a:schemeClr val="bg1">
                    <a:lumMod val="75000"/>
                  </a:schemeClr>
                </a:solidFill>
              </a:defRPr>
            </a:lvl1pPr>
          </a:lstStyle>
          <a:p>
            <a:r>
              <a:rPr lang="en-US" dirty="0" smtClean="0"/>
              <a:t>Presentation title</a:t>
            </a:r>
            <a:endParaRPr lang="en-US" dirty="0"/>
          </a:p>
        </p:txBody>
      </p:sp>
      <p:pic>
        <p:nvPicPr>
          <p:cNvPr id="8" name="MS logo whit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449205" y="6061767"/>
            <a:ext cx="1522008" cy="326167"/>
          </a:xfrm>
          <a:prstGeom prst="rect">
            <a:avLst/>
          </a:prstGeom>
        </p:spPr>
      </p:pic>
    </p:spTree>
    <p:extLst>
      <p:ext uri="{BB962C8B-B14F-4D97-AF65-F5344CB8AC3E}">
        <p14:creationId xmlns:p14="http://schemas.microsoft.com/office/powerpoint/2010/main" val="111823473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232" y="1187644"/>
            <a:ext cx="806566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1" y="1186356"/>
            <a:ext cx="8065721" cy="2697988"/>
          </a:xfrm>
          <a:noFill/>
        </p:spPr>
        <p:txBody>
          <a:bodyPr tIns="91440" bIns="91440" anchor="t" anchorCtr="0"/>
          <a:lstStyle>
            <a:lvl1pPr>
              <a:defRPr sz="7056" spc="-98"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69" y="3877278"/>
            <a:ext cx="8065712" cy="1793881"/>
          </a:xfrm>
          <a:noFill/>
        </p:spPr>
        <p:txBody>
          <a:bodyPr lIns="182880" tIns="146304" rIns="182880" bIns="146304">
            <a:noAutofit/>
          </a:bodyPr>
          <a:lstStyle>
            <a:lvl1pPr marL="0" indent="0">
              <a:spcBef>
                <a:spcPts val="0"/>
              </a:spcBef>
              <a:buNone/>
              <a:defRPr sz="3528" spc="0" baseline="0">
                <a:gradFill>
                  <a:gsLst>
                    <a:gs pos="0">
                      <a:srgbClr val="FFFFFF"/>
                    </a:gs>
                    <a:gs pos="100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8782256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232" y="1187644"/>
            <a:ext cx="806566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1" y="1186356"/>
            <a:ext cx="8065721" cy="2697988"/>
          </a:xfrm>
          <a:noFill/>
        </p:spPr>
        <p:txBody>
          <a:bodyPr tIns="91440" bIns="91440" anchor="t" anchorCtr="0"/>
          <a:lstStyle>
            <a:lvl1pPr>
              <a:defRPr sz="7056" spc="-98"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5449929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defRPr sz="8624" spc="-98"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253198529"/>
      </p:ext>
    </p:extLst>
  </p:cSld>
  <p:clrMapOvr>
    <a:masterClrMapping/>
  </p:clrMapOvr>
  <p:transition>
    <p:fade/>
  </p:transition>
  <p:timing>
    <p:tnLst>
      <p:par>
        <p:cTn id="1" dur="indefinite" restart="never" nodeType="tmRoot"/>
      </p:par>
    </p:tnLst>
  </p:timing>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defRPr sz="8624" spc="-98"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069987920"/>
      </p:ext>
    </p:extLst>
  </p:cSld>
  <p:clrMapOvr>
    <a:masterClrMapping/>
  </p:clrMapOvr>
  <p:transition>
    <p:fade/>
  </p:transition>
  <p:timing>
    <p:tnLst>
      <p:par>
        <p:cTn id="1" dur="indefinite" restart="never" nodeType="tmRoot"/>
      </p:par>
    </p:tnLst>
  </p:timing>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4093" rtl="0" eaLnBrk="1" latinLnBrk="0" hangingPunct="1">
              <a:lnSpc>
                <a:spcPct val="90000"/>
              </a:lnSpc>
              <a:spcBef>
                <a:spcPct val="0"/>
              </a:spcBef>
              <a:buNone/>
              <a:defRPr lang="en-US" sz="8624" b="0" kern="1200" cap="none" spc="-98"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688225305"/>
      </p:ext>
    </p:extLst>
  </p:cSld>
  <p:clrMapOvr>
    <a:masterClrMapping/>
  </p:clrMapOvr>
  <p:transition>
    <p:fade/>
  </p:transition>
  <p:timing>
    <p:tnLst>
      <p:par>
        <p:cTn id="1" dur="indefinite" restart="never" nodeType="tmRoot"/>
      </p:par>
    </p:tnLst>
  </p:timing>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4093" rtl="0" eaLnBrk="1" latinLnBrk="0" hangingPunct="1">
              <a:lnSpc>
                <a:spcPct val="90000"/>
              </a:lnSpc>
              <a:spcBef>
                <a:spcPct val="0"/>
              </a:spcBef>
              <a:buNone/>
              <a:defRPr lang="en-US" sz="8624"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1378110187"/>
      </p:ext>
    </p:extLst>
  </p:cSld>
  <p:clrMapOvr>
    <a:masterClrMapping/>
  </p:clrMapOvr>
  <p:transition>
    <p:fade/>
  </p:transition>
  <p:timing>
    <p:tnLst>
      <p:par>
        <p:cTn id="1" dur="indefinite" restart="never" nodeType="tmRoot"/>
      </p:par>
    </p:tnLst>
  </p:timing>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7"/>
            <a:ext cx="11652805" cy="2018835"/>
          </a:xfrm>
        </p:spPr>
        <p:txBody>
          <a:bodyPr/>
          <a:lstStyle>
            <a:lvl1pPr marL="0" indent="0">
              <a:buNone/>
              <a:defRPr/>
            </a:lvl1pPr>
            <a:lvl2pPr marL="28004" indent="0">
              <a:buNone/>
              <a:defRPr sz="1960"/>
            </a:lvl2pPr>
            <a:lvl3pPr marL="219362" indent="0">
              <a:buNone/>
              <a:defRPr sz="1960"/>
            </a:lvl3pPr>
            <a:lvl4pPr marL="466728" indent="0">
              <a:buNone/>
              <a:defRPr sz="1764"/>
            </a:lvl4pPr>
            <a:lvl5pPr marL="72498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54186430"/>
      </p:ext>
    </p:extLst>
  </p:cSld>
  <p:clrMapOvr>
    <a:masterClrMapping/>
  </p:clrMapOvr>
  <p:transition>
    <p:fade/>
  </p:transition>
  <p:timing>
    <p:tnLst>
      <p:par>
        <p:cTn id="1" dur="indefinite" restart="never" nodeType="tmRoot"/>
      </p:par>
    </p:tnLst>
  </p:timing>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7"/>
            <a:ext cx="11652805" cy="2018835"/>
          </a:xfrm>
        </p:spPr>
        <p:txBody>
          <a:bodyPr/>
          <a:lstStyle>
            <a:lvl1pPr marL="0" indent="0">
              <a:buNone/>
              <a:defRPr>
                <a:gradFill>
                  <a:gsLst>
                    <a:gs pos="2920">
                      <a:schemeClr val="tx1"/>
                    </a:gs>
                    <a:gs pos="100000">
                      <a:schemeClr val="tx1"/>
                    </a:gs>
                  </a:gsLst>
                  <a:lin ang="5400000" scaled="0"/>
                </a:gradFill>
              </a:defRPr>
            </a:lvl1pPr>
            <a:lvl2pPr marL="28004" indent="0">
              <a:buNone/>
              <a:defRPr sz="1960"/>
            </a:lvl2pPr>
            <a:lvl3pPr marL="219362" indent="0">
              <a:buNone/>
              <a:defRPr sz="1960"/>
            </a:lvl3pPr>
            <a:lvl4pPr marL="466728" indent="0">
              <a:buNone/>
              <a:defRPr sz="1764"/>
            </a:lvl4pPr>
            <a:lvl5pPr marL="72498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549171"/>
      </p:ext>
    </p:extLst>
  </p:cSld>
  <p:clrMapOvr>
    <a:masterClrMapping/>
  </p:clrMapOvr>
  <p:transition>
    <p:fade/>
  </p:transition>
  <p:timing>
    <p:tnLst>
      <p:par>
        <p:cTn id="1" dur="indefinite" restart="never" nodeType="tmRoot"/>
      </p:par>
    </p:tnLst>
  </p:timing>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35211323"/>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192984014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1pPr>
              <a:buClr>
                <a:schemeClr val="tx2"/>
              </a:buClr>
              <a:defRPr>
                <a:gradFill>
                  <a:gsLst>
                    <a:gs pos="0">
                      <a:schemeClr val="tx1"/>
                    </a:gs>
                    <a:gs pos="100000">
                      <a:schemeClr val="tx1"/>
                    </a:gs>
                  </a:gsLst>
                  <a:lin ang="5400000" scaled="0"/>
                </a:gradFill>
              </a:defRPr>
            </a:lvl1pPr>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583941388"/>
      </p:ext>
    </p:extLst>
  </p:cSld>
  <p:clrMapOvr>
    <a:masterClrMapping/>
  </p:clrMapOvr>
  <p:transition>
    <p:fade/>
  </p:transition>
  <p:timing>
    <p:tnLst>
      <p:par>
        <p:cTn id="1" dur="indefinite" restart="never" nodeType="tmRoot"/>
      </p:par>
    </p:tnLst>
  </p:timing>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82202954"/>
      </p:ext>
    </p:extLst>
  </p:cSld>
  <p:clrMapOvr>
    <a:masterClrMapping/>
  </p:clrMapOvr>
  <p:transition>
    <p:fade/>
  </p:transition>
  <p:timing>
    <p:tnLst>
      <p:par>
        <p:cTn id="1" dur="indefinite" restart="never" nodeType="tmRoot"/>
      </p:par>
    </p:tnLst>
  </p:timing>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6578"/>
          </a:xfrm>
        </p:spPr>
        <p:txBody>
          <a:bodyPr wrap="square">
            <a:spAutoFit/>
          </a:bodyPr>
          <a:lstStyle>
            <a:lvl1pPr marL="0" indent="0">
              <a:spcBef>
                <a:spcPts val="1200"/>
              </a:spcBef>
              <a:buClr>
                <a:schemeClr val="tx1"/>
              </a:buClr>
              <a:buFont typeface="Wingdings" pitchFamily="2" charset="2"/>
              <a:buNone/>
              <a:defRPr sz="3528">
                <a:solidFill>
                  <a:schemeClr val="tx1"/>
                </a:solidFill>
              </a:defRPr>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6578"/>
          </a:xfrm>
        </p:spPr>
        <p:txBody>
          <a:bodyPr wrap="square">
            <a:spAutoFit/>
          </a:bodyPr>
          <a:lstStyle>
            <a:lvl1pPr marL="0" indent="0">
              <a:spcBef>
                <a:spcPts val="1200"/>
              </a:spcBef>
              <a:buClr>
                <a:schemeClr val="tx1"/>
              </a:buClr>
              <a:buFont typeface="Wingdings" pitchFamily="2" charset="2"/>
              <a:buNone/>
              <a:defRPr sz="3528">
                <a:solidFill>
                  <a:schemeClr val="tx1"/>
                </a:solidFill>
              </a:defRPr>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16972944"/>
      </p:ext>
    </p:extLst>
  </p:cSld>
  <p:clrMapOvr>
    <a:masterClrMapping/>
  </p:clrMapOvr>
  <p:transition>
    <p:fade/>
  </p:transition>
  <p:timing>
    <p:tnLst>
      <p:par>
        <p:cTn id="1" dur="indefinite" restart="never" nodeType="tmRoot"/>
      </p:par>
    </p:tnLst>
  </p:timing>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7"/>
            <a:ext cx="5377147" cy="2552967"/>
          </a:xfrm>
        </p:spPr>
        <p:txBody>
          <a:bodyPr wrap="square">
            <a:spAutoFit/>
          </a:bodyPr>
          <a:lstStyle>
            <a:lvl1pPr marL="281592" indent="-281592">
              <a:spcBef>
                <a:spcPts val="1200"/>
              </a:spcBef>
              <a:buClr>
                <a:schemeClr val="tx1"/>
              </a:buClr>
              <a:buFontTx/>
              <a:buBlip>
                <a:blip r:embed="rId2"/>
              </a:buBlip>
              <a:defRPr sz="3528"/>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7"/>
            <a:ext cx="5377147" cy="2552967"/>
          </a:xfrm>
        </p:spPr>
        <p:txBody>
          <a:bodyPr wrap="square">
            <a:spAutoFit/>
          </a:bodyPr>
          <a:lstStyle>
            <a:lvl1pPr marL="281592" indent="-281592">
              <a:spcBef>
                <a:spcPts val="1200"/>
              </a:spcBef>
              <a:buClr>
                <a:schemeClr val="tx1"/>
              </a:buClr>
              <a:buFontTx/>
              <a:buBlip>
                <a:blip r:embed="rId2"/>
              </a:buBlip>
              <a:defRPr sz="3528"/>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65348642"/>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7"/>
            <a:ext cx="5377147" cy="2552967"/>
          </a:xfrm>
        </p:spPr>
        <p:txBody>
          <a:bodyPr wrap="square">
            <a:spAutoFit/>
          </a:bodyPr>
          <a:lstStyle>
            <a:lvl1pPr marL="281592" indent="-281592">
              <a:spcBef>
                <a:spcPts val="1200"/>
              </a:spcBef>
              <a:buClr>
                <a:schemeClr val="tx2"/>
              </a:buClr>
              <a:buFontTx/>
              <a:buBlip>
                <a:blip r:embed="rId2"/>
              </a:buBlip>
              <a:defRPr sz="3528">
                <a:solidFill>
                  <a:schemeClr val="tx1"/>
                </a:solidFill>
              </a:defRPr>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7"/>
            <a:ext cx="5377147" cy="2552967"/>
          </a:xfrm>
        </p:spPr>
        <p:txBody>
          <a:bodyPr wrap="square">
            <a:spAutoFit/>
          </a:bodyPr>
          <a:lstStyle>
            <a:lvl1pPr marL="281592" indent="-281592">
              <a:spcBef>
                <a:spcPts val="1200"/>
              </a:spcBef>
              <a:buClr>
                <a:schemeClr val="tx2"/>
              </a:buClr>
              <a:buFontTx/>
              <a:buBlip>
                <a:blip r:embed="rId2"/>
              </a:buBlip>
              <a:defRPr sz="3528">
                <a:solidFill>
                  <a:schemeClr val="tx1"/>
                </a:solidFill>
              </a:defRPr>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95140388"/>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651652400"/>
      </p:ext>
    </p:extLst>
  </p:cSld>
  <p:clrMapOvr>
    <a:masterClrMapping/>
  </p:clrMapOvr>
  <p:transition>
    <p:fade/>
  </p:transition>
  <p:timing>
    <p:tnLst>
      <p:par>
        <p:cTn id="1" dur="indefinite" restart="never" nodeType="tmRoot"/>
      </p:par>
    </p:tnLst>
  </p:timing>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Big Idea Layou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6949" y="1187622"/>
            <a:ext cx="11652805" cy="899665"/>
          </a:xfrm>
        </p:spPr>
        <p:txBody>
          <a:bodyPr/>
          <a:lstStyle>
            <a:lvl1pPr>
              <a:defRPr sz="7056" baseline="0"/>
            </a:lvl1pPr>
          </a:lstStyle>
          <a:p>
            <a:r>
              <a:rPr lang="en-US" smtClean="0"/>
              <a:t>Click to edit Master title style</a:t>
            </a:r>
            <a:endParaRPr lang="en-US" dirty="0"/>
          </a:p>
        </p:txBody>
      </p:sp>
    </p:spTree>
    <p:extLst>
      <p:ext uri="{BB962C8B-B14F-4D97-AF65-F5344CB8AC3E}">
        <p14:creationId xmlns:p14="http://schemas.microsoft.com/office/powerpoint/2010/main" val="4064971265"/>
      </p:ext>
    </p:extLst>
  </p:cSld>
  <p:clrMapOvr>
    <a:masterClrMapping/>
  </p:clrMapOvr>
  <p:transition>
    <p:fade/>
  </p:transition>
  <p:timing>
    <p:tnLst>
      <p:par>
        <p:cTn id="1" dur="indefinite" restart="never" nodeType="tmRoot"/>
      </p:par>
    </p:tnLst>
  </p:timing>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Fact Layou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1" cy="1793104"/>
          </a:xfrm>
        </p:spPr>
        <p:txBody>
          <a:bodyPr/>
          <a:lstStyle>
            <a:lvl1pPr>
              <a:defRPr sz="5880" baseline="0"/>
            </a:lvl1pPr>
          </a:lstStyle>
          <a:p>
            <a:r>
              <a:rPr lang="en-US" smtClean="0"/>
              <a:t>Click to edit Master title style</a:t>
            </a:r>
            <a:endParaRPr lang="en-US" dirty="0"/>
          </a:p>
        </p:txBody>
      </p:sp>
    </p:spTree>
    <p:extLst>
      <p:ext uri="{BB962C8B-B14F-4D97-AF65-F5344CB8AC3E}">
        <p14:creationId xmlns:p14="http://schemas.microsoft.com/office/powerpoint/2010/main" val="59283199"/>
      </p:ext>
    </p:extLst>
  </p:cSld>
  <p:clrMapOvr>
    <a:masterClrMapping/>
  </p:clrMapOvr>
  <p:transition>
    <p:fade/>
  </p:transition>
  <p:timing>
    <p:tnLst>
      <p:par>
        <p:cTn id="1" dur="indefinite" restart="never" nodeType="tmRoot"/>
      </p:par>
    </p:tnLst>
  </p:timing>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1" cy="1793104"/>
          </a:xfrm>
        </p:spPr>
        <p:txBody>
          <a:bodyPr/>
          <a:lstStyle>
            <a:lvl1pPr>
              <a:defRPr sz="5880" baseline="0"/>
            </a:lvl1pPr>
          </a:lstStyle>
          <a:p>
            <a:r>
              <a:rPr lang="en-US" smtClean="0"/>
              <a:t>Click to edit Master title style</a:t>
            </a:r>
            <a:endParaRPr lang="en-US" dirty="0"/>
          </a:p>
        </p:txBody>
      </p:sp>
    </p:spTree>
    <p:extLst>
      <p:ext uri="{BB962C8B-B14F-4D97-AF65-F5344CB8AC3E}">
        <p14:creationId xmlns:p14="http://schemas.microsoft.com/office/powerpoint/2010/main" val="1845467547"/>
      </p:ext>
    </p:extLst>
  </p:cSld>
  <p:clrMapOvr>
    <a:masterClrMapping/>
  </p:clrMapOvr>
  <p:transition>
    <p:fade/>
  </p:transition>
  <p:timing>
    <p:tnLst>
      <p:par>
        <p:cTn id="1" dur="indefinite" restart="never" nodeType="tmRoot"/>
      </p:par>
    </p:tnLst>
  </p:timing>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Quote Layout">
    <p:bg>
      <p:bgPr>
        <a:solidFill>
          <a:schemeClr val="tx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1178350"/>
            <a:ext cx="9858104" cy="899665"/>
          </a:xfrm>
        </p:spPr>
        <p:txBody>
          <a:bodyPr/>
          <a:lstStyle>
            <a:lvl1pPr marL="228697" indent="-228697">
              <a:defRPr sz="5880"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8" y="5025984"/>
            <a:ext cx="5377148" cy="1050156"/>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21964401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139" y="4343400"/>
            <a:ext cx="10237786" cy="461665"/>
          </a:xfrm>
        </p:spPr>
        <p:txBody>
          <a:bodyPr>
            <a:noAutofit/>
          </a:bodyPr>
          <a:lstStyle>
            <a:lvl1pPr marL="0" indent="0" algn="l">
              <a:lnSpc>
                <a:spcPct val="90000"/>
              </a:lnSpc>
              <a:spcBef>
                <a:spcPts val="0"/>
              </a:spcBef>
              <a:buNone/>
              <a:defRPr lang="en-US" sz="3600" kern="1200" spc="-70" baseline="0" dirty="0">
                <a:gradFill>
                  <a:gsLst>
                    <a:gs pos="2083">
                      <a:schemeClr val="bg2"/>
                    </a:gs>
                    <a:gs pos="99000">
                      <a:schemeClr val="bg2"/>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138" y="2739678"/>
            <a:ext cx="10245725"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138" y="1447800"/>
            <a:ext cx="10237787" cy="914096"/>
          </a:xfrm>
        </p:spPr>
        <p:txBody>
          <a:bodyPr wrap="square" anchor="b">
            <a:noAutofit/>
          </a:bodyPr>
          <a:lstStyle>
            <a:lvl1pPr marL="0" indent="0">
              <a:buNone/>
              <a:defRPr sz="6600" spc="-150"/>
            </a:lvl1pPr>
          </a:lstStyle>
          <a:p>
            <a:pPr lvl="0"/>
            <a:r>
              <a:rPr lang="en-US" smtClean="0"/>
              <a:t>Click to edit Master text styles</a:t>
            </a:r>
          </a:p>
        </p:txBody>
      </p:sp>
    </p:spTree>
    <p:extLst>
      <p:ext uri="{BB962C8B-B14F-4D97-AF65-F5344CB8AC3E}">
        <p14:creationId xmlns:p14="http://schemas.microsoft.com/office/powerpoint/2010/main" val="26015579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7"/>
            <a:ext cx="11652805"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01885873"/>
      </p:ext>
    </p:extLst>
  </p:cSld>
  <p:clrMapOvr>
    <a:masterClrMapping/>
  </p:clrMapOvr>
  <p:transition>
    <p:fade/>
  </p:transition>
  <p:timing>
    <p:tnLst>
      <p:par>
        <p:cTn id="1" dur="indefinite" restart="never" nodeType="tmRoot"/>
      </p:par>
    </p:tnLst>
  </p:timing>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tx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2084174"/>
            <a:ext cx="9858104" cy="899665"/>
          </a:xfrm>
        </p:spPr>
        <p:txBody>
          <a:bodyPr/>
          <a:lstStyle>
            <a:lvl1pPr marL="276925" indent="-276925">
              <a:tabLst>
                <a:tab pos="276925" algn="l"/>
              </a:tabLst>
              <a:defRPr sz="5880"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8" y="4773813"/>
            <a:ext cx="5377148" cy="1050156"/>
          </a:xfrm>
        </p:spPr>
        <p:txBody>
          <a:bodyPr/>
          <a:lstStyle>
            <a:lvl1pPr marL="0" indent="0">
              <a:spcBef>
                <a:spcPts val="0"/>
              </a:spcBef>
              <a:buNone/>
              <a:defRPr sz="3136"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130728799"/>
      </p:ext>
    </p:extLst>
  </p:cSld>
  <p:clrMapOvr>
    <a:masterClrMapping/>
  </p:clrMapOvr>
  <p:transition>
    <p:fade/>
  </p:transition>
  <p:timing>
    <p:tnLst>
      <p:par>
        <p:cTn id="1" dur="indefinite" restart="never" nodeType="tmRoot"/>
      </p:par>
    </p:tnLst>
  </p:timing>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Big Idea &amp; 3 Points">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49" y="2383023"/>
            <a:ext cx="11650488" cy="914360"/>
          </a:xfrm>
        </p:spPr>
        <p:txBody>
          <a:bodyPr/>
          <a:lstStyle>
            <a:lvl1pPr marL="0" indent="0">
              <a:buNone/>
              <a:defRPr sz="5292">
                <a:gradFill>
                  <a:gsLst>
                    <a:gs pos="3333">
                      <a:schemeClr val="tx1"/>
                    </a:gs>
                    <a:gs pos="39000">
                      <a:schemeClr val="tx1"/>
                    </a:gs>
                  </a:gsLst>
                  <a:lin ang="5400000" scaled="0"/>
                </a:gradFill>
              </a:defRPr>
            </a:lvl1pPr>
            <a:lvl2pPr marL="0" indent="0">
              <a:buFontTx/>
              <a:buNone/>
              <a:defRPr sz="1960"/>
            </a:lvl2pPr>
            <a:lvl3pPr marL="224030" indent="0">
              <a:buNone/>
              <a:defRPr/>
            </a:lvl3pPr>
            <a:lvl4pPr marL="448059" indent="0">
              <a:buNone/>
              <a:defRPr/>
            </a:lvl4pPr>
            <a:lvl5pPr marL="672088" indent="0">
              <a:buNone/>
              <a:defRPr/>
            </a:lvl5pPr>
          </a:lstStyle>
          <a:p>
            <a:pPr lvl="0"/>
            <a:r>
              <a:rPr lang="en-US" smtClean="0"/>
              <a:t>Click to edit Master text styles</a:t>
            </a:r>
          </a:p>
        </p:txBody>
      </p:sp>
      <p:sp>
        <p:nvSpPr>
          <p:cNvPr id="4" name="Title 1"/>
          <p:cNvSpPr>
            <a:spLocks noGrp="1"/>
          </p:cNvSpPr>
          <p:nvPr>
            <p:ph type="title"/>
          </p:nvPr>
        </p:nvSpPr>
        <p:spPr>
          <a:xfrm>
            <a:off x="276949" y="1187622"/>
            <a:ext cx="11652805" cy="899665"/>
          </a:xfrm>
        </p:spPr>
        <p:txBody>
          <a:bodyPr/>
          <a:lstStyle>
            <a:lvl1pPr>
              <a:defRPr sz="7056"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399278339"/>
      </p:ext>
    </p:extLst>
  </p:cSld>
  <p:clrMapOvr>
    <a:masterClrMapping/>
  </p:clrMapOvr>
  <p:transition>
    <p:fade/>
  </p:transition>
  <p:timing>
    <p:tnLst>
      <p:par>
        <p:cTn id="1" dur="indefinite" restart="never" nodeType="tmRoot"/>
      </p:par>
    </p:tnLst>
  </p:timing>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1_50-50 Right Photo Layout_02">
    <p:bg bwMode="auto">
      <p:bgPr>
        <a:solidFill>
          <a:schemeClr val="tx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bwMode="invGray">
          <a:xfrm>
            <a:off x="269171" y="2095971"/>
            <a:ext cx="5377148" cy="2677859"/>
          </a:xfrm>
          <a:noFill/>
        </p:spPr>
        <p:txBody>
          <a:bodyPr vert="horz" wrap="square" lIns="146304" tIns="91440" rIns="146304" bIns="91440" rtlCol="0" anchor="t" anchorCtr="0">
            <a:noAutofit/>
          </a:bodyPr>
          <a:lstStyle>
            <a:lvl1pPr>
              <a:defRPr lang="en-US" sz="5880" spc="-98" baseline="0" dirty="0">
                <a:solidFill>
                  <a:schemeClr val="bg1"/>
                </a:soli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0771" y="4773830"/>
            <a:ext cx="5375815" cy="896551"/>
          </a:xfrm>
        </p:spPr>
        <p:txBody>
          <a:bodyPr tIns="109728" bIns="109728">
            <a:noAutofit/>
          </a:bodyPr>
          <a:lstStyle>
            <a:lvl1pPr marL="0" indent="0">
              <a:spcBef>
                <a:spcPts val="0"/>
              </a:spcBef>
              <a:buNone/>
              <a:defRPr sz="3136">
                <a:solidFill>
                  <a:schemeClr val="bg1"/>
                </a:solidFill>
              </a:defRPr>
            </a:lvl1pPr>
          </a:lstStyle>
          <a:p>
            <a:pPr lvl="0"/>
            <a:r>
              <a:rPr lang="en-US" dirty="0" smtClean="0"/>
              <a:t>Speaker Name</a:t>
            </a:r>
            <a:endParaRPr lang="en-US" dirty="0"/>
          </a:p>
        </p:txBody>
      </p:sp>
      <p:pic>
        <p:nvPicPr>
          <p:cNvPr id="8" name="Picture Placeholder 4"/>
          <p:cNvPicPr>
            <a:picLocks noChangeAspect="1"/>
          </p:cNvPicPr>
          <p:nvPr userDrawn="1"/>
        </p:nvPicPr>
        <p:blipFill rotWithShape="1">
          <a:blip r:embed="rId2">
            <a:extLst>
              <a:ext uri="{28A0092B-C50C-407E-A947-70E740481C1C}">
                <a14:useLocalDpi xmlns:a14="http://schemas.microsoft.com/office/drawing/2010/main" val="0"/>
              </a:ext>
            </a:extLst>
          </a:blip>
          <a:srcRect l="23279" r="17893"/>
          <a:stretch/>
        </p:blipFill>
        <p:spPr>
          <a:xfrm>
            <a:off x="6169094" y="0"/>
            <a:ext cx="6049292" cy="6858000"/>
          </a:xfrm>
          <a:prstGeom prst="rect">
            <a:avLst/>
          </a:prstGeom>
        </p:spPr>
      </p:pic>
      <p:pic>
        <p:nvPicPr>
          <p:cNvPr id="9" name="Picture Placeholder 4"/>
          <p:cNvPicPr>
            <a:picLocks noChangeAspect="1"/>
          </p:cNvPicPr>
          <p:nvPr userDrawn="1"/>
        </p:nvPicPr>
        <p:blipFill rotWithShape="1">
          <a:blip r:embed="rId3">
            <a:extLst>
              <a:ext uri="{28A0092B-C50C-407E-A947-70E740481C1C}">
                <a14:useLocalDpi xmlns:a14="http://schemas.microsoft.com/office/drawing/2010/main" val="0"/>
              </a:ext>
            </a:extLst>
          </a:blip>
          <a:srcRect l="-503" t="26090" r="67" b="-1"/>
          <a:stretch/>
        </p:blipFill>
        <p:spPr>
          <a:xfrm>
            <a:off x="6145398" y="-7783"/>
            <a:ext cx="6072988" cy="6873565"/>
          </a:xfrm>
          <a:prstGeom prst="rect">
            <a:avLst/>
          </a:prstGeom>
        </p:spPr>
      </p:pic>
    </p:spTree>
    <p:extLst>
      <p:ext uri="{BB962C8B-B14F-4D97-AF65-F5344CB8AC3E}">
        <p14:creationId xmlns:p14="http://schemas.microsoft.com/office/powerpoint/2010/main" val="1671108129"/>
      </p:ext>
    </p:extLst>
  </p:cSld>
  <p:clrMapOvr>
    <a:masterClrMapping/>
  </p:clrMapOvr>
  <p:transition>
    <p:fade/>
  </p:transition>
  <p:timing>
    <p:tnLst>
      <p:par>
        <p:cTn id="1" dur="indefinite" restart="never" nodeType="tmRoot"/>
      </p:par>
    </p:tnLst>
  </p:timing>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1_50-50 Right Photo Layout_03">
    <p:bg bwMode="auto">
      <p:bgPr>
        <a:solidFill>
          <a:schemeClr val="tx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bwMode="invGray">
          <a:xfrm>
            <a:off x="269171" y="2095971"/>
            <a:ext cx="5377148" cy="2677859"/>
          </a:xfrm>
          <a:noFill/>
        </p:spPr>
        <p:txBody>
          <a:bodyPr vert="horz" wrap="square" lIns="146304" tIns="91440" rIns="146304" bIns="91440" rtlCol="0" anchor="t" anchorCtr="0">
            <a:noAutofit/>
          </a:bodyPr>
          <a:lstStyle>
            <a:lvl1pPr>
              <a:defRPr lang="en-US" sz="5880" spc="-98" baseline="0" dirty="0">
                <a:solidFill>
                  <a:schemeClr val="bg1"/>
                </a:soli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0771" y="4773830"/>
            <a:ext cx="5375815" cy="896551"/>
          </a:xfrm>
        </p:spPr>
        <p:txBody>
          <a:bodyPr tIns="109728" bIns="109728">
            <a:noAutofit/>
          </a:bodyPr>
          <a:lstStyle>
            <a:lvl1pPr marL="0" indent="0">
              <a:spcBef>
                <a:spcPts val="0"/>
              </a:spcBef>
              <a:buNone/>
              <a:defRPr sz="3136">
                <a:solidFill>
                  <a:schemeClr val="bg1"/>
                </a:solidFill>
              </a:defRPr>
            </a:lvl1pPr>
          </a:lstStyle>
          <a:p>
            <a:pPr lvl="0"/>
            <a:r>
              <a:rPr lang="en-US" dirty="0" smtClean="0"/>
              <a:t>Speaker Name</a:t>
            </a:r>
            <a:endParaRPr lang="en-US" dirty="0"/>
          </a:p>
        </p:txBody>
      </p:sp>
      <p:pic>
        <p:nvPicPr>
          <p:cNvPr id="8" name="Picture Placeholder 4"/>
          <p:cNvPicPr>
            <a:picLocks noChangeAspect="1"/>
          </p:cNvPicPr>
          <p:nvPr userDrawn="1"/>
        </p:nvPicPr>
        <p:blipFill rotWithShape="1">
          <a:blip r:embed="rId2">
            <a:extLst>
              <a:ext uri="{28A0092B-C50C-407E-A947-70E740481C1C}">
                <a14:useLocalDpi xmlns:a14="http://schemas.microsoft.com/office/drawing/2010/main" val="0"/>
              </a:ext>
            </a:extLst>
          </a:blip>
          <a:srcRect l="1536" t="114" r="36245" b="-114"/>
          <a:stretch/>
        </p:blipFill>
        <p:spPr>
          <a:xfrm>
            <a:off x="6169094" y="2"/>
            <a:ext cx="6049292" cy="6857999"/>
          </a:xfrm>
          <a:prstGeom prst="rect">
            <a:avLst/>
          </a:prstGeom>
        </p:spPr>
      </p:pic>
    </p:spTree>
    <p:extLst>
      <p:ext uri="{BB962C8B-B14F-4D97-AF65-F5344CB8AC3E}">
        <p14:creationId xmlns:p14="http://schemas.microsoft.com/office/powerpoint/2010/main" val="2513043969"/>
      </p:ext>
    </p:extLst>
  </p:cSld>
  <p:clrMapOvr>
    <a:masterClrMapping/>
  </p:clrMapOvr>
  <p:transition>
    <p:fade/>
  </p:transition>
  <p:timing>
    <p:tnLst>
      <p:par>
        <p:cTn id="1" dur="indefinite" restart="never" nodeType="tmRoot"/>
      </p:par>
    </p:tnLst>
  </p:timing>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20468848"/>
      </p:ext>
    </p:extLst>
  </p:cSld>
  <p:clrMapOvr>
    <a:masterClrMapping/>
  </p:clrMapOvr>
  <p:transition>
    <p:fade/>
  </p:transition>
  <p:timing>
    <p:tnLst>
      <p:par>
        <p:cTn id="1" dur="indefinite" restart="never" nodeType="tmRoot"/>
      </p:par>
    </p:tnLst>
  </p:timing>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2064535"/>
      </p:ext>
    </p:extLst>
  </p:cSld>
  <p:clrMapOvr>
    <a:masterClrMapping/>
  </p:clrMapOvr>
  <p:transition>
    <p:fade/>
  </p:transition>
  <p:timing>
    <p:tnLst>
      <p:par>
        <p:cTn id="1" dur="indefinite" restart="never" nodeType="tmRoot"/>
      </p:par>
    </p:tnLst>
  </p:timing>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9144314"/>
      </p:ext>
    </p:extLst>
  </p:cSld>
  <p:clrMapOvr>
    <a:masterClrMapping/>
  </p:clrMapOvr>
  <p:transition>
    <p:fade/>
  </p:transition>
  <p:timing>
    <p:tnLst>
      <p:par>
        <p:cTn id="1" dur="indefinite" restart="never" nodeType="tmRoot"/>
      </p:par>
    </p:tnLst>
  </p:timing>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3997435"/>
      </p:ext>
    </p:extLst>
  </p:cSld>
  <p:clrMapOvr>
    <a:masterClrMapping/>
  </p:clrMapOvr>
  <p:transition>
    <p:fade/>
  </p:transition>
  <p:timing>
    <p:tnLst>
      <p:par>
        <p:cTn id="1" dur="indefinite" restart="never" nodeType="tmRoot"/>
      </p:par>
    </p:tnLst>
  </p:timing>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396047"/>
          </a:xfrm>
          <a:prstGeom prst="rect">
            <a:avLst/>
          </a:prstGeom>
        </p:spPr>
        <p:txBody>
          <a:bodyPr/>
          <a:lstStyle>
            <a:lvl1pPr marL="284705" indent="-284705">
              <a:buClr>
                <a:schemeClr val="tx1"/>
              </a:buClr>
              <a:buSzPct val="90000"/>
              <a:buFont typeface="Wingdings" panose="05000000000000000000" pitchFamily="2" charset="2"/>
              <a:buChar char="§"/>
              <a:defRPr sz="3528">
                <a:solidFill>
                  <a:schemeClr val="bg1"/>
                </a:solidFill>
                <a:latin typeface="Segoe UI" pitchFamily="34" charset="0"/>
                <a:ea typeface="Segoe UI" pitchFamily="34" charset="0"/>
                <a:cs typeface="Segoe UI" pitchFamily="34" charset="0"/>
              </a:defRPr>
            </a:lvl1pPr>
            <a:lvl2pPr marL="560073" indent="-275370">
              <a:buClr>
                <a:schemeClr val="tx1"/>
              </a:buClr>
              <a:buSzPct val="90000"/>
              <a:buFont typeface="Wingdings" panose="05000000000000000000" pitchFamily="2" charset="2"/>
              <a:buChar char="§"/>
              <a:defRPr sz="3136">
                <a:solidFill>
                  <a:schemeClr val="bg1"/>
                </a:solidFill>
                <a:latin typeface="Segoe UI" pitchFamily="34" charset="0"/>
                <a:ea typeface="Segoe UI" pitchFamily="34" charset="0"/>
                <a:cs typeface="Segoe UI" pitchFamily="34" charset="0"/>
              </a:defRPr>
            </a:lvl2pPr>
            <a:lvl3pPr marL="844777" indent="-284705">
              <a:buClr>
                <a:schemeClr val="tx1"/>
              </a:buClr>
              <a:buSzPct val="90000"/>
              <a:buFont typeface="Wingdings" panose="05000000000000000000" pitchFamily="2" charset="2"/>
              <a:buChar char="§"/>
              <a:defRPr sz="2744">
                <a:solidFill>
                  <a:schemeClr val="bg1"/>
                </a:solidFill>
                <a:latin typeface="Segoe UI" pitchFamily="34" charset="0"/>
                <a:ea typeface="Segoe UI" pitchFamily="34" charset="0"/>
                <a:cs typeface="Segoe UI" pitchFamily="34" charset="0"/>
              </a:defRPr>
            </a:lvl3pPr>
            <a:lvl4pPr marL="1068807" indent="-224030">
              <a:buClr>
                <a:schemeClr val="tx1"/>
              </a:buClr>
              <a:buSzPct val="90000"/>
              <a:buFont typeface="Wingdings" panose="05000000000000000000" pitchFamily="2" charset="2"/>
              <a:buChar char="§"/>
              <a:defRPr sz="2352">
                <a:solidFill>
                  <a:schemeClr val="bg1"/>
                </a:solidFill>
                <a:latin typeface="Segoe UI" pitchFamily="34" charset="0"/>
                <a:ea typeface="Segoe UI" pitchFamily="34" charset="0"/>
                <a:cs typeface="Segoe UI" pitchFamily="34" charset="0"/>
              </a:defRPr>
            </a:lvl4pPr>
            <a:lvl5pPr marL="1292837" indent="-224030">
              <a:buClr>
                <a:schemeClr val="tx1"/>
              </a:buClr>
              <a:buSzPct val="90000"/>
              <a:buFont typeface="Wingdings" panose="05000000000000000000" pitchFamily="2" charset="2"/>
              <a:buChar char="§"/>
              <a:defRPr sz="1960">
                <a:solidFill>
                  <a:schemeClr val="bg1"/>
                </a:soli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7"/>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solidFill>
                  <a:schemeClr val="bg1"/>
                </a:soli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19406939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396047"/>
          </a:xfrm>
          <a:prstGeom prst="rect">
            <a:avLst/>
          </a:prstGeom>
        </p:spPr>
        <p:txBody>
          <a:bodyPr/>
          <a:lstStyle>
            <a:lvl1pPr marL="284705" indent="-28470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73" indent="-275370">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77" indent="-284705">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807" indent="-224030">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837" indent="-224030">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27159427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0126" y="2980724"/>
            <a:ext cx="7169534" cy="896552"/>
          </a:xfrm>
        </p:spPr>
        <p:txBody>
          <a:bodyPr vert="horz" wrap="square" lIns="182880" tIns="146304" rIns="182880" bIns="146304" rtlCol="0" anchor="ctr">
            <a:noAutofit/>
          </a:bodyPr>
          <a:lstStyle>
            <a:lvl1pPr marL="0" indent="0">
              <a:buFont typeface="Arial" panose="020B0604020202020204" pitchFamily="34" charset="0"/>
              <a:buNone/>
              <a:defRPr lang="en-US" sz="3528" kern="1200" dirty="0" smtClean="0">
                <a:gradFill>
                  <a:gsLst>
                    <a:gs pos="1299">
                      <a:schemeClr val="tx1"/>
                    </a:gs>
                    <a:gs pos="100000">
                      <a:schemeClr val="tx1"/>
                    </a:gs>
                  </a:gsLst>
                  <a:lin ang="5400000" scaled="0"/>
                </a:gradFill>
                <a:latin typeface="+mj-lt"/>
                <a:ea typeface="+mn-ea"/>
                <a:cs typeface="+mn-cs"/>
              </a:defRPr>
            </a:lvl1pPr>
          </a:lstStyle>
          <a:p>
            <a:pPr marL="0" lvl="0" indent="0" algn="l" defTabSz="895974" rtl="0" eaLnBrk="1" latinLnBrk="0" hangingPunct="1">
              <a:spcBef>
                <a:spcPct val="20000"/>
              </a:spcBef>
            </a:pPr>
            <a:r>
              <a:rPr lang="en-US" smtClean="0"/>
              <a:t>Click to edit Master text styles</a:t>
            </a:r>
          </a:p>
        </p:txBody>
      </p:sp>
      <p:sp>
        <p:nvSpPr>
          <p:cNvPr id="7" name="Picture Placeholder 12"/>
          <p:cNvSpPr>
            <a:spLocks noGrp="1"/>
          </p:cNvSpPr>
          <p:nvPr>
            <p:ph type="pic" sz="quarter" idx="16"/>
          </p:nvPr>
        </p:nvSpPr>
        <p:spPr>
          <a:xfrm>
            <a:off x="269169" y="1505896"/>
            <a:ext cx="3853623"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smtClean="0"/>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smtClean="0"/>
              <a:t>Click to edit Master title style</a:t>
            </a:r>
            <a:endParaRPr lang="en-US" dirty="0"/>
          </a:p>
        </p:txBody>
      </p:sp>
    </p:spTree>
    <p:extLst>
      <p:ext uri="{BB962C8B-B14F-4D97-AF65-F5344CB8AC3E}">
        <p14:creationId xmlns:p14="http://schemas.microsoft.com/office/powerpoint/2010/main" val="373185811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userDrawn="1">
  <p:cSld name="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858" y="291103"/>
            <a:ext cx="11650799" cy="896518"/>
          </a:xfrm>
        </p:spPr>
        <p:txBody>
          <a:bodyPr/>
          <a:lstStyle>
            <a:lvl1pPr>
              <a:defRPr sz="5684">
                <a:solidFill>
                  <a:schemeClr val="bg1"/>
                </a:soli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169" y="1663939"/>
            <a:ext cx="10754297" cy="1865319"/>
          </a:xfrm>
        </p:spPr>
        <p:txBody>
          <a:bodyPr/>
          <a:lstStyle>
            <a:lvl1pPr>
              <a:defRPr sz="2548">
                <a:solidFill>
                  <a:schemeClr val="bg1"/>
                </a:solidFill>
                <a:latin typeface="+mn-lt"/>
              </a:defRPr>
            </a:lvl1pPr>
            <a:lvl2pPr>
              <a:defRPr sz="2352">
                <a:solidFill>
                  <a:schemeClr val="bg1"/>
                </a:solidFill>
              </a:defRPr>
            </a:lvl2pPr>
            <a:lvl3pPr>
              <a:defRPr sz="1960">
                <a:solidFill>
                  <a:schemeClr val="bg1"/>
                </a:solidFill>
              </a:defRPr>
            </a:lvl3pPr>
            <a:lvl4pPr>
              <a:defRPr sz="1764">
                <a:solidFill>
                  <a:schemeClr val="bg1"/>
                </a:solidFill>
              </a:defRPr>
            </a:lvl4pPr>
            <a:lvl5pPr>
              <a:defRPr sz="1764">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85164135"/>
      </p:ext>
    </p:extLst>
  </p:cSld>
  <p:clrMapOvr>
    <a:masterClrMapping/>
  </p:clrMapOvr>
  <p:transition>
    <p:fade/>
  </p:transition>
  <p:timing>
    <p:tnLst>
      <p:par>
        <p:cTn id="1" dur="indefinite" restart="never" nodeType="tmRoot"/>
      </p:par>
    </p:tnLst>
  </p:timing>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380"/>
            <a:ext cx="12188825" cy="6856620"/>
          </a:xfrm>
          <a:prstGeom prst="rect">
            <a:avLst/>
          </a:prstGeom>
        </p:spPr>
      </p:pic>
      <p:pic>
        <p:nvPicPr>
          <p:cNvPr id="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62149" y="474237"/>
            <a:ext cx="1775047" cy="380393"/>
          </a:xfrm>
          <a:prstGeom prst="rect">
            <a:avLst/>
          </a:prstGeom>
        </p:spPr>
      </p:pic>
    </p:spTree>
    <p:extLst>
      <p:ext uri="{BB962C8B-B14F-4D97-AF65-F5344CB8AC3E}">
        <p14:creationId xmlns:p14="http://schemas.microsoft.com/office/powerpoint/2010/main" val="866971980"/>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Slide Photo Layout">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t="15937" r="3431" b="2608"/>
          <a:stretch/>
        </p:blipFill>
        <p:spPr>
          <a:xfrm>
            <a:off x="2" y="-7783"/>
            <a:ext cx="12218386" cy="6873565"/>
          </a:xfrm>
          <a:prstGeom prst="rect">
            <a:avLst/>
          </a:prstGeom>
        </p:spPr>
      </p:pic>
      <p:sp>
        <p:nvSpPr>
          <p:cNvPr id="19" name="Dark gradation top"/>
          <p:cNvSpPr/>
          <p:nvPr userDrawn="1"/>
        </p:nvSpPr>
        <p:spPr bwMode="gray">
          <a:xfrm>
            <a:off x="1" y="-7783"/>
            <a:ext cx="12103070" cy="6568608"/>
          </a:xfrm>
          <a:prstGeom prst="rect">
            <a:avLst/>
          </a:prstGeom>
          <a:gradFill flip="none" rotWithShape="1">
            <a:gsLst>
              <a:gs pos="0">
                <a:srgbClr val="000000">
                  <a:alpha val="7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14" y="539681"/>
            <a:ext cx="5901482" cy="2062069"/>
          </a:xfrm>
          <a:noFill/>
        </p:spPr>
        <p:txBody>
          <a:bodyPr vert="horz" wrap="square" lIns="146304" tIns="91440" rIns="146304" bIns="91440" rtlCol="0" anchor="t" anchorCtr="0">
            <a:noAutofit/>
          </a:bodyPr>
          <a:lstStyle>
            <a:lvl1pPr>
              <a:defRPr lang="en-US" sz="5880" spc="-98" baseline="0" dirty="0">
                <a:solidFill>
                  <a:schemeClr val="tx1"/>
                </a:solidFill>
              </a:defRPr>
            </a:lvl1pPr>
          </a:lstStyle>
          <a:p>
            <a:pPr lvl="0"/>
            <a:r>
              <a:rPr lang="en-US" dirty="0" smtClean="0"/>
              <a:t>Presentation title</a:t>
            </a:r>
            <a:endParaRPr lang="en-US" dirty="0"/>
          </a:p>
        </p:txBody>
      </p:sp>
      <p:pic>
        <p:nvPicPr>
          <p:cNvPr id="11"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205" y="6061767"/>
            <a:ext cx="1522008" cy="326167"/>
          </a:xfrm>
          <a:prstGeom prst="rect">
            <a:avLst/>
          </a:prstGeom>
        </p:spPr>
      </p:pic>
    </p:spTree>
    <p:extLst>
      <p:ext uri="{BB962C8B-B14F-4D97-AF65-F5344CB8AC3E}">
        <p14:creationId xmlns:p14="http://schemas.microsoft.com/office/powerpoint/2010/main" val="9192264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2"/>
            <a:ext cx="6271784" cy="1794661"/>
          </a:xfrm>
          <a:noFill/>
        </p:spPr>
        <p:txBody>
          <a:bodyPr lIns="146304" tIns="109728" rIns="146304" bIns="109728">
            <a:noAutofit/>
          </a:bodyPr>
          <a:lstStyle>
            <a:lvl1pPr marL="0" indent="0">
              <a:spcBef>
                <a:spcPts val="0"/>
              </a:spcBef>
              <a:buNone/>
              <a:defRPr sz="3528" spc="0" baseline="0">
                <a:solidFill>
                  <a:schemeClr val="bg1">
                    <a:lumMod val="75000"/>
                  </a:schemeClr>
                </a:soli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8065659" cy="1801436"/>
          </a:xfrm>
          <a:noFill/>
        </p:spPr>
        <p:txBody>
          <a:bodyPr lIns="146304" tIns="91440" rIns="146304" bIns="91440" anchor="t" anchorCtr="0"/>
          <a:lstStyle>
            <a:lvl1pPr>
              <a:defRPr sz="5880" spc="-98" baseline="0">
                <a:solidFill>
                  <a:schemeClr val="bg1">
                    <a:lumMod val="75000"/>
                  </a:schemeClr>
                </a:solidFill>
              </a:defRPr>
            </a:lvl1pPr>
          </a:lstStyle>
          <a:p>
            <a:r>
              <a:rPr lang="en-US" dirty="0" smtClean="0"/>
              <a:t>Presentation title</a:t>
            </a:r>
            <a:endParaRPr lang="en-US" dirty="0"/>
          </a:p>
        </p:txBody>
      </p:sp>
      <p:pic>
        <p:nvPicPr>
          <p:cNvPr id="8" name="MS logo whit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449205" y="6061767"/>
            <a:ext cx="1522008" cy="326167"/>
          </a:xfrm>
          <a:prstGeom prst="rect">
            <a:avLst/>
          </a:prstGeom>
        </p:spPr>
      </p:pic>
    </p:spTree>
    <p:extLst>
      <p:ext uri="{BB962C8B-B14F-4D97-AF65-F5344CB8AC3E}">
        <p14:creationId xmlns:p14="http://schemas.microsoft.com/office/powerpoint/2010/main" val="35951896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232" y="1187644"/>
            <a:ext cx="806566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1" y="1186356"/>
            <a:ext cx="8065721" cy="2697988"/>
          </a:xfrm>
          <a:noFill/>
        </p:spPr>
        <p:txBody>
          <a:bodyPr tIns="91440" bIns="91440" anchor="t" anchorCtr="0"/>
          <a:lstStyle>
            <a:lvl1pPr>
              <a:defRPr sz="7056" spc="-98"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69" y="3877278"/>
            <a:ext cx="8065712" cy="1793881"/>
          </a:xfrm>
          <a:noFill/>
        </p:spPr>
        <p:txBody>
          <a:bodyPr lIns="182880" tIns="146304" rIns="182880" bIns="146304">
            <a:noAutofit/>
          </a:bodyPr>
          <a:lstStyle>
            <a:lvl1pPr marL="0" indent="0">
              <a:spcBef>
                <a:spcPts val="0"/>
              </a:spcBef>
              <a:buNone/>
              <a:defRPr sz="3528" spc="0" baseline="0">
                <a:gradFill>
                  <a:gsLst>
                    <a:gs pos="0">
                      <a:srgbClr val="FFFFFF"/>
                    </a:gs>
                    <a:gs pos="100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7100217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232" y="1187644"/>
            <a:ext cx="806566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1" y="1186356"/>
            <a:ext cx="8065721" cy="2697988"/>
          </a:xfrm>
          <a:noFill/>
        </p:spPr>
        <p:txBody>
          <a:bodyPr tIns="91440" bIns="91440" anchor="t" anchorCtr="0"/>
          <a:lstStyle>
            <a:lvl1pPr>
              <a:defRPr sz="7056" spc="-98"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6413796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defRPr sz="8624" spc="-98"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208377586"/>
      </p:ext>
    </p:extLst>
  </p:cSld>
  <p:clrMapOvr>
    <a:masterClrMapping/>
  </p:clrMapOvr>
  <p:transition>
    <p:fade/>
  </p:transition>
  <p:timing>
    <p:tnLst>
      <p:par>
        <p:cTn id="1" dur="indefinite" restart="never" nodeType="tmRoot"/>
      </p:par>
    </p:tnLst>
  </p:timing>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defRPr sz="8624" spc="-98"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14386895"/>
      </p:ext>
    </p:extLst>
  </p:cSld>
  <p:clrMapOvr>
    <a:masterClrMapping/>
  </p:clrMapOvr>
  <p:transition>
    <p:fade/>
  </p:transition>
  <p:timing>
    <p:tnLst>
      <p:par>
        <p:cTn id="1" dur="indefinite" restart="never" nodeType="tmRoot"/>
      </p:par>
    </p:tnLst>
  </p:timing>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4093" rtl="0" eaLnBrk="1" latinLnBrk="0" hangingPunct="1">
              <a:lnSpc>
                <a:spcPct val="90000"/>
              </a:lnSpc>
              <a:spcBef>
                <a:spcPct val="0"/>
              </a:spcBef>
              <a:buNone/>
              <a:defRPr lang="en-US" sz="8624" b="0" kern="1200" cap="none" spc="-98"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418985635"/>
      </p:ext>
    </p:extLst>
  </p:cSld>
  <p:clrMapOvr>
    <a:masterClrMapping/>
  </p:clrMapOvr>
  <p:transition>
    <p:fade/>
  </p:transition>
  <p:timing>
    <p:tnLst>
      <p:par>
        <p:cTn id="1" dur="indefinite" restart="never" nodeType="tmRoot"/>
      </p:par>
    </p:tnLst>
  </p:timing>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4093" rtl="0" eaLnBrk="1" latinLnBrk="0" hangingPunct="1">
              <a:lnSpc>
                <a:spcPct val="90000"/>
              </a:lnSpc>
              <a:spcBef>
                <a:spcPct val="0"/>
              </a:spcBef>
              <a:buNone/>
              <a:defRPr lang="en-US" sz="8624"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1883799518"/>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ivider Slide Orang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a:prstGeom prst="rect">
            <a:avLst/>
          </a:prstGeo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a:prstGeom prst="rect">
            <a:avLst/>
          </a:prstGeo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ubtitle</a:t>
            </a:r>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3312" y="6014913"/>
            <a:ext cx="1738860" cy="815899"/>
          </a:xfrm>
          <a:prstGeom prst="rect">
            <a:avLst/>
          </a:prstGeom>
        </p:spPr>
      </p:pic>
    </p:spTree>
    <p:extLst>
      <p:ext uri="{BB962C8B-B14F-4D97-AF65-F5344CB8AC3E}">
        <p14:creationId xmlns:p14="http://schemas.microsoft.com/office/powerpoint/2010/main" val="32742735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7"/>
            <a:ext cx="11652805" cy="2018835"/>
          </a:xfrm>
        </p:spPr>
        <p:txBody>
          <a:bodyPr/>
          <a:lstStyle>
            <a:lvl1pPr marL="0" indent="0">
              <a:buNone/>
              <a:defRPr/>
            </a:lvl1pPr>
            <a:lvl2pPr marL="28004" indent="0">
              <a:buNone/>
              <a:defRPr sz="1960"/>
            </a:lvl2pPr>
            <a:lvl3pPr marL="219362" indent="0">
              <a:buNone/>
              <a:defRPr sz="1960"/>
            </a:lvl3pPr>
            <a:lvl4pPr marL="466728" indent="0">
              <a:buNone/>
              <a:defRPr sz="1764"/>
            </a:lvl4pPr>
            <a:lvl5pPr marL="72498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7051"/>
      </p:ext>
    </p:extLst>
  </p:cSld>
  <p:clrMapOvr>
    <a:masterClrMapping/>
  </p:clrMapOvr>
  <p:transition>
    <p:fade/>
  </p:transition>
  <p:timing>
    <p:tnLst>
      <p:par>
        <p:cTn id="1" dur="indefinite" restart="never" nodeType="tmRoot"/>
      </p:par>
    </p:tnLst>
  </p:timing>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7"/>
            <a:ext cx="11652805" cy="2018835"/>
          </a:xfrm>
        </p:spPr>
        <p:txBody>
          <a:bodyPr/>
          <a:lstStyle>
            <a:lvl1pPr marL="0" indent="0">
              <a:buNone/>
              <a:defRPr>
                <a:gradFill>
                  <a:gsLst>
                    <a:gs pos="2920">
                      <a:schemeClr val="tx1"/>
                    </a:gs>
                    <a:gs pos="100000">
                      <a:schemeClr val="tx1"/>
                    </a:gs>
                  </a:gsLst>
                  <a:lin ang="5400000" scaled="0"/>
                </a:gradFill>
              </a:defRPr>
            </a:lvl1pPr>
            <a:lvl2pPr marL="28004" indent="0">
              <a:buNone/>
              <a:defRPr sz="1960"/>
            </a:lvl2pPr>
            <a:lvl3pPr marL="219362" indent="0">
              <a:buNone/>
              <a:defRPr sz="1960"/>
            </a:lvl3pPr>
            <a:lvl4pPr marL="466728" indent="0">
              <a:buNone/>
              <a:defRPr sz="1764"/>
            </a:lvl4pPr>
            <a:lvl5pPr marL="72498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82195384"/>
      </p:ext>
    </p:extLst>
  </p:cSld>
  <p:clrMapOvr>
    <a:masterClrMapping/>
  </p:clrMapOvr>
  <p:transition>
    <p:fade/>
  </p:transition>
  <p:timing>
    <p:tnLst>
      <p:par>
        <p:cTn id="1" dur="indefinite" restart="never" nodeType="tmRoot"/>
      </p:par>
    </p:tnLst>
  </p:timing>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580704000"/>
      </p:ext>
    </p:extLst>
  </p:cSld>
  <p:clrMapOvr>
    <a:masterClrMapping/>
  </p:clrMapOvr>
  <p:transition>
    <p:fade/>
  </p:transition>
  <p:timing>
    <p:tnLst>
      <p:par>
        <p:cTn id="1" dur="indefinite" restart="never" nodeType="tmRoot"/>
      </p:par>
    </p:tnLst>
  </p:timing>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1pPr>
              <a:buClr>
                <a:schemeClr val="tx2"/>
              </a:buClr>
              <a:defRPr>
                <a:gradFill>
                  <a:gsLst>
                    <a:gs pos="0">
                      <a:schemeClr val="tx1"/>
                    </a:gs>
                    <a:gs pos="100000">
                      <a:schemeClr val="tx1"/>
                    </a:gs>
                  </a:gsLst>
                  <a:lin ang="5400000" scaled="0"/>
                </a:gradFill>
              </a:defRPr>
            </a:lvl1pPr>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89541390"/>
      </p:ext>
    </p:extLst>
  </p:cSld>
  <p:clrMapOvr>
    <a:masterClrMapping/>
  </p:clrMapOvr>
  <p:transition>
    <p:fade/>
  </p:transition>
  <p:timing>
    <p:tnLst>
      <p:par>
        <p:cTn id="1" dur="indefinite" restart="never" nodeType="tmRoot"/>
      </p:par>
    </p:tnLst>
  </p:timing>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53212732"/>
      </p:ext>
    </p:extLst>
  </p:cSld>
  <p:clrMapOvr>
    <a:masterClrMapping/>
  </p:clrMapOvr>
  <p:transition>
    <p:fade/>
  </p:transition>
  <p:timing>
    <p:tnLst>
      <p:par>
        <p:cTn id="1" dur="indefinite" restart="never" nodeType="tmRoot"/>
      </p:par>
    </p:tnLst>
  </p:timing>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6578"/>
          </a:xfrm>
        </p:spPr>
        <p:txBody>
          <a:bodyPr wrap="square">
            <a:spAutoFit/>
          </a:bodyPr>
          <a:lstStyle>
            <a:lvl1pPr marL="0" indent="0">
              <a:spcBef>
                <a:spcPts val="1200"/>
              </a:spcBef>
              <a:buClr>
                <a:schemeClr val="tx1"/>
              </a:buClr>
              <a:buFont typeface="Wingdings" pitchFamily="2" charset="2"/>
              <a:buNone/>
              <a:defRPr sz="3528">
                <a:solidFill>
                  <a:schemeClr val="tx1"/>
                </a:solidFill>
              </a:defRPr>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6578"/>
          </a:xfrm>
        </p:spPr>
        <p:txBody>
          <a:bodyPr wrap="square">
            <a:spAutoFit/>
          </a:bodyPr>
          <a:lstStyle>
            <a:lvl1pPr marL="0" indent="0">
              <a:spcBef>
                <a:spcPts val="1200"/>
              </a:spcBef>
              <a:buClr>
                <a:schemeClr val="tx1"/>
              </a:buClr>
              <a:buFont typeface="Wingdings" pitchFamily="2" charset="2"/>
              <a:buNone/>
              <a:defRPr sz="3528">
                <a:solidFill>
                  <a:schemeClr val="tx1"/>
                </a:solidFill>
              </a:defRPr>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58879279"/>
      </p:ext>
    </p:extLst>
  </p:cSld>
  <p:clrMapOvr>
    <a:masterClrMapping/>
  </p:clrMapOvr>
  <p:transition>
    <p:fade/>
  </p:transition>
  <p:timing>
    <p:tnLst>
      <p:par>
        <p:cTn id="1" dur="indefinite" restart="never" nodeType="tmRoot"/>
      </p:par>
    </p:tnLst>
  </p:timing>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7"/>
            <a:ext cx="5377147" cy="2552967"/>
          </a:xfrm>
        </p:spPr>
        <p:txBody>
          <a:bodyPr wrap="square">
            <a:spAutoFit/>
          </a:bodyPr>
          <a:lstStyle>
            <a:lvl1pPr marL="281592" indent="-281592">
              <a:spcBef>
                <a:spcPts val="1200"/>
              </a:spcBef>
              <a:buClr>
                <a:schemeClr val="tx1"/>
              </a:buClr>
              <a:buFontTx/>
              <a:buBlip>
                <a:blip r:embed="rId2"/>
              </a:buBlip>
              <a:defRPr sz="3528"/>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7"/>
            <a:ext cx="5377147" cy="2552967"/>
          </a:xfrm>
        </p:spPr>
        <p:txBody>
          <a:bodyPr wrap="square">
            <a:spAutoFit/>
          </a:bodyPr>
          <a:lstStyle>
            <a:lvl1pPr marL="281592" indent="-281592">
              <a:spcBef>
                <a:spcPts val="1200"/>
              </a:spcBef>
              <a:buClr>
                <a:schemeClr val="tx1"/>
              </a:buClr>
              <a:buFontTx/>
              <a:buBlip>
                <a:blip r:embed="rId2"/>
              </a:buBlip>
              <a:defRPr sz="3528"/>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52303770"/>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7"/>
            <a:ext cx="5377147" cy="2552967"/>
          </a:xfrm>
        </p:spPr>
        <p:txBody>
          <a:bodyPr wrap="square">
            <a:spAutoFit/>
          </a:bodyPr>
          <a:lstStyle>
            <a:lvl1pPr marL="281592" indent="-281592">
              <a:spcBef>
                <a:spcPts val="1200"/>
              </a:spcBef>
              <a:buClr>
                <a:schemeClr val="tx2"/>
              </a:buClr>
              <a:buFontTx/>
              <a:buBlip>
                <a:blip r:embed="rId2"/>
              </a:buBlip>
              <a:defRPr sz="3528">
                <a:solidFill>
                  <a:schemeClr val="tx1"/>
                </a:solidFill>
              </a:defRPr>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7"/>
            <a:ext cx="5377147" cy="2552967"/>
          </a:xfrm>
        </p:spPr>
        <p:txBody>
          <a:bodyPr wrap="square">
            <a:spAutoFit/>
          </a:bodyPr>
          <a:lstStyle>
            <a:lvl1pPr marL="281592" indent="-281592">
              <a:spcBef>
                <a:spcPts val="1200"/>
              </a:spcBef>
              <a:buClr>
                <a:schemeClr val="tx2"/>
              </a:buClr>
              <a:buFontTx/>
              <a:buBlip>
                <a:blip r:embed="rId2"/>
              </a:buBlip>
              <a:defRPr sz="3528">
                <a:solidFill>
                  <a:schemeClr val="tx1"/>
                </a:solidFill>
              </a:defRPr>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01713838"/>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13764114"/>
      </p:ext>
    </p:extLst>
  </p:cSld>
  <p:clrMapOvr>
    <a:masterClrMapping/>
  </p:clrMapOvr>
  <p:transition>
    <p:fade/>
  </p:transition>
  <p:timing>
    <p:tnLst>
      <p:par>
        <p:cTn id="1" dur="indefinite" restart="never" nodeType="tmRoot"/>
      </p:par>
    </p:tnLst>
  </p:timing>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Big Idea Layou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6949" y="1187622"/>
            <a:ext cx="11652805" cy="899665"/>
          </a:xfrm>
        </p:spPr>
        <p:txBody>
          <a:bodyPr/>
          <a:lstStyle>
            <a:lvl1pPr>
              <a:defRPr sz="7056" baseline="0"/>
            </a:lvl1pPr>
          </a:lstStyle>
          <a:p>
            <a:r>
              <a:rPr lang="en-US" smtClean="0"/>
              <a:t>Click to edit Master title style</a:t>
            </a:r>
            <a:endParaRPr lang="en-US" dirty="0"/>
          </a:p>
        </p:txBody>
      </p:sp>
    </p:spTree>
    <p:extLst>
      <p:ext uri="{BB962C8B-B14F-4D97-AF65-F5344CB8AC3E}">
        <p14:creationId xmlns:p14="http://schemas.microsoft.com/office/powerpoint/2010/main" val="1051764435"/>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ivider Slide Green">
    <p:bg>
      <p:bgPr>
        <a:solidFill>
          <a:srgbClr val="00723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a:prstGeom prst="rect">
            <a:avLst/>
          </a:prstGeo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a:prstGeom prst="rect">
            <a:avLst/>
          </a:prstGeo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ubtitle</a:t>
            </a:r>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3312" y="6014913"/>
            <a:ext cx="1738860" cy="815899"/>
          </a:xfrm>
          <a:prstGeom prst="rect">
            <a:avLst/>
          </a:prstGeom>
        </p:spPr>
      </p:pic>
    </p:spTree>
    <p:extLst>
      <p:ext uri="{BB962C8B-B14F-4D97-AF65-F5344CB8AC3E}">
        <p14:creationId xmlns:p14="http://schemas.microsoft.com/office/powerpoint/2010/main" val="12596783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Fact Layou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1" cy="1793104"/>
          </a:xfrm>
        </p:spPr>
        <p:txBody>
          <a:bodyPr/>
          <a:lstStyle>
            <a:lvl1pPr>
              <a:defRPr sz="5880" baseline="0"/>
            </a:lvl1pPr>
          </a:lstStyle>
          <a:p>
            <a:r>
              <a:rPr lang="en-US" smtClean="0"/>
              <a:t>Click to edit Master title style</a:t>
            </a:r>
            <a:endParaRPr lang="en-US" dirty="0"/>
          </a:p>
        </p:txBody>
      </p:sp>
    </p:spTree>
    <p:extLst>
      <p:ext uri="{BB962C8B-B14F-4D97-AF65-F5344CB8AC3E}">
        <p14:creationId xmlns:p14="http://schemas.microsoft.com/office/powerpoint/2010/main" val="562648952"/>
      </p:ext>
    </p:extLst>
  </p:cSld>
  <p:clrMapOvr>
    <a:masterClrMapping/>
  </p:clrMapOvr>
  <p:transition>
    <p:fade/>
  </p:transition>
  <p:timing>
    <p:tnLst>
      <p:par>
        <p:cTn id="1" dur="indefinite" restart="never" nodeType="tmRoot"/>
      </p:par>
    </p:tnLst>
  </p:timing>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1" cy="1793104"/>
          </a:xfrm>
        </p:spPr>
        <p:txBody>
          <a:bodyPr/>
          <a:lstStyle>
            <a:lvl1pPr>
              <a:defRPr sz="5880" baseline="0"/>
            </a:lvl1pPr>
          </a:lstStyle>
          <a:p>
            <a:r>
              <a:rPr lang="en-US" smtClean="0"/>
              <a:t>Click to edit Master title style</a:t>
            </a:r>
            <a:endParaRPr lang="en-US" dirty="0"/>
          </a:p>
        </p:txBody>
      </p:sp>
    </p:spTree>
    <p:extLst>
      <p:ext uri="{BB962C8B-B14F-4D97-AF65-F5344CB8AC3E}">
        <p14:creationId xmlns:p14="http://schemas.microsoft.com/office/powerpoint/2010/main" val="2695940896"/>
      </p:ext>
    </p:extLst>
  </p:cSld>
  <p:clrMapOvr>
    <a:masterClrMapping/>
  </p:clrMapOvr>
  <p:transition>
    <p:fade/>
  </p:transition>
  <p:timing>
    <p:tnLst>
      <p:par>
        <p:cTn id="1" dur="indefinite" restart="never" nodeType="tmRoot"/>
      </p:par>
    </p:tnLst>
  </p:timing>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Quote Layout">
    <p:bg>
      <p:bgPr>
        <a:solidFill>
          <a:schemeClr val="tx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1178350"/>
            <a:ext cx="9858104" cy="899665"/>
          </a:xfrm>
        </p:spPr>
        <p:txBody>
          <a:bodyPr/>
          <a:lstStyle>
            <a:lvl1pPr marL="228697" indent="-228697">
              <a:defRPr sz="5880"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8" y="5025984"/>
            <a:ext cx="5377148" cy="1050156"/>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1539263127"/>
      </p:ext>
    </p:extLst>
  </p:cSld>
  <p:clrMapOvr>
    <a:masterClrMapping/>
  </p:clrMapOvr>
  <p:transition>
    <p:fade/>
  </p:transition>
  <p:timing>
    <p:tnLst>
      <p:par>
        <p:cTn id="1" dur="indefinite" restart="never" nodeType="tmRoot"/>
      </p:par>
    </p:tnLst>
  </p:timing>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tx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2084174"/>
            <a:ext cx="9858104" cy="899665"/>
          </a:xfrm>
        </p:spPr>
        <p:txBody>
          <a:bodyPr/>
          <a:lstStyle>
            <a:lvl1pPr marL="276925" indent="-276925">
              <a:tabLst>
                <a:tab pos="276925" algn="l"/>
              </a:tabLst>
              <a:defRPr sz="5880"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8" y="4773813"/>
            <a:ext cx="5377148" cy="1050156"/>
          </a:xfrm>
        </p:spPr>
        <p:txBody>
          <a:bodyPr/>
          <a:lstStyle>
            <a:lvl1pPr marL="0" indent="0">
              <a:spcBef>
                <a:spcPts val="0"/>
              </a:spcBef>
              <a:buNone/>
              <a:defRPr sz="3136"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2006979252"/>
      </p:ext>
    </p:extLst>
  </p:cSld>
  <p:clrMapOvr>
    <a:masterClrMapping/>
  </p:clrMapOvr>
  <p:transition>
    <p:fade/>
  </p:transition>
  <p:timing>
    <p:tnLst>
      <p:par>
        <p:cTn id="1" dur="indefinite" restart="never" nodeType="tmRoot"/>
      </p:par>
    </p:tnLst>
  </p:timing>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Big Idea &amp; 3 Points">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49" y="2383023"/>
            <a:ext cx="11650488" cy="914360"/>
          </a:xfrm>
        </p:spPr>
        <p:txBody>
          <a:bodyPr/>
          <a:lstStyle>
            <a:lvl1pPr marL="0" indent="0">
              <a:buNone/>
              <a:defRPr sz="5292">
                <a:gradFill>
                  <a:gsLst>
                    <a:gs pos="3333">
                      <a:schemeClr val="tx1"/>
                    </a:gs>
                    <a:gs pos="39000">
                      <a:schemeClr val="tx1"/>
                    </a:gs>
                  </a:gsLst>
                  <a:lin ang="5400000" scaled="0"/>
                </a:gradFill>
              </a:defRPr>
            </a:lvl1pPr>
            <a:lvl2pPr marL="0" indent="0">
              <a:buFontTx/>
              <a:buNone/>
              <a:defRPr sz="1960"/>
            </a:lvl2pPr>
            <a:lvl3pPr marL="224030" indent="0">
              <a:buNone/>
              <a:defRPr/>
            </a:lvl3pPr>
            <a:lvl4pPr marL="448059" indent="0">
              <a:buNone/>
              <a:defRPr/>
            </a:lvl4pPr>
            <a:lvl5pPr marL="672088" indent="0">
              <a:buNone/>
              <a:defRPr/>
            </a:lvl5pPr>
          </a:lstStyle>
          <a:p>
            <a:pPr lvl="0"/>
            <a:r>
              <a:rPr lang="en-US" smtClean="0"/>
              <a:t>Click to edit Master text styles</a:t>
            </a:r>
          </a:p>
        </p:txBody>
      </p:sp>
      <p:sp>
        <p:nvSpPr>
          <p:cNvPr id="4" name="Title 1"/>
          <p:cNvSpPr>
            <a:spLocks noGrp="1"/>
          </p:cNvSpPr>
          <p:nvPr>
            <p:ph type="title"/>
          </p:nvPr>
        </p:nvSpPr>
        <p:spPr>
          <a:xfrm>
            <a:off x="276949" y="1187622"/>
            <a:ext cx="11652805" cy="899665"/>
          </a:xfrm>
        </p:spPr>
        <p:txBody>
          <a:bodyPr/>
          <a:lstStyle>
            <a:lvl1pPr>
              <a:defRPr sz="7056"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951018064"/>
      </p:ext>
    </p:extLst>
  </p:cSld>
  <p:clrMapOvr>
    <a:masterClrMapping/>
  </p:clrMapOvr>
  <p:transition>
    <p:fade/>
  </p:transition>
  <p:timing>
    <p:tnLst>
      <p:par>
        <p:cTn id="1" dur="indefinite" restart="never" nodeType="tmRoot"/>
      </p:par>
    </p:tnLst>
  </p:timing>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1_50-50 Right Photo Layout_02">
    <p:bg bwMode="auto">
      <p:bgPr>
        <a:solidFill>
          <a:schemeClr val="tx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bwMode="invGray">
          <a:xfrm>
            <a:off x="269171" y="2095971"/>
            <a:ext cx="5377148" cy="2677859"/>
          </a:xfrm>
          <a:noFill/>
        </p:spPr>
        <p:txBody>
          <a:bodyPr vert="horz" wrap="square" lIns="146304" tIns="91440" rIns="146304" bIns="91440" rtlCol="0" anchor="t" anchorCtr="0">
            <a:noAutofit/>
          </a:bodyPr>
          <a:lstStyle>
            <a:lvl1pPr>
              <a:defRPr lang="en-US" sz="5880" spc="-98" baseline="0" dirty="0">
                <a:solidFill>
                  <a:schemeClr val="bg1"/>
                </a:soli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0771" y="4773830"/>
            <a:ext cx="5375815" cy="896551"/>
          </a:xfrm>
        </p:spPr>
        <p:txBody>
          <a:bodyPr tIns="109728" bIns="109728">
            <a:noAutofit/>
          </a:bodyPr>
          <a:lstStyle>
            <a:lvl1pPr marL="0" indent="0">
              <a:spcBef>
                <a:spcPts val="0"/>
              </a:spcBef>
              <a:buNone/>
              <a:defRPr sz="3136">
                <a:solidFill>
                  <a:schemeClr val="bg1"/>
                </a:solidFill>
              </a:defRPr>
            </a:lvl1pPr>
          </a:lstStyle>
          <a:p>
            <a:pPr lvl="0"/>
            <a:r>
              <a:rPr lang="en-US" dirty="0" smtClean="0"/>
              <a:t>Speaker Name</a:t>
            </a:r>
            <a:endParaRPr lang="en-US" dirty="0"/>
          </a:p>
        </p:txBody>
      </p:sp>
      <p:pic>
        <p:nvPicPr>
          <p:cNvPr id="8" name="Picture Placeholder 4"/>
          <p:cNvPicPr>
            <a:picLocks noChangeAspect="1"/>
          </p:cNvPicPr>
          <p:nvPr userDrawn="1"/>
        </p:nvPicPr>
        <p:blipFill rotWithShape="1">
          <a:blip r:embed="rId2">
            <a:extLst>
              <a:ext uri="{28A0092B-C50C-407E-A947-70E740481C1C}">
                <a14:useLocalDpi xmlns:a14="http://schemas.microsoft.com/office/drawing/2010/main" val="0"/>
              </a:ext>
            </a:extLst>
          </a:blip>
          <a:srcRect l="23279" r="17893"/>
          <a:stretch/>
        </p:blipFill>
        <p:spPr>
          <a:xfrm>
            <a:off x="6169094" y="0"/>
            <a:ext cx="6049292" cy="6858000"/>
          </a:xfrm>
          <a:prstGeom prst="rect">
            <a:avLst/>
          </a:prstGeom>
        </p:spPr>
      </p:pic>
      <p:pic>
        <p:nvPicPr>
          <p:cNvPr id="9" name="Picture Placeholder 4"/>
          <p:cNvPicPr>
            <a:picLocks noChangeAspect="1"/>
          </p:cNvPicPr>
          <p:nvPr userDrawn="1"/>
        </p:nvPicPr>
        <p:blipFill rotWithShape="1">
          <a:blip r:embed="rId3">
            <a:extLst>
              <a:ext uri="{28A0092B-C50C-407E-A947-70E740481C1C}">
                <a14:useLocalDpi xmlns:a14="http://schemas.microsoft.com/office/drawing/2010/main" val="0"/>
              </a:ext>
            </a:extLst>
          </a:blip>
          <a:srcRect l="-503" t="26090" r="67" b="-1"/>
          <a:stretch/>
        </p:blipFill>
        <p:spPr>
          <a:xfrm>
            <a:off x="6145398" y="-7783"/>
            <a:ext cx="6072988" cy="6873565"/>
          </a:xfrm>
          <a:prstGeom prst="rect">
            <a:avLst/>
          </a:prstGeom>
        </p:spPr>
      </p:pic>
    </p:spTree>
    <p:extLst>
      <p:ext uri="{BB962C8B-B14F-4D97-AF65-F5344CB8AC3E}">
        <p14:creationId xmlns:p14="http://schemas.microsoft.com/office/powerpoint/2010/main" val="3820518515"/>
      </p:ext>
    </p:extLst>
  </p:cSld>
  <p:clrMapOvr>
    <a:masterClrMapping/>
  </p:clrMapOvr>
  <p:transition>
    <p:fade/>
  </p:transition>
  <p:timing>
    <p:tnLst>
      <p:par>
        <p:cTn id="1" dur="indefinite" restart="never" nodeType="tmRoot"/>
      </p:par>
    </p:tnLst>
  </p:timing>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1_50-50 Right Photo Layout_03">
    <p:bg bwMode="auto">
      <p:bgPr>
        <a:solidFill>
          <a:schemeClr val="tx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bwMode="invGray">
          <a:xfrm>
            <a:off x="269171" y="2095971"/>
            <a:ext cx="5377148" cy="2677859"/>
          </a:xfrm>
          <a:noFill/>
        </p:spPr>
        <p:txBody>
          <a:bodyPr vert="horz" wrap="square" lIns="146304" tIns="91440" rIns="146304" bIns="91440" rtlCol="0" anchor="t" anchorCtr="0">
            <a:noAutofit/>
          </a:bodyPr>
          <a:lstStyle>
            <a:lvl1pPr>
              <a:defRPr lang="en-US" sz="5880" spc="-98" baseline="0" dirty="0">
                <a:solidFill>
                  <a:schemeClr val="bg1"/>
                </a:soli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0771" y="4773830"/>
            <a:ext cx="5375815" cy="896551"/>
          </a:xfrm>
        </p:spPr>
        <p:txBody>
          <a:bodyPr tIns="109728" bIns="109728">
            <a:noAutofit/>
          </a:bodyPr>
          <a:lstStyle>
            <a:lvl1pPr marL="0" indent="0">
              <a:spcBef>
                <a:spcPts val="0"/>
              </a:spcBef>
              <a:buNone/>
              <a:defRPr sz="3136">
                <a:solidFill>
                  <a:schemeClr val="bg1"/>
                </a:solidFill>
              </a:defRPr>
            </a:lvl1pPr>
          </a:lstStyle>
          <a:p>
            <a:pPr lvl="0"/>
            <a:r>
              <a:rPr lang="en-US" dirty="0" smtClean="0"/>
              <a:t>Speaker Name</a:t>
            </a:r>
            <a:endParaRPr lang="en-US" dirty="0"/>
          </a:p>
        </p:txBody>
      </p:sp>
      <p:pic>
        <p:nvPicPr>
          <p:cNvPr id="8" name="Picture Placeholder 4"/>
          <p:cNvPicPr>
            <a:picLocks noChangeAspect="1"/>
          </p:cNvPicPr>
          <p:nvPr userDrawn="1"/>
        </p:nvPicPr>
        <p:blipFill rotWithShape="1">
          <a:blip r:embed="rId2">
            <a:extLst>
              <a:ext uri="{28A0092B-C50C-407E-A947-70E740481C1C}">
                <a14:useLocalDpi xmlns:a14="http://schemas.microsoft.com/office/drawing/2010/main" val="0"/>
              </a:ext>
            </a:extLst>
          </a:blip>
          <a:srcRect l="1536" t="114" r="36245" b="-114"/>
          <a:stretch/>
        </p:blipFill>
        <p:spPr>
          <a:xfrm>
            <a:off x="6169094" y="2"/>
            <a:ext cx="6049292" cy="6857999"/>
          </a:xfrm>
          <a:prstGeom prst="rect">
            <a:avLst/>
          </a:prstGeom>
        </p:spPr>
      </p:pic>
    </p:spTree>
    <p:extLst>
      <p:ext uri="{BB962C8B-B14F-4D97-AF65-F5344CB8AC3E}">
        <p14:creationId xmlns:p14="http://schemas.microsoft.com/office/powerpoint/2010/main" val="4126236802"/>
      </p:ext>
    </p:extLst>
  </p:cSld>
  <p:clrMapOvr>
    <a:masterClrMapping/>
  </p:clrMapOvr>
  <p:transition>
    <p:fade/>
  </p:transition>
  <p:timing>
    <p:tnLst>
      <p:par>
        <p:cTn id="1" dur="indefinite" restart="never" nodeType="tmRoot"/>
      </p:par>
    </p:tnLst>
  </p:timing>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9868050"/>
      </p:ext>
    </p:extLst>
  </p:cSld>
  <p:clrMapOvr>
    <a:masterClrMapping/>
  </p:clrMapOvr>
  <p:transition>
    <p:fade/>
  </p:transition>
  <p:timing>
    <p:tnLst>
      <p:par>
        <p:cTn id="1" dur="indefinite" restart="never" nodeType="tmRoot"/>
      </p:par>
    </p:tnLst>
  </p:timing>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3275120"/>
      </p:ext>
    </p:extLst>
  </p:cSld>
  <p:clrMapOvr>
    <a:masterClrMapping/>
  </p:clrMapOvr>
  <p:transition>
    <p:fade/>
  </p:transition>
  <p:timing>
    <p:tnLst>
      <p:par>
        <p:cTn id="1" dur="indefinite" restart="never" nodeType="tmRoot"/>
      </p:par>
    </p:tnLst>
  </p:timing>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0317372"/>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ivider Slide Blue">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a:prstGeom prst="rect">
            <a:avLst/>
          </a:prstGeo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a:prstGeom prst="rect">
            <a:avLst/>
          </a:prstGeo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ubtitle</a:t>
            </a:r>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3312" y="6014913"/>
            <a:ext cx="1738860" cy="815899"/>
          </a:xfrm>
          <a:prstGeom prst="rect">
            <a:avLst/>
          </a:prstGeom>
        </p:spPr>
      </p:pic>
    </p:spTree>
    <p:extLst>
      <p:ext uri="{BB962C8B-B14F-4D97-AF65-F5344CB8AC3E}">
        <p14:creationId xmlns:p14="http://schemas.microsoft.com/office/powerpoint/2010/main" val="35870760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3634374"/>
      </p:ext>
    </p:extLst>
  </p:cSld>
  <p:clrMapOvr>
    <a:masterClrMapping/>
  </p:clrMapOvr>
  <p:transition>
    <p:fade/>
  </p:transition>
  <p:timing>
    <p:tnLst>
      <p:par>
        <p:cTn id="1" dur="indefinite" restart="never" nodeType="tmRoot"/>
      </p:par>
    </p:tnLst>
  </p:timing>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396047"/>
          </a:xfrm>
          <a:prstGeom prst="rect">
            <a:avLst/>
          </a:prstGeom>
        </p:spPr>
        <p:txBody>
          <a:bodyPr/>
          <a:lstStyle>
            <a:lvl1pPr marL="284705" indent="-284705">
              <a:buClr>
                <a:schemeClr val="tx1"/>
              </a:buClr>
              <a:buSzPct val="90000"/>
              <a:buFont typeface="Wingdings" panose="05000000000000000000" pitchFamily="2" charset="2"/>
              <a:buChar char="§"/>
              <a:defRPr sz="3528">
                <a:solidFill>
                  <a:schemeClr val="bg1"/>
                </a:solidFill>
                <a:latin typeface="Segoe UI" pitchFamily="34" charset="0"/>
                <a:ea typeface="Segoe UI" pitchFamily="34" charset="0"/>
                <a:cs typeface="Segoe UI" pitchFamily="34" charset="0"/>
              </a:defRPr>
            </a:lvl1pPr>
            <a:lvl2pPr marL="560073" indent="-275370">
              <a:buClr>
                <a:schemeClr val="tx1"/>
              </a:buClr>
              <a:buSzPct val="90000"/>
              <a:buFont typeface="Wingdings" panose="05000000000000000000" pitchFamily="2" charset="2"/>
              <a:buChar char="§"/>
              <a:defRPr sz="3136">
                <a:solidFill>
                  <a:schemeClr val="bg1"/>
                </a:solidFill>
                <a:latin typeface="Segoe UI" pitchFamily="34" charset="0"/>
                <a:ea typeface="Segoe UI" pitchFamily="34" charset="0"/>
                <a:cs typeface="Segoe UI" pitchFamily="34" charset="0"/>
              </a:defRPr>
            </a:lvl2pPr>
            <a:lvl3pPr marL="844777" indent="-284705">
              <a:buClr>
                <a:schemeClr val="tx1"/>
              </a:buClr>
              <a:buSzPct val="90000"/>
              <a:buFont typeface="Wingdings" panose="05000000000000000000" pitchFamily="2" charset="2"/>
              <a:buChar char="§"/>
              <a:defRPr sz="2744">
                <a:solidFill>
                  <a:schemeClr val="bg1"/>
                </a:solidFill>
                <a:latin typeface="Segoe UI" pitchFamily="34" charset="0"/>
                <a:ea typeface="Segoe UI" pitchFamily="34" charset="0"/>
                <a:cs typeface="Segoe UI" pitchFamily="34" charset="0"/>
              </a:defRPr>
            </a:lvl3pPr>
            <a:lvl4pPr marL="1068807" indent="-224030">
              <a:buClr>
                <a:schemeClr val="tx1"/>
              </a:buClr>
              <a:buSzPct val="90000"/>
              <a:buFont typeface="Wingdings" panose="05000000000000000000" pitchFamily="2" charset="2"/>
              <a:buChar char="§"/>
              <a:defRPr sz="2352">
                <a:solidFill>
                  <a:schemeClr val="bg1"/>
                </a:solidFill>
                <a:latin typeface="Segoe UI" pitchFamily="34" charset="0"/>
                <a:ea typeface="Segoe UI" pitchFamily="34" charset="0"/>
                <a:cs typeface="Segoe UI" pitchFamily="34" charset="0"/>
              </a:defRPr>
            </a:lvl4pPr>
            <a:lvl5pPr marL="1292837" indent="-224030">
              <a:buClr>
                <a:schemeClr val="tx1"/>
              </a:buClr>
              <a:buSzPct val="90000"/>
              <a:buFont typeface="Wingdings" panose="05000000000000000000" pitchFamily="2" charset="2"/>
              <a:buChar char="§"/>
              <a:defRPr sz="1960">
                <a:solidFill>
                  <a:schemeClr val="bg1"/>
                </a:soli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7"/>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solidFill>
                  <a:schemeClr val="bg1"/>
                </a:soli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69600116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396047"/>
          </a:xfrm>
          <a:prstGeom prst="rect">
            <a:avLst/>
          </a:prstGeom>
        </p:spPr>
        <p:txBody>
          <a:bodyPr/>
          <a:lstStyle>
            <a:lvl1pPr marL="284705" indent="-28470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73" indent="-275370">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77" indent="-284705">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807" indent="-224030">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837" indent="-224030">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16926313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43.xml><?xml version="1.0" encoding="utf-8"?>
<p:sldLayout xmlns:a="http://schemas.openxmlformats.org/drawingml/2006/main" xmlns:r="http://schemas.openxmlformats.org/officeDocument/2006/relationships" xmlns:p="http://schemas.openxmlformats.org/presentationml/2006/main" userDrawn="1">
  <p:cSld name="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858" y="291103"/>
            <a:ext cx="11650799" cy="896518"/>
          </a:xfrm>
        </p:spPr>
        <p:txBody>
          <a:bodyPr/>
          <a:lstStyle>
            <a:lvl1pPr>
              <a:defRPr sz="5684">
                <a:solidFill>
                  <a:schemeClr val="bg1"/>
                </a:soli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169" y="1663939"/>
            <a:ext cx="10754297" cy="1865319"/>
          </a:xfrm>
        </p:spPr>
        <p:txBody>
          <a:bodyPr/>
          <a:lstStyle>
            <a:lvl1pPr>
              <a:defRPr sz="2548">
                <a:solidFill>
                  <a:schemeClr val="bg1"/>
                </a:solidFill>
                <a:latin typeface="+mn-lt"/>
              </a:defRPr>
            </a:lvl1pPr>
            <a:lvl2pPr>
              <a:defRPr sz="2352">
                <a:solidFill>
                  <a:schemeClr val="bg1"/>
                </a:solidFill>
              </a:defRPr>
            </a:lvl2pPr>
            <a:lvl3pPr>
              <a:defRPr sz="1960">
                <a:solidFill>
                  <a:schemeClr val="bg1"/>
                </a:solidFill>
              </a:defRPr>
            </a:lvl3pPr>
            <a:lvl4pPr>
              <a:defRPr sz="1764">
                <a:solidFill>
                  <a:schemeClr val="bg1"/>
                </a:solidFill>
              </a:defRPr>
            </a:lvl4pPr>
            <a:lvl5pPr>
              <a:defRPr sz="1764">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83234"/>
      </p:ext>
    </p:extLst>
  </p:cSld>
  <p:clrMapOvr>
    <a:masterClrMapping/>
  </p:clrMapOvr>
  <p:transition>
    <p:fade/>
  </p:transition>
  <p:timing>
    <p:tnLst>
      <p:par>
        <p:cTn id="1" dur="indefinite" restart="never" nodeType="tmRoot"/>
      </p:par>
    </p:tnLst>
  </p:timing>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313"/>
            <a:ext cx="12188826" cy="6858313"/>
          </a:xfrm>
          <a:prstGeom prst="rect">
            <a:avLst/>
          </a:prstGeom>
        </p:spPr>
      </p:pic>
      <p:grpSp>
        <p:nvGrpSpPr>
          <p:cNvPr id="9" name="Group 8"/>
          <p:cNvGrpSpPr/>
          <p:nvPr userDrawn="1"/>
        </p:nvGrpSpPr>
        <p:grpSpPr bwMode="gray">
          <a:xfrm>
            <a:off x="269169" y="2084172"/>
            <a:ext cx="4480957" cy="4482760"/>
            <a:chOff x="274638" y="2125663"/>
            <a:chExt cx="4572000" cy="4572000"/>
          </a:xfrm>
        </p:grpSpPr>
        <p:sp>
          <p:nvSpPr>
            <p:cNvPr id="10" name="Rectangle 9"/>
            <p:cNvSpPr/>
            <p:nvPr userDrawn="1"/>
          </p:nvSpPr>
          <p:spPr bwMode="gray">
            <a:xfrm>
              <a:off x="274638" y="2125663"/>
              <a:ext cx="4572000" cy="4572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77295" y="2857189"/>
              <a:ext cx="3590428" cy="3657600"/>
            </a:xfrm>
            <a:prstGeom prst="rect">
              <a:avLst/>
            </a:prstGeom>
          </p:spPr>
        </p:pic>
      </p:grpSp>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gray">
          <a:xfrm>
            <a:off x="10218723" y="480789"/>
            <a:ext cx="1522007" cy="326167"/>
          </a:xfrm>
          <a:prstGeom prst="rect">
            <a:avLst/>
          </a:prstGeom>
        </p:spPr>
      </p:pic>
    </p:spTree>
    <p:extLst>
      <p:ext uri="{BB962C8B-B14F-4D97-AF65-F5344CB8AC3E}">
        <p14:creationId xmlns:p14="http://schemas.microsoft.com/office/powerpoint/2010/main" val="311033808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12188825" cy="6858000"/>
          </a:xfrm>
          <a:prstGeom prst="rect">
            <a:avLst/>
          </a:prstGeom>
        </p:spPr>
      </p:pic>
      <p:sp>
        <p:nvSpPr>
          <p:cNvPr id="18" name="Rectangle 17"/>
          <p:cNvSpPr/>
          <p:nvPr userDrawn="1"/>
        </p:nvSpPr>
        <p:spPr bwMode="gray">
          <a:xfrm>
            <a:off x="269169" y="2995667"/>
            <a:ext cx="6273340" cy="3586208"/>
          </a:xfrm>
          <a:prstGeom prst="rect">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13" y="2980724"/>
            <a:ext cx="6274896" cy="2062069"/>
          </a:xfrm>
          <a:noFill/>
        </p:spPr>
        <p:txBody>
          <a:bodyPr vert="horz" wrap="square" lIns="146304" tIns="91440" rIns="146304" bIns="91440" rtlCol="0" anchor="t" anchorCtr="0">
            <a:noAutofit/>
          </a:bodyPr>
          <a:lstStyle>
            <a:lvl1pPr>
              <a:defRPr lang="en-US" sz="5881"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169" y="5042795"/>
            <a:ext cx="6273340" cy="1524136"/>
          </a:xfrm>
        </p:spPr>
        <p:txBody>
          <a:bodyPr tIns="109728" bIns="109728">
            <a:noAutofit/>
          </a:bodyPr>
          <a:lstStyle>
            <a:lvl1pPr marL="0" indent="0">
              <a:spcBef>
                <a:spcPts val="0"/>
              </a:spcBef>
              <a:buNone/>
              <a:defRPr sz="3136">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63285" y="473036"/>
            <a:ext cx="1522007" cy="326167"/>
          </a:xfrm>
          <a:prstGeom prst="rect">
            <a:avLst/>
          </a:prstGeom>
        </p:spPr>
      </p:pic>
      <p:grpSp>
        <p:nvGrpSpPr>
          <p:cNvPr id="10" name="Group 9"/>
          <p:cNvGrpSpPr/>
          <p:nvPr userDrawn="1"/>
        </p:nvGrpSpPr>
        <p:grpSpPr bwMode="gray">
          <a:xfrm>
            <a:off x="6542509" y="3892219"/>
            <a:ext cx="2688574" cy="2689656"/>
            <a:chOff x="274638" y="2125663"/>
            <a:chExt cx="4572000" cy="4572000"/>
          </a:xfrm>
        </p:grpSpPr>
        <p:sp>
          <p:nvSpPr>
            <p:cNvPr id="12" name="Rectangle 11"/>
            <p:cNvSpPr/>
            <p:nvPr userDrawn="1"/>
          </p:nvSpPr>
          <p:spPr bwMode="gray">
            <a:xfrm>
              <a:off x="274638" y="2125663"/>
              <a:ext cx="4572000" cy="4572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gray">
            <a:xfrm>
              <a:off x="578908" y="3015191"/>
              <a:ext cx="3607150" cy="3352800"/>
            </a:xfrm>
            <a:prstGeom prst="rect">
              <a:avLst/>
            </a:prstGeom>
          </p:spPr>
        </p:pic>
      </p:grpSp>
    </p:spTree>
    <p:extLst>
      <p:ext uri="{BB962C8B-B14F-4D97-AF65-F5344CB8AC3E}">
        <p14:creationId xmlns:p14="http://schemas.microsoft.com/office/powerpoint/2010/main" val="7926203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l="17070" t="6178" b="23861"/>
          <a:stretch/>
        </p:blipFill>
        <p:spPr>
          <a:xfrm>
            <a:off x="0" y="0"/>
            <a:ext cx="12188826" cy="6858000"/>
          </a:xfrm>
          <a:prstGeom prst="rect">
            <a:avLst/>
          </a:prstGeom>
        </p:spPr>
      </p:pic>
      <p:sp>
        <p:nvSpPr>
          <p:cNvPr id="6" name="Rectangle 5"/>
          <p:cNvSpPr/>
          <p:nvPr userDrawn="1"/>
        </p:nvSpPr>
        <p:spPr bwMode="auto">
          <a:xfrm>
            <a:off x="4750126" y="1186356"/>
            <a:ext cx="7169531" cy="44840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750126" y="1186356"/>
            <a:ext cx="7167975" cy="2697988"/>
          </a:xfrm>
          <a:noFill/>
        </p:spPr>
        <p:txBody>
          <a:bodyPr tIns="91440" bIns="91440" anchor="t" anchorCtr="0"/>
          <a:lstStyle>
            <a:lvl1pPr>
              <a:defRPr sz="7057" spc="-98" baseline="0">
                <a:gradFill>
                  <a:gsLst>
                    <a:gs pos="91241">
                      <a:schemeClr val="tx1"/>
                    </a:gs>
                    <a:gs pos="57000">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4750549" y="3877277"/>
            <a:ext cx="7169108" cy="1793881"/>
          </a:xfrm>
          <a:noFill/>
        </p:spPr>
        <p:txBody>
          <a:bodyPr lIns="182880" tIns="146304" rIns="182880" bIns="146304">
            <a:noAutofit/>
          </a:bodyPr>
          <a:lstStyle>
            <a:lvl1pPr marL="0" indent="0">
              <a:spcBef>
                <a:spcPts val="0"/>
              </a:spcBef>
              <a:buNone/>
              <a:defRPr sz="3528" spc="0" baseline="0">
                <a:gradFill>
                  <a:gsLst>
                    <a:gs pos="91241">
                      <a:schemeClr val="tx1"/>
                    </a:gs>
                    <a:gs pos="57000">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6579953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17070" t="6178" b="23861"/>
          <a:stretch/>
        </p:blipFill>
        <p:spPr>
          <a:xfrm>
            <a:off x="0" y="0"/>
            <a:ext cx="12188826" cy="6858000"/>
          </a:xfrm>
          <a:prstGeom prst="rect">
            <a:avLst/>
          </a:prstGeom>
        </p:spPr>
      </p:pic>
      <p:sp>
        <p:nvSpPr>
          <p:cNvPr id="6" name="Rectangle 5"/>
          <p:cNvSpPr/>
          <p:nvPr userDrawn="1"/>
        </p:nvSpPr>
        <p:spPr bwMode="auto">
          <a:xfrm>
            <a:off x="4750126" y="1186356"/>
            <a:ext cx="7169531" cy="4484025"/>
          </a:xfrm>
          <a:prstGeom prst="rect">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750126" y="1186356"/>
            <a:ext cx="7169530" cy="4484025"/>
          </a:xfrm>
          <a:noFill/>
        </p:spPr>
        <p:txBody>
          <a:bodyPr tIns="91440" bIns="91440" anchor="t" anchorCtr="0"/>
          <a:lstStyle>
            <a:lvl1pPr>
              <a:defRPr sz="7057" spc="-98" baseline="0">
                <a:gradFill>
                  <a:gsLst>
                    <a:gs pos="91241">
                      <a:schemeClr val="tx1"/>
                    </a:gs>
                    <a:gs pos="57000">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0016700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defRPr sz="8625"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99014386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172645950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ivider Slide Purple">
    <p:bg>
      <p:bgPr>
        <a:solidFill>
          <a:srgbClr val="68217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a:prstGeom prst="rect">
            <a:avLst/>
          </a:prstGeo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a:prstGeom prst="rect">
            <a:avLst/>
          </a:prstGeo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ubtitle</a:t>
            </a:r>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3312" y="6014913"/>
            <a:ext cx="1738860" cy="815899"/>
          </a:xfrm>
          <a:prstGeom prst="rect">
            <a:avLst/>
          </a:prstGeom>
        </p:spPr>
      </p:pic>
    </p:spTree>
    <p:extLst>
      <p:ext uri="{BB962C8B-B14F-4D97-AF65-F5344CB8AC3E}">
        <p14:creationId xmlns:p14="http://schemas.microsoft.com/office/powerpoint/2010/main" val="21677948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75097611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99740329"/>
      </p:ext>
    </p:extLst>
  </p:cSld>
  <p:clrMapOvr>
    <a:masterClrMapping/>
  </p:clrMapOvr>
  <p:transition>
    <p:fade/>
  </p:transition>
  <p:timing>
    <p:tnLst>
      <p:par>
        <p:cTn id="1" dur="indefinite" restart="never" nodeType="tmRoot"/>
      </p:par>
    </p:tnLst>
  </p:timing>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39469686"/>
      </p:ext>
    </p:extLst>
  </p:cSld>
  <p:clrMapOvr>
    <a:masterClrMapping/>
  </p:clrMapOvr>
  <p:transition>
    <p:fade/>
  </p:transition>
  <p:timing>
    <p:tnLst>
      <p:par>
        <p:cTn id="1" dur="indefinite" restart="never" nodeType="tmRoot"/>
      </p:par>
    </p:tnLst>
  </p:timing>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68800411"/>
      </p:ext>
    </p:extLst>
  </p:cSld>
  <p:clrMapOvr>
    <a:masterClrMapping/>
  </p:clrMapOvr>
  <p:transition>
    <p:fade/>
  </p:transition>
  <p:timing>
    <p:tnLst>
      <p:par>
        <p:cTn id="1" dur="indefinite" restart="never" nodeType="tmRoot"/>
      </p:par>
    </p:tnLst>
  </p:timing>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123997101"/>
      </p:ext>
    </p:extLst>
  </p:cSld>
  <p:clrMapOvr>
    <a:masterClrMapping/>
  </p:clrMapOvr>
  <p:transition>
    <p:fade/>
  </p:transition>
  <p:timing>
    <p:tnLst>
      <p:par>
        <p:cTn id="1" dur="indefinite" restart="never" nodeType="tmRoot"/>
      </p:par>
    </p:tnLst>
  </p:timing>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44203214"/>
      </p:ext>
    </p:extLst>
  </p:cSld>
  <p:clrMapOvr>
    <a:masterClrMapping/>
  </p:clrMapOvr>
  <p:transition>
    <p:fade/>
  </p:transition>
  <p:timing>
    <p:tnLst>
      <p:par>
        <p:cTn id="1" dur="indefinite" restart="never" nodeType="tmRoot"/>
      </p:par>
    </p:tnLst>
  </p:timing>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5109">
                      <a:schemeClr val="tx2"/>
                    </a:gs>
                    <a:gs pos="2500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100000">
                      <a:schemeClr val="tx2"/>
                    </a:gs>
                    <a:gs pos="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03622816"/>
      </p:ext>
    </p:extLst>
  </p:cSld>
  <p:clrMapOvr>
    <a:masterClrMapping/>
  </p:clrMapOvr>
  <p:transition>
    <p:fade/>
  </p:transition>
  <p:timing>
    <p:tnLst>
      <p:par>
        <p:cTn id="1" dur="indefinite" restart="never" nodeType="tmRoot"/>
      </p:par>
    </p:tnLst>
  </p:timing>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63989212"/>
      </p:ext>
    </p:extLst>
  </p:cSld>
  <p:clrMapOvr>
    <a:masterClrMapping/>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37869564"/>
      </p:ext>
    </p:extLst>
  </p:cSld>
  <p:clrMapOvr>
    <a:masterClrMapping/>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79371625"/>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Punchy Slide Orang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a:prstGeom prst="rect">
            <a:avLst/>
          </a:prstGeo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3312" y="6014913"/>
            <a:ext cx="1738860" cy="815899"/>
          </a:xfrm>
          <a:prstGeom prst="rect">
            <a:avLst/>
          </a:prstGeom>
        </p:spPr>
      </p:pic>
    </p:spTree>
    <p:extLst>
      <p:ext uri="{BB962C8B-B14F-4D97-AF65-F5344CB8AC3E}">
        <p14:creationId xmlns:p14="http://schemas.microsoft.com/office/powerpoint/2010/main" val="3998230128"/>
      </p:ext>
    </p:extLst>
  </p:cSld>
  <p:clrMapOvr>
    <a:masterClrMapping/>
  </p:clrMapOvr>
  <p:transition>
    <p:fade/>
  </p:transition>
  <p:timing>
    <p:tnLst>
      <p:par>
        <p:cTn id="1" dur="indefinite" restart="never" nodeType="tmRoot"/>
      </p:par>
    </p:tnLst>
  </p:timing>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6949" y="1187621"/>
            <a:ext cx="11652805" cy="899665"/>
          </a:xfrm>
        </p:spPr>
        <p:txBody>
          <a:bodyPr/>
          <a:lstStyle>
            <a:lvl1pPr>
              <a:defRPr sz="7057" baseline="0"/>
            </a:lvl1pPr>
          </a:lstStyle>
          <a:p>
            <a:r>
              <a:rPr lang="en-US" smtClean="0"/>
              <a:t>Click to edit Master title style</a:t>
            </a:r>
            <a:endParaRPr lang="en-US" dirty="0"/>
          </a:p>
        </p:txBody>
      </p:sp>
    </p:spTree>
    <p:extLst>
      <p:ext uri="{BB962C8B-B14F-4D97-AF65-F5344CB8AC3E}">
        <p14:creationId xmlns:p14="http://schemas.microsoft.com/office/powerpoint/2010/main" val="3691644024"/>
      </p:ext>
    </p:extLst>
  </p:cSld>
  <p:clrMapOvr>
    <a:masterClrMapping/>
  </p:clrMapOvr>
  <p:transition>
    <p:fade/>
  </p:transition>
  <p:timing>
    <p:tnLst>
      <p:par>
        <p:cTn id="1" dur="indefinite" restart="never" nodeType="tmRoot"/>
      </p:par>
    </p:tnLst>
  </p:timing>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1102607163"/>
      </p:ext>
    </p:extLst>
  </p:cSld>
  <p:clrMapOvr>
    <a:masterClrMapping/>
  </p:clrMapOvr>
  <p:transition>
    <p:fade/>
  </p:transition>
  <p:timing>
    <p:tnLst>
      <p:par>
        <p:cTn id="1" dur="indefinite" restart="never" nodeType="tmRoot"/>
      </p:par>
    </p:tnLst>
  </p:timing>
</p:sldLayout>
</file>

<file path=ppt/slideLayouts/slideLayout362.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68954349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1178349"/>
            <a:ext cx="9858104" cy="899665"/>
          </a:xfrm>
        </p:spPr>
        <p:txBody>
          <a:bodyPr/>
          <a:lstStyle>
            <a:lvl1pPr marL="228719" indent="-228719">
              <a:defRPr sz="5881"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5025984"/>
            <a:ext cx="5377148" cy="1050156"/>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1498321908"/>
      </p:ext>
    </p:extLst>
  </p:cSld>
  <p:clrMapOvr>
    <a:masterClrMapping/>
  </p:clrMapOvr>
  <p:transition>
    <p:fade/>
  </p:transition>
  <p:timing>
    <p:tnLst>
      <p:par>
        <p:cTn id="1" dur="indefinite" restart="never" nodeType="tmRoot"/>
      </p:par>
    </p:tnLst>
  </p:timing>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1">
            <a:lumMod val="75000"/>
          </a:schemeClr>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2084173"/>
            <a:ext cx="9858104" cy="899665"/>
          </a:xfrm>
        </p:spPr>
        <p:txBody>
          <a:bodyPr/>
          <a:lstStyle>
            <a:lvl1pPr marL="276952" indent="-276952">
              <a:tabLst>
                <a:tab pos="276952" algn="l"/>
              </a:tabLst>
              <a:defRPr sz="5881"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4773813"/>
            <a:ext cx="5377148" cy="1050156"/>
          </a:xfrm>
        </p:spPr>
        <p:txBody>
          <a:bodyPr/>
          <a:lstStyle>
            <a:lvl1pPr marL="0" indent="0">
              <a:spcBef>
                <a:spcPts val="0"/>
              </a:spcBef>
              <a:buNone/>
              <a:defRPr sz="3136"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276430478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49" y="2383023"/>
            <a:ext cx="11650488"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smtClean="0"/>
              <a:t>Click to edit Master text styles</a:t>
            </a:r>
          </a:p>
        </p:txBody>
      </p:sp>
      <p:sp>
        <p:nvSpPr>
          <p:cNvPr id="4" name="Title 1"/>
          <p:cNvSpPr>
            <a:spLocks noGrp="1"/>
          </p:cNvSpPr>
          <p:nvPr>
            <p:ph type="title"/>
          </p:nvPr>
        </p:nvSpPr>
        <p:spPr>
          <a:xfrm>
            <a:off x="276949" y="1187621"/>
            <a:ext cx="11652805" cy="899665"/>
          </a:xfrm>
        </p:spPr>
        <p:txBody>
          <a:bodyPr/>
          <a:lstStyle>
            <a:lvl1pPr>
              <a:defRPr sz="7057"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1081553652"/>
      </p:ext>
    </p:extLst>
  </p:cSld>
  <p:clrMapOvr>
    <a:masterClrMapping/>
  </p:clrMapOvr>
  <p:transition>
    <p:fade/>
  </p:transition>
  <p:timing>
    <p:tnLst>
      <p:par>
        <p:cTn id="1" dur="indefinite" restart="never" nodeType="tmRoot"/>
      </p:par>
    </p:tnLst>
  </p:timing>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1" y="1217195"/>
            <a:ext cx="5377147" cy="1763530"/>
          </a:xfrm>
        </p:spPr>
        <p:txBody>
          <a:bodyPr/>
          <a:lstStyle>
            <a:lvl1pPr>
              <a:defRPr sz="646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5968" y="0"/>
            <a:ext cx="6092857"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1987101397"/>
      </p:ext>
    </p:extLst>
  </p:cSld>
  <p:clrMapOvr>
    <a:masterClrMapping/>
  </p:clrMapOvr>
  <p:transition>
    <p:fade/>
  </p:transition>
  <p:timing>
    <p:tnLst>
      <p:par>
        <p:cTn id="1" dur="indefinite" restart="never" nodeType="tmRoot"/>
      </p:par>
    </p:tnLst>
  </p:timing>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542510" y="1217195"/>
            <a:ext cx="5377147" cy="899665"/>
          </a:xfrm>
        </p:spPr>
        <p:txBody>
          <a:bodyPr/>
          <a:lstStyle>
            <a:lvl1pPr>
              <a:defRPr sz="6469"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4" name="Picture Placeholder 4"/>
          <p:cNvSpPr>
            <a:spLocks noGrp="1"/>
          </p:cNvSpPr>
          <p:nvPr>
            <p:ph type="pic" sz="quarter" idx="10"/>
          </p:nvPr>
        </p:nvSpPr>
        <p:spPr bwMode="ltGray">
          <a:xfrm>
            <a:off x="0" y="0"/>
            <a:ext cx="6092857" cy="6852151"/>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186306689"/>
      </p:ext>
    </p:extLst>
  </p:cSld>
  <p:clrMapOvr>
    <a:masterClrMapping/>
  </p:clrMapOvr>
  <p:transition>
    <p:fade/>
  </p:transition>
  <p:timing>
    <p:tnLst>
      <p:par>
        <p:cTn id="1" dur="indefinite" restart="never" nodeType="tmRoot"/>
      </p:par>
    </p:tnLst>
  </p:timing>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3421976"/>
      </p:ext>
    </p:extLst>
  </p:cSld>
  <p:clrMapOvr>
    <a:masterClrMapping/>
  </p:clrMapOvr>
  <p:transition>
    <p:fade/>
  </p:transition>
  <p:timing>
    <p:tnLst>
      <p:par>
        <p:cTn id="1" dur="indefinite" restart="never" nodeType="tmRoot"/>
      </p:par>
    </p:tnLst>
  </p:timing>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455468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Punchy Slide Green">
    <p:bg>
      <p:bgPr>
        <a:solidFill>
          <a:srgbClr val="00723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a:prstGeom prst="rect">
            <a:avLst/>
          </a:prstGeo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3312" y="6014913"/>
            <a:ext cx="1738860" cy="815899"/>
          </a:xfrm>
          <a:prstGeom prst="rect">
            <a:avLst/>
          </a:prstGeom>
        </p:spPr>
      </p:pic>
    </p:spTree>
    <p:extLst>
      <p:ext uri="{BB962C8B-B14F-4D97-AF65-F5344CB8AC3E}">
        <p14:creationId xmlns:p14="http://schemas.microsoft.com/office/powerpoint/2010/main" val="374874795"/>
      </p:ext>
    </p:extLst>
  </p:cSld>
  <p:clrMapOvr>
    <a:masterClrMapping/>
  </p:clrMapOvr>
  <p:transition>
    <p:fade/>
  </p:transition>
  <p:timing>
    <p:tnLst>
      <p:par>
        <p:cTn id="1" dur="indefinite" restart="never" nodeType="tmRoot"/>
      </p:par>
    </p:tnLst>
  </p:timing>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649732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563950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262873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73.xml><?xml version="1.0" encoding="utf-8"?>
<p:sldLayout xmlns:a="http://schemas.openxmlformats.org/drawingml/2006/main" xmlns:r="http://schemas.openxmlformats.org/officeDocument/2006/relationships" xmlns:p="http://schemas.openxmlformats.org/presentationml/2006/main" userDrawn="1">
  <p:cSld name="1_Large &amp; Small Content 2">
    <p:spTree>
      <p:nvGrpSpPr>
        <p:cNvPr id="1" name=""/>
        <p:cNvGrpSpPr/>
        <p:nvPr/>
      </p:nvGrpSpPr>
      <p:grpSpPr>
        <a:xfrm>
          <a:off x="0" y="0"/>
          <a:ext cx="0" cy="0"/>
          <a:chOff x="0" y="0"/>
          <a:chExt cx="0" cy="0"/>
        </a:xfrm>
      </p:grpSpPr>
      <p:sp>
        <p:nvSpPr>
          <p:cNvPr id="12" name="Title 11"/>
          <p:cNvSpPr>
            <a:spLocks noGrp="1"/>
          </p:cNvSpPr>
          <p:nvPr>
            <p:ph type="title"/>
          </p:nvPr>
        </p:nvSpPr>
        <p:spPr/>
        <p:txBody>
          <a:bodyPr>
            <a:noAutofit/>
          </a:bodyPr>
          <a:lstStyle>
            <a:lvl1pPr>
              <a:defRPr/>
            </a:lvl1pPr>
          </a:lstStyle>
          <a:p>
            <a:r>
              <a:rPr lang="en-US" smtClean="0"/>
              <a:t>Click to edit Master title style</a:t>
            </a:r>
            <a:endParaRPr lang="en-US" dirty="0"/>
          </a:p>
        </p:txBody>
      </p:sp>
    </p:spTree>
    <p:extLst>
      <p:ext uri="{BB962C8B-B14F-4D97-AF65-F5344CB8AC3E}">
        <p14:creationId xmlns:p14="http://schemas.microsoft.com/office/powerpoint/2010/main" val="3828675036"/>
      </p:ext>
    </p:extLst>
  </p:cSld>
  <p:clrMapOvr>
    <a:masterClrMapping/>
  </p:clrMapOvr>
  <p:timing>
    <p:tnLst>
      <p:par>
        <p:cTn id="1" dur="indefinite" restart="never" nodeType="tmRoot"/>
      </p:par>
    </p:tnLst>
  </p:timing>
</p:sldLayout>
</file>

<file path=ppt/slideLayouts/slideLayout374.xml><?xml version="1.0" encoding="utf-8"?>
<p:sldLayout xmlns:a="http://schemas.openxmlformats.org/drawingml/2006/main" xmlns:r="http://schemas.openxmlformats.org/officeDocument/2006/relationships" xmlns:p="http://schemas.openxmlformats.org/presentationml/2006/main" userDrawn="1">
  <p:cSld name="photo_placeholder">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169" y="291068"/>
            <a:ext cx="11650488" cy="6275864"/>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3" name="Picture Placeholder 2"/>
          <p:cNvSpPr>
            <a:spLocks noGrp="1"/>
          </p:cNvSpPr>
          <p:nvPr>
            <p:ph type="pic" sz="quarter" idx="10"/>
          </p:nvPr>
        </p:nvSpPr>
        <p:spPr>
          <a:xfrm>
            <a:off x="448096" y="470067"/>
            <a:ext cx="11292634" cy="727571"/>
          </a:xfrm>
        </p:spPr>
        <p:txBody>
          <a:bodyPr/>
          <a:lstStyle/>
          <a:p>
            <a:endParaRPr lang="en-US"/>
          </a:p>
        </p:txBody>
      </p:sp>
    </p:spTree>
    <p:extLst>
      <p:ext uri="{BB962C8B-B14F-4D97-AF65-F5344CB8AC3E}">
        <p14:creationId xmlns:p14="http://schemas.microsoft.com/office/powerpoint/2010/main" val="3867952495"/>
      </p:ext>
    </p:extLst>
  </p:cSld>
  <p:clrMapOvr>
    <a:masterClrMapping/>
  </p:clrMapOvr>
  <p:transition>
    <p:fade/>
  </p:transition>
  <p:timing>
    <p:tnLst>
      <p:par>
        <p:cTn id="1" dur="indefinite" restart="never" nodeType="tmRoot"/>
      </p:par>
    </p:tnLst>
  </p:timing>
</p:sldLayout>
</file>

<file path=ppt/slideLayouts/slideLayout375.xml><?xml version="1.0" encoding="utf-8"?>
<p:sldLayout xmlns:a="http://schemas.openxmlformats.org/drawingml/2006/main" xmlns:r="http://schemas.openxmlformats.org/officeDocument/2006/relationships" xmlns:p="http://schemas.openxmlformats.org/presentationml/2006/main" userDrawn="1">
  <p:cSld name="Section Title Textur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defRPr sz="8625"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
        <p:nvSpPr>
          <p:cNvPr id="5" name="Rectangle 4"/>
          <p:cNvSpPr/>
          <p:nvPr userDrawn="1"/>
        </p:nvSpPr>
        <p:spPr bwMode="gray">
          <a:xfrm>
            <a:off x="680052" y="470068"/>
            <a:ext cx="3186321" cy="597822"/>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6" name="Rectangle 5"/>
          <p:cNvSpPr/>
          <p:nvPr userDrawn="1"/>
        </p:nvSpPr>
        <p:spPr bwMode="gray">
          <a:xfrm>
            <a:off x="-28047" y="589799"/>
            <a:ext cx="3175520" cy="597822"/>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8" name="Rectangle 7"/>
          <p:cNvSpPr/>
          <p:nvPr userDrawn="1"/>
        </p:nvSpPr>
        <p:spPr bwMode="gray">
          <a:xfrm flipH="1">
            <a:off x="6542508" y="5629606"/>
            <a:ext cx="4989553" cy="413419"/>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9" name="Rectangle 8"/>
          <p:cNvSpPr/>
          <p:nvPr userDrawn="1"/>
        </p:nvSpPr>
        <p:spPr bwMode="gray">
          <a:xfrm flipH="1">
            <a:off x="7289923" y="5795020"/>
            <a:ext cx="4898902" cy="409756"/>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10" name="Rectangle 9"/>
          <p:cNvSpPr/>
          <p:nvPr userDrawn="1"/>
        </p:nvSpPr>
        <p:spPr bwMode="gray">
          <a:xfrm flipH="1">
            <a:off x="7050344" y="6160357"/>
            <a:ext cx="4971785" cy="409756"/>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Tree>
    <p:extLst>
      <p:ext uri="{BB962C8B-B14F-4D97-AF65-F5344CB8AC3E}">
        <p14:creationId xmlns:p14="http://schemas.microsoft.com/office/powerpoint/2010/main" val="191737585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850" fill="hold"/>
                                        <p:tgtEl>
                                          <p:spTgt spid="6"/>
                                        </p:tgtEl>
                                        <p:attrNameLst>
                                          <p:attrName>ppt_x</p:attrName>
                                        </p:attrNameLst>
                                      </p:cBhvr>
                                      <p:tavLst>
                                        <p:tav tm="0">
                                          <p:val>
                                            <p:strVal val="0-#ppt_w/2"/>
                                          </p:val>
                                        </p:tav>
                                        <p:tav tm="100000">
                                          <p:val>
                                            <p:strVal val="#ppt_x"/>
                                          </p:val>
                                        </p:tav>
                                      </p:tavLst>
                                    </p:anim>
                                    <p:anim calcmode="lin" valueType="num">
                                      <p:cBhvr additive="base">
                                        <p:cTn id="8" dur="850" fill="hold"/>
                                        <p:tgtEl>
                                          <p:spTgt spid="6"/>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850" fill="hold"/>
                                        <p:tgtEl>
                                          <p:spTgt spid="5"/>
                                        </p:tgtEl>
                                        <p:attrNameLst>
                                          <p:attrName>ppt_x</p:attrName>
                                        </p:attrNameLst>
                                      </p:cBhvr>
                                      <p:tavLst>
                                        <p:tav tm="0">
                                          <p:val>
                                            <p:strVal val="1+#ppt_w/2"/>
                                          </p:val>
                                        </p:tav>
                                        <p:tav tm="100000">
                                          <p:val>
                                            <p:strVal val="#ppt_x"/>
                                          </p:val>
                                        </p:tav>
                                      </p:tavLst>
                                    </p:anim>
                                    <p:anim calcmode="lin" valueType="num">
                                      <p:cBhvr additive="base">
                                        <p:cTn id="12" dur="850" fill="hold"/>
                                        <p:tgtEl>
                                          <p:spTgt spid="5"/>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58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750"/>
                                        <p:tgtEl>
                                          <p:spTgt spid="2"/>
                                        </p:tgtEl>
                                      </p:cBhvr>
                                    </p:animEffect>
                                  </p:childTnLst>
                                </p:cTn>
                              </p:par>
                              <p:par>
                                <p:cTn id="16" presetID="63" presetClass="path" presetSubtype="0" decel="100000" fill="hold" grpId="1" nodeType="withEffect">
                                  <p:stCondLst>
                                    <p:cond delay="580"/>
                                  </p:stCondLst>
                                  <p:childTnLst>
                                    <p:animMotion origin="layout" path="M -0.02409 1.50289E-6 L -4.16667E-7 1.50289E-6 " pathEditMode="relative" rAng="0" ptsTypes="AA">
                                      <p:cBhvr>
                                        <p:cTn id="17" dur="500" fill="hold"/>
                                        <p:tgtEl>
                                          <p:spTgt spid="2"/>
                                        </p:tgtEl>
                                        <p:attrNameLst>
                                          <p:attrName>ppt_x</p:attrName>
                                          <p:attrName>ppt_y</p:attrName>
                                        </p:attrNameLst>
                                      </p:cBhvr>
                                      <p:rCtr x="1198" y="0"/>
                                    </p:animMotion>
                                  </p:childTnLst>
                                </p:cTn>
                              </p:par>
                              <p:par>
                                <p:cTn id="18" presetID="2" presetClass="entr" presetSubtype="2" decel="100000" fill="hold" grpId="0" nodeType="withEffect">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cBhvr additive="base">
                                        <p:cTn id="20" dur="850" fill="hold"/>
                                        <p:tgtEl>
                                          <p:spTgt spid="8"/>
                                        </p:tgtEl>
                                        <p:attrNameLst>
                                          <p:attrName>ppt_x</p:attrName>
                                        </p:attrNameLst>
                                      </p:cBhvr>
                                      <p:tavLst>
                                        <p:tav tm="0">
                                          <p:val>
                                            <p:strVal val="1+#ppt_w/2"/>
                                          </p:val>
                                        </p:tav>
                                        <p:tav tm="100000">
                                          <p:val>
                                            <p:strVal val="#ppt_x"/>
                                          </p:val>
                                        </p:tav>
                                      </p:tavLst>
                                    </p:anim>
                                    <p:anim calcmode="lin" valueType="num">
                                      <p:cBhvr additive="base">
                                        <p:cTn id="21" dur="850" fill="hold"/>
                                        <p:tgtEl>
                                          <p:spTgt spid="8"/>
                                        </p:tgtEl>
                                        <p:attrNameLst>
                                          <p:attrName>ppt_y</p:attrName>
                                        </p:attrNameLst>
                                      </p:cBhvr>
                                      <p:tavLst>
                                        <p:tav tm="0">
                                          <p:val>
                                            <p:strVal val="#ppt_y"/>
                                          </p:val>
                                        </p:tav>
                                        <p:tav tm="100000">
                                          <p:val>
                                            <p:strVal val="#ppt_y"/>
                                          </p:val>
                                        </p:tav>
                                      </p:tavLst>
                                    </p:anim>
                                  </p:childTnLst>
                                </p:cTn>
                              </p:par>
                              <p:par>
                                <p:cTn id="22" presetID="2" presetClass="entr" presetSubtype="2" decel="100000" fill="hold" grpId="0" nodeType="withEffect">
                                  <p:stCondLst>
                                    <p:cond delay="250"/>
                                  </p:stCondLst>
                                  <p:childTnLst>
                                    <p:set>
                                      <p:cBhvr>
                                        <p:cTn id="23" dur="1" fill="hold">
                                          <p:stCondLst>
                                            <p:cond delay="0"/>
                                          </p:stCondLst>
                                        </p:cTn>
                                        <p:tgtEl>
                                          <p:spTgt spid="10"/>
                                        </p:tgtEl>
                                        <p:attrNameLst>
                                          <p:attrName>style.visibility</p:attrName>
                                        </p:attrNameLst>
                                      </p:cBhvr>
                                      <p:to>
                                        <p:strVal val="visible"/>
                                      </p:to>
                                    </p:set>
                                    <p:anim calcmode="lin" valueType="num">
                                      <p:cBhvr additive="base">
                                        <p:cTn id="24" dur="850" fill="hold"/>
                                        <p:tgtEl>
                                          <p:spTgt spid="10"/>
                                        </p:tgtEl>
                                        <p:attrNameLst>
                                          <p:attrName>ppt_x</p:attrName>
                                        </p:attrNameLst>
                                      </p:cBhvr>
                                      <p:tavLst>
                                        <p:tav tm="0">
                                          <p:val>
                                            <p:strVal val="1+#ppt_w/2"/>
                                          </p:val>
                                        </p:tav>
                                        <p:tav tm="100000">
                                          <p:val>
                                            <p:strVal val="#ppt_x"/>
                                          </p:val>
                                        </p:tav>
                                      </p:tavLst>
                                    </p:anim>
                                    <p:anim calcmode="lin" valueType="num">
                                      <p:cBhvr additive="base">
                                        <p:cTn id="25" dur="850" fill="hold"/>
                                        <p:tgtEl>
                                          <p:spTgt spid="10"/>
                                        </p:tgtEl>
                                        <p:attrNameLst>
                                          <p:attrName>ppt_y</p:attrName>
                                        </p:attrNameLst>
                                      </p:cBhvr>
                                      <p:tavLst>
                                        <p:tav tm="0">
                                          <p:val>
                                            <p:strVal val="#ppt_y"/>
                                          </p:val>
                                        </p:tav>
                                        <p:tav tm="100000">
                                          <p:val>
                                            <p:strVal val="#ppt_y"/>
                                          </p:val>
                                        </p:tav>
                                      </p:tavLst>
                                    </p:anim>
                                  </p:childTnLst>
                                </p:cTn>
                              </p:par>
                              <p:par>
                                <p:cTn id="26" presetID="2" presetClass="entr" presetSubtype="8" decel="100000" fill="hold" grpId="0" nodeType="withEffect">
                                  <p:stCondLst>
                                    <p:cond delay="250"/>
                                  </p:stCondLst>
                                  <p:childTnLst>
                                    <p:set>
                                      <p:cBhvr>
                                        <p:cTn id="27" dur="1" fill="hold">
                                          <p:stCondLst>
                                            <p:cond delay="0"/>
                                          </p:stCondLst>
                                        </p:cTn>
                                        <p:tgtEl>
                                          <p:spTgt spid="9"/>
                                        </p:tgtEl>
                                        <p:attrNameLst>
                                          <p:attrName>style.visibility</p:attrName>
                                        </p:attrNameLst>
                                      </p:cBhvr>
                                      <p:to>
                                        <p:strVal val="visible"/>
                                      </p:to>
                                    </p:set>
                                    <p:anim calcmode="lin" valueType="num">
                                      <p:cBhvr additive="base">
                                        <p:cTn id="28" dur="850" fill="hold"/>
                                        <p:tgtEl>
                                          <p:spTgt spid="9"/>
                                        </p:tgtEl>
                                        <p:attrNameLst>
                                          <p:attrName>ppt_x</p:attrName>
                                        </p:attrNameLst>
                                      </p:cBhvr>
                                      <p:tavLst>
                                        <p:tav tm="0">
                                          <p:val>
                                            <p:strVal val="0-#ppt_w/2"/>
                                          </p:val>
                                        </p:tav>
                                        <p:tav tm="100000">
                                          <p:val>
                                            <p:strVal val="#ppt_x"/>
                                          </p:val>
                                        </p:tav>
                                      </p:tavLst>
                                    </p:anim>
                                    <p:anim calcmode="lin" valueType="num">
                                      <p:cBhvr additive="base">
                                        <p:cTn id="29" dur="85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animBg="1"/>
      <p:bldP spid="6" grpId="0" animBg="1"/>
      <p:bldP spid="8" grpId="0" animBg="1"/>
      <p:bldP spid="9" grpId="0" animBg="1"/>
      <p:bldP spid="10" grpId="0" animBg="1"/>
    </p:bldLst>
  </p:timing>
</p:sldLayout>
</file>

<file path=ppt/slideLayouts/slideLayout376.xml><?xml version="1.0" encoding="utf-8"?>
<p:sldLayout xmlns:a="http://schemas.openxmlformats.org/drawingml/2006/main" xmlns:r="http://schemas.openxmlformats.org/officeDocument/2006/relationships" xmlns:p="http://schemas.openxmlformats.org/presentationml/2006/main" type="blank">
  <p:cSld name="5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7982" y="6356352"/>
            <a:ext cx="2742486" cy="365125"/>
          </a:xfrm>
          <a:prstGeom prst="rect">
            <a:avLst/>
          </a:prstGeom>
        </p:spPr>
        <p:txBody>
          <a:bodyPr/>
          <a:lstStyle/>
          <a:p>
            <a:pPr defTabSz="914180"/>
            <a:fld id="{FE747D4A-C71D-4D92-BEB1-B6EC108D2AC6}" type="datetimeFigureOut">
              <a:rPr lang="en-US" smtClean="0">
                <a:solidFill>
                  <a:prstClr val="black">
                    <a:tint val="75000"/>
                  </a:prstClr>
                </a:solidFill>
              </a:rPr>
              <a:pPr defTabSz="914180"/>
              <a:t>2/9/2015</a:t>
            </a:fld>
            <a:endParaRPr lang="en-US">
              <a:solidFill>
                <a:prstClr val="black">
                  <a:tint val="75000"/>
                </a:prstClr>
              </a:solidFill>
            </a:endParaRPr>
          </a:p>
        </p:txBody>
      </p:sp>
      <p:sp>
        <p:nvSpPr>
          <p:cNvPr id="3" name="Footer Placeholder 2"/>
          <p:cNvSpPr>
            <a:spLocks noGrp="1"/>
          </p:cNvSpPr>
          <p:nvPr>
            <p:ph type="ftr" sz="quarter" idx="11"/>
          </p:nvPr>
        </p:nvSpPr>
        <p:spPr>
          <a:xfrm>
            <a:off x="4037549" y="6356352"/>
            <a:ext cx="4113728" cy="365125"/>
          </a:xfrm>
          <a:prstGeom prst="rect">
            <a:avLst/>
          </a:prstGeom>
        </p:spPr>
        <p:txBody>
          <a:bodyPr/>
          <a:lstStyle/>
          <a:p>
            <a:pPr defTabSz="914180"/>
            <a:endParaRPr lang="en-US">
              <a:solidFill>
                <a:prstClr val="black">
                  <a:tint val="75000"/>
                </a:prstClr>
              </a:solidFill>
            </a:endParaRPr>
          </a:p>
        </p:txBody>
      </p:sp>
      <p:sp>
        <p:nvSpPr>
          <p:cNvPr id="4" name="Slide Number Placeholder 3"/>
          <p:cNvSpPr>
            <a:spLocks noGrp="1"/>
          </p:cNvSpPr>
          <p:nvPr>
            <p:ph type="sldNum" sz="quarter" idx="12"/>
          </p:nvPr>
        </p:nvSpPr>
        <p:spPr>
          <a:xfrm>
            <a:off x="8608358" y="6356352"/>
            <a:ext cx="2742486" cy="365125"/>
          </a:xfrm>
          <a:prstGeom prst="rect">
            <a:avLst/>
          </a:prstGeom>
        </p:spPr>
        <p:txBody>
          <a:bodyPr/>
          <a:lstStyle/>
          <a:p>
            <a:pPr defTabSz="914180"/>
            <a:fld id="{3A9B8C51-E985-4E84-8727-C4FD0F397338}" type="slidenum">
              <a:rPr lang="en-US" smtClean="0">
                <a:solidFill>
                  <a:prstClr val="black">
                    <a:tint val="75000"/>
                  </a:prstClr>
                </a:solidFill>
              </a:rPr>
              <a:pPr defTabSz="914180"/>
              <a:t>‹#›</a:t>
            </a:fld>
            <a:endParaRPr lang="en-US">
              <a:solidFill>
                <a:prstClr val="black">
                  <a:tint val="75000"/>
                </a:prstClr>
              </a:solidFill>
            </a:endParaRPr>
          </a:p>
        </p:txBody>
      </p:sp>
      <p:sp>
        <p:nvSpPr>
          <p:cNvPr id="8" name="Rectangle 7"/>
          <p:cNvSpPr/>
          <p:nvPr userDrawn="1"/>
        </p:nvSpPr>
        <p:spPr>
          <a:xfrm>
            <a:off x="0" y="0"/>
            <a:ext cx="12188825" cy="6858000"/>
          </a:xfrm>
          <a:prstGeom prst="rect">
            <a:avLst/>
          </a:prstGeom>
          <a:solidFill>
            <a:srgbClr val="7DBF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4021"/>
            <a:endParaRPr lang="en-US" sz="2166">
              <a:solidFill>
                <a:prstClr val="white"/>
              </a:solidFill>
            </a:endParaRPr>
          </a:p>
        </p:txBody>
      </p:sp>
    </p:spTree>
    <p:extLst>
      <p:ext uri="{BB962C8B-B14F-4D97-AF65-F5344CB8AC3E}">
        <p14:creationId xmlns:p14="http://schemas.microsoft.com/office/powerpoint/2010/main" val="457487144"/>
      </p:ext>
    </p:extLst>
  </p:cSld>
  <p:clrMapOvr>
    <a:masterClrMapping/>
  </p:clrMapOvr>
  <p:timing>
    <p:tnLst>
      <p:par>
        <p:cTn id="1" dur="indefinite" restart="never" nodeType="tmRoot"/>
      </p:par>
    </p:tnLst>
  </p:timing>
</p:sldLayout>
</file>

<file path=ppt/slideLayouts/slideLayout377.xml><?xml version="1.0" encoding="utf-8"?>
<p:sldLayout xmlns:a="http://schemas.openxmlformats.org/drawingml/2006/main" xmlns:r="http://schemas.openxmlformats.org/officeDocument/2006/relationships" xmlns:p="http://schemas.openxmlformats.org/presentationml/2006/main" showMasterSp="0" userDrawn="1">
  <p:cSld name="Divider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4" y="2819605"/>
            <a:ext cx="11149013" cy="1218795"/>
          </a:xfrm>
        </p:spPr>
        <p:txBody>
          <a:bodyPr anchor="b" anchorCtr="0"/>
          <a:lstStyle>
            <a:lvl1pPr>
              <a:defRPr sz="8796" spc="-300" baseline="0">
                <a:gradFill>
                  <a:gsLst>
                    <a:gs pos="100000">
                      <a:schemeClr val="bg1"/>
                    </a:gs>
                    <a:gs pos="0">
                      <a:schemeClr val="bg1"/>
                    </a:gs>
                  </a:gsLst>
                  <a:lin ang="5400000" scaled="0"/>
                </a:gradFill>
              </a:defRPr>
            </a:lvl1pPr>
          </a:lstStyle>
          <a:p>
            <a:r>
              <a:rPr lang="en-US" dirty="0" smtClean="0"/>
              <a:t>Click to edit title style</a:t>
            </a:r>
            <a:endParaRPr lang="en-US" dirty="0"/>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394860" y="6199261"/>
            <a:ext cx="1516869" cy="399979"/>
          </a:xfrm>
          <a:prstGeom prst="rect">
            <a:avLst/>
          </a:prstGeom>
        </p:spPr>
      </p:pic>
    </p:spTree>
    <p:extLst>
      <p:ext uri="{BB962C8B-B14F-4D97-AF65-F5344CB8AC3E}">
        <p14:creationId xmlns:p14="http://schemas.microsoft.com/office/powerpoint/2010/main" val="2973765729"/>
      </p:ext>
    </p:extLst>
  </p:cSld>
  <p:clrMapOvr>
    <a:masterClrMapping/>
  </p:clrMapOvr>
  <p:transition>
    <p:fade/>
  </p:transition>
  <p:timing>
    <p:tnLst>
      <p:par>
        <p:cTn id="1" dur="indefinite" restart="never" nodeType="tmRoot"/>
      </p:par>
    </p:tnLst>
  </p:timing>
</p:sldLayout>
</file>

<file path=ppt/slideLayouts/slideLayout378.xml><?xml version="1.0" encoding="utf-8"?>
<p:sldLayout xmlns:a="http://schemas.openxmlformats.org/drawingml/2006/main" xmlns:r="http://schemas.openxmlformats.org/officeDocument/2006/relationships" xmlns:p="http://schemas.openxmlformats.org/presentationml/2006/main"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114" y="228600"/>
            <a:ext cx="11149013" cy="747897"/>
          </a:xfrm>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4" y="1447799"/>
            <a:ext cx="11149013" cy="2195686"/>
          </a:xfrm>
          <a:prstGeom prst="rect">
            <a:avLst/>
          </a:prstGeom>
        </p:spPr>
        <p:txBody>
          <a:bodyPr/>
          <a:lstStyle>
            <a:lvl1pPr marL="283997" indent="-283997">
              <a:buFont typeface="Wingdings" pitchFamily="2" charset="2"/>
              <a:buChar char=""/>
              <a:defRPr sz="3999"/>
            </a:lvl1pPr>
            <a:lvl2pPr marL="517221" indent="-233226">
              <a:buFont typeface="Wingdings" pitchFamily="2" charset="2"/>
              <a:buChar char=""/>
              <a:defRPr>
                <a:latin typeface="+mn-lt"/>
              </a:defRPr>
            </a:lvl2pPr>
            <a:lvl3pPr marL="740927" indent="-223707">
              <a:buFont typeface="Wingdings" pitchFamily="2" charset="2"/>
              <a:buChar char=""/>
              <a:tabLst/>
              <a:defRPr>
                <a:latin typeface="+mn-lt"/>
              </a:defRPr>
            </a:lvl3pPr>
            <a:lvl4pPr marL="913863" indent="-172936">
              <a:buFont typeface="Wingdings" pitchFamily="2" charset="2"/>
              <a:buChar char=""/>
              <a:defRPr>
                <a:latin typeface="+mn-lt"/>
              </a:defRPr>
            </a:lvl4pPr>
            <a:lvl5pPr marL="1086799" indent="-172936">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Slide Number Placeholder 9"/>
          <p:cNvSpPr>
            <a:spLocks noGrp="1"/>
          </p:cNvSpPr>
          <p:nvPr>
            <p:ph type="sldNum" sz="quarter" idx="12"/>
          </p:nvPr>
        </p:nvSpPr>
        <p:spPr>
          <a:xfrm>
            <a:off x="11770292" y="6641646"/>
            <a:ext cx="399640" cy="216356"/>
          </a:xfrm>
          <a:prstGeom prst="rect">
            <a:avLst/>
          </a:prstGeom>
        </p:spPr>
        <p:txBody>
          <a:bodyPr lIns="121899" tIns="60949" rIns="121899" bIns="60949" anchor="ctr"/>
          <a:lstStyle>
            <a:lvl1pPr algn="l">
              <a:defRPr sz="784">
                <a:gradFill>
                  <a:gsLst>
                    <a:gs pos="100000">
                      <a:schemeClr val="bg2"/>
                    </a:gs>
                    <a:gs pos="0">
                      <a:schemeClr val="bg2"/>
                    </a:gs>
                  </a:gsLst>
                  <a:lin ang="5400000" scaled="0"/>
                </a:gradFill>
              </a:defRPr>
            </a:lvl1pPr>
          </a:lstStyle>
          <a:p>
            <a:pPr defTabSz="913826"/>
            <a:fld id="{727B4C2D-45E2-4621-8491-2995EB46A674}" type="slidenum">
              <a:rPr lang="en-US" smtClean="0">
                <a:gradFill>
                  <a:gsLst>
                    <a:gs pos="100000">
                      <a:srgbClr val="797A7D"/>
                    </a:gs>
                    <a:gs pos="0">
                      <a:srgbClr val="797A7D"/>
                    </a:gs>
                  </a:gsLst>
                  <a:lin ang="5400000" scaled="0"/>
                </a:gradFill>
              </a:rPr>
              <a:pPr defTabSz="913826"/>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291122646"/>
      </p:ext>
    </p:extLst>
  </p:cSld>
  <p:clrMapOvr>
    <a:masterClrMapping/>
  </p:clrMapOvr>
  <p:transition>
    <p:fade/>
  </p:transition>
  <p:timing>
    <p:tnLst>
      <p:par>
        <p:cTn id="1" dur="indefinite" restart="never" nodeType="tmRoot"/>
      </p:par>
    </p:tnLst>
  </p:timing>
</p:sldLayout>
</file>

<file path=ppt/slideLayouts/slideLayout379.xml><?xml version="1.0" encoding="utf-8"?>
<p:sldLayout xmlns:a="http://schemas.openxmlformats.org/drawingml/2006/main" xmlns:r="http://schemas.openxmlformats.org/officeDocument/2006/relationships" xmlns:p="http://schemas.openxmlformats.org/presentationml/2006/main" userDrawn="1">
  <p:cSld name="Title &amp; Content Layout">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269169" y="1187620"/>
            <a:ext cx="11650488" cy="21875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90524088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Punchy Slide Blue">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a:prstGeom prst="rect">
            <a:avLst/>
          </a:prstGeo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3312" y="6014913"/>
            <a:ext cx="1738860" cy="815899"/>
          </a:xfrm>
          <a:prstGeom prst="rect">
            <a:avLst/>
          </a:prstGeom>
        </p:spPr>
      </p:pic>
    </p:spTree>
    <p:extLst>
      <p:ext uri="{BB962C8B-B14F-4D97-AF65-F5344CB8AC3E}">
        <p14:creationId xmlns:p14="http://schemas.microsoft.com/office/powerpoint/2010/main" val="1071124730"/>
      </p:ext>
    </p:extLst>
  </p:cSld>
  <p:clrMapOvr>
    <a:masterClrMapping/>
  </p:clrMapOvr>
  <p:transition>
    <p:fade/>
  </p:transition>
  <p:timing>
    <p:tnLst>
      <p:par>
        <p:cTn id="1" dur="indefinite" restart="never" nodeType="tmRoot"/>
      </p:par>
    </p:tnLst>
  </p:timing>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313"/>
            <a:ext cx="12188826" cy="6858313"/>
          </a:xfrm>
          <a:prstGeom prst="rect">
            <a:avLst/>
          </a:prstGeom>
        </p:spPr>
      </p:pic>
      <p:grpSp>
        <p:nvGrpSpPr>
          <p:cNvPr id="9" name="Group 8"/>
          <p:cNvGrpSpPr/>
          <p:nvPr userDrawn="1"/>
        </p:nvGrpSpPr>
        <p:grpSpPr bwMode="gray">
          <a:xfrm>
            <a:off x="269169" y="2084172"/>
            <a:ext cx="4480957" cy="4482760"/>
            <a:chOff x="274638" y="2125663"/>
            <a:chExt cx="4572000" cy="4572000"/>
          </a:xfrm>
        </p:grpSpPr>
        <p:sp>
          <p:nvSpPr>
            <p:cNvPr id="10" name="Rectangle 9"/>
            <p:cNvSpPr/>
            <p:nvPr userDrawn="1"/>
          </p:nvSpPr>
          <p:spPr bwMode="gray">
            <a:xfrm>
              <a:off x="274638" y="2125663"/>
              <a:ext cx="4572000" cy="4572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77295" y="2857189"/>
              <a:ext cx="3590428" cy="3657600"/>
            </a:xfrm>
            <a:prstGeom prst="rect">
              <a:avLst/>
            </a:prstGeom>
          </p:spPr>
        </p:pic>
      </p:grpSp>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gray">
          <a:xfrm>
            <a:off x="10218723" y="480789"/>
            <a:ext cx="1522007" cy="326167"/>
          </a:xfrm>
          <a:prstGeom prst="rect">
            <a:avLst/>
          </a:prstGeom>
        </p:spPr>
      </p:pic>
    </p:spTree>
    <p:extLst>
      <p:ext uri="{BB962C8B-B14F-4D97-AF65-F5344CB8AC3E}">
        <p14:creationId xmlns:p14="http://schemas.microsoft.com/office/powerpoint/2010/main" val="3813241616"/>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12188825" cy="6858000"/>
          </a:xfrm>
          <a:prstGeom prst="rect">
            <a:avLst/>
          </a:prstGeom>
        </p:spPr>
      </p:pic>
      <p:sp>
        <p:nvSpPr>
          <p:cNvPr id="18" name="Rectangle 17"/>
          <p:cNvSpPr/>
          <p:nvPr userDrawn="1"/>
        </p:nvSpPr>
        <p:spPr bwMode="gray">
          <a:xfrm>
            <a:off x="269169" y="2995667"/>
            <a:ext cx="6273340" cy="3586208"/>
          </a:xfrm>
          <a:prstGeom prst="rect">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13" y="2980724"/>
            <a:ext cx="6274896" cy="2062069"/>
          </a:xfrm>
          <a:noFill/>
        </p:spPr>
        <p:txBody>
          <a:bodyPr vert="horz" wrap="square" lIns="146304" tIns="91440" rIns="146304" bIns="91440" rtlCol="0" anchor="t" anchorCtr="0">
            <a:noAutofit/>
          </a:bodyPr>
          <a:lstStyle>
            <a:lvl1pPr>
              <a:defRPr lang="en-US" sz="5881"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169" y="5042795"/>
            <a:ext cx="6273340" cy="1524136"/>
          </a:xfrm>
        </p:spPr>
        <p:txBody>
          <a:bodyPr tIns="109728" bIns="109728">
            <a:noAutofit/>
          </a:bodyPr>
          <a:lstStyle>
            <a:lvl1pPr marL="0" indent="0">
              <a:spcBef>
                <a:spcPts val="0"/>
              </a:spcBef>
              <a:buNone/>
              <a:defRPr sz="3136">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63285" y="473036"/>
            <a:ext cx="1522007" cy="326167"/>
          </a:xfrm>
          <a:prstGeom prst="rect">
            <a:avLst/>
          </a:prstGeom>
        </p:spPr>
      </p:pic>
      <p:grpSp>
        <p:nvGrpSpPr>
          <p:cNvPr id="10" name="Group 9"/>
          <p:cNvGrpSpPr/>
          <p:nvPr userDrawn="1"/>
        </p:nvGrpSpPr>
        <p:grpSpPr bwMode="gray">
          <a:xfrm>
            <a:off x="6542509" y="3892219"/>
            <a:ext cx="2688574" cy="2689656"/>
            <a:chOff x="274638" y="2125663"/>
            <a:chExt cx="4572000" cy="4572000"/>
          </a:xfrm>
        </p:grpSpPr>
        <p:sp>
          <p:nvSpPr>
            <p:cNvPr id="12" name="Rectangle 11"/>
            <p:cNvSpPr/>
            <p:nvPr userDrawn="1"/>
          </p:nvSpPr>
          <p:spPr bwMode="gray">
            <a:xfrm>
              <a:off x="274638" y="2125663"/>
              <a:ext cx="4572000" cy="4572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gray">
            <a:xfrm>
              <a:off x="578908" y="3015191"/>
              <a:ext cx="3607150" cy="3352800"/>
            </a:xfrm>
            <a:prstGeom prst="rect">
              <a:avLst/>
            </a:prstGeom>
          </p:spPr>
        </p:pic>
      </p:grpSp>
    </p:spTree>
    <p:extLst>
      <p:ext uri="{BB962C8B-B14F-4D97-AF65-F5344CB8AC3E}">
        <p14:creationId xmlns:p14="http://schemas.microsoft.com/office/powerpoint/2010/main" val="13458526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l="17070" t="6178" b="23861"/>
          <a:stretch/>
        </p:blipFill>
        <p:spPr>
          <a:xfrm>
            <a:off x="0" y="0"/>
            <a:ext cx="12188826" cy="6858000"/>
          </a:xfrm>
          <a:prstGeom prst="rect">
            <a:avLst/>
          </a:prstGeom>
        </p:spPr>
      </p:pic>
      <p:sp>
        <p:nvSpPr>
          <p:cNvPr id="6" name="Rectangle 5"/>
          <p:cNvSpPr/>
          <p:nvPr userDrawn="1"/>
        </p:nvSpPr>
        <p:spPr bwMode="auto">
          <a:xfrm>
            <a:off x="4750126" y="1186356"/>
            <a:ext cx="7169531" cy="44840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750126" y="1186356"/>
            <a:ext cx="7167975" cy="2697988"/>
          </a:xfrm>
          <a:noFill/>
        </p:spPr>
        <p:txBody>
          <a:bodyPr tIns="91440" bIns="91440" anchor="t" anchorCtr="0"/>
          <a:lstStyle>
            <a:lvl1pPr>
              <a:defRPr sz="7057" spc="-98" baseline="0">
                <a:gradFill>
                  <a:gsLst>
                    <a:gs pos="91241">
                      <a:schemeClr val="tx1"/>
                    </a:gs>
                    <a:gs pos="57000">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4750549" y="3877277"/>
            <a:ext cx="7169108" cy="1793881"/>
          </a:xfrm>
          <a:noFill/>
        </p:spPr>
        <p:txBody>
          <a:bodyPr lIns="182880" tIns="146304" rIns="182880" bIns="146304">
            <a:noAutofit/>
          </a:bodyPr>
          <a:lstStyle>
            <a:lvl1pPr marL="0" indent="0">
              <a:spcBef>
                <a:spcPts val="0"/>
              </a:spcBef>
              <a:buNone/>
              <a:defRPr sz="3528" spc="0" baseline="0">
                <a:gradFill>
                  <a:gsLst>
                    <a:gs pos="91241">
                      <a:schemeClr val="tx1"/>
                    </a:gs>
                    <a:gs pos="57000">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7007173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17070" t="6178" b="23861"/>
          <a:stretch/>
        </p:blipFill>
        <p:spPr>
          <a:xfrm>
            <a:off x="0" y="0"/>
            <a:ext cx="12188826" cy="6858000"/>
          </a:xfrm>
          <a:prstGeom prst="rect">
            <a:avLst/>
          </a:prstGeom>
        </p:spPr>
      </p:pic>
      <p:sp>
        <p:nvSpPr>
          <p:cNvPr id="6" name="Rectangle 5"/>
          <p:cNvSpPr/>
          <p:nvPr userDrawn="1"/>
        </p:nvSpPr>
        <p:spPr bwMode="auto">
          <a:xfrm>
            <a:off x="4750126" y="1186356"/>
            <a:ext cx="7169531" cy="4484025"/>
          </a:xfrm>
          <a:prstGeom prst="rect">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750126" y="1186356"/>
            <a:ext cx="7169530" cy="4484025"/>
          </a:xfrm>
          <a:noFill/>
        </p:spPr>
        <p:txBody>
          <a:bodyPr tIns="91440" bIns="91440" anchor="t" anchorCtr="0"/>
          <a:lstStyle>
            <a:lvl1pPr>
              <a:defRPr sz="7057" spc="-98" baseline="0">
                <a:gradFill>
                  <a:gsLst>
                    <a:gs pos="91241">
                      <a:schemeClr val="tx1"/>
                    </a:gs>
                    <a:gs pos="57000">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4622729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defRPr sz="8625"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78129388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00498929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26944945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80956864"/>
      </p:ext>
    </p:extLst>
  </p:cSld>
  <p:clrMapOvr>
    <a:masterClrMapping/>
  </p:clrMapOvr>
  <p:transition>
    <p:fade/>
  </p:transition>
  <p:timing>
    <p:tnLst>
      <p:par>
        <p:cTn id="1" dur="indefinite" restart="never" nodeType="tmRoot"/>
      </p:par>
    </p:tnLst>
  </p:timing>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33927454"/>
      </p:ext>
    </p:extLst>
  </p:cSld>
  <p:clrMapOvr>
    <a:masterClrMapping/>
  </p:clrMapOvr>
  <p:transition>
    <p:fade/>
  </p:transition>
  <p:timing>
    <p:tnLst>
      <p:par>
        <p:cTn id="1" dur="indefinite" restart="never" nodeType="tmRoot"/>
      </p:par>
    </p:tnLst>
  </p:timing>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882715571"/>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unchy Slide Purple">
    <p:bg>
      <p:bgPr>
        <a:solidFill>
          <a:srgbClr val="68217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a:prstGeom prst="rect">
            <a:avLst/>
          </a:prstGeo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3312" y="6014913"/>
            <a:ext cx="1738860" cy="815899"/>
          </a:xfrm>
          <a:prstGeom prst="rect">
            <a:avLst/>
          </a:prstGeom>
        </p:spPr>
      </p:pic>
    </p:spTree>
    <p:extLst>
      <p:ext uri="{BB962C8B-B14F-4D97-AF65-F5344CB8AC3E}">
        <p14:creationId xmlns:p14="http://schemas.microsoft.com/office/powerpoint/2010/main" val="3609594423"/>
      </p:ext>
    </p:extLst>
  </p:cSld>
  <p:clrMapOvr>
    <a:masterClrMapping/>
  </p:clrMapOvr>
  <p:transition>
    <p:fade/>
  </p:transition>
  <p:timing>
    <p:tnLst>
      <p:par>
        <p:cTn id="1" dur="indefinite" restart="never" nodeType="tmRoot"/>
      </p:par>
    </p:tnLst>
  </p:timing>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894558061"/>
      </p:ext>
    </p:extLst>
  </p:cSld>
  <p:clrMapOvr>
    <a:masterClrMapping/>
  </p:clrMapOvr>
  <p:transition>
    <p:fade/>
  </p:transition>
  <p:timing>
    <p:tnLst>
      <p:par>
        <p:cTn id="1" dur="indefinite" restart="never" nodeType="tmRoot"/>
      </p:par>
    </p:tnLst>
  </p:timing>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17246597"/>
      </p:ext>
    </p:extLst>
  </p:cSld>
  <p:clrMapOvr>
    <a:masterClrMapping/>
  </p:clrMapOvr>
  <p:transition>
    <p:fade/>
  </p:transition>
  <p:timing>
    <p:tnLst>
      <p:par>
        <p:cTn id="1" dur="indefinite" restart="never" nodeType="tmRoot"/>
      </p:par>
    </p:tnLst>
  </p:timing>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5109">
                      <a:schemeClr val="tx2"/>
                    </a:gs>
                    <a:gs pos="2500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100000">
                      <a:schemeClr val="tx2"/>
                    </a:gs>
                    <a:gs pos="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416424"/>
      </p:ext>
    </p:extLst>
  </p:cSld>
  <p:clrMapOvr>
    <a:masterClrMapping/>
  </p:clrMapOvr>
  <p:transition>
    <p:fade/>
  </p:transition>
  <p:timing>
    <p:tnLst>
      <p:par>
        <p:cTn id="1" dur="indefinite" restart="never" nodeType="tmRoot"/>
      </p:par>
    </p:tnLst>
  </p:timing>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17162574"/>
      </p:ext>
    </p:extLst>
  </p:cSld>
  <p:clrMapOvr>
    <a:masterClrMapping/>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33097326"/>
      </p:ext>
    </p:extLst>
  </p:cSld>
  <p:clrMapOvr>
    <a:masterClrMapping/>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50277799"/>
      </p:ext>
    </p:extLst>
  </p:cSld>
  <p:clrMapOvr>
    <a:masterClrMapping/>
  </p:clrMapOvr>
  <p:transition>
    <p:fade/>
  </p:transition>
  <p:timing>
    <p:tnLst>
      <p:par>
        <p:cTn id="1" dur="indefinite" restart="never" nodeType="tmRoot"/>
      </p:par>
    </p:tnLst>
  </p:timing>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6949" y="1187621"/>
            <a:ext cx="11652805" cy="899665"/>
          </a:xfrm>
        </p:spPr>
        <p:txBody>
          <a:bodyPr/>
          <a:lstStyle>
            <a:lvl1pPr>
              <a:defRPr sz="7057" baseline="0"/>
            </a:lvl1pPr>
          </a:lstStyle>
          <a:p>
            <a:r>
              <a:rPr lang="en-US" smtClean="0"/>
              <a:t>Click to edit Master title style</a:t>
            </a:r>
            <a:endParaRPr lang="en-US" dirty="0"/>
          </a:p>
        </p:txBody>
      </p:sp>
    </p:spTree>
    <p:extLst>
      <p:ext uri="{BB962C8B-B14F-4D97-AF65-F5344CB8AC3E}">
        <p14:creationId xmlns:p14="http://schemas.microsoft.com/office/powerpoint/2010/main" val="1593465928"/>
      </p:ext>
    </p:extLst>
  </p:cSld>
  <p:clrMapOvr>
    <a:masterClrMapping/>
  </p:clrMapOvr>
  <p:transition>
    <p:fade/>
  </p:transition>
  <p:timing>
    <p:tnLst>
      <p:par>
        <p:cTn id="1" dur="indefinite" restart="never" nodeType="tmRoot"/>
      </p:par>
    </p:tnLst>
  </p:timing>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4064820067"/>
      </p:ext>
    </p:extLst>
  </p:cSld>
  <p:clrMapOvr>
    <a:masterClrMapping/>
  </p:clrMapOvr>
  <p:transition>
    <p:fade/>
  </p:transition>
  <p:timing>
    <p:tnLst>
      <p:par>
        <p:cTn id="1" dur="indefinite" restart="never" nodeType="tmRoot"/>
      </p:par>
    </p:tnLst>
  </p:timing>
</p:sldLayout>
</file>

<file path=ppt/slideLayouts/slideLayout398.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396848307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1178349"/>
            <a:ext cx="9858104" cy="899665"/>
          </a:xfrm>
        </p:spPr>
        <p:txBody>
          <a:bodyPr/>
          <a:lstStyle>
            <a:lvl1pPr marL="228719" indent="-228719">
              <a:defRPr sz="5881"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5025984"/>
            <a:ext cx="5377148" cy="1050156"/>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3784570888"/>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Content, 2-color, no Bullets">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
        <p:nvSpPr>
          <p:cNvPr id="5" name="Text Placeholder 4"/>
          <p:cNvSpPr>
            <a:spLocks noGrp="1"/>
          </p:cNvSpPr>
          <p:nvPr>
            <p:ph type="body" sz="quarter" idx="10"/>
          </p:nvPr>
        </p:nvSpPr>
        <p:spPr>
          <a:xfrm>
            <a:off x="519112" y="1447799"/>
            <a:ext cx="11149013" cy="1975926"/>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bg2"/>
                    </a:gs>
                    <a:gs pos="6000">
                      <a:schemeClr val="bg2"/>
                    </a:gs>
                  </a:gsLst>
                  <a:lin ang="5400000" scaled="0"/>
                </a:gradFill>
              </a:defRPr>
            </a:lvl2pPr>
            <a:lvl3pPr marL="231775" indent="0">
              <a:buNone/>
              <a:defRPr sz="2000">
                <a:gradFill>
                  <a:gsLst>
                    <a:gs pos="100000">
                      <a:schemeClr val="bg2"/>
                    </a:gs>
                    <a:gs pos="6000">
                      <a:schemeClr val="bg2"/>
                    </a:gs>
                  </a:gsLst>
                  <a:lin ang="5400000" scaled="0"/>
                </a:gradFill>
              </a:defRPr>
            </a:lvl3pPr>
            <a:lvl4pPr marL="457200" indent="0">
              <a:buNone/>
              <a:defRPr sz="2000">
                <a:gradFill>
                  <a:gsLst>
                    <a:gs pos="100000">
                      <a:schemeClr val="bg2"/>
                    </a:gs>
                    <a:gs pos="6000">
                      <a:schemeClr val="bg2"/>
                    </a:gs>
                  </a:gsLst>
                  <a:lin ang="5400000" scaled="0"/>
                </a:gradFill>
              </a:defRPr>
            </a:lvl4pPr>
            <a:lvl5pPr marL="693738" indent="0">
              <a:buNone/>
              <a:defRPr sz="2000">
                <a:gradFill>
                  <a:gsLst>
                    <a:gs pos="100000">
                      <a:schemeClr val="bg2"/>
                    </a:gs>
                    <a:gs pos="6000">
                      <a:schemeClr val="bg2"/>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6"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spTree>
    <p:extLst>
      <p:ext uri="{BB962C8B-B14F-4D97-AF65-F5344CB8AC3E}">
        <p14:creationId xmlns:p14="http://schemas.microsoft.com/office/powerpoint/2010/main" val="2174816850"/>
      </p:ext>
    </p:extLst>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Slide Orange">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6880358"/>
      </p:ext>
    </p:extLst>
  </p:cSld>
  <p:clrMapOvr>
    <a:masterClrMapping/>
  </p:clrMapOvr>
  <p:transition>
    <p:fade/>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1">
            <a:lumMod val="75000"/>
          </a:schemeClr>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2084173"/>
            <a:ext cx="9858104" cy="899665"/>
          </a:xfrm>
        </p:spPr>
        <p:txBody>
          <a:bodyPr/>
          <a:lstStyle>
            <a:lvl1pPr marL="276952" indent="-276952">
              <a:tabLst>
                <a:tab pos="276952" algn="l"/>
              </a:tabLst>
              <a:defRPr sz="5881"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4773813"/>
            <a:ext cx="5377148" cy="1050156"/>
          </a:xfrm>
        </p:spPr>
        <p:txBody>
          <a:bodyPr/>
          <a:lstStyle>
            <a:lvl1pPr marL="0" indent="0">
              <a:spcBef>
                <a:spcPts val="0"/>
              </a:spcBef>
              <a:buNone/>
              <a:defRPr sz="3136"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366793665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49" y="2383023"/>
            <a:ext cx="11650488"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smtClean="0"/>
              <a:t>Click to edit Master text styles</a:t>
            </a:r>
          </a:p>
        </p:txBody>
      </p:sp>
      <p:sp>
        <p:nvSpPr>
          <p:cNvPr id="4" name="Title 1"/>
          <p:cNvSpPr>
            <a:spLocks noGrp="1"/>
          </p:cNvSpPr>
          <p:nvPr>
            <p:ph type="title"/>
          </p:nvPr>
        </p:nvSpPr>
        <p:spPr>
          <a:xfrm>
            <a:off x="276949" y="1187621"/>
            <a:ext cx="11652805" cy="899665"/>
          </a:xfrm>
        </p:spPr>
        <p:txBody>
          <a:bodyPr/>
          <a:lstStyle>
            <a:lvl1pPr>
              <a:defRPr sz="7057"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673790272"/>
      </p:ext>
    </p:extLst>
  </p:cSld>
  <p:clrMapOvr>
    <a:masterClrMapping/>
  </p:clrMapOvr>
  <p:transition>
    <p:fade/>
  </p:transition>
  <p:timing>
    <p:tnLst>
      <p:par>
        <p:cTn id="1" dur="indefinite" restart="never" nodeType="tmRoot"/>
      </p:par>
    </p:tnLst>
  </p:timing>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1" y="1217195"/>
            <a:ext cx="5377147" cy="1763530"/>
          </a:xfrm>
        </p:spPr>
        <p:txBody>
          <a:bodyPr/>
          <a:lstStyle>
            <a:lvl1pPr>
              <a:defRPr sz="646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5968" y="0"/>
            <a:ext cx="6092857"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4011467597"/>
      </p:ext>
    </p:extLst>
  </p:cSld>
  <p:clrMapOvr>
    <a:masterClrMapping/>
  </p:clrMapOvr>
  <p:transition>
    <p:fade/>
  </p:transition>
  <p:timing>
    <p:tnLst>
      <p:par>
        <p:cTn id="1" dur="indefinite" restart="never" nodeType="tmRoot"/>
      </p:par>
    </p:tnLst>
  </p:timing>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542510" y="1217195"/>
            <a:ext cx="5377147" cy="899665"/>
          </a:xfrm>
        </p:spPr>
        <p:txBody>
          <a:bodyPr/>
          <a:lstStyle>
            <a:lvl1pPr>
              <a:defRPr sz="6469"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4" name="Picture Placeholder 4"/>
          <p:cNvSpPr>
            <a:spLocks noGrp="1"/>
          </p:cNvSpPr>
          <p:nvPr>
            <p:ph type="pic" sz="quarter" idx="10"/>
          </p:nvPr>
        </p:nvSpPr>
        <p:spPr bwMode="ltGray">
          <a:xfrm>
            <a:off x="0" y="0"/>
            <a:ext cx="6092857" cy="6852151"/>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2108027527"/>
      </p:ext>
    </p:extLst>
  </p:cSld>
  <p:clrMapOvr>
    <a:masterClrMapping/>
  </p:clrMapOvr>
  <p:transition>
    <p:fade/>
  </p:transition>
  <p:timing>
    <p:tnLst>
      <p:par>
        <p:cTn id="1" dur="indefinite" restart="never" nodeType="tmRoot"/>
      </p:par>
    </p:tnLst>
  </p:timing>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1709664"/>
      </p:ext>
    </p:extLst>
  </p:cSld>
  <p:clrMapOvr>
    <a:masterClrMapping/>
  </p:clrMapOvr>
  <p:transition>
    <p:fade/>
  </p:transition>
  <p:timing>
    <p:tnLst>
      <p:par>
        <p:cTn id="1" dur="indefinite" restart="never" nodeType="tmRoot"/>
      </p:par>
    </p:tnLst>
  </p:timing>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598654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2027670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87725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47285991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09.xml><?xml version="1.0" encoding="utf-8"?>
<p:sldLayout xmlns:a="http://schemas.openxmlformats.org/drawingml/2006/main" xmlns:r="http://schemas.openxmlformats.org/officeDocument/2006/relationships" xmlns:p="http://schemas.openxmlformats.org/presentationml/2006/main" userDrawn="1">
  <p:cSld name="1_Large &amp; Small Content 2">
    <p:spTree>
      <p:nvGrpSpPr>
        <p:cNvPr id="1" name=""/>
        <p:cNvGrpSpPr/>
        <p:nvPr/>
      </p:nvGrpSpPr>
      <p:grpSpPr>
        <a:xfrm>
          <a:off x="0" y="0"/>
          <a:ext cx="0" cy="0"/>
          <a:chOff x="0" y="0"/>
          <a:chExt cx="0" cy="0"/>
        </a:xfrm>
      </p:grpSpPr>
      <p:sp>
        <p:nvSpPr>
          <p:cNvPr id="12" name="Title 11"/>
          <p:cNvSpPr>
            <a:spLocks noGrp="1"/>
          </p:cNvSpPr>
          <p:nvPr>
            <p:ph type="title"/>
          </p:nvPr>
        </p:nvSpPr>
        <p:spPr/>
        <p:txBody>
          <a:bodyPr>
            <a:noAutofit/>
          </a:bodyPr>
          <a:lstStyle>
            <a:lvl1pPr>
              <a:defRPr/>
            </a:lvl1pPr>
          </a:lstStyle>
          <a:p>
            <a:r>
              <a:rPr lang="en-US" smtClean="0"/>
              <a:t>Click to edit Master title style</a:t>
            </a:r>
            <a:endParaRPr lang="en-US" dirty="0"/>
          </a:p>
        </p:txBody>
      </p:sp>
    </p:spTree>
    <p:extLst>
      <p:ext uri="{BB962C8B-B14F-4D97-AF65-F5344CB8AC3E}">
        <p14:creationId xmlns:p14="http://schemas.microsoft.com/office/powerpoint/2010/main" val="4258173068"/>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Slide Green">
    <p:bg>
      <p:bgPr>
        <a:solidFill>
          <a:srgbClr val="00723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2985372"/>
      </p:ext>
    </p:extLst>
  </p:cSld>
  <p:clrMapOvr>
    <a:masterClrMapping/>
  </p:clrMapOvr>
  <p:transition>
    <p:fade/>
  </p:transition>
</p:sldLayout>
</file>

<file path=ppt/slideLayouts/slideLayout410.xml><?xml version="1.0" encoding="utf-8"?>
<p:sldLayout xmlns:a="http://schemas.openxmlformats.org/drawingml/2006/main" xmlns:r="http://schemas.openxmlformats.org/officeDocument/2006/relationships" xmlns:p="http://schemas.openxmlformats.org/presentationml/2006/main" userDrawn="1">
  <p:cSld name="photo_placeholder">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169" y="291068"/>
            <a:ext cx="11650488" cy="6275864"/>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3" name="Picture Placeholder 2"/>
          <p:cNvSpPr>
            <a:spLocks noGrp="1"/>
          </p:cNvSpPr>
          <p:nvPr>
            <p:ph type="pic" sz="quarter" idx="10"/>
          </p:nvPr>
        </p:nvSpPr>
        <p:spPr>
          <a:xfrm>
            <a:off x="448096" y="470067"/>
            <a:ext cx="11292634" cy="727571"/>
          </a:xfrm>
        </p:spPr>
        <p:txBody>
          <a:bodyPr/>
          <a:lstStyle/>
          <a:p>
            <a:endParaRPr lang="en-US"/>
          </a:p>
        </p:txBody>
      </p:sp>
    </p:spTree>
    <p:extLst>
      <p:ext uri="{BB962C8B-B14F-4D97-AF65-F5344CB8AC3E}">
        <p14:creationId xmlns:p14="http://schemas.microsoft.com/office/powerpoint/2010/main" val="4147561086"/>
      </p:ext>
    </p:extLst>
  </p:cSld>
  <p:clrMapOvr>
    <a:masterClrMapping/>
  </p:clrMapOvr>
  <p:transition>
    <p:fade/>
  </p:transition>
  <p:timing>
    <p:tnLst>
      <p:par>
        <p:cTn id="1" dur="indefinite" restart="never" nodeType="tmRoot"/>
      </p:par>
    </p:tnLst>
  </p:timing>
</p:sldLayout>
</file>

<file path=ppt/slideLayouts/slideLayout411.xml><?xml version="1.0" encoding="utf-8"?>
<p:sldLayout xmlns:a="http://schemas.openxmlformats.org/drawingml/2006/main" xmlns:r="http://schemas.openxmlformats.org/officeDocument/2006/relationships" xmlns:p="http://schemas.openxmlformats.org/presentationml/2006/main" userDrawn="1">
  <p:cSld name="Section Title Textur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defRPr sz="8625"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
        <p:nvSpPr>
          <p:cNvPr id="5" name="Rectangle 4"/>
          <p:cNvSpPr/>
          <p:nvPr userDrawn="1"/>
        </p:nvSpPr>
        <p:spPr bwMode="gray">
          <a:xfrm>
            <a:off x="680052" y="470068"/>
            <a:ext cx="3186321" cy="597822"/>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6" name="Rectangle 5"/>
          <p:cNvSpPr/>
          <p:nvPr userDrawn="1"/>
        </p:nvSpPr>
        <p:spPr bwMode="gray">
          <a:xfrm>
            <a:off x="-28047" y="589799"/>
            <a:ext cx="3175520" cy="597822"/>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8" name="Rectangle 7"/>
          <p:cNvSpPr/>
          <p:nvPr userDrawn="1"/>
        </p:nvSpPr>
        <p:spPr bwMode="gray">
          <a:xfrm flipH="1">
            <a:off x="6542508" y="5629606"/>
            <a:ext cx="4989553" cy="413419"/>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9" name="Rectangle 8"/>
          <p:cNvSpPr/>
          <p:nvPr userDrawn="1"/>
        </p:nvSpPr>
        <p:spPr bwMode="gray">
          <a:xfrm flipH="1">
            <a:off x="7289923" y="5795020"/>
            <a:ext cx="4898902" cy="409756"/>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10" name="Rectangle 9"/>
          <p:cNvSpPr/>
          <p:nvPr userDrawn="1"/>
        </p:nvSpPr>
        <p:spPr bwMode="gray">
          <a:xfrm flipH="1">
            <a:off x="7050344" y="6160357"/>
            <a:ext cx="4971785" cy="409756"/>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Tree>
    <p:extLst>
      <p:ext uri="{BB962C8B-B14F-4D97-AF65-F5344CB8AC3E}">
        <p14:creationId xmlns:p14="http://schemas.microsoft.com/office/powerpoint/2010/main" val="13079598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850" fill="hold"/>
                                        <p:tgtEl>
                                          <p:spTgt spid="6"/>
                                        </p:tgtEl>
                                        <p:attrNameLst>
                                          <p:attrName>ppt_x</p:attrName>
                                        </p:attrNameLst>
                                      </p:cBhvr>
                                      <p:tavLst>
                                        <p:tav tm="0">
                                          <p:val>
                                            <p:strVal val="0-#ppt_w/2"/>
                                          </p:val>
                                        </p:tav>
                                        <p:tav tm="100000">
                                          <p:val>
                                            <p:strVal val="#ppt_x"/>
                                          </p:val>
                                        </p:tav>
                                      </p:tavLst>
                                    </p:anim>
                                    <p:anim calcmode="lin" valueType="num">
                                      <p:cBhvr additive="base">
                                        <p:cTn id="8" dur="850" fill="hold"/>
                                        <p:tgtEl>
                                          <p:spTgt spid="6"/>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850" fill="hold"/>
                                        <p:tgtEl>
                                          <p:spTgt spid="5"/>
                                        </p:tgtEl>
                                        <p:attrNameLst>
                                          <p:attrName>ppt_x</p:attrName>
                                        </p:attrNameLst>
                                      </p:cBhvr>
                                      <p:tavLst>
                                        <p:tav tm="0">
                                          <p:val>
                                            <p:strVal val="1+#ppt_w/2"/>
                                          </p:val>
                                        </p:tav>
                                        <p:tav tm="100000">
                                          <p:val>
                                            <p:strVal val="#ppt_x"/>
                                          </p:val>
                                        </p:tav>
                                      </p:tavLst>
                                    </p:anim>
                                    <p:anim calcmode="lin" valueType="num">
                                      <p:cBhvr additive="base">
                                        <p:cTn id="12" dur="850" fill="hold"/>
                                        <p:tgtEl>
                                          <p:spTgt spid="5"/>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58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750"/>
                                        <p:tgtEl>
                                          <p:spTgt spid="2"/>
                                        </p:tgtEl>
                                      </p:cBhvr>
                                    </p:animEffect>
                                  </p:childTnLst>
                                </p:cTn>
                              </p:par>
                              <p:par>
                                <p:cTn id="16" presetID="63" presetClass="path" presetSubtype="0" decel="100000" fill="hold" grpId="1" nodeType="withEffect">
                                  <p:stCondLst>
                                    <p:cond delay="580"/>
                                  </p:stCondLst>
                                  <p:childTnLst>
                                    <p:animMotion origin="layout" path="M -0.02409 1.50289E-6 L -4.16667E-7 1.50289E-6 " pathEditMode="relative" rAng="0" ptsTypes="AA">
                                      <p:cBhvr>
                                        <p:cTn id="17" dur="500" fill="hold"/>
                                        <p:tgtEl>
                                          <p:spTgt spid="2"/>
                                        </p:tgtEl>
                                        <p:attrNameLst>
                                          <p:attrName>ppt_x</p:attrName>
                                          <p:attrName>ppt_y</p:attrName>
                                        </p:attrNameLst>
                                      </p:cBhvr>
                                      <p:rCtr x="1198" y="0"/>
                                    </p:animMotion>
                                  </p:childTnLst>
                                </p:cTn>
                              </p:par>
                              <p:par>
                                <p:cTn id="18" presetID="2" presetClass="entr" presetSubtype="2" decel="100000" fill="hold" grpId="0" nodeType="withEffect">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cBhvr additive="base">
                                        <p:cTn id="20" dur="850" fill="hold"/>
                                        <p:tgtEl>
                                          <p:spTgt spid="8"/>
                                        </p:tgtEl>
                                        <p:attrNameLst>
                                          <p:attrName>ppt_x</p:attrName>
                                        </p:attrNameLst>
                                      </p:cBhvr>
                                      <p:tavLst>
                                        <p:tav tm="0">
                                          <p:val>
                                            <p:strVal val="1+#ppt_w/2"/>
                                          </p:val>
                                        </p:tav>
                                        <p:tav tm="100000">
                                          <p:val>
                                            <p:strVal val="#ppt_x"/>
                                          </p:val>
                                        </p:tav>
                                      </p:tavLst>
                                    </p:anim>
                                    <p:anim calcmode="lin" valueType="num">
                                      <p:cBhvr additive="base">
                                        <p:cTn id="21" dur="850" fill="hold"/>
                                        <p:tgtEl>
                                          <p:spTgt spid="8"/>
                                        </p:tgtEl>
                                        <p:attrNameLst>
                                          <p:attrName>ppt_y</p:attrName>
                                        </p:attrNameLst>
                                      </p:cBhvr>
                                      <p:tavLst>
                                        <p:tav tm="0">
                                          <p:val>
                                            <p:strVal val="#ppt_y"/>
                                          </p:val>
                                        </p:tav>
                                        <p:tav tm="100000">
                                          <p:val>
                                            <p:strVal val="#ppt_y"/>
                                          </p:val>
                                        </p:tav>
                                      </p:tavLst>
                                    </p:anim>
                                  </p:childTnLst>
                                </p:cTn>
                              </p:par>
                              <p:par>
                                <p:cTn id="22" presetID="2" presetClass="entr" presetSubtype="2" decel="100000" fill="hold" grpId="0" nodeType="withEffect">
                                  <p:stCondLst>
                                    <p:cond delay="250"/>
                                  </p:stCondLst>
                                  <p:childTnLst>
                                    <p:set>
                                      <p:cBhvr>
                                        <p:cTn id="23" dur="1" fill="hold">
                                          <p:stCondLst>
                                            <p:cond delay="0"/>
                                          </p:stCondLst>
                                        </p:cTn>
                                        <p:tgtEl>
                                          <p:spTgt spid="10"/>
                                        </p:tgtEl>
                                        <p:attrNameLst>
                                          <p:attrName>style.visibility</p:attrName>
                                        </p:attrNameLst>
                                      </p:cBhvr>
                                      <p:to>
                                        <p:strVal val="visible"/>
                                      </p:to>
                                    </p:set>
                                    <p:anim calcmode="lin" valueType="num">
                                      <p:cBhvr additive="base">
                                        <p:cTn id="24" dur="850" fill="hold"/>
                                        <p:tgtEl>
                                          <p:spTgt spid="10"/>
                                        </p:tgtEl>
                                        <p:attrNameLst>
                                          <p:attrName>ppt_x</p:attrName>
                                        </p:attrNameLst>
                                      </p:cBhvr>
                                      <p:tavLst>
                                        <p:tav tm="0">
                                          <p:val>
                                            <p:strVal val="1+#ppt_w/2"/>
                                          </p:val>
                                        </p:tav>
                                        <p:tav tm="100000">
                                          <p:val>
                                            <p:strVal val="#ppt_x"/>
                                          </p:val>
                                        </p:tav>
                                      </p:tavLst>
                                    </p:anim>
                                    <p:anim calcmode="lin" valueType="num">
                                      <p:cBhvr additive="base">
                                        <p:cTn id="25" dur="850" fill="hold"/>
                                        <p:tgtEl>
                                          <p:spTgt spid="10"/>
                                        </p:tgtEl>
                                        <p:attrNameLst>
                                          <p:attrName>ppt_y</p:attrName>
                                        </p:attrNameLst>
                                      </p:cBhvr>
                                      <p:tavLst>
                                        <p:tav tm="0">
                                          <p:val>
                                            <p:strVal val="#ppt_y"/>
                                          </p:val>
                                        </p:tav>
                                        <p:tav tm="100000">
                                          <p:val>
                                            <p:strVal val="#ppt_y"/>
                                          </p:val>
                                        </p:tav>
                                      </p:tavLst>
                                    </p:anim>
                                  </p:childTnLst>
                                </p:cTn>
                              </p:par>
                              <p:par>
                                <p:cTn id="26" presetID="2" presetClass="entr" presetSubtype="8" decel="100000" fill="hold" grpId="0" nodeType="withEffect">
                                  <p:stCondLst>
                                    <p:cond delay="250"/>
                                  </p:stCondLst>
                                  <p:childTnLst>
                                    <p:set>
                                      <p:cBhvr>
                                        <p:cTn id="27" dur="1" fill="hold">
                                          <p:stCondLst>
                                            <p:cond delay="0"/>
                                          </p:stCondLst>
                                        </p:cTn>
                                        <p:tgtEl>
                                          <p:spTgt spid="9"/>
                                        </p:tgtEl>
                                        <p:attrNameLst>
                                          <p:attrName>style.visibility</p:attrName>
                                        </p:attrNameLst>
                                      </p:cBhvr>
                                      <p:to>
                                        <p:strVal val="visible"/>
                                      </p:to>
                                    </p:set>
                                    <p:anim calcmode="lin" valueType="num">
                                      <p:cBhvr additive="base">
                                        <p:cTn id="28" dur="850" fill="hold"/>
                                        <p:tgtEl>
                                          <p:spTgt spid="9"/>
                                        </p:tgtEl>
                                        <p:attrNameLst>
                                          <p:attrName>ppt_x</p:attrName>
                                        </p:attrNameLst>
                                      </p:cBhvr>
                                      <p:tavLst>
                                        <p:tav tm="0">
                                          <p:val>
                                            <p:strVal val="0-#ppt_w/2"/>
                                          </p:val>
                                        </p:tav>
                                        <p:tav tm="100000">
                                          <p:val>
                                            <p:strVal val="#ppt_x"/>
                                          </p:val>
                                        </p:tav>
                                      </p:tavLst>
                                    </p:anim>
                                    <p:anim calcmode="lin" valueType="num">
                                      <p:cBhvr additive="base">
                                        <p:cTn id="29" dur="85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animBg="1"/>
      <p:bldP spid="6" grpId="0" animBg="1"/>
      <p:bldP spid="8" grpId="0" animBg="1"/>
      <p:bldP spid="9" grpId="0" animBg="1"/>
      <p:bldP spid="10" grpId="0" animBg="1"/>
    </p:bldLst>
  </p:timing>
</p:sldLayout>
</file>

<file path=ppt/slideLayouts/slideLayout412.xml><?xml version="1.0" encoding="utf-8"?>
<p:sldLayout xmlns:a="http://schemas.openxmlformats.org/drawingml/2006/main" xmlns:r="http://schemas.openxmlformats.org/officeDocument/2006/relationships" xmlns:p="http://schemas.openxmlformats.org/presentationml/2006/main" type="blank">
  <p:cSld name="5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7982" y="6356352"/>
            <a:ext cx="2742486" cy="365125"/>
          </a:xfrm>
          <a:prstGeom prst="rect">
            <a:avLst/>
          </a:prstGeom>
        </p:spPr>
        <p:txBody>
          <a:bodyPr/>
          <a:lstStyle/>
          <a:p>
            <a:pPr defTabSz="914180"/>
            <a:fld id="{FE747D4A-C71D-4D92-BEB1-B6EC108D2AC6}" type="datetimeFigureOut">
              <a:rPr lang="en-US" smtClean="0">
                <a:solidFill>
                  <a:prstClr val="black">
                    <a:tint val="75000"/>
                  </a:prstClr>
                </a:solidFill>
              </a:rPr>
              <a:pPr defTabSz="914180"/>
              <a:t>2/9/2015</a:t>
            </a:fld>
            <a:endParaRPr lang="en-US">
              <a:solidFill>
                <a:prstClr val="black">
                  <a:tint val="75000"/>
                </a:prstClr>
              </a:solidFill>
            </a:endParaRPr>
          </a:p>
        </p:txBody>
      </p:sp>
      <p:sp>
        <p:nvSpPr>
          <p:cNvPr id="3" name="Footer Placeholder 2"/>
          <p:cNvSpPr>
            <a:spLocks noGrp="1"/>
          </p:cNvSpPr>
          <p:nvPr>
            <p:ph type="ftr" sz="quarter" idx="11"/>
          </p:nvPr>
        </p:nvSpPr>
        <p:spPr>
          <a:xfrm>
            <a:off x="4037549" y="6356352"/>
            <a:ext cx="4113728" cy="365125"/>
          </a:xfrm>
          <a:prstGeom prst="rect">
            <a:avLst/>
          </a:prstGeom>
        </p:spPr>
        <p:txBody>
          <a:bodyPr/>
          <a:lstStyle/>
          <a:p>
            <a:pPr defTabSz="914180"/>
            <a:endParaRPr lang="en-US">
              <a:solidFill>
                <a:prstClr val="black">
                  <a:tint val="75000"/>
                </a:prstClr>
              </a:solidFill>
            </a:endParaRPr>
          </a:p>
        </p:txBody>
      </p:sp>
      <p:sp>
        <p:nvSpPr>
          <p:cNvPr id="4" name="Slide Number Placeholder 3"/>
          <p:cNvSpPr>
            <a:spLocks noGrp="1"/>
          </p:cNvSpPr>
          <p:nvPr>
            <p:ph type="sldNum" sz="quarter" idx="12"/>
          </p:nvPr>
        </p:nvSpPr>
        <p:spPr>
          <a:xfrm>
            <a:off x="8608358" y="6356352"/>
            <a:ext cx="2742486" cy="365125"/>
          </a:xfrm>
          <a:prstGeom prst="rect">
            <a:avLst/>
          </a:prstGeom>
        </p:spPr>
        <p:txBody>
          <a:bodyPr/>
          <a:lstStyle/>
          <a:p>
            <a:pPr defTabSz="914180"/>
            <a:fld id="{3A9B8C51-E985-4E84-8727-C4FD0F397338}" type="slidenum">
              <a:rPr lang="en-US" smtClean="0">
                <a:solidFill>
                  <a:prstClr val="black">
                    <a:tint val="75000"/>
                  </a:prstClr>
                </a:solidFill>
              </a:rPr>
              <a:pPr defTabSz="914180"/>
              <a:t>‹#›</a:t>
            </a:fld>
            <a:endParaRPr lang="en-US">
              <a:solidFill>
                <a:prstClr val="black">
                  <a:tint val="75000"/>
                </a:prstClr>
              </a:solidFill>
            </a:endParaRPr>
          </a:p>
        </p:txBody>
      </p:sp>
      <p:sp>
        <p:nvSpPr>
          <p:cNvPr id="8" name="Rectangle 7"/>
          <p:cNvSpPr/>
          <p:nvPr userDrawn="1"/>
        </p:nvSpPr>
        <p:spPr>
          <a:xfrm>
            <a:off x="0" y="0"/>
            <a:ext cx="12188825" cy="6858000"/>
          </a:xfrm>
          <a:prstGeom prst="rect">
            <a:avLst/>
          </a:prstGeom>
          <a:solidFill>
            <a:srgbClr val="7DBF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4021"/>
            <a:endParaRPr lang="en-US" sz="2166">
              <a:solidFill>
                <a:prstClr val="white"/>
              </a:solidFill>
            </a:endParaRPr>
          </a:p>
        </p:txBody>
      </p:sp>
    </p:spTree>
    <p:extLst>
      <p:ext uri="{BB962C8B-B14F-4D97-AF65-F5344CB8AC3E}">
        <p14:creationId xmlns:p14="http://schemas.microsoft.com/office/powerpoint/2010/main" val="1033096662"/>
      </p:ext>
    </p:extLst>
  </p:cSld>
  <p:clrMapOvr>
    <a:masterClrMapping/>
  </p:clrMapOvr>
  <p:timing>
    <p:tnLst>
      <p:par>
        <p:cTn id="1" dur="indefinite" restart="never" nodeType="tmRoot"/>
      </p:par>
    </p:tnLst>
  </p:timing>
</p:sldLayout>
</file>

<file path=ppt/slideLayouts/slideLayout413.xml><?xml version="1.0" encoding="utf-8"?>
<p:sldLayout xmlns:a="http://schemas.openxmlformats.org/drawingml/2006/main" xmlns:r="http://schemas.openxmlformats.org/officeDocument/2006/relationships" xmlns:p="http://schemas.openxmlformats.org/presentationml/2006/main" showMasterSp="0" userDrawn="1">
  <p:cSld name="Divider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4" y="2819605"/>
            <a:ext cx="11149013" cy="1218795"/>
          </a:xfrm>
        </p:spPr>
        <p:txBody>
          <a:bodyPr anchor="b" anchorCtr="0"/>
          <a:lstStyle>
            <a:lvl1pPr>
              <a:defRPr sz="8796" spc="-300" baseline="0">
                <a:gradFill>
                  <a:gsLst>
                    <a:gs pos="100000">
                      <a:schemeClr val="bg1"/>
                    </a:gs>
                    <a:gs pos="0">
                      <a:schemeClr val="bg1"/>
                    </a:gs>
                  </a:gsLst>
                  <a:lin ang="5400000" scaled="0"/>
                </a:gradFill>
              </a:defRPr>
            </a:lvl1pPr>
          </a:lstStyle>
          <a:p>
            <a:r>
              <a:rPr lang="en-US" dirty="0" smtClean="0"/>
              <a:t>Click to edit title style</a:t>
            </a:r>
            <a:endParaRPr lang="en-US" dirty="0"/>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394860" y="6199261"/>
            <a:ext cx="1516869" cy="399979"/>
          </a:xfrm>
          <a:prstGeom prst="rect">
            <a:avLst/>
          </a:prstGeom>
        </p:spPr>
      </p:pic>
    </p:spTree>
    <p:extLst>
      <p:ext uri="{BB962C8B-B14F-4D97-AF65-F5344CB8AC3E}">
        <p14:creationId xmlns:p14="http://schemas.microsoft.com/office/powerpoint/2010/main" val="2908914884"/>
      </p:ext>
    </p:extLst>
  </p:cSld>
  <p:clrMapOvr>
    <a:masterClrMapping/>
  </p:clrMapOvr>
  <p:transition>
    <p:fade/>
  </p:transition>
  <p:timing>
    <p:tnLst>
      <p:par>
        <p:cTn id="1" dur="indefinite" restart="never" nodeType="tmRoot"/>
      </p:par>
    </p:tnLst>
  </p:timing>
</p:sldLayout>
</file>

<file path=ppt/slideLayouts/slideLayout414.xml><?xml version="1.0" encoding="utf-8"?>
<p:sldLayout xmlns:a="http://schemas.openxmlformats.org/drawingml/2006/main" xmlns:r="http://schemas.openxmlformats.org/officeDocument/2006/relationships" xmlns:p="http://schemas.openxmlformats.org/presentationml/2006/main"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114" y="228600"/>
            <a:ext cx="11149013" cy="747897"/>
          </a:xfrm>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4" y="1447799"/>
            <a:ext cx="11149013" cy="2195686"/>
          </a:xfrm>
          <a:prstGeom prst="rect">
            <a:avLst/>
          </a:prstGeom>
        </p:spPr>
        <p:txBody>
          <a:bodyPr/>
          <a:lstStyle>
            <a:lvl1pPr marL="283997" indent="-283997">
              <a:buFont typeface="Wingdings" pitchFamily="2" charset="2"/>
              <a:buChar char=""/>
              <a:defRPr sz="3999"/>
            </a:lvl1pPr>
            <a:lvl2pPr marL="517221" indent="-233226">
              <a:buFont typeface="Wingdings" pitchFamily="2" charset="2"/>
              <a:buChar char=""/>
              <a:defRPr>
                <a:latin typeface="+mn-lt"/>
              </a:defRPr>
            </a:lvl2pPr>
            <a:lvl3pPr marL="740927" indent="-223707">
              <a:buFont typeface="Wingdings" pitchFamily="2" charset="2"/>
              <a:buChar char=""/>
              <a:tabLst/>
              <a:defRPr>
                <a:latin typeface="+mn-lt"/>
              </a:defRPr>
            </a:lvl3pPr>
            <a:lvl4pPr marL="913863" indent="-172936">
              <a:buFont typeface="Wingdings" pitchFamily="2" charset="2"/>
              <a:buChar char=""/>
              <a:defRPr>
                <a:latin typeface="+mn-lt"/>
              </a:defRPr>
            </a:lvl4pPr>
            <a:lvl5pPr marL="1086799" indent="-172936">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Slide Number Placeholder 9"/>
          <p:cNvSpPr>
            <a:spLocks noGrp="1"/>
          </p:cNvSpPr>
          <p:nvPr>
            <p:ph type="sldNum" sz="quarter" idx="12"/>
          </p:nvPr>
        </p:nvSpPr>
        <p:spPr>
          <a:xfrm>
            <a:off x="11770292" y="6641646"/>
            <a:ext cx="399640" cy="216356"/>
          </a:xfrm>
          <a:prstGeom prst="rect">
            <a:avLst/>
          </a:prstGeom>
        </p:spPr>
        <p:txBody>
          <a:bodyPr lIns="121899" tIns="60949" rIns="121899" bIns="60949" anchor="ctr"/>
          <a:lstStyle>
            <a:lvl1pPr algn="l">
              <a:defRPr sz="784">
                <a:gradFill>
                  <a:gsLst>
                    <a:gs pos="100000">
                      <a:schemeClr val="bg2"/>
                    </a:gs>
                    <a:gs pos="0">
                      <a:schemeClr val="bg2"/>
                    </a:gs>
                  </a:gsLst>
                  <a:lin ang="5400000" scaled="0"/>
                </a:gradFill>
              </a:defRPr>
            </a:lvl1pPr>
          </a:lstStyle>
          <a:p>
            <a:pPr defTabSz="913826"/>
            <a:fld id="{727B4C2D-45E2-4621-8491-2995EB46A674}" type="slidenum">
              <a:rPr lang="en-US" smtClean="0">
                <a:gradFill>
                  <a:gsLst>
                    <a:gs pos="100000">
                      <a:srgbClr val="797A7D"/>
                    </a:gs>
                    <a:gs pos="0">
                      <a:srgbClr val="797A7D"/>
                    </a:gs>
                  </a:gsLst>
                  <a:lin ang="5400000" scaled="0"/>
                </a:gradFill>
              </a:rPr>
              <a:pPr defTabSz="913826"/>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771329017"/>
      </p:ext>
    </p:extLst>
  </p:cSld>
  <p:clrMapOvr>
    <a:masterClrMapping/>
  </p:clrMapOvr>
  <p:transition>
    <p:fade/>
  </p:transition>
  <p:timing>
    <p:tnLst>
      <p:par>
        <p:cTn id="1" dur="indefinite" restart="never" nodeType="tmRoot"/>
      </p:par>
    </p:tnLst>
  </p:timing>
</p:sldLayout>
</file>

<file path=ppt/slideLayouts/slideLayout415.xml><?xml version="1.0" encoding="utf-8"?>
<p:sldLayout xmlns:a="http://schemas.openxmlformats.org/drawingml/2006/main" xmlns:r="http://schemas.openxmlformats.org/officeDocument/2006/relationships" xmlns:p="http://schemas.openxmlformats.org/presentationml/2006/main" userDrawn="1">
  <p:cSld name="Title &amp; Content Layout">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269169" y="1187620"/>
            <a:ext cx="11650488" cy="21875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60290935"/>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313"/>
            <a:ext cx="12188826" cy="6858313"/>
          </a:xfrm>
          <a:prstGeom prst="rect">
            <a:avLst/>
          </a:prstGeom>
        </p:spPr>
      </p:pic>
      <p:grpSp>
        <p:nvGrpSpPr>
          <p:cNvPr id="9" name="Group 8"/>
          <p:cNvGrpSpPr/>
          <p:nvPr userDrawn="1"/>
        </p:nvGrpSpPr>
        <p:grpSpPr bwMode="gray">
          <a:xfrm>
            <a:off x="269169" y="2084172"/>
            <a:ext cx="4480957" cy="4482760"/>
            <a:chOff x="274638" y="2125663"/>
            <a:chExt cx="4572000" cy="4572000"/>
          </a:xfrm>
        </p:grpSpPr>
        <p:sp>
          <p:nvSpPr>
            <p:cNvPr id="10" name="Rectangle 9"/>
            <p:cNvSpPr/>
            <p:nvPr userDrawn="1"/>
          </p:nvSpPr>
          <p:spPr bwMode="gray">
            <a:xfrm>
              <a:off x="274638" y="2125663"/>
              <a:ext cx="4572000" cy="4572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77295" y="2857189"/>
              <a:ext cx="3590428" cy="3657600"/>
            </a:xfrm>
            <a:prstGeom prst="rect">
              <a:avLst/>
            </a:prstGeom>
          </p:spPr>
        </p:pic>
      </p:grpSp>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gray">
          <a:xfrm>
            <a:off x="10218723" y="480789"/>
            <a:ext cx="1522007" cy="326167"/>
          </a:xfrm>
          <a:prstGeom prst="rect">
            <a:avLst/>
          </a:prstGeom>
        </p:spPr>
      </p:pic>
    </p:spTree>
    <p:extLst>
      <p:ext uri="{BB962C8B-B14F-4D97-AF65-F5344CB8AC3E}">
        <p14:creationId xmlns:p14="http://schemas.microsoft.com/office/powerpoint/2010/main" val="245353462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12188825" cy="6858000"/>
          </a:xfrm>
          <a:prstGeom prst="rect">
            <a:avLst/>
          </a:prstGeom>
        </p:spPr>
      </p:pic>
      <p:sp>
        <p:nvSpPr>
          <p:cNvPr id="18" name="Rectangle 17"/>
          <p:cNvSpPr/>
          <p:nvPr userDrawn="1"/>
        </p:nvSpPr>
        <p:spPr bwMode="gray">
          <a:xfrm>
            <a:off x="269169" y="2995667"/>
            <a:ext cx="6273340" cy="3586208"/>
          </a:xfrm>
          <a:prstGeom prst="rect">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13" y="2980724"/>
            <a:ext cx="6274896" cy="2062069"/>
          </a:xfrm>
          <a:noFill/>
        </p:spPr>
        <p:txBody>
          <a:bodyPr vert="horz" wrap="square" lIns="146304" tIns="91440" rIns="146304" bIns="91440" rtlCol="0" anchor="t" anchorCtr="0">
            <a:noAutofit/>
          </a:bodyPr>
          <a:lstStyle>
            <a:lvl1pPr>
              <a:defRPr lang="en-US" sz="5881"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169" y="5042795"/>
            <a:ext cx="6273340" cy="1524136"/>
          </a:xfrm>
        </p:spPr>
        <p:txBody>
          <a:bodyPr tIns="109728" bIns="109728">
            <a:noAutofit/>
          </a:bodyPr>
          <a:lstStyle>
            <a:lvl1pPr marL="0" indent="0">
              <a:spcBef>
                <a:spcPts val="0"/>
              </a:spcBef>
              <a:buNone/>
              <a:defRPr sz="3136">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63285" y="473036"/>
            <a:ext cx="1522007" cy="326167"/>
          </a:xfrm>
          <a:prstGeom prst="rect">
            <a:avLst/>
          </a:prstGeom>
        </p:spPr>
      </p:pic>
      <p:grpSp>
        <p:nvGrpSpPr>
          <p:cNvPr id="10" name="Group 9"/>
          <p:cNvGrpSpPr/>
          <p:nvPr userDrawn="1"/>
        </p:nvGrpSpPr>
        <p:grpSpPr bwMode="gray">
          <a:xfrm>
            <a:off x="6542509" y="3892219"/>
            <a:ext cx="2688574" cy="2689656"/>
            <a:chOff x="274638" y="2125663"/>
            <a:chExt cx="4572000" cy="4572000"/>
          </a:xfrm>
        </p:grpSpPr>
        <p:sp>
          <p:nvSpPr>
            <p:cNvPr id="12" name="Rectangle 11"/>
            <p:cNvSpPr/>
            <p:nvPr userDrawn="1"/>
          </p:nvSpPr>
          <p:spPr bwMode="gray">
            <a:xfrm>
              <a:off x="274638" y="2125663"/>
              <a:ext cx="4572000" cy="4572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gray">
            <a:xfrm>
              <a:off x="578908" y="3015191"/>
              <a:ext cx="3607150" cy="3352800"/>
            </a:xfrm>
            <a:prstGeom prst="rect">
              <a:avLst/>
            </a:prstGeom>
          </p:spPr>
        </p:pic>
      </p:grpSp>
    </p:spTree>
    <p:extLst>
      <p:ext uri="{BB962C8B-B14F-4D97-AF65-F5344CB8AC3E}">
        <p14:creationId xmlns:p14="http://schemas.microsoft.com/office/powerpoint/2010/main" val="25045443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l="17070" t="6178" b="23861"/>
          <a:stretch/>
        </p:blipFill>
        <p:spPr>
          <a:xfrm>
            <a:off x="0" y="0"/>
            <a:ext cx="12188826" cy="6858000"/>
          </a:xfrm>
          <a:prstGeom prst="rect">
            <a:avLst/>
          </a:prstGeom>
        </p:spPr>
      </p:pic>
      <p:sp>
        <p:nvSpPr>
          <p:cNvPr id="6" name="Rectangle 5"/>
          <p:cNvSpPr/>
          <p:nvPr userDrawn="1"/>
        </p:nvSpPr>
        <p:spPr bwMode="auto">
          <a:xfrm>
            <a:off x="4750126" y="1186356"/>
            <a:ext cx="7169531" cy="44840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750126" y="1186356"/>
            <a:ext cx="7167975" cy="2697988"/>
          </a:xfrm>
          <a:noFill/>
        </p:spPr>
        <p:txBody>
          <a:bodyPr tIns="91440" bIns="91440" anchor="t" anchorCtr="0"/>
          <a:lstStyle>
            <a:lvl1pPr>
              <a:defRPr sz="7057" spc="-98" baseline="0">
                <a:gradFill>
                  <a:gsLst>
                    <a:gs pos="91241">
                      <a:schemeClr val="tx1"/>
                    </a:gs>
                    <a:gs pos="57000">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4750549" y="3877277"/>
            <a:ext cx="7169108" cy="1793881"/>
          </a:xfrm>
          <a:noFill/>
        </p:spPr>
        <p:txBody>
          <a:bodyPr lIns="182880" tIns="146304" rIns="182880" bIns="146304">
            <a:noAutofit/>
          </a:bodyPr>
          <a:lstStyle>
            <a:lvl1pPr marL="0" indent="0">
              <a:spcBef>
                <a:spcPts val="0"/>
              </a:spcBef>
              <a:buNone/>
              <a:defRPr sz="3528" spc="0" baseline="0">
                <a:gradFill>
                  <a:gsLst>
                    <a:gs pos="91241">
                      <a:schemeClr val="tx1"/>
                    </a:gs>
                    <a:gs pos="57000">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4230495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17070" t="6178" b="23861"/>
          <a:stretch/>
        </p:blipFill>
        <p:spPr>
          <a:xfrm>
            <a:off x="0" y="0"/>
            <a:ext cx="12188826" cy="6858000"/>
          </a:xfrm>
          <a:prstGeom prst="rect">
            <a:avLst/>
          </a:prstGeom>
        </p:spPr>
      </p:pic>
      <p:sp>
        <p:nvSpPr>
          <p:cNvPr id="6" name="Rectangle 5"/>
          <p:cNvSpPr/>
          <p:nvPr userDrawn="1"/>
        </p:nvSpPr>
        <p:spPr bwMode="auto">
          <a:xfrm>
            <a:off x="4750126" y="1186356"/>
            <a:ext cx="7169531" cy="4484025"/>
          </a:xfrm>
          <a:prstGeom prst="rect">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750126" y="1186356"/>
            <a:ext cx="7169530" cy="4484025"/>
          </a:xfrm>
          <a:noFill/>
        </p:spPr>
        <p:txBody>
          <a:bodyPr tIns="91440" bIns="91440" anchor="t" anchorCtr="0"/>
          <a:lstStyle>
            <a:lvl1pPr>
              <a:defRPr sz="7057" spc="-98" baseline="0">
                <a:gradFill>
                  <a:gsLst>
                    <a:gs pos="91241">
                      <a:schemeClr val="tx1"/>
                    </a:gs>
                    <a:gs pos="57000">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6023731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Slide Blue">
    <p:bg>
      <p:bgPr>
        <a:solidFill>
          <a:srgbClr val="0018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567518"/>
      </p:ext>
    </p:extLst>
  </p:cSld>
  <p:clrMapOvr>
    <a:masterClrMapping/>
  </p:clrMapOvr>
  <p:transition>
    <p:fade/>
  </p:transition>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defRPr sz="8625"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76232113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92176759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7995398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55440741"/>
      </p:ext>
    </p:extLst>
  </p:cSld>
  <p:clrMapOvr>
    <a:masterClrMapping/>
  </p:clrMapOvr>
  <p:transition>
    <p:fade/>
  </p:transition>
  <p:timing>
    <p:tnLst>
      <p:par>
        <p:cTn id="1" dur="indefinite" restart="never" nodeType="tmRoot"/>
      </p:par>
    </p:tnLst>
  </p:timing>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85094445"/>
      </p:ext>
    </p:extLst>
  </p:cSld>
  <p:clrMapOvr>
    <a:masterClrMapping/>
  </p:clrMapOvr>
  <p:transition>
    <p:fade/>
  </p:transition>
  <p:timing>
    <p:tnLst>
      <p:par>
        <p:cTn id="1" dur="indefinite" restart="never" nodeType="tmRoot"/>
      </p:par>
    </p:tnLst>
  </p:timing>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38595893"/>
      </p:ext>
    </p:extLst>
  </p:cSld>
  <p:clrMapOvr>
    <a:masterClrMapping/>
  </p:clrMapOvr>
  <p:transition>
    <p:fade/>
  </p:transition>
  <p:timing>
    <p:tnLst>
      <p:par>
        <p:cTn id="1" dur="indefinite" restart="never" nodeType="tmRoot"/>
      </p:par>
    </p:tnLst>
  </p:timing>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160830760"/>
      </p:ext>
    </p:extLst>
  </p:cSld>
  <p:clrMapOvr>
    <a:masterClrMapping/>
  </p:clrMapOvr>
  <p:transition>
    <p:fade/>
  </p:transition>
  <p:timing>
    <p:tnLst>
      <p:par>
        <p:cTn id="1" dur="indefinite" restart="never" nodeType="tmRoot"/>
      </p:par>
    </p:tnLst>
  </p:timing>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25092490"/>
      </p:ext>
    </p:extLst>
  </p:cSld>
  <p:clrMapOvr>
    <a:masterClrMapping/>
  </p:clrMapOvr>
  <p:transition>
    <p:fade/>
  </p:transition>
  <p:timing>
    <p:tnLst>
      <p:par>
        <p:cTn id="1" dur="indefinite" restart="never" nodeType="tmRoot"/>
      </p:par>
    </p:tnLst>
  </p:timing>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5109">
                      <a:schemeClr val="tx2"/>
                    </a:gs>
                    <a:gs pos="2500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100000">
                      <a:schemeClr val="tx2"/>
                    </a:gs>
                    <a:gs pos="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73148344"/>
      </p:ext>
    </p:extLst>
  </p:cSld>
  <p:clrMapOvr>
    <a:masterClrMapping/>
  </p:clrMapOvr>
  <p:transition>
    <p:fade/>
  </p:transition>
  <p:timing>
    <p:tnLst>
      <p:par>
        <p:cTn id="1" dur="indefinite" restart="never" nodeType="tmRoot"/>
      </p:par>
    </p:tnLst>
  </p:timing>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11083660"/>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Slide Purple">
    <p:bg>
      <p:bgPr>
        <a:solidFill>
          <a:srgbClr val="68217A"/>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0010790"/>
      </p:ext>
    </p:extLst>
  </p:cSld>
  <p:clrMapOvr>
    <a:masterClrMapping/>
  </p:clrMapOvr>
  <p:transition>
    <p:fade/>
  </p:transition>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92410684"/>
      </p:ext>
    </p:extLst>
  </p:cSld>
  <p:clrMapOvr>
    <a:masterClrMapping/>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937166274"/>
      </p:ext>
    </p:extLst>
  </p:cSld>
  <p:clrMapOvr>
    <a:masterClrMapping/>
  </p:clrMapOvr>
  <p:transition>
    <p:fade/>
  </p:transition>
  <p:timing>
    <p:tnLst>
      <p:par>
        <p:cTn id="1" dur="indefinite" restart="never" nodeType="tmRoot"/>
      </p:par>
    </p:tnLst>
  </p:timing>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6949" y="1187621"/>
            <a:ext cx="11652805" cy="899665"/>
          </a:xfrm>
        </p:spPr>
        <p:txBody>
          <a:bodyPr/>
          <a:lstStyle>
            <a:lvl1pPr>
              <a:defRPr sz="7057" baseline="0"/>
            </a:lvl1pPr>
          </a:lstStyle>
          <a:p>
            <a:r>
              <a:rPr lang="en-US" smtClean="0"/>
              <a:t>Click to edit Master title style</a:t>
            </a:r>
            <a:endParaRPr lang="en-US" dirty="0"/>
          </a:p>
        </p:txBody>
      </p:sp>
    </p:spTree>
    <p:extLst>
      <p:ext uri="{BB962C8B-B14F-4D97-AF65-F5344CB8AC3E}">
        <p14:creationId xmlns:p14="http://schemas.microsoft.com/office/powerpoint/2010/main" val="1136011301"/>
      </p:ext>
    </p:extLst>
  </p:cSld>
  <p:clrMapOvr>
    <a:masterClrMapping/>
  </p:clrMapOvr>
  <p:transition>
    <p:fade/>
  </p:transition>
  <p:timing>
    <p:tnLst>
      <p:par>
        <p:cTn id="1" dur="indefinite" restart="never" nodeType="tmRoot"/>
      </p:par>
    </p:tnLst>
  </p:timing>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2374029165"/>
      </p:ext>
    </p:extLst>
  </p:cSld>
  <p:clrMapOvr>
    <a:masterClrMapping/>
  </p:clrMapOvr>
  <p:transition>
    <p:fade/>
  </p:transition>
  <p:timing>
    <p:tnLst>
      <p:par>
        <p:cTn id="1" dur="indefinite" restart="never" nodeType="tmRoot"/>
      </p:par>
    </p:tnLst>
  </p:timing>
</p:sldLayout>
</file>

<file path=ppt/slideLayouts/slideLayout434.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122296003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1178349"/>
            <a:ext cx="9858104" cy="899665"/>
          </a:xfrm>
        </p:spPr>
        <p:txBody>
          <a:bodyPr/>
          <a:lstStyle>
            <a:lvl1pPr marL="228719" indent="-228719">
              <a:defRPr sz="5881"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5025984"/>
            <a:ext cx="5377148" cy="1050156"/>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2301442518"/>
      </p:ext>
    </p:extLst>
  </p:cSld>
  <p:clrMapOvr>
    <a:masterClrMapping/>
  </p:clrMapOvr>
  <p:transition>
    <p:fade/>
  </p:transition>
  <p:timing>
    <p:tnLst>
      <p:par>
        <p:cTn id="1" dur="indefinite" restart="never" nodeType="tmRoot"/>
      </p:par>
    </p:tnLst>
  </p:timing>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1">
            <a:lumMod val="75000"/>
          </a:schemeClr>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2084173"/>
            <a:ext cx="9858104" cy="899665"/>
          </a:xfrm>
        </p:spPr>
        <p:txBody>
          <a:bodyPr/>
          <a:lstStyle>
            <a:lvl1pPr marL="276952" indent="-276952">
              <a:tabLst>
                <a:tab pos="276952" algn="l"/>
              </a:tabLst>
              <a:defRPr sz="5881"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4773813"/>
            <a:ext cx="5377148" cy="1050156"/>
          </a:xfrm>
        </p:spPr>
        <p:txBody>
          <a:bodyPr/>
          <a:lstStyle>
            <a:lvl1pPr marL="0" indent="0">
              <a:spcBef>
                <a:spcPts val="0"/>
              </a:spcBef>
              <a:buNone/>
              <a:defRPr sz="3136"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48879988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49" y="2383023"/>
            <a:ext cx="11650488"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smtClean="0"/>
              <a:t>Click to edit Master text styles</a:t>
            </a:r>
          </a:p>
        </p:txBody>
      </p:sp>
      <p:sp>
        <p:nvSpPr>
          <p:cNvPr id="4" name="Title 1"/>
          <p:cNvSpPr>
            <a:spLocks noGrp="1"/>
          </p:cNvSpPr>
          <p:nvPr>
            <p:ph type="title"/>
          </p:nvPr>
        </p:nvSpPr>
        <p:spPr>
          <a:xfrm>
            <a:off x="276949" y="1187621"/>
            <a:ext cx="11652805" cy="899665"/>
          </a:xfrm>
        </p:spPr>
        <p:txBody>
          <a:bodyPr/>
          <a:lstStyle>
            <a:lvl1pPr>
              <a:defRPr sz="7057"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878568874"/>
      </p:ext>
    </p:extLst>
  </p:cSld>
  <p:clrMapOvr>
    <a:masterClrMapping/>
  </p:clrMapOvr>
  <p:transition>
    <p:fade/>
  </p:transition>
  <p:timing>
    <p:tnLst>
      <p:par>
        <p:cTn id="1" dur="indefinite" restart="never" nodeType="tmRoot"/>
      </p:par>
    </p:tnLst>
  </p:timing>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1" y="1217195"/>
            <a:ext cx="5377147" cy="1763530"/>
          </a:xfrm>
        </p:spPr>
        <p:txBody>
          <a:bodyPr/>
          <a:lstStyle>
            <a:lvl1pPr>
              <a:defRPr sz="646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5968" y="0"/>
            <a:ext cx="6092857"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3700002911"/>
      </p:ext>
    </p:extLst>
  </p:cSld>
  <p:clrMapOvr>
    <a:masterClrMapping/>
  </p:clrMapOvr>
  <p:transition>
    <p:fade/>
  </p:transition>
  <p:timing>
    <p:tnLst>
      <p:par>
        <p:cTn id="1" dur="indefinite" restart="never" nodeType="tmRoot"/>
      </p:par>
    </p:tnLst>
  </p:timing>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542510" y="1217195"/>
            <a:ext cx="5377147" cy="899665"/>
          </a:xfrm>
        </p:spPr>
        <p:txBody>
          <a:bodyPr/>
          <a:lstStyle>
            <a:lvl1pPr>
              <a:defRPr sz="6469"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4" name="Picture Placeholder 4"/>
          <p:cNvSpPr>
            <a:spLocks noGrp="1"/>
          </p:cNvSpPr>
          <p:nvPr>
            <p:ph type="pic" sz="quarter" idx="10"/>
          </p:nvPr>
        </p:nvSpPr>
        <p:spPr bwMode="ltGray">
          <a:xfrm>
            <a:off x="0" y="0"/>
            <a:ext cx="6092857" cy="6852151"/>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3503610033"/>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170" y="289512"/>
            <a:ext cx="11652805" cy="899665"/>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1814256890"/>
      </p:ext>
    </p:extLst>
  </p:cSld>
  <p:clrMapOvr>
    <a:masterClrMapping/>
  </p:clrMapOvr>
  <p:transition>
    <p:fade/>
  </p:transition>
  <p:timing>
    <p:tnLst>
      <p:par>
        <p:cTn id="1" dur="indefinite" restart="never" nodeType="tmRoot"/>
      </p:par>
    </p:tnLst>
  </p:timing>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8800623"/>
      </p:ext>
    </p:extLst>
  </p:cSld>
  <p:clrMapOvr>
    <a:masterClrMapping/>
  </p:clrMapOvr>
  <p:transition>
    <p:fade/>
  </p:transition>
  <p:timing>
    <p:tnLst>
      <p:par>
        <p:cTn id="1" dur="indefinite" restart="never" nodeType="tmRoot"/>
      </p:par>
    </p:tnLst>
  </p:timing>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0122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316963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834420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28005867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45.xml><?xml version="1.0" encoding="utf-8"?>
<p:sldLayout xmlns:a="http://schemas.openxmlformats.org/drawingml/2006/main" xmlns:r="http://schemas.openxmlformats.org/officeDocument/2006/relationships" xmlns:p="http://schemas.openxmlformats.org/presentationml/2006/main" userDrawn="1">
  <p:cSld name="1_Large &amp; Small Content 2">
    <p:spTree>
      <p:nvGrpSpPr>
        <p:cNvPr id="1" name=""/>
        <p:cNvGrpSpPr/>
        <p:nvPr/>
      </p:nvGrpSpPr>
      <p:grpSpPr>
        <a:xfrm>
          <a:off x="0" y="0"/>
          <a:ext cx="0" cy="0"/>
          <a:chOff x="0" y="0"/>
          <a:chExt cx="0" cy="0"/>
        </a:xfrm>
      </p:grpSpPr>
      <p:sp>
        <p:nvSpPr>
          <p:cNvPr id="12" name="Title 11"/>
          <p:cNvSpPr>
            <a:spLocks noGrp="1"/>
          </p:cNvSpPr>
          <p:nvPr>
            <p:ph type="title"/>
          </p:nvPr>
        </p:nvSpPr>
        <p:spPr/>
        <p:txBody>
          <a:bodyPr>
            <a:noAutofit/>
          </a:bodyPr>
          <a:lstStyle>
            <a:lvl1pPr>
              <a:defRPr/>
            </a:lvl1pPr>
          </a:lstStyle>
          <a:p>
            <a:r>
              <a:rPr lang="en-US" smtClean="0"/>
              <a:t>Click to edit Master title style</a:t>
            </a:r>
            <a:endParaRPr lang="en-US" dirty="0"/>
          </a:p>
        </p:txBody>
      </p:sp>
    </p:spTree>
    <p:extLst>
      <p:ext uri="{BB962C8B-B14F-4D97-AF65-F5344CB8AC3E}">
        <p14:creationId xmlns:p14="http://schemas.microsoft.com/office/powerpoint/2010/main" val="3191130080"/>
      </p:ext>
    </p:extLst>
  </p:cSld>
  <p:clrMapOvr>
    <a:masterClrMapping/>
  </p:clrMapOvr>
  <p:timing>
    <p:tnLst>
      <p:par>
        <p:cTn id="1" dur="indefinite" restart="never" nodeType="tmRoot"/>
      </p:par>
    </p:tnLst>
  </p:timing>
</p:sldLayout>
</file>

<file path=ppt/slideLayouts/slideLayout446.xml><?xml version="1.0" encoding="utf-8"?>
<p:sldLayout xmlns:a="http://schemas.openxmlformats.org/drawingml/2006/main" xmlns:r="http://schemas.openxmlformats.org/officeDocument/2006/relationships" xmlns:p="http://schemas.openxmlformats.org/presentationml/2006/main" userDrawn="1">
  <p:cSld name="photo_placeholder">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169" y="291068"/>
            <a:ext cx="11650488" cy="6275864"/>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3" name="Picture Placeholder 2"/>
          <p:cNvSpPr>
            <a:spLocks noGrp="1"/>
          </p:cNvSpPr>
          <p:nvPr>
            <p:ph type="pic" sz="quarter" idx="10"/>
          </p:nvPr>
        </p:nvSpPr>
        <p:spPr>
          <a:xfrm>
            <a:off x="448096" y="470067"/>
            <a:ext cx="11292634" cy="727571"/>
          </a:xfrm>
        </p:spPr>
        <p:txBody>
          <a:bodyPr/>
          <a:lstStyle/>
          <a:p>
            <a:endParaRPr lang="en-US"/>
          </a:p>
        </p:txBody>
      </p:sp>
    </p:spTree>
    <p:extLst>
      <p:ext uri="{BB962C8B-B14F-4D97-AF65-F5344CB8AC3E}">
        <p14:creationId xmlns:p14="http://schemas.microsoft.com/office/powerpoint/2010/main" val="3710826626"/>
      </p:ext>
    </p:extLst>
  </p:cSld>
  <p:clrMapOvr>
    <a:masterClrMapping/>
  </p:clrMapOvr>
  <p:transition>
    <p:fade/>
  </p:transition>
  <p:timing>
    <p:tnLst>
      <p:par>
        <p:cTn id="1" dur="indefinite" restart="never" nodeType="tmRoot"/>
      </p:par>
    </p:tnLst>
  </p:timing>
</p:sldLayout>
</file>

<file path=ppt/slideLayouts/slideLayout447.xml><?xml version="1.0" encoding="utf-8"?>
<p:sldLayout xmlns:a="http://schemas.openxmlformats.org/drawingml/2006/main" xmlns:r="http://schemas.openxmlformats.org/officeDocument/2006/relationships" xmlns:p="http://schemas.openxmlformats.org/presentationml/2006/main" userDrawn="1">
  <p:cSld name="Section Title Textur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defRPr sz="8625"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
        <p:nvSpPr>
          <p:cNvPr id="5" name="Rectangle 4"/>
          <p:cNvSpPr/>
          <p:nvPr userDrawn="1"/>
        </p:nvSpPr>
        <p:spPr bwMode="gray">
          <a:xfrm>
            <a:off x="680052" y="470068"/>
            <a:ext cx="3186321" cy="597822"/>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6" name="Rectangle 5"/>
          <p:cNvSpPr/>
          <p:nvPr userDrawn="1"/>
        </p:nvSpPr>
        <p:spPr bwMode="gray">
          <a:xfrm>
            <a:off x="-28047" y="589799"/>
            <a:ext cx="3175520" cy="597822"/>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8" name="Rectangle 7"/>
          <p:cNvSpPr/>
          <p:nvPr userDrawn="1"/>
        </p:nvSpPr>
        <p:spPr bwMode="gray">
          <a:xfrm flipH="1">
            <a:off x="6542508" y="5629606"/>
            <a:ext cx="4989553" cy="413419"/>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9" name="Rectangle 8"/>
          <p:cNvSpPr/>
          <p:nvPr userDrawn="1"/>
        </p:nvSpPr>
        <p:spPr bwMode="gray">
          <a:xfrm flipH="1">
            <a:off x="7289923" y="5795020"/>
            <a:ext cx="4898902" cy="409756"/>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10" name="Rectangle 9"/>
          <p:cNvSpPr/>
          <p:nvPr userDrawn="1"/>
        </p:nvSpPr>
        <p:spPr bwMode="gray">
          <a:xfrm flipH="1">
            <a:off x="7050344" y="6160357"/>
            <a:ext cx="4971785" cy="409756"/>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Tree>
    <p:extLst>
      <p:ext uri="{BB962C8B-B14F-4D97-AF65-F5344CB8AC3E}">
        <p14:creationId xmlns:p14="http://schemas.microsoft.com/office/powerpoint/2010/main" val="105706829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850" fill="hold"/>
                                        <p:tgtEl>
                                          <p:spTgt spid="6"/>
                                        </p:tgtEl>
                                        <p:attrNameLst>
                                          <p:attrName>ppt_x</p:attrName>
                                        </p:attrNameLst>
                                      </p:cBhvr>
                                      <p:tavLst>
                                        <p:tav tm="0">
                                          <p:val>
                                            <p:strVal val="0-#ppt_w/2"/>
                                          </p:val>
                                        </p:tav>
                                        <p:tav tm="100000">
                                          <p:val>
                                            <p:strVal val="#ppt_x"/>
                                          </p:val>
                                        </p:tav>
                                      </p:tavLst>
                                    </p:anim>
                                    <p:anim calcmode="lin" valueType="num">
                                      <p:cBhvr additive="base">
                                        <p:cTn id="8" dur="850" fill="hold"/>
                                        <p:tgtEl>
                                          <p:spTgt spid="6"/>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850" fill="hold"/>
                                        <p:tgtEl>
                                          <p:spTgt spid="5"/>
                                        </p:tgtEl>
                                        <p:attrNameLst>
                                          <p:attrName>ppt_x</p:attrName>
                                        </p:attrNameLst>
                                      </p:cBhvr>
                                      <p:tavLst>
                                        <p:tav tm="0">
                                          <p:val>
                                            <p:strVal val="1+#ppt_w/2"/>
                                          </p:val>
                                        </p:tav>
                                        <p:tav tm="100000">
                                          <p:val>
                                            <p:strVal val="#ppt_x"/>
                                          </p:val>
                                        </p:tav>
                                      </p:tavLst>
                                    </p:anim>
                                    <p:anim calcmode="lin" valueType="num">
                                      <p:cBhvr additive="base">
                                        <p:cTn id="12" dur="850" fill="hold"/>
                                        <p:tgtEl>
                                          <p:spTgt spid="5"/>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58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750"/>
                                        <p:tgtEl>
                                          <p:spTgt spid="2"/>
                                        </p:tgtEl>
                                      </p:cBhvr>
                                    </p:animEffect>
                                  </p:childTnLst>
                                </p:cTn>
                              </p:par>
                              <p:par>
                                <p:cTn id="16" presetID="63" presetClass="path" presetSubtype="0" decel="100000" fill="hold" grpId="1" nodeType="withEffect">
                                  <p:stCondLst>
                                    <p:cond delay="580"/>
                                  </p:stCondLst>
                                  <p:childTnLst>
                                    <p:animMotion origin="layout" path="M -0.02409 1.50289E-6 L -4.16667E-7 1.50289E-6 " pathEditMode="relative" rAng="0" ptsTypes="AA">
                                      <p:cBhvr>
                                        <p:cTn id="17" dur="500" fill="hold"/>
                                        <p:tgtEl>
                                          <p:spTgt spid="2"/>
                                        </p:tgtEl>
                                        <p:attrNameLst>
                                          <p:attrName>ppt_x</p:attrName>
                                          <p:attrName>ppt_y</p:attrName>
                                        </p:attrNameLst>
                                      </p:cBhvr>
                                      <p:rCtr x="1198" y="0"/>
                                    </p:animMotion>
                                  </p:childTnLst>
                                </p:cTn>
                              </p:par>
                              <p:par>
                                <p:cTn id="18" presetID="2" presetClass="entr" presetSubtype="2" decel="100000" fill="hold" grpId="0" nodeType="withEffect">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cBhvr additive="base">
                                        <p:cTn id="20" dur="850" fill="hold"/>
                                        <p:tgtEl>
                                          <p:spTgt spid="8"/>
                                        </p:tgtEl>
                                        <p:attrNameLst>
                                          <p:attrName>ppt_x</p:attrName>
                                        </p:attrNameLst>
                                      </p:cBhvr>
                                      <p:tavLst>
                                        <p:tav tm="0">
                                          <p:val>
                                            <p:strVal val="1+#ppt_w/2"/>
                                          </p:val>
                                        </p:tav>
                                        <p:tav tm="100000">
                                          <p:val>
                                            <p:strVal val="#ppt_x"/>
                                          </p:val>
                                        </p:tav>
                                      </p:tavLst>
                                    </p:anim>
                                    <p:anim calcmode="lin" valueType="num">
                                      <p:cBhvr additive="base">
                                        <p:cTn id="21" dur="850" fill="hold"/>
                                        <p:tgtEl>
                                          <p:spTgt spid="8"/>
                                        </p:tgtEl>
                                        <p:attrNameLst>
                                          <p:attrName>ppt_y</p:attrName>
                                        </p:attrNameLst>
                                      </p:cBhvr>
                                      <p:tavLst>
                                        <p:tav tm="0">
                                          <p:val>
                                            <p:strVal val="#ppt_y"/>
                                          </p:val>
                                        </p:tav>
                                        <p:tav tm="100000">
                                          <p:val>
                                            <p:strVal val="#ppt_y"/>
                                          </p:val>
                                        </p:tav>
                                      </p:tavLst>
                                    </p:anim>
                                  </p:childTnLst>
                                </p:cTn>
                              </p:par>
                              <p:par>
                                <p:cTn id="22" presetID="2" presetClass="entr" presetSubtype="2" decel="100000" fill="hold" grpId="0" nodeType="withEffect">
                                  <p:stCondLst>
                                    <p:cond delay="250"/>
                                  </p:stCondLst>
                                  <p:childTnLst>
                                    <p:set>
                                      <p:cBhvr>
                                        <p:cTn id="23" dur="1" fill="hold">
                                          <p:stCondLst>
                                            <p:cond delay="0"/>
                                          </p:stCondLst>
                                        </p:cTn>
                                        <p:tgtEl>
                                          <p:spTgt spid="10"/>
                                        </p:tgtEl>
                                        <p:attrNameLst>
                                          <p:attrName>style.visibility</p:attrName>
                                        </p:attrNameLst>
                                      </p:cBhvr>
                                      <p:to>
                                        <p:strVal val="visible"/>
                                      </p:to>
                                    </p:set>
                                    <p:anim calcmode="lin" valueType="num">
                                      <p:cBhvr additive="base">
                                        <p:cTn id="24" dur="850" fill="hold"/>
                                        <p:tgtEl>
                                          <p:spTgt spid="10"/>
                                        </p:tgtEl>
                                        <p:attrNameLst>
                                          <p:attrName>ppt_x</p:attrName>
                                        </p:attrNameLst>
                                      </p:cBhvr>
                                      <p:tavLst>
                                        <p:tav tm="0">
                                          <p:val>
                                            <p:strVal val="1+#ppt_w/2"/>
                                          </p:val>
                                        </p:tav>
                                        <p:tav tm="100000">
                                          <p:val>
                                            <p:strVal val="#ppt_x"/>
                                          </p:val>
                                        </p:tav>
                                      </p:tavLst>
                                    </p:anim>
                                    <p:anim calcmode="lin" valueType="num">
                                      <p:cBhvr additive="base">
                                        <p:cTn id="25" dur="850" fill="hold"/>
                                        <p:tgtEl>
                                          <p:spTgt spid="10"/>
                                        </p:tgtEl>
                                        <p:attrNameLst>
                                          <p:attrName>ppt_y</p:attrName>
                                        </p:attrNameLst>
                                      </p:cBhvr>
                                      <p:tavLst>
                                        <p:tav tm="0">
                                          <p:val>
                                            <p:strVal val="#ppt_y"/>
                                          </p:val>
                                        </p:tav>
                                        <p:tav tm="100000">
                                          <p:val>
                                            <p:strVal val="#ppt_y"/>
                                          </p:val>
                                        </p:tav>
                                      </p:tavLst>
                                    </p:anim>
                                  </p:childTnLst>
                                </p:cTn>
                              </p:par>
                              <p:par>
                                <p:cTn id="26" presetID="2" presetClass="entr" presetSubtype="8" decel="100000" fill="hold" grpId="0" nodeType="withEffect">
                                  <p:stCondLst>
                                    <p:cond delay="250"/>
                                  </p:stCondLst>
                                  <p:childTnLst>
                                    <p:set>
                                      <p:cBhvr>
                                        <p:cTn id="27" dur="1" fill="hold">
                                          <p:stCondLst>
                                            <p:cond delay="0"/>
                                          </p:stCondLst>
                                        </p:cTn>
                                        <p:tgtEl>
                                          <p:spTgt spid="9"/>
                                        </p:tgtEl>
                                        <p:attrNameLst>
                                          <p:attrName>style.visibility</p:attrName>
                                        </p:attrNameLst>
                                      </p:cBhvr>
                                      <p:to>
                                        <p:strVal val="visible"/>
                                      </p:to>
                                    </p:set>
                                    <p:anim calcmode="lin" valueType="num">
                                      <p:cBhvr additive="base">
                                        <p:cTn id="28" dur="850" fill="hold"/>
                                        <p:tgtEl>
                                          <p:spTgt spid="9"/>
                                        </p:tgtEl>
                                        <p:attrNameLst>
                                          <p:attrName>ppt_x</p:attrName>
                                        </p:attrNameLst>
                                      </p:cBhvr>
                                      <p:tavLst>
                                        <p:tav tm="0">
                                          <p:val>
                                            <p:strVal val="0-#ppt_w/2"/>
                                          </p:val>
                                        </p:tav>
                                        <p:tav tm="100000">
                                          <p:val>
                                            <p:strVal val="#ppt_x"/>
                                          </p:val>
                                        </p:tav>
                                      </p:tavLst>
                                    </p:anim>
                                    <p:anim calcmode="lin" valueType="num">
                                      <p:cBhvr additive="base">
                                        <p:cTn id="29" dur="85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animBg="1"/>
      <p:bldP spid="6" grpId="0" animBg="1"/>
      <p:bldP spid="8" grpId="0" animBg="1"/>
      <p:bldP spid="9" grpId="0" animBg="1"/>
      <p:bldP spid="10" grpId="0" animBg="1"/>
    </p:bldLst>
  </p:timing>
</p:sldLayout>
</file>

<file path=ppt/slideLayouts/slideLayout448.xml><?xml version="1.0" encoding="utf-8"?>
<p:sldLayout xmlns:a="http://schemas.openxmlformats.org/drawingml/2006/main" xmlns:r="http://schemas.openxmlformats.org/officeDocument/2006/relationships" xmlns:p="http://schemas.openxmlformats.org/presentationml/2006/main" type="blank">
  <p:cSld name="5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7982" y="6356352"/>
            <a:ext cx="2742486" cy="365125"/>
          </a:xfrm>
          <a:prstGeom prst="rect">
            <a:avLst/>
          </a:prstGeom>
        </p:spPr>
        <p:txBody>
          <a:bodyPr/>
          <a:lstStyle/>
          <a:p>
            <a:pPr defTabSz="914180"/>
            <a:fld id="{FE747D4A-C71D-4D92-BEB1-B6EC108D2AC6}" type="datetimeFigureOut">
              <a:rPr lang="en-US" smtClean="0">
                <a:solidFill>
                  <a:prstClr val="black">
                    <a:tint val="75000"/>
                  </a:prstClr>
                </a:solidFill>
              </a:rPr>
              <a:pPr defTabSz="914180"/>
              <a:t>2/9/2015</a:t>
            </a:fld>
            <a:endParaRPr lang="en-US">
              <a:solidFill>
                <a:prstClr val="black">
                  <a:tint val="75000"/>
                </a:prstClr>
              </a:solidFill>
            </a:endParaRPr>
          </a:p>
        </p:txBody>
      </p:sp>
      <p:sp>
        <p:nvSpPr>
          <p:cNvPr id="3" name="Footer Placeholder 2"/>
          <p:cNvSpPr>
            <a:spLocks noGrp="1"/>
          </p:cNvSpPr>
          <p:nvPr>
            <p:ph type="ftr" sz="quarter" idx="11"/>
          </p:nvPr>
        </p:nvSpPr>
        <p:spPr>
          <a:xfrm>
            <a:off x="4037549" y="6356352"/>
            <a:ext cx="4113728" cy="365125"/>
          </a:xfrm>
          <a:prstGeom prst="rect">
            <a:avLst/>
          </a:prstGeom>
        </p:spPr>
        <p:txBody>
          <a:bodyPr/>
          <a:lstStyle/>
          <a:p>
            <a:pPr defTabSz="914180"/>
            <a:endParaRPr lang="en-US">
              <a:solidFill>
                <a:prstClr val="black">
                  <a:tint val="75000"/>
                </a:prstClr>
              </a:solidFill>
            </a:endParaRPr>
          </a:p>
        </p:txBody>
      </p:sp>
      <p:sp>
        <p:nvSpPr>
          <p:cNvPr id="4" name="Slide Number Placeholder 3"/>
          <p:cNvSpPr>
            <a:spLocks noGrp="1"/>
          </p:cNvSpPr>
          <p:nvPr>
            <p:ph type="sldNum" sz="quarter" idx="12"/>
          </p:nvPr>
        </p:nvSpPr>
        <p:spPr>
          <a:xfrm>
            <a:off x="8608358" y="6356352"/>
            <a:ext cx="2742486" cy="365125"/>
          </a:xfrm>
          <a:prstGeom prst="rect">
            <a:avLst/>
          </a:prstGeom>
        </p:spPr>
        <p:txBody>
          <a:bodyPr/>
          <a:lstStyle/>
          <a:p>
            <a:pPr defTabSz="914180"/>
            <a:fld id="{3A9B8C51-E985-4E84-8727-C4FD0F397338}" type="slidenum">
              <a:rPr lang="en-US" smtClean="0">
                <a:solidFill>
                  <a:prstClr val="black">
                    <a:tint val="75000"/>
                  </a:prstClr>
                </a:solidFill>
              </a:rPr>
              <a:pPr defTabSz="914180"/>
              <a:t>‹#›</a:t>
            </a:fld>
            <a:endParaRPr lang="en-US">
              <a:solidFill>
                <a:prstClr val="black">
                  <a:tint val="75000"/>
                </a:prstClr>
              </a:solidFill>
            </a:endParaRPr>
          </a:p>
        </p:txBody>
      </p:sp>
      <p:sp>
        <p:nvSpPr>
          <p:cNvPr id="8" name="Rectangle 7"/>
          <p:cNvSpPr/>
          <p:nvPr userDrawn="1"/>
        </p:nvSpPr>
        <p:spPr>
          <a:xfrm>
            <a:off x="0" y="0"/>
            <a:ext cx="12188825" cy="6858000"/>
          </a:xfrm>
          <a:prstGeom prst="rect">
            <a:avLst/>
          </a:prstGeom>
          <a:solidFill>
            <a:srgbClr val="7DBF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4021"/>
            <a:endParaRPr lang="en-US" sz="2166">
              <a:solidFill>
                <a:prstClr val="white"/>
              </a:solidFill>
            </a:endParaRPr>
          </a:p>
        </p:txBody>
      </p:sp>
    </p:spTree>
    <p:extLst>
      <p:ext uri="{BB962C8B-B14F-4D97-AF65-F5344CB8AC3E}">
        <p14:creationId xmlns:p14="http://schemas.microsoft.com/office/powerpoint/2010/main" val="2696186155"/>
      </p:ext>
    </p:extLst>
  </p:cSld>
  <p:clrMapOvr>
    <a:masterClrMapping/>
  </p:clrMapOvr>
  <p:timing>
    <p:tnLst>
      <p:par>
        <p:cTn id="1" dur="indefinite" restart="never" nodeType="tmRoot"/>
      </p:par>
    </p:tnLst>
  </p:timing>
</p:sldLayout>
</file>

<file path=ppt/slideLayouts/slideLayout449.xml><?xml version="1.0" encoding="utf-8"?>
<p:sldLayout xmlns:a="http://schemas.openxmlformats.org/drawingml/2006/main" xmlns:r="http://schemas.openxmlformats.org/officeDocument/2006/relationships" xmlns:p="http://schemas.openxmlformats.org/presentationml/2006/main" showMasterSp="0" userDrawn="1">
  <p:cSld name="Divider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4" y="2819605"/>
            <a:ext cx="11149013" cy="1218795"/>
          </a:xfrm>
        </p:spPr>
        <p:txBody>
          <a:bodyPr anchor="b" anchorCtr="0"/>
          <a:lstStyle>
            <a:lvl1pPr>
              <a:defRPr sz="8796" spc="-300" baseline="0">
                <a:gradFill>
                  <a:gsLst>
                    <a:gs pos="100000">
                      <a:schemeClr val="bg1"/>
                    </a:gs>
                    <a:gs pos="0">
                      <a:schemeClr val="bg1"/>
                    </a:gs>
                  </a:gsLst>
                  <a:lin ang="5400000" scaled="0"/>
                </a:gradFill>
              </a:defRPr>
            </a:lvl1pPr>
          </a:lstStyle>
          <a:p>
            <a:r>
              <a:rPr lang="en-US" dirty="0" smtClean="0"/>
              <a:t>Click to edit title style</a:t>
            </a:r>
            <a:endParaRPr lang="en-US" dirty="0"/>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394860" y="6199261"/>
            <a:ext cx="1516869" cy="399979"/>
          </a:xfrm>
          <a:prstGeom prst="rect">
            <a:avLst/>
          </a:prstGeom>
        </p:spPr>
      </p:pic>
    </p:spTree>
    <p:extLst>
      <p:ext uri="{BB962C8B-B14F-4D97-AF65-F5344CB8AC3E}">
        <p14:creationId xmlns:p14="http://schemas.microsoft.com/office/powerpoint/2010/main" val="1227889462"/>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380"/>
            <a:ext cx="12188825" cy="6856620"/>
          </a:xfrm>
          <a:prstGeom prst="rect">
            <a:avLst/>
          </a:prstGeom>
        </p:spPr>
      </p:pic>
      <p:pic>
        <p:nvPicPr>
          <p:cNvPr id="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62149" y="474237"/>
            <a:ext cx="1775047" cy="380393"/>
          </a:xfrm>
          <a:prstGeom prst="rect">
            <a:avLst/>
          </a:prstGeom>
        </p:spPr>
      </p:pic>
    </p:spTree>
    <p:extLst>
      <p:ext uri="{BB962C8B-B14F-4D97-AF65-F5344CB8AC3E}">
        <p14:creationId xmlns:p14="http://schemas.microsoft.com/office/powerpoint/2010/main" val="3325940006"/>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50.xml><?xml version="1.0" encoding="utf-8"?>
<p:sldLayout xmlns:a="http://schemas.openxmlformats.org/drawingml/2006/main" xmlns:r="http://schemas.openxmlformats.org/officeDocument/2006/relationships" xmlns:p="http://schemas.openxmlformats.org/presentationml/2006/main"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114" y="228600"/>
            <a:ext cx="11149013" cy="747897"/>
          </a:xfrm>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4" y="1447799"/>
            <a:ext cx="11149013" cy="2195686"/>
          </a:xfrm>
          <a:prstGeom prst="rect">
            <a:avLst/>
          </a:prstGeom>
        </p:spPr>
        <p:txBody>
          <a:bodyPr/>
          <a:lstStyle>
            <a:lvl1pPr marL="283997" indent="-283997">
              <a:buFont typeface="Wingdings" pitchFamily="2" charset="2"/>
              <a:buChar char=""/>
              <a:defRPr sz="3999"/>
            </a:lvl1pPr>
            <a:lvl2pPr marL="517221" indent="-233226">
              <a:buFont typeface="Wingdings" pitchFamily="2" charset="2"/>
              <a:buChar char=""/>
              <a:defRPr>
                <a:latin typeface="+mn-lt"/>
              </a:defRPr>
            </a:lvl2pPr>
            <a:lvl3pPr marL="740927" indent="-223707">
              <a:buFont typeface="Wingdings" pitchFamily="2" charset="2"/>
              <a:buChar char=""/>
              <a:tabLst/>
              <a:defRPr>
                <a:latin typeface="+mn-lt"/>
              </a:defRPr>
            </a:lvl3pPr>
            <a:lvl4pPr marL="913863" indent="-172936">
              <a:buFont typeface="Wingdings" pitchFamily="2" charset="2"/>
              <a:buChar char=""/>
              <a:defRPr>
                <a:latin typeface="+mn-lt"/>
              </a:defRPr>
            </a:lvl4pPr>
            <a:lvl5pPr marL="1086799" indent="-172936">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Slide Number Placeholder 9"/>
          <p:cNvSpPr>
            <a:spLocks noGrp="1"/>
          </p:cNvSpPr>
          <p:nvPr>
            <p:ph type="sldNum" sz="quarter" idx="12"/>
          </p:nvPr>
        </p:nvSpPr>
        <p:spPr>
          <a:xfrm>
            <a:off x="11770292" y="6641646"/>
            <a:ext cx="399640" cy="216356"/>
          </a:xfrm>
          <a:prstGeom prst="rect">
            <a:avLst/>
          </a:prstGeom>
        </p:spPr>
        <p:txBody>
          <a:bodyPr lIns="121899" tIns="60949" rIns="121899" bIns="60949" anchor="ctr"/>
          <a:lstStyle>
            <a:lvl1pPr algn="l">
              <a:defRPr sz="784">
                <a:gradFill>
                  <a:gsLst>
                    <a:gs pos="100000">
                      <a:schemeClr val="bg2"/>
                    </a:gs>
                    <a:gs pos="0">
                      <a:schemeClr val="bg2"/>
                    </a:gs>
                  </a:gsLst>
                  <a:lin ang="5400000" scaled="0"/>
                </a:gradFill>
              </a:defRPr>
            </a:lvl1pPr>
          </a:lstStyle>
          <a:p>
            <a:pPr defTabSz="913826"/>
            <a:fld id="{727B4C2D-45E2-4621-8491-2995EB46A674}" type="slidenum">
              <a:rPr lang="en-US" smtClean="0">
                <a:gradFill>
                  <a:gsLst>
                    <a:gs pos="100000">
                      <a:srgbClr val="797A7D"/>
                    </a:gs>
                    <a:gs pos="0">
                      <a:srgbClr val="797A7D"/>
                    </a:gs>
                  </a:gsLst>
                  <a:lin ang="5400000" scaled="0"/>
                </a:gradFill>
              </a:rPr>
              <a:pPr defTabSz="913826"/>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4120000937"/>
      </p:ext>
    </p:extLst>
  </p:cSld>
  <p:clrMapOvr>
    <a:masterClrMapping/>
  </p:clrMapOvr>
  <p:transition>
    <p:fade/>
  </p:transition>
  <p:timing>
    <p:tnLst>
      <p:par>
        <p:cTn id="1" dur="indefinite" restart="never" nodeType="tmRoot"/>
      </p:par>
    </p:tnLst>
  </p:timing>
</p:sldLayout>
</file>

<file path=ppt/slideLayouts/slideLayout451.xml><?xml version="1.0" encoding="utf-8"?>
<p:sldLayout xmlns:a="http://schemas.openxmlformats.org/drawingml/2006/main" xmlns:r="http://schemas.openxmlformats.org/officeDocument/2006/relationships" xmlns:p="http://schemas.openxmlformats.org/presentationml/2006/main" userDrawn="1">
  <p:cSld name="Title &amp; Content Layout">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269169" y="1187620"/>
            <a:ext cx="11650488" cy="21875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917158742"/>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Walki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49206" y="6063380"/>
            <a:ext cx="1522007" cy="324553"/>
          </a:xfrm>
          <a:prstGeom prst="rect">
            <a:avLst/>
          </a:prstGeom>
        </p:spPr>
      </p:pic>
      <p:sp>
        <p:nvSpPr>
          <p:cNvPr id="3" name="Rectangle 2"/>
          <p:cNvSpPr/>
          <p:nvPr userDrawn="1"/>
        </p:nvSpPr>
        <p:spPr bwMode="gray">
          <a:xfrm>
            <a:off x="1060493" y="2575465"/>
            <a:ext cx="8056760" cy="667558"/>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4" name="Rectangle 3"/>
          <p:cNvSpPr/>
          <p:nvPr userDrawn="1"/>
        </p:nvSpPr>
        <p:spPr bwMode="gray">
          <a:xfrm>
            <a:off x="0" y="2839081"/>
            <a:ext cx="7910383" cy="661643"/>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5" name="Rectangle 4"/>
          <p:cNvSpPr/>
          <p:nvPr userDrawn="1"/>
        </p:nvSpPr>
        <p:spPr bwMode="gray">
          <a:xfrm>
            <a:off x="269169" y="3429001"/>
            <a:ext cx="8028069" cy="661643"/>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pic>
        <p:nvPicPr>
          <p:cNvPr id="8" name="Picture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479768" y="2880666"/>
            <a:ext cx="4602425" cy="940887"/>
          </a:xfrm>
          <a:prstGeom prst="rect">
            <a:avLst/>
          </a:prstGeom>
        </p:spPr>
      </p:pic>
    </p:spTree>
    <p:extLst>
      <p:ext uri="{BB962C8B-B14F-4D97-AF65-F5344CB8AC3E}">
        <p14:creationId xmlns:p14="http://schemas.microsoft.com/office/powerpoint/2010/main" val="37831314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850" fill="hold"/>
                                        <p:tgtEl>
                                          <p:spTgt spid="3"/>
                                        </p:tgtEl>
                                        <p:attrNameLst>
                                          <p:attrName>ppt_x</p:attrName>
                                        </p:attrNameLst>
                                      </p:cBhvr>
                                      <p:tavLst>
                                        <p:tav tm="0">
                                          <p:val>
                                            <p:strVal val="0-#ppt_w/2"/>
                                          </p:val>
                                        </p:tav>
                                        <p:tav tm="100000">
                                          <p:val>
                                            <p:strVal val="#ppt_x"/>
                                          </p:val>
                                        </p:tav>
                                      </p:tavLst>
                                    </p:anim>
                                    <p:anim calcmode="lin" valueType="num">
                                      <p:cBhvr additive="base">
                                        <p:cTn id="8" dur="850" fill="hold"/>
                                        <p:tgtEl>
                                          <p:spTgt spid="3"/>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850" fill="hold"/>
                                        <p:tgtEl>
                                          <p:spTgt spid="4"/>
                                        </p:tgtEl>
                                        <p:attrNameLst>
                                          <p:attrName>ppt_x</p:attrName>
                                        </p:attrNameLst>
                                      </p:cBhvr>
                                      <p:tavLst>
                                        <p:tav tm="0">
                                          <p:val>
                                            <p:strVal val="1+#ppt_w/2"/>
                                          </p:val>
                                        </p:tav>
                                        <p:tav tm="100000">
                                          <p:val>
                                            <p:strVal val="#ppt_x"/>
                                          </p:val>
                                        </p:tav>
                                      </p:tavLst>
                                    </p:anim>
                                    <p:anim calcmode="lin" valueType="num">
                                      <p:cBhvr additive="base">
                                        <p:cTn id="12" dur="850" fill="hold"/>
                                        <p:tgtEl>
                                          <p:spTgt spid="4"/>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25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850" fill="hold"/>
                                        <p:tgtEl>
                                          <p:spTgt spid="5"/>
                                        </p:tgtEl>
                                        <p:attrNameLst>
                                          <p:attrName>ppt_x</p:attrName>
                                        </p:attrNameLst>
                                      </p:cBhvr>
                                      <p:tavLst>
                                        <p:tav tm="0">
                                          <p:val>
                                            <p:strVal val="0-#ppt_w/2"/>
                                          </p:val>
                                        </p:tav>
                                        <p:tav tm="100000">
                                          <p:val>
                                            <p:strVal val="#ppt_x"/>
                                          </p:val>
                                        </p:tav>
                                      </p:tavLst>
                                    </p:anim>
                                    <p:anim calcmode="lin" valueType="num">
                                      <p:cBhvr additive="base">
                                        <p:cTn id="16" dur="850" fill="hold"/>
                                        <p:tgtEl>
                                          <p:spTgt spid="5"/>
                                        </p:tgtEl>
                                        <p:attrNameLst>
                                          <p:attrName>ppt_y</p:attrName>
                                        </p:attrNameLst>
                                      </p:cBhvr>
                                      <p:tavLst>
                                        <p:tav tm="0">
                                          <p:val>
                                            <p:strVal val="#ppt_y"/>
                                          </p:val>
                                        </p:tav>
                                        <p:tav tm="100000">
                                          <p:val>
                                            <p:strVal val="#ppt_y"/>
                                          </p:val>
                                        </p:tav>
                                      </p:tavLst>
                                    </p:anim>
                                  </p:childTnLst>
                                </p:cTn>
                              </p:par>
                              <p:par>
                                <p:cTn id="17" presetID="10" presetClass="entr" presetSubtype="0" fill="hold" nodeType="withEffect">
                                  <p:stCondLst>
                                    <p:cond delay="58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750"/>
                                        <p:tgtEl>
                                          <p:spTgt spid="8"/>
                                        </p:tgtEl>
                                      </p:cBhvr>
                                    </p:animEffect>
                                  </p:childTnLst>
                                </p:cTn>
                              </p:par>
                              <p:par>
                                <p:cTn id="20" presetID="63" presetClass="path" presetSubtype="0" decel="100000" fill="hold" nodeType="withEffect">
                                  <p:stCondLst>
                                    <p:cond delay="580"/>
                                  </p:stCondLst>
                                  <p:childTnLst>
                                    <p:animMotion origin="layout" path="M -0.02409 1.50289E-6 L -4.16667E-7 1.50289E-6 " pathEditMode="relative" rAng="0" ptsTypes="AA">
                                      <p:cBhvr>
                                        <p:cTn id="21" dur="500" fill="hold"/>
                                        <p:tgtEl>
                                          <p:spTgt spid="8"/>
                                        </p:tgtEl>
                                        <p:attrNameLst>
                                          <p:attrName>ppt_x</p:attrName>
                                          <p:attrName>ppt_y</p:attrName>
                                        </p:attrNameLst>
                                      </p:cBhvr>
                                      <p:rCtr x="119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Title Slide Phot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Rectangle 7"/>
          <p:cNvSpPr/>
          <p:nvPr userDrawn="1"/>
        </p:nvSpPr>
        <p:spPr bwMode="gray">
          <a:xfrm>
            <a:off x="1523886" y="470068"/>
            <a:ext cx="4861478" cy="912117"/>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11" name="Rectangle 10"/>
          <p:cNvSpPr/>
          <p:nvPr userDrawn="1"/>
        </p:nvSpPr>
        <p:spPr bwMode="gray">
          <a:xfrm>
            <a:off x="443515" y="652746"/>
            <a:ext cx="4844999" cy="912117"/>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12" name="Rectangle 11"/>
          <p:cNvSpPr/>
          <p:nvPr userDrawn="1"/>
        </p:nvSpPr>
        <p:spPr bwMode="gray">
          <a:xfrm>
            <a:off x="6895731" y="3697962"/>
            <a:ext cx="4844999" cy="627580"/>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13" name="Rectangle 12"/>
          <p:cNvSpPr/>
          <p:nvPr userDrawn="1"/>
        </p:nvSpPr>
        <p:spPr bwMode="gray">
          <a:xfrm>
            <a:off x="7055018" y="3860155"/>
            <a:ext cx="4864639" cy="935768"/>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14" name="Rectangle 13"/>
          <p:cNvSpPr/>
          <p:nvPr userDrawn="1"/>
        </p:nvSpPr>
        <p:spPr bwMode="gray">
          <a:xfrm>
            <a:off x="6895731" y="4697932"/>
            <a:ext cx="4844999" cy="1607817"/>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8853" y="588334"/>
            <a:ext cx="10081073" cy="6405091"/>
          </a:xfrm>
          <a:prstGeom prst="rect">
            <a:avLst/>
          </a:prstGeom>
          <a:effectLst>
            <a:outerShdw blurRad="127000" sx="101000" sy="101000" algn="ctr" rotWithShape="0">
              <a:prstClr val="black">
                <a:alpha val="20000"/>
              </a:prstClr>
            </a:outerShdw>
          </a:effectLst>
        </p:spPr>
      </p:pic>
      <p:sp>
        <p:nvSpPr>
          <p:cNvPr id="9" name="Title 1"/>
          <p:cNvSpPr>
            <a:spLocks noGrp="1"/>
          </p:cNvSpPr>
          <p:nvPr>
            <p:ph type="title" hasCustomPrompt="1"/>
          </p:nvPr>
        </p:nvSpPr>
        <p:spPr bwMode="ltGray">
          <a:xfrm>
            <a:off x="1893416" y="3001156"/>
            <a:ext cx="8050654" cy="1344828"/>
          </a:xfrm>
          <a:noFill/>
        </p:spPr>
        <p:txBody>
          <a:bodyPr vert="horz" wrap="square" lIns="146304" tIns="91440" rIns="146304" bIns="91440" rtlCol="0" anchor="t" anchorCtr="0">
            <a:noAutofit/>
          </a:bodyPr>
          <a:lstStyle>
            <a:lvl1pPr>
              <a:defRPr lang="en-US" sz="4312" spc="-98" baseline="0" dirty="0">
                <a:gradFill>
                  <a:gsLst>
                    <a:gs pos="0">
                      <a:schemeClr val="bg2">
                        <a:lumMod val="10000"/>
                      </a:schemeClr>
                    </a:gs>
                    <a:gs pos="100000">
                      <a:schemeClr val="bg2">
                        <a:lumMod val="10000"/>
                      </a:schemeClr>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1893416" y="4370376"/>
            <a:ext cx="8050654" cy="1344828"/>
          </a:xfrm>
        </p:spPr>
        <p:txBody>
          <a:bodyPr tIns="109728" bIns="109728">
            <a:noAutofit/>
          </a:bodyPr>
          <a:lstStyle>
            <a:lvl1pPr marL="0" indent="0">
              <a:spcBef>
                <a:spcPts val="0"/>
              </a:spcBef>
              <a:buNone/>
              <a:defRPr lang="en-US" sz="3136" b="0" kern="1200" cap="none" spc="-98" baseline="0" dirty="0">
                <a:ln w="3175">
                  <a:noFill/>
                </a:ln>
                <a:gradFill>
                  <a:gsLst>
                    <a:gs pos="0">
                      <a:schemeClr val="bg2">
                        <a:lumMod val="10000"/>
                      </a:schemeClr>
                    </a:gs>
                    <a:gs pos="100000">
                      <a:schemeClr val="bg2">
                        <a:lumMod val="10000"/>
                      </a:schemeClr>
                    </a:gs>
                  </a:gsLst>
                  <a:lin ang="5400000" scaled="0"/>
                </a:gradFill>
                <a:effectLst/>
                <a:latin typeface="+mj-lt"/>
                <a:ea typeface="+mn-ea"/>
                <a:cs typeface="Segoe UI" pitchFamily="34" charset="0"/>
              </a:defRPr>
            </a:lvl1pPr>
          </a:lstStyle>
          <a:p>
            <a:pPr lvl="0" algn="l" defTabSz="914180" rtl="0" eaLnBrk="1" latinLnBrk="0" hangingPunct="1">
              <a:lnSpc>
                <a:spcPct val="90000"/>
              </a:lnSpc>
              <a:spcBef>
                <a:spcPct val="0"/>
              </a:spcBef>
              <a:buNone/>
            </a:pPr>
            <a:r>
              <a:rPr lang="en-US" dirty="0" smtClean="0"/>
              <a:t>Speaker Name</a:t>
            </a:r>
            <a:endParaRPr lang="en-US" dirty="0"/>
          </a:p>
        </p:txBody>
      </p:sp>
      <p:pic>
        <p:nvPicPr>
          <p:cNvPr id="17" name="Picture 1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gray">
          <a:xfrm>
            <a:off x="11023466" y="470068"/>
            <a:ext cx="717264" cy="152949"/>
          </a:xfrm>
          <a:prstGeom prst="rect">
            <a:avLst/>
          </a:prstGeom>
        </p:spPr>
      </p:pic>
      <p:sp>
        <p:nvSpPr>
          <p:cNvPr id="5" name="Text Placeholder 4"/>
          <p:cNvSpPr>
            <a:spLocks noGrp="1"/>
          </p:cNvSpPr>
          <p:nvPr>
            <p:ph type="body" sz="quarter" idx="15" hasCustomPrompt="1"/>
          </p:nvPr>
        </p:nvSpPr>
        <p:spPr>
          <a:xfrm>
            <a:off x="8624971" y="1559050"/>
            <a:ext cx="1568335" cy="425495"/>
          </a:xfrm>
        </p:spPr>
        <p:txBody>
          <a:bodyPr/>
          <a:lstStyle>
            <a:lvl1pPr marL="0" indent="0" algn="r">
              <a:buNone/>
              <a:defRPr sz="1764" baseline="0"/>
            </a:lvl1pPr>
          </a:lstStyle>
          <a:p>
            <a:pPr lvl="0"/>
            <a:r>
              <a:rPr lang="en-US" dirty="0" smtClean="0"/>
              <a:t>Session Code</a:t>
            </a:r>
            <a:endParaRPr lang="en-US" dirty="0"/>
          </a:p>
        </p:txBody>
      </p:sp>
    </p:spTree>
    <p:extLst>
      <p:ext uri="{BB962C8B-B14F-4D97-AF65-F5344CB8AC3E}">
        <p14:creationId xmlns:p14="http://schemas.microsoft.com/office/powerpoint/2010/main" val="9457181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750" fill="hold"/>
                                        <p:tgtEl>
                                          <p:spTgt spid="8"/>
                                        </p:tgtEl>
                                        <p:attrNameLst>
                                          <p:attrName>ppt_x</p:attrName>
                                        </p:attrNameLst>
                                      </p:cBhvr>
                                      <p:tavLst>
                                        <p:tav tm="0">
                                          <p:val>
                                            <p:strVal val="0-#ppt_w/2"/>
                                          </p:val>
                                        </p:tav>
                                        <p:tav tm="100000">
                                          <p:val>
                                            <p:strVal val="#ppt_x"/>
                                          </p:val>
                                        </p:tav>
                                      </p:tavLst>
                                    </p:anim>
                                    <p:anim calcmode="lin" valueType="num">
                                      <p:cBhvr additive="base">
                                        <p:cTn id="8" dur="750" fill="hold"/>
                                        <p:tgtEl>
                                          <p:spTgt spid="8"/>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25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750" fill="hold"/>
                                        <p:tgtEl>
                                          <p:spTgt spid="11"/>
                                        </p:tgtEl>
                                        <p:attrNameLst>
                                          <p:attrName>ppt_x</p:attrName>
                                        </p:attrNameLst>
                                      </p:cBhvr>
                                      <p:tavLst>
                                        <p:tav tm="0">
                                          <p:val>
                                            <p:strVal val="0-#ppt_w/2"/>
                                          </p:val>
                                        </p:tav>
                                        <p:tav tm="100000">
                                          <p:val>
                                            <p:strVal val="#ppt_x"/>
                                          </p:val>
                                        </p:tav>
                                      </p:tavLst>
                                    </p:anim>
                                    <p:anim calcmode="lin" valueType="num">
                                      <p:cBhvr additive="base">
                                        <p:cTn id="12" dur="750" fill="hold"/>
                                        <p:tgtEl>
                                          <p:spTgt spid="11"/>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250"/>
                                  </p:stCondLst>
                                  <p:childTnLst>
                                    <p:set>
                                      <p:cBhvr>
                                        <p:cTn id="14" dur="1" fill="hold">
                                          <p:stCondLst>
                                            <p:cond delay="0"/>
                                          </p:stCondLst>
                                        </p:cTn>
                                        <p:tgtEl>
                                          <p:spTgt spid="12"/>
                                        </p:tgtEl>
                                        <p:attrNameLst>
                                          <p:attrName>style.visibility</p:attrName>
                                        </p:attrNameLst>
                                      </p:cBhvr>
                                      <p:to>
                                        <p:strVal val="visible"/>
                                      </p:to>
                                    </p:set>
                                    <p:anim calcmode="lin" valueType="num">
                                      <p:cBhvr additive="base">
                                        <p:cTn id="15" dur="750" fill="hold"/>
                                        <p:tgtEl>
                                          <p:spTgt spid="12"/>
                                        </p:tgtEl>
                                        <p:attrNameLst>
                                          <p:attrName>ppt_x</p:attrName>
                                        </p:attrNameLst>
                                      </p:cBhvr>
                                      <p:tavLst>
                                        <p:tav tm="0">
                                          <p:val>
                                            <p:strVal val="1+#ppt_w/2"/>
                                          </p:val>
                                        </p:tav>
                                        <p:tav tm="100000">
                                          <p:val>
                                            <p:strVal val="#ppt_x"/>
                                          </p:val>
                                        </p:tav>
                                      </p:tavLst>
                                    </p:anim>
                                    <p:anim calcmode="lin" valueType="num">
                                      <p:cBhvr additive="base">
                                        <p:cTn id="16" dur="750" fill="hold"/>
                                        <p:tgtEl>
                                          <p:spTgt spid="12"/>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750"/>
                                  </p:stCondLst>
                                  <p:childTnLst>
                                    <p:set>
                                      <p:cBhvr>
                                        <p:cTn id="18" dur="1" fill="hold">
                                          <p:stCondLst>
                                            <p:cond delay="0"/>
                                          </p:stCondLst>
                                        </p:cTn>
                                        <p:tgtEl>
                                          <p:spTgt spid="14"/>
                                        </p:tgtEl>
                                        <p:attrNameLst>
                                          <p:attrName>style.visibility</p:attrName>
                                        </p:attrNameLst>
                                      </p:cBhvr>
                                      <p:to>
                                        <p:strVal val="visible"/>
                                      </p:to>
                                    </p:set>
                                    <p:anim calcmode="lin" valueType="num">
                                      <p:cBhvr additive="base">
                                        <p:cTn id="19" dur="750" fill="hold"/>
                                        <p:tgtEl>
                                          <p:spTgt spid="14"/>
                                        </p:tgtEl>
                                        <p:attrNameLst>
                                          <p:attrName>ppt_x</p:attrName>
                                        </p:attrNameLst>
                                      </p:cBhvr>
                                      <p:tavLst>
                                        <p:tav tm="0">
                                          <p:val>
                                            <p:strVal val="1+#ppt_w/2"/>
                                          </p:val>
                                        </p:tav>
                                        <p:tav tm="100000">
                                          <p:val>
                                            <p:strVal val="#ppt_x"/>
                                          </p:val>
                                        </p:tav>
                                      </p:tavLst>
                                    </p:anim>
                                    <p:anim calcmode="lin" valueType="num">
                                      <p:cBhvr additive="base">
                                        <p:cTn id="20" dur="750" fill="hold"/>
                                        <p:tgtEl>
                                          <p:spTgt spid="14"/>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1100"/>
                                  </p:stCondLst>
                                  <p:childTnLst>
                                    <p:set>
                                      <p:cBhvr>
                                        <p:cTn id="22" dur="1" fill="hold">
                                          <p:stCondLst>
                                            <p:cond delay="0"/>
                                          </p:stCondLst>
                                        </p:cTn>
                                        <p:tgtEl>
                                          <p:spTgt spid="13"/>
                                        </p:tgtEl>
                                        <p:attrNameLst>
                                          <p:attrName>style.visibility</p:attrName>
                                        </p:attrNameLst>
                                      </p:cBhvr>
                                      <p:to>
                                        <p:strVal val="visible"/>
                                      </p:to>
                                    </p:set>
                                    <p:anim calcmode="lin" valueType="num">
                                      <p:cBhvr additive="base">
                                        <p:cTn id="23" dur="750" fill="hold"/>
                                        <p:tgtEl>
                                          <p:spTgt spid="13"/>
                                        </p:tgtEl>
                                        <p:attrNameLst>
                                          <p:attrName>ppt_x</p:attrName>
                                        </p:attrNameLst>
                                      </p:cBhvr>
                                      <p:tavLst>
                                        <p:tav tm="0">
                                          <p:val>
                                            <p:strVal val="1+#ppt_w/2"/>
                                          </p:val>
                                        </p:tav>
                                        <p:tav tm="100000">
                                          <p:val>
                                            <p:strVal val="#ppt_x"/>
                                          </p:val>
                                        </p:tav>
                                      </p:tavLst>
                                    </p:anim>
                                    <p:anim calcmode="lin" valueType="num">
                                      <p:cBhvr additive="base">
                                        <p:cTn id="24" dur="750" fill="hold"/>
                                        <p:tgtEl>
                                          <p:spTgt spid="13"/>
                                        </p:tgtEl>
                                        <p:attrNameLst>
                                          <p:attrName>ppt_y</p:attrName>
                                        </p:attrNameLst>
                                      </p:cBhvr>
                                      <p:tavLst>
                                        <p:tav tm="0">
                                          <p:val>
                                            <p:strVal val="#ppt_y"/>
                                          </p:val>
                                        </p:tav>
                                        <p:tav tm="100000">
                                          <p:val>
                                            <p:strVal val="#ppt_y"/>
                                          </p:val>
                                        </p:tav>
                                      </p:tavLst>
                                    </p:anim>
                                  </p:childTnLst>
                                </p:cTn>
                              </p:par>
                              <p:par>
                                <p:cTn id="25" presetID="10" presetClass="entr" presetSubtype="0" fill="hold" grpId="0" nodeType="withEffect">
                                  <p:stCondLst>
                                    <p:cond delay="58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750"/>
                                        <p:tgtEl>
                                          <p:spTgt spid="9"/>
                                        </p:tgtEl>
                                      </p:cBhvr>
                                    </p:animEffect>
                                  </p:childTnLst>
                                </p:cTn>
                              </p:par>
                              <p:par>
                                <p:cTn id="28" presetID="63" presetClass="path" presetSubtype="0" decel="100000" fill="hold" grpId="1" nodeType="withEffect">
                                  <p:stCondLst>
                                    <p:cond delay="580"/>
                                  </p:stCondLst>
                                  <p:childTnLst>
                                    <p:animMotion origin="layout" path="M -0.02413 -3.22742E-6 L 4.30431E-6 -3.22742E-6 " pathEditMode="relative" rAng="0" ptsTypes="AA">
                                      <p:cBhvr>
                                        <p:cTn id="29" dur="500" fill="hold"/>
                                        <p:tgtEl>
                                          <p:spTgt spid="9"/>
                                        </p:tgtEl>
                                        <p:attrNameLst>
                                          <p:attrName>ppt_x</p:attrName>
                                          <p:attrName>ppt_y</p:attrName>
                                        </p:attrNameLst>
                                      </p:cBhvr>
                                      <p:rCtr x="1200" y="0"/>
                                    </p:animMotion>
                                  </p:childTnLst>
                                </p:cTn>
                              </p:par>
                              <p:par>
                                <p:cTn id="30" presetID="10" presetClass="entr" presetSubtype="0" fill="hold" grpId="0" nodeType="withEffect">
                                  <p:stCondLst>
                                    <p:cond delay="680"/>
                                  </p:stCondLst>
                                  <p:childTnLst>
                                    <p:set>
                                      <p:cBhvr>
                                        <p:cTn id="31" dur="1" fill="hold">
                                          <p:stCondLst>
                                            <p:cond delay="0"/>
                                          </p:stCondLst>
                                        </p:cTn>
                                        <p:tgtEl>
                                          <p:spTgt spid="3"/>
                                        </p:tgtEl>
                                        <p:attrNameLst>
                                          <p:attrName>style.visibility</p:attrName>
                                        </p:attrNameLst>
                                      </p:cBhvr>
                                      <p:to>
                                        <p:strVal val="visible"/>
                                      </p:to>
                                    </p:set>
                                    <p:animEffect transition="in" filter="fade">
                                      <p:cBhvr>
                                        <p:cTn id="32" dur="750"/>
                                        <p:tgtEl>
                                          <p:spTgt spid="3"/>
                                        </p:tgtEl>
                                      </p:cBhvr>
                                    </p:animEffect>
                                  </p:childTnLst>
                                </p:cTn>
                              </p:par>
                              <p:par>
                                <p:cTn id="33" presetID="63" presetClass="path" presetSubtype="0" decel="100000" fill="hold" grpId="1" nodeType="withEffect">
                                  <p:stCondLst>
                                    <p:cond delay="680"/>
                                  </p:stCondLst>
                                  <p:childTnLst>
                                    <p:animMotion origin="layout" path="M -0.02413 -8.71539E-7 L 4.30431E-6 -8.71539E-7 " pathEditMode="relative" rAng="0" ptsTypes="AA">
                                      <p:cBhvr>
                                        <p:cTn id="34" dur="500" fill="hold"/>
                                        <p:tgtEl>
                                          <p:spTgt spid="3"/>
                                        </p:tgtEl>
                                        <p:attrNameLst>
                                          <p:attrName>ppt_x</p:attrName>
                                          <p:attrName>ppt_y</p:attrName>
                                        </p:attrNameLst>
                                      </p:cBhvr>
                                      <p:rCtr x="12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1" grpId="0" animBg="1"/>
      <p:bldP spid="12" grpId="0" animBg="1"/>
      <p:bldP spid="13" grpId="0" animBg="1"/>
      <p:bldP spid="14" grpId="0" animBg="1"/>
      <p:bldP spid="9" grpId="0"/>
      <p:bldP spid="9" grpId="1"/>
      <p:bldP spid="3" grpId="0">
        <p:tmplLst>
          <p:tmpl>
            <p:tnLst>
              <p:par>
                <p:cTn presetID="10" presetClass="entr" presetSubtype="0" fill="hold" nodeType="withEffect">
                  <p:stCondLst>
                    <p:cond delay="68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p:tmplLst>
          <p:tmpl>
            <p:tnLst>
              <p:par>
                <p:cTn presetID="63" presetClass="path" presetSubtype="0" decel="100000" fill="hold" nodeType="withEffect">
                  <p:stCondLst>
                    <p:cond delay="680"/>
                  </p:stCondLst>
                  <p:childTnLst>
                    <p:animMotion origin="layout" path="M -0.02413 -8.71539E-7 L 4.30431E-6 -8.71539E-7 " pathEditMode="relative" rAng="0" ptsTypes="AA">
                      <p:cBhvr>
                        <p:cTn dur="500" fill="hold"/>
                        <p:tgtEl>
                          <p:spTgt spid="3"/>
                        </p:tgtEl>
                        <p:attrNameLst>
                          <p:attrName>ppt_x</p:attrName>
                          <p:attrName>ppt_y</p:attrName>
                        </p:attrNameLst>
                      </p:cBhvr>
                      <p:rCtr x="1200" y="0"/>
                    </p:animMotion>
                  </p:childTnLst>
                </p:cTn>
              </p:par>
            </p:tnLst>
          </p:tmpl>
        </p:tmplLst>
      </p:bldP>
    </p:bldLst>
  </p:timing>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Dem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6"/>
            <a:ext cx="9856549" cy="2697988"/>
          </a:xfrm>
          <a:noFill/>
        </p:spPr>
        <p:txBody>
          <a:bodyPr tIns="91440" bIns="91440" anchor="t" anchorCtr="0"/>
          <a:lstStyle>
            <a:lvl1pPr>
              <a:defRPr sz="7057" spc="-98" baseline="0">
                <a:gradFill>
                  <a:gsLst>
                    <a:gs pos="91241">
                      <a:schemeClr val="tx1"/>
                    </a:gs>
                    <a:gs pos="57000">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0" y="3877277"/>
            <a:ext cx="9858106" cy="1793881"/>
          </a:xfrm>
          <a:noFill/>
        </p:spPr>
        <p:txBody>
          <a:bodyPr lIns="182880" tIns="146304" rIns="182880" bIns="146304">
            <a:noAutofit/>
          </a:bodyPr>
          <a:lstStyle>
            <a:lvl1pPr marL="0" indent="0">
              <a:spcBef>
                <a:spcPts val="0"/>
              </a:spcBef>
              <a:buNone/>
              <a:defRPr sz="3528" spc="0" baseline="0">
                <a:gradFill>
                  <a:gsLst>
                    <a:gs pos="91241">
                      <a:schemeClr val="tx1"/>
                    </a:gs>
                    <a:gs pos="57000">
                      <a:schemeClr val="tx1"/>
                    </a:gs>
                    <a:gs pos="18000">
                      <a:schemeClr val="tx1"/>
                    </a:gs>
                  </a:gsLst>
                  <a:lin ang="5400000" scaled="0"/>
                </a:gradFill>
                <a:latin typeface="+mj-lt"/>
              </a:defRPr>
            </a:lvl1pPr>
          </a:lstStyle>
          <a:p>
            <a:pPr lvl="0"/>
            <a:r>
              <a:rPr lang="en-US" dirty="0" smtClean="0"/>
              <a:t>Speaker Name</a:t>
            </a:r>
          </a:p>
        </p:txBody>
      </p:sp>
      <p:sp>
        <p:nvSpPr>
          <p:cNvPr id="12" name="Rectangle 11"/>
          <p:cNvSpPr/>
          <p:nvPr userDrawn="1"/>
        </p:nvSpPr>
        <p:spPr bwMode="gray">
          <a:xfrm flipH="1">
            <a:off x="6542508" y="5629606"/>
            <a:ext cx="4989553" cy="413419"/>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13" name="Rectangle 12"/>
          <p:cNvSpPr/>
          <p:nvPr userDrawn="1"/>
        </p:nvSpPr>
        <p:spPr bwMode="gray">
          <a:xfrm flipH="1">
            <a:off x="7289923" y="5795020"/>
            <a:ext cx="4898902" cy="409756"/>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14" name="Rectangle 13"/>
          <p:cNvSpPr/>
          <p:nvPr userDrawn="1"/>
        </p:nvSpPr>
        <p:spPr bwMode="gray">
          <a:xfrm flipH="1">
            <a:off x="7050344" y="6160357"/>
            <a:ext cx="4971785" cy="409756"/>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Tree>
    <p:extLst>
      <p:ext uri="{BB962C8B-B14F-4D97-AF65-F5344CB8AC3E}">
        <p14:creationId xmlns:p14="http://schemas.microsoft.com/office/powerpoint/2010/main" val="28667689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850" fill="hold"/>
                                        <p:tgtEl>
                                          <p:spTgt spid="12"/>
                                        </p:tgtEl>
                                        <p:attrNameLst>
                                          <p:attrName>ppt_x</p:attrName>
                                        </p:attrNameLst>
                                      </p:cBhvr>
                                      <p:tavLst>
                                        <p:tav tm="0">
                                          <p:val>
                                            <p:strVal val="1+#ppt_w/2"/>
                                          </p:val>
                                        </p:tav>
                                        <p:tav tm="100000">
                                          <p:val>
                                            <p:strVal val="#ppt_x"/>
                                          </p:val>
                                        </p:tav>
                                      </p:tavLst>
                                    </p:anim>
                                    <p:anim calcmode="lin" valueType="num">
                                      <p:cBhvr additive="base">
                                        <p:cTn id="8" dur="850" fill="hold"/>
                                        <p:tgtEl>
                                          <p:spTgt spid="12"/>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14"/>
                                        </p:tgtEl>
                                        <p:attrNameLst>
                                          <p:attrName>style.visibility</p:attrName>
                                        </p:attrNameLst>
                                      </p:cBhvr>
                                      <p:to>
                                        <p:strVal val="visible"/>
                                      </p:to>
                                    </p:set>
                                    <p:anim calcmode="lin" valueType="num">
                                      <p:cBhvr additive="base">
                                        <p:cTn id="11" dur="850" fill="hold"/>
                                        <p:tgtEl>
                                          <p:spTgt spid="14"/>
                                        </p:tgtEl>
                                        <p:attrNameLst>
                                          <p:attrName>ppt_x</p:attrName>
                                        </p:attrNameLst>
                                      </p:cBhvr>
                                      <p:tavLst>
                                        <p:tav tm="0">
                                          <p:val>
                                            <p:strVal val="1+#ppt_w/2"/>
                                          </p:val>
                                        </p:tav>
                                        <p:tav tm="100000">
                                          <p:val>
                                            <p:strVal val="#ppt_x"/>
                                          </p:val>
                                        </p:tav>
                                      </p:tavLst>
                                    </p:anim>
                                    <p:anim calcmode="lin" valueType="num">
                                      <p:cBhvr additive="base">
                                        <p:cTn id="12" dur="850" fill="hold"/>
                                        <p:tgtEl>
                                          <p:spTgt spid="14"/>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250"/>
                                  </p:stCondLst>
                                  <p:childTnLst>
                                    <p:set>
                                      <p:cBhvr>
                                        <p:cTn id="14" dur="1" fill="hold">
                                          <p:stCondLst>
                                            <p:cond delay="0"/>
                                          </p:stCondLst>
                                        </p:cTn>
                                        <p:tgtEl>
                                          <p:spTgt spid="13"/>
                                        </p:tgtEl>
                                        <p:attrNameLst>
                                          <p:attrName>style.visibility</p:attrName>
                                        </p:attrNameLst>
                                      </p:cBhvr>
                                      <p:to>
                                        <p:strVal val="visible"/>
                                      </p:to>
                                    </p:set>
                                    <p:anim calcmode="lin" valueType="num">
                                      <p:cBhvr additive="base">
                                        <p:cTn id="15" dur="850" fill="hold"/>
                                        <p:tgtEl>
                                          <p:spTgt spid="13"/>
                                        </p:tgtEl>
                                        <p:attrNameLst>
                                          <p:attrName>ppt_x</p:attrName>
                                        </p:attrNameLst>
                                      </p:cBhvr>
                                      <p:tavLst>
                                        <p:tav tm="0">
                                          <p:val>
                                            <p:strVal val="0-#ppt_w/2"/>
                                          </p:val>
                                        </p:tav>
                                        <p:tav tm="100000">
                                          <p:val>
                                            <p:strVal val="#ppt_x"/>
                                          </p:val>
                                        </p:tav>
                                      </p:tavLst>
                                    </p:anim>
                                    <p:anim calcmode="lin" valueType="num">
                                      <p:cBhvr additive="base">
                                        <p:cTn id="16" dur="850" fill="hold"/>
                                        <p:tgtEl>
                                          <p:spTgt spid="13"/>
                                        </p:tgtEl>
                                        <p:attrNameLst>
                                          <p:attrName>ppt_y</p:attrName>
                                        </p:attrNameLst>
                                      </p:cBhvr>
                                      <p:tavLst>
                                        <p:tav tm="0">
                                          <p:val>
                                            <p:strVal val="#ppt_y"/>
                                          </p:val>
                                        </p:tav>
                                        <p:tav tm="100000">
                                          <p:val>
                                            <p:strVal val="#ppt_y"/>
                                          </p:val>
                                        </p:tav>
                                      </p:tavLst>
                                    </p:anim>
                                  </p:childTnLst>
                                </p:cTn>
                              </p:par>
                              <p:par>
                                <p:cTn id="17" presetID="10" presetClass="entr" presetSubtype="0" fill="hold" grpId="0" nodeType="withEffect">
                                  <p:stCondLst>
                                    <p:cond delay="580"/>
                                  </p:stCondLst>
                                  <p:childTnLst>
                                    <p:set>
                                      <p:cBhvr>
                                        <p:cTn id="18" dur="1" fill="hold">
                                          <p:stCondLst>
                                            <p:cond delay="0"/>
                                          </p:stCondLst>
                                        </p:cTn>
                                        <p:tgtEl>
                                          <p:spTgt spid="2"/>
                                        </p:tgtEl>
                                        <p:attrNameLst>
                                          <p:attrName>style.visibility</p:attrName>
                                        </p:attrNameLst>
                                      </p:cBhvr>
                                      <p:to>
                                        <p:strVal val="visible"/>
                                      </p:to>
                                    </p:set>
                                    <p:animEffect transition="in" filter="fade">
                                      <p:cBhvr>
                                        <p:cTn id="19" dur="750"/>
                                        <p:tgtEl>
                                          <p:spTgt spid="2"/>
                                        </p:tgtEl>
                                      </p:cBhvr>
                                    </p:animEffect>
                                  </p:childTnLst>
                                </p:cTn>
                              </p:par>
                              <p:par>
                                <p:cTn id="20" presetID="63" presetClass="path" presetSubtype="0" decel="100000" fill="hold" grpId="1" nodeType="withEffect">
                                  <p:stCondLst>
                                    <p:cond delay="580"/>
                                  </p:stCondLst>
                                  <p:childTnLst>
                                    <p:animMotion origin="layout" path="M -0.02409 1.50289E-6 L -4.16667E-7 1.50289E-6 " pathEditMode="relative" rAng="0" ptsTypes="AA">
                                      <p:cBhvr>
                                        <p:cTn id="21" dur="500" fill="hold"/>
                                        <p:tgtEl>
                                          <p:spTgt spid="2"/>
                                        </p:tgtEl>
                                        <p:attrNameLst>
                                          <p:attrName>ppt_x</p:attrName>
                                          <p:attrName>ppt_y</p:attrName>
                                        </p:attrNameLst>
                                      </p:cBhvr>
                                      <p:rCtr x="1198" y="0"/>
                                    </p:animMotion>
                                  </p:childTnLst>
                                </p:cTn>
                              </p:par>
                              <p:par>
                                <p:cTn id="22" presetID="10" presetClass="entr" presetSubtype="0" fill="hold" grpId="0" nodeType="withEffect">
                                  <p:stCondLst>
                                    <p:cond delay="68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750"/>
                                        <p:tgtEl>
                                          <p:spTgt spid="5"/>
                                        </p:tgtEl>
                                      </p:cBhvr>
                                    </p:animEffect>
                                  </p:childTnLst>
                                </p:cTn>
                              </p:par>
                              <p:par>
                                <p:cTn id="25" presetID="63" presetClass="path" presetSubtype="0" decel="100000" fill="hold" grpId="1" nodeType="withEffect">
                                  <p:stCondLst>
                                    <p:cond delay="680"/>
                                  </p:stCondLst>
                                  <p:childTnLst>
                                    <p:animMotion origin="layout" path="M -0.02409 1.50289E-6 L -4.16667E-7 1.50289E-6 " pathEditMode="relative" rAng="0" ptsTypes="AA">
                                      <p:cBhvr>
                                        <p:cTn id="26" dur="500" fill="hold"/>
                                        <p:tgtEl>
                                          <p:spTgt spid="5"/>
                                        </p:tgtEl>
                                        <p:attrNameLst>
                                          <p:attrName>ppt_x</p:attrName>
                                          <p:attrName>ppt_y</p:attrName>
                                        </p:attrNameLst>
                                      </p:cBhvr>
                                      <p:rCtr x="119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680"/>
                  </p:stCondLst>
                  <p:childTnLst>
                    <p:set>
                      <p:cBhvr>
                        <p:cTn dur="1" fill="hold">
                          <p:stCondLst>
                            <p:cond delay="0"/>
                          </p:stCondLst>
                        </p:cTn>
                        <p:tgtEl>
                          <p:spTgt spid="5"/>
                        </p:tgtEl>
                        <p:attrNameLst>
                          <p:attrName>style.visibility</p:attrName>
                        </p:attrNameLst>
                      </p:cBhvr>
                      <p:to>
                        <p:strVal val="visible"/>
                      </p:to>
                    </p:set>
                    <p:animEffect transition="in" filter="fade">
                      <p:cBhvr>
                        <p:cTn dur="750"/>
                        <p:tgtEl>
                          <p:spTgt spid="5"/>
                        </p:tgtEl>
                      </p:cBhvr>
                    </p:animEffect>
                  </p:childTnLst>
                </p:cTn>
              </p:par>
            </p:tnLst>
          </p:tmpl>
        </p:tmplLst>
      </p:bldP>
      <p:bldP spid="5" grpId="1">
        <p:tmplLst>
          <p:tmpl>
            <p:tnLst>
              <p:par>
                <p:cTn presetID="63" presetClass="path" presetSubtype="0" decel="100000" fill="hold" nodeType="withEffect">
                  <p:stCondLst>
                    <p:cond delay="680"/>
                  </p:stCondLst>
                  <p:childTnLst>
                    <p:animMotion origin="layout" path="M -0.02409 1.50289E-6 L -4.16667E-7 1.50289E-6 " pathEditMode="relative" rAng="0" ptsTypes="AA">
                      <p:cBhvr>
                        <p:cTn dur="500" fill="hold"/>
                        <p:tgtEl>
                          <p:spTgt spid="5"/>
                        </p:tgtEl>
                        <p:attrNameLst>
                          <p:attrName>ppt_x</p:attrName>
                          <p:attrName>ppt_y</p:attrName>
                        </p:attrNameLst>
                      </p:cBhvr>
                      <p:rCtr x="1198" y="0"/>
                    </p:animMotion>
                  </p:childTnLst>
                </p:cTn>
              </p:par>
            </p:tnLst>
          </p:tmpl>
        </p:tmplLst>
      </p:bldP>
      <p:bldP spid="12" grpId="0" animBg="1"/>
      <p:bldP spid="13" grpId="0" animBg="1"/>
      <p:bldP spid="14" grpId="0" animBg="1"/>
    </p:bldLst>
  </p:timing>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Vide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6"/>
            <a:ext cx="9856549" cy="2697988"/>
          </a:xfrm>
          <a:noFill/>
        </p:spPr>
        <p:txBody>
          <a:bodyPr tIns="91440" bIns="91440" anchor="t" anchorCtr="0"/>
          <a:lstStyle>
            <a:lvl1pPr>
              <a:defRPr sz="7057" spc="-98" baseline="0">
                <a:gradFill>
                  <a:gsLst>
                    <a:gs pos="91241">
                      <a:schemeClr val="tx1"/>
                    </a:gs>
                    <a:gs pos="57000">
                      <a:schemeClr val="tx1"/>
                    </a:gs>
                    <a:gs pos="18000">
                      <a:schemeClr val="tx1"/>
                    </a:gs>
                  </a:gsLst>
                  <a:lin ang="5400000" scaled="0"/>
                </a:gradFill>
              </a:defRPr>
            </a:lvl1pPr>
          </a:lstStyle>
          <a:p>
            <a:r>
              <a:rPr lang="en-US" dirty="0" smtClean="0"/>
              <a:t>Video title</a:t>
            </a:r>
            <a:endParaRPr lang="en-US" dirty="0"/>
          </a:p>
        </p:txBody>
      </p:sp>
      <p:sp>
        <p:nvSpPr>
          <p:cNvPr id="8" name="Rectangle 7"/>
          <p:cNvSpPr/>
          <p:nvPr userDrawn="1"/>
        </p:nvSpPr>
        <p:spPr bwMode="gray">
          <a:xfrm flipH="1">
            <a:off x="6542508" y="5629606"/>
            <a:ext cx="4989553" cy="413419"/>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9" name="Rectangle 8"/>
          <p:cNvSpPr/>
          <p:nvPr userDrawn="1"/>
        </p:nvSpPr>
        <p:spPr bwMode="gray">
          <a:xfrm flipH="1">
            <a:off x="7289923" y="5795020"/>
            <a:ext cx="4898902" cy="409756"/>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10" name="Rectangle 9"/>
          <p:cNvSpPr/>
          <p:nvPr userDrawn="1"/>
        </p:nvSpPr>
        <p:spPr bwMode="gray">
          <a:xfrm flipH="1">
            <a:off x="7050344" y="6160357"/>
            <a:ext cx="4971785" cy="409756"/>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Tree>
    <p:extLst>
      <p:ext uri="{BB962C8B-B14F-4D97-AF65-F5344CB8AC3E}">
        <p14:creationId xmlns:p14="http://schemas.microsoft.com/office/powerpoint/2010/main" val="37209349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8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750"/>
                                        <p:tgtEl>
                                          <p:spTgt spid="2"/>
                                        </p:tgtEl>
                                      </p:cBhvr>
                                    </p:animEffect>
                                  </p:childTnLst>
                                </p:cTn>
                              </p:par>
                              <p:par>
                                <p:cTn id="8" presetID="63" presetClass="path" presetSubtype="0" decel="100000" fill="hold" grpId="1" nodeType="withEffect">
                                  <p:stCondLst>
                                    <p:cond delay="580"/>
                                  </p:stCondLst>
                                  <p:childTnLst>
                                    <p:animMotion origin="layout" path="M -0.02409 1.50289E-6 L -4.16667E-7 1.50289E-6 " pathEditMode="relative" rAng="0" ptsTypes="AA">
                                      <p:cBhvr>
                                        <p:cTn id="9" dur="500" fill="hold"/>
                                        <p:tgtEl>
                                          <p:spTgt spid="2"/>
                                        </p:tgtEl>
                                        <p:attrNameLst>
                                          <p:attrName>ppt_x</p:attrName>
                                          <p:attrName>ppt_y</p:attrName>
                                        </p:attrNameLst>
                                      </p:cBhvr>
                                      <p:rCtr x="1198" y="0"/>
                                    </p:animMotion>
                                  </p:childTnLst>
                                </p:cTn>
                              </p:par>
                              <p:par>
                                <p:cTn id="10" presetID="2" presetClass="entr" presetSubtype="2" decel="10000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 calcmode="lin" valueType="num">
                                      <p:cBhvr additive="base">
                                        <p:cTn id="12" dur="850" fill="hold"/>
                                        <p:tgtEl>
                                          <p:spTgt spid="8"/>
                                        </p:tgtEl>
                                        <p:attrNameLst>
                                          <p:attrName>ppt_x</p:attrName>
                                        </p:attrNameLst>
                                      </p:cBhvr>
                                      <p:tavLst>
                                        <p:tav tm="0">
                                          <p:val>
                                            <p:strVal val="1+#ppt_w/2"/>
                                          </p:val>
                                        </p:tav>
                                        <p:tav tm="100000">
                                          <p:val>
                                            <p:strVal val="#ppt_x"/>
                                          </p:val>
                                        </p:tav>
                                      </p:tavLst>
                                    </p:anim>
                                    <p:anim calcmode="lin" valueType="num">
                                      <p:cBhvr additive="base">
                                        <p:cTn id="13" dur="850" fill="hold"/>
                                        <p:tgtEl>
                                          <p:spTgt spid="8"/>
                                        </p:tgtEl>
                                        <p:attrNameLst>
                                          <p:attrName>ppt_y</p:attrName>
                                        </p:attrNameLst>
                                      </p:cBhvr>
                                      <p:tavLst>
                                        <p:tav tm="0">
                                          <p:val>
                                            <p:strVal val="#ppt_y"/>
                                          </p:val>
                                        </p:tav>
                                        <p:tav tm="100000">
                                          <p:val>
                                            <p:strVal val="#ppt_y"/>
                                          </p:val>
                                        </p:tav>
                                      </p:tavLst>
                                    </p:anim>
                                  </p:childTnLst>
                                </p:cTn>
                              </p:par>
                              <p:par>
                                <p:cTn id="14" presetID="2" presetClass="entr" presetSubtype="2" decel="100000" fill="hold" grpId="0" nodeType="withEffect">
                                  <p:stCondLst>
                                    <p:cond delay="250"/>
                                  </p:stCondLst>
                                  <p:childTnLst>
                                    <p:set>
                                      <p:cBhvr>
                                        <p:cTn id="15" dur="1" fill="hold">
                                          <p:stCondLst>
                                            <p:cond delay="0"/>
                                          </p:stCondLst>
                                        </p:cTn>
                                        <p:tgtEl>
                                          <p:spTgt spid="10"/>
                                        </p:tgtEl>
                                        <p:attrNameLst>
                                          <p:attrName>style.visibility</p:attrName>
                                        </p:attrNameLst>
                                      </p:cBhvr>
                                      <p:to>
                                        <p:strVal val="visible"/>
                                      </p:to>
                                    </p:set>
                                    <p:anim calcmode="lin" valueType="num">
                                      <p:cBhvr additive="base">
                                        <p:cTn id="16" dur="850" fill="hold"/>
                                        <p:tgtEl>
                                          <p:spTgt spid="10"/>
                                        </p:tgtEl>
                                        <p:attrNameLst>
                                          <p:attrName>ppt_x</p:attrName>
                                        </p:attrNameLst>
                                      </p:cBhvr>
                                      <p:tavLst>
                                        <p:tav tm="0">
                                          <p:val>
                                            <p:strVal val="1+#ppt_w/2"/>
                                          </p:val>
                                        </p:tav>
                                        <p:tav tm="100000">
                                          <p:val>
                                            <p:strVal val="#ppt_x"/>
                                          </p:val>
                                        </p:tav>
                                      </p:tavLst>
                                    </p:anim>
                                    <p:anim calcmode="lin" valueType="num">
                                      <p:cBhvr additive="base">
                                        <p:cTn id="17" dur="850" fill="hold"/>
                                        <p:tgtEl>
                                          <p:spTgt spid="10"/>
                                        </p:tgtEl>
                                        <p:attrNameLst>
                                          <p:attrName>ppt_y</p:attrName>
                                        </p:attrNameLst>
                                      </p:cBhvr>
                                      <p:tavLst>
                                        <p:tav tm="0">
                                          <p:val>
                                            <p:strVal val="#ppt_y"/>
                                          </p:val>
                                        </p:tav>
                                        <p:tav tm="100000">
                                          <p:val>
                                            <p:strVal val="#ppt_y"/>
                                          </p:val>
                                        </p:tav>
                                      </p:tavLst>
                                    </p:anim>
                                  </p:childTnLst>
                                </p:cTn>
                              </p:par>
                              <p:par>
                                <p:cTn id="18" presetID="2" presetClass="entr" presetSubtype="8" decel="100000" fill="hold" grpId="0" nodeType="withEffect">
                                  <p:stCondLst>
                                    <p:cond delay="250"/>
                                  </p:stCondLst>
                                  <p:childTnLst>
                                    <p:set>
                                      <p:cBhvr>
                                        <p:cTn id="19" dur="1" fill="hold">
                                          <p:stCondLst>
                                            <p:cond delay="0"/>
                                          </p:stCondLst>
                                        </p:cTn>
                                        <p:tgtEl>
                                          <p:spTgt spid="9"/>
                                        </p:tgtEl>
                                        <p:attrNameLst>
                                          <p:attrName>style.visibility</p:attrName>
                                        </p:attrNameLst>
                                      </p:cBhvr>
                                      <p:to>
                                        <p:strVal val="visible"/>
                                      </p:to>
                                    </p:set>
                                    <p:anim calcmode="lin" valueType="num">
                                      <p:cBhvr additive="base">
                                        <p:cTn id="20" dur="850" fill="hold"/>
                                        <p:tgtEl>
                                          <p:spTgt spid="9"/>
                                        </p:tgtEl>
                                        <p:attrNameLst>
                                          <p:attrName>ppt_x</p:attrName>
                                        </p:attrNameLst>
                                      </p:cBhvr>
                                      <p:tavLst>
                                        <p:tav tm="0">
                                          <p:val>
                                            <p:strVal val="0-#ppt_w/2"/>
                                          </p:val>
                                        </p:tav>
                                        <p:tav tm="100000">
                                          <p:val>
                                            <p:strVal val="#ppt_x"/>
                                          </p:val>
                                        </p:tav>
                                      </p:tavLst>
                                    </p:anim>
                                    <p:anim calcmode="lin" valueType="num">
                                      <p:cBhvr additive="base">
                                        <p:cTn id="21" dur="85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8" grpId="0" animBg="1"/>
      <p:bldP spid="9" grpId="0" animBg="1"/>
      <p:bldP spid="10" grpId="0" animBg="1"/>
    </p:bldLst>
  </p:timing>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Section Title Textur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defRPr sz="8625"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
        <p:nvSpPr>
          <p:cNvPr id="5" name="Rectangle 4"/>
          <p:cNvSpPr/>
          <p:nvPr userDrawn="1"/>
        </p:nvSpPr>
        <p:spPr bwMode="gray">
          <a:xfrm>
            <a:off x="680052" y="470068"/>
            <a:ext cx="3186321" cy="597822"/>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6" name="Rectangle 5"/>
          <p:cNvSpPr/>
          <p:nvPr userDrawn="1"/>
        </p:nvSpPr>
        <p:spPr bwMode="gray">
          <a:xfrm>
            <a:off x="-28047" y="589799"/>
            <a:ext cx="3175520" cy="597822"/>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8" name="Rectangle 7"/>
          <p:cNvSpPr/>
          <p:nvPr userDrawn="1"/>
        </p:nvSpPr>
        <p:spPr bwMode="gray">
          <a:xfrm flipH="1">
            <a:off x="6542508" y="5629606"/>
            <a:ext cx="4989553" cy="413419"/>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9" name="Rectangle 8"/>
          <p:cNvSpPr/>
          <p:nvPr userDrawn="1"/>
        </p:nvSpPr>
        <p:spPr bwMode="gray">
          <a:xfrm flipH="1">
            <a:off x="7289923" y="5795020"/>
            <a:ext cx="4898902" cy="409756"/>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10" name="Rectangle 9"/>
          <p:cNvSpPr/>
          <p:nvPr userDrawn="1"/>
        </p:nvSpPr>
        <p:spPr bwMode="gray">
          <a:xfrm flipH="1">
            <a:off x="7050344" y="6160357"/>
            <a:ext cx="4971785" cy="409756"/>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Tree>
    <p:extLst>
      <p:ext uri="{BB962C8B-B14F-4D97-AF65-F5344CB8AC3E}">
        <p14:creationId xmlns:p14="http://schemas.microsoft.com/office/powerpoint/2010/main" val="112695254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850" fill="hold"/>
                                        <p:tgtEl>
                                          <p:spTgt spid="6"/>
                                        </p:tgtEl>
                                        <p:attrNameLst>
                                          <p:attrName>ppt_x</p:attrName>
                                        </p:attrNameLst>
                                      </p:cBhvr>
                                      <p:tavLst>
                                        <p:tav tm="0">
                                          <p:val>
                                            <p:strVal val="0-#ppt_w/2"/>
                                          </p:val>
                                        </p:tav>
                                        <p:tav tm="100000">
                                          <p:val>
                                            <p:strVal val="#ppt_x"/>
                                          </p:val>
                                        </p:tav>
                                      </p:tavLst>
                                    </p:anim>
                                    <p:anim calcmode="lin" valueType="num">
                                      <p:cBhvr additive="base">
                                        <p:cTn id="8" dur="850" fill="hold"/>
                                        <p:tgtEl>
                                          <p:spTgt spid="6"/>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850" fill="hold"/>
                                        <p:tgtEl>
                                          <p:spTgt spid="5"/>
                                        </p:tgtEl>
                                        <p:attrNameLst>
                                          <p:attrName>ppt_x</p:attrName>
                                        </p:attrNameLst>
                                      </p:cBhvr>
                                      <p:tavLst>
                                        <p:tav tm="0">
                                          <p:val>
                                            <p:strVal val="1+#ppt_w/2"/>
                                          </p:val>
                                        </p:tav>
                                        <p:tav tm="100000">
                                          <p:val>
                                            <p:strVal val="#ppt_x"/>
                                          </p:val>
                                        </p:tav>
                                      </p:tavLst>
                                    </p:anim>
                                    <p:anim calcmode="lin" valueType="num">
                                      <p:cBhvr additive="base">
                                        <p:cTn id="12" dur="850" fill="hold"/>
                                        <p:tgtEl>
                                          <p:spTgt spid="5"/>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58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750"/>
                                        <p:tgtEl>
                                          <p:spTgt spid="2"/>
                                        </p:tgtEl>
                                      </p:cBhvr>
                                    </p:animEffect>
                                  </p:childTnLst>
                                </p:cTn>
                              </p:par>
                              <p:par>
                                <p:cTn id="16" presetID="63" presetClass="path" presetSubtype="0" decel="100000" fill="hold" grpId="1" nodeType="withEffect">
                                  <p:stCondLst>
                                    <p:cond delay="580"/>
                                  </p:stCondLst>
                                  <p:childTnLst>
                                    <p:animMotion origin="layout" path="M -0.02409 1.50289E-6 L -4.16667E-7 1.50289E-6 " pathEditMode="relative" rAng="0" ptsTypes="AA">
                                      <p:cBhvr>
                                        <p:cTn id="17" dur="500" fill="hold"/>
                                        <p:tgtEl>
                                          <p:spTgt spid="2"/>
                                        </p:tgtEl>
                                        <p:attrNameLst>
                                          <p:attrName>ppt_x</p:attrName>
                                          <p:attrName>ppt_y</p:attrName>
                                        </p:attrNameLst>
                                      </p:cBhvr>
                                      <p:rCtr x="1198" y="0"/>
                                    </p:animMotion>
                                  </p:childTnLst>
                                </p:cTn>
                              </p:par>
                              <p:par>
                                <p:cTn id="18" presetID="2" presetClass="entr" presetSubtype="2" decel="100000" fill="hold" grpId="0" nodeType="withEffect">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cBhvr additive="base">
                                        <p:cTn id="20" dur="850" fill="hold"/>
                                        <p:tgtEl>
                                          <p:spTgt spid="8"/>
                                        </p:tgtEl>
                                        <p:attrNameLst>
                                          <p:attrName>ppt_x</p:attrName>
                                        </p:attrNameLst>
                                      </p:cBhvr>
                                      <p:tavLst>
                                        <p:tav tm="0">
                                          <p:val>
                                            <p:strVal val="1+#ppt_w/2"/>
                                          </p:val>
                                        </p:tav>
                                        <p:tav tm="100000">
                                          <p:val>
                                            <p:strVal val="#ppt_x"/>
                                          </p:val>
                                        </p:tav>
                                      </p:tavLst>
                                    </p:anim>
                                    <p:anim calcmode="lin" valueType="num">
                                      <p:cBhvr additive="base">
                                        <p:cTn id="21" dur="850" fill="hold"/>
                                        <p:tgtEl>
                                          <p:spTgt spid="8"/>
                                        </p:tgtEl>
                                        <p:attrNameLst>
                                          <p:attrName>ppt_y</p:attrName>
                                        </p:attrNameLst>
                                      </p:cBhvr>
                                      <p:tavLst>
                                        <p:tav tm="0">
                                          <p:val>
                                            <p:strVal val="#ppt_y"/>
                                          </p:val>
                                        </p:tav>
                                        <p:tav tm="100000">
                                          <p:val>
                                            <p:strVal val="#ppt_y"/>
                                          </p:val>
                                        </p:tav>
                                      </p:tavLst>
                                    </p:anim>
                                  </p:childTnLst>
                                </p:cTn>
                              </p:par>
                              <p:par>
                                <p:cTn id="22" presetID="2" presetClass="entr" presetSubtype="2" decel="100000" fill="hold" grpId="0" nodeType="withEffect">
                                  <p:stCondLst>
                                    <p:cond delay="250"/>
                                  </p:stCondLst>
                                  <p:childTnLst>
                                    <p:set>
                                      <p:cBhvr>
                                        <p:cTn id="23" dur="1" fill="hold">
                                          <p:stCondLst>
                                            <p:cond delay="0"/>
                                          </p:stCondLst>
                                        </p:cTn>
                                        <p:tgtEl>
                                          <p:spTgt spid="10"/>
                                        </p:tgtEl>
                                        <p:attrNameLst>
                                          <p:attrName>style.visibility</p:attrName>
                                        </p:attrNameLst>
                                      </p:cBhvr>
                                      <p:to>
                                        <p:strVal val="visible"/>
                                      </p:to>
                                    </p:set>
                                    <p:anim calcmode="lin" valueType="num">
                                      <p:cBhvr additive="base">
                                        <p:cTn id="24" dur="850" fill="hold"/>
                                        <p:tgtEl>
                                          <p:spTgt spid="10"/>
                                        </p:tgtEl>
                                        <p:attrNameLst>
                                          <p:attrName>ppt_x</p:attrName>
                                        </p:attrNameLst>
                                      </p:cBhvr>
                                      <p:tavLst>
                                        <p:tav tm="0">
                                          <p:val>
                                            <p:strVal val="1+#ppt_w/2"/>
                                          </p:val>
                                        </p:tav>
                                        <p:tav tm="100000">
                                          <p:val>
                                            <p:strVal val="#ppt_x"/>
                                          </p:val>
                                        </p:tav>
                                      </p:tavLst>
                                    </p:anim>
                                    <p:anim calcmode="lin" valueType="num">
                                      <p:cBhvr additive="base">
                                        <p:cTn id="25" dur="850" fill="hold"/>
                                        <p:tgtEl>
                                          <p:spTgt spid="10"/>
                                        </p:tgtEl>
                                        <p:attrNameLst>
                                          <p:attrName>ppt_y</p:attrName>
                                        </p:attrNameLst>
                                      </p:cBhvr>
                                      <p:tavLst>
                                        <p:tav tm="0">
                                          <p:val>
                                            <p:strVal val="#ppt_y"/>
                                          </p:val>
                                        </p:tav>
                                        <p:tav tm="100000">
                                          <p:val>
                                            <p:strVal val="#ppt_y"/>
                                          </p:val>
                                        </p:tav>
                                      </p:tavLst>
                                    </p:anim>
                                  </p:childTnLst>
                                </p:cTn>
                              </p:par>
                              <p:par>
                                <p:cTn id="26" presetID="2" presetClass="entr" presetSubtype="8" decel="100000" fill="hold" grpId="0" nodeType="withEffect">
                                  <p:stCondLst>
                                    <p:cond delay="250"/>
                                  </p:stCondLst>
                                  <p:childTnLst>
                                    <p:set>
                                      <p:cBhvr>
                                        <p:cTn id="27" dur="1" fill="hold">
                                          <p:stCondLst>
                                            <p:cond delay="0"/>
                                          </p:stCondLst>
                                        </p:cTn>
                                        <p:tgtEl>
                                          <p:spTgt spid="9"/>
                                        </p:tgtEl>
                                        <p:attrNameLst>
                                          <p:attrName>style.visibility</p:attrName>
                                        </p:attrNameLst>
                                      </p:cBhvr>
                                      <p:to>
                                        <p:strVal val="visible"/>
                                      </p:to>
                                    </p:set>
                                    <p:anim calcmode="lin" valueType="num">
                                      <p:cBhvr additive="base">
                                        <p:cTn id="28" dur="850" fill="hold"/>
                                        <p:tgtEl>
                                          <p:spTgt spid="9"/>
                                        </p:tgtEl>
                                        <p:attrNameLst>
                                          <p:attrName>ppt_x</p:attrName>
                                        </p:attrNameLst>
                                      </p:cBhvr>
                                      <p:tavLst>
                                        <p:tav tm="0">
                                          <p:val>
                                            <p:strVal val="0-#ppt_w/2"/>
                                          </p:val>
                                        </p:tav>
                                        <p:tav tm="100000">
                                          <p:val>
                                            <p:strVal val="#ppt_x"/>
                                          </p:val>
                                        </p:tav>
                                      </p:tavLst>
                                    </p:anim>
                                    <p:anim calcmode="lin" valueType="num">
                                      <p:cBhvr additive="base">
                                        <p:cTn id="29" dur="85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animBg="1"/>
      <p:bldP spid="6" grpId="0" animBg="1"/>
      <p:bldP spid="8" grpId="0" animBg="1"/>
      <p:bldP spid="9" grpId="0" animBg="1"/>
      <p:bldP spid="10" grpId="0" animBg="1"/>
    </p:bldLst>
  </p:timing>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defRPr sz="8625"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9527984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129502748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97447684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lide Photo Layout">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t="15937" r="3431" b="2608"/>
          <a:stretch/>
        </p:blipFill>
        <p:spPr>
          <a:xfrm>
            <a:off x="2" y="-7783"/>
            <a:ext cx="12218386" cy="6873565"/>
          </a:xfrm>
          <a:prstGeom prst="rect">
            <a:avLst/>
          </a:prstGeom>
        </p:spPr>
      </p:pic>
      <p:sp>
        <p:nvSpPr>
          <p:cNvPr id="19" name="Dark gradation top"/>
          <p:cNvSpPr/>
          <p:nvPr userDrawn="1"/>
        </p:nvSpPr>
        <p:spPr bwMode="gray">
          <a:xfrm>
            <a:off x="1" y="-7783"/>
            <a:ext cx="12103070" cy="6568608"/>
          </a:xfrm>
          <a:prstGeom prst="rect">
            <a:avLst/>
          </a:prstGeom>
          <a:gradFill flip="none" rotWithShape="1">
            <a:gsLst>
              <a:gs pos="0">
                <a:srgbClr val="000000">
                  <a:alpha val="7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14" y="539681"/>
            <a:ext cx="5901482" cy="2062069"/>
          </a:xfrm>
          <a:noFill/>
        </p:spPr>
        <p:txBody>
          <a:bodyPr vert="horz" wrap="square" lIns="146304" tIns="91440" rIns="146304" bIns="91440" rtlCol="0" anchor="t" anchorCtr="0">
            <a:noAutofit/>
          </a:bodyPr>
          <a:lstStyle>
            <a:lvl1pPr>
              <a:defRPr lang="en-US" sz="5880" spc="-98" baseline="0" dirty="0">
                <a:solidFill>
                  <a:schemeClr val="tx1"/>
                </a:solidFill>
              </a:defRPr>
            </a:lvl1pPr>
          </a:lstStyle>
          <a:p>
            <a:pPr lvl="0"/>
            <a:r>
              <a:rPr lang="en-US" dirty="0" smtClean="0"/>
              <a:t>Presentation title</a:t>
            </a:r>
            <a:endParaRPr lang="en-US" dirty="0"/>
          </a:p>
        </p:txBody>
      </p:sp>
      <p:pic>
        <p:nvPicPr>
          <p:cNvPr id="11"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205" y="6061767"/>
            <a:ext cx="1522008" cy="326167"/>
          </a:xfrm>
          <a:prstGeom prst="rect">
            <a:avLst/>
          </a:prstGeom>
        </p:spPr>
      </p:pic>
    </p:spTree>
    <p:extLst>
      <p:ext uri="{BB962C8B-B14F-4D97-AF65-F5344CB8AC3E}">
        <p14:creationId xmlns:p14="http://schemas.microsoft.com/office/powerpoint/2010/main" val="26203504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5832745"/>
      </p:ext>
    </p:extLst>
  </p:cSld>
  <p:clrMapOvr>
    <a:masterClrMapping/>
  </p:clrMapOvr>
  <p:transition>
    <p:fade/>
  </p:transition>
  <p:timing>
    <p:tnLst>
      <p:par>
        <p:cTn id="1" dur="indefinite" restart="never" nodeType="tmRoot"/>
      </p:par>
    </p:tnLst>
  </p:timing>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856494"/>
      </p:ext>
    </p:extLst>
  </p:cSld>
  <p:clrMapOvr>
    <a:masterClrMapping/>
  </p:clrMapOvr>
  <p:transition>
    <p:fade/>
  </p:transition>
  <p:timing>
    <p:tnLst>
      <p:par>
        <p:cTn id="1" dur="indefinite" restart="never" nodeType="tmRoot"/>
      </p:par>
    </p:tnLst>
  </p:timing>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638835178"/>
      </p:ext>
    </p:extLst>
  </p:cSld>
  <p:clrMapOvr>
    <a:masterClrMapping/>
  </p:clrMapOvr>
  <p:transition>
    <p:fade/>
  </p:transition>
  <p:timing>
    <p:tnLst>
      <p:par>
        <p:cTn id="1" dur="indefinite" restart="never" nodeType="tmRoot"/>
      </p:par>
    </p:tnLst>
  </p:timing>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883966597"/>
      </p:ext>
    </p:extLst>
  </p:cSld>
  <p:clrMapOvr>
    <a:masterClrMapping/>
  </p:clrMapOvr>
  <p:transition>
    <p:fade/>
  </p:transition>
  <p:timing>
    <p:tnLst>
      <p:par>
        <p:cTn id="1" dur="indefinite" restart="never" nodeType="tmRoot"/>
      </p:par>
    </p:tnLst>
  </p:timing>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18106742"/>
      </p:ext>
    </p:extLst>
  </p:cSld>
  <p:clrMapOvr>
    <a:masterClrMapping/>
  </p:clrMapOvr>
  <p:transition>
    <p:fade/>
  </p:transition>
  <p:timing>
    <p:tnLst>
      <p:par>
        <p:cTn id="1" dur="indefinite" restart="never" nodeType="tmRoot"/>
      </p:par>
    </p:tnLst>
  </p:timing>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5109">
                      <a:schemeClr val="tx2"/>
                    </a:gs>
                    <a:gs pos="2500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100000">
                      <a:schemeClr val="tx2"/>
                    </a:gs>
                    <a:gs pos="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80520858"/>
      </p:ext>
    </p:extLst>
  </p:cSld>
  <p:clrMapOvr>
    <a:masterClrMapping/>
  </p:clrMapOvr>
  <p:transition>
    <p:fade/>
  </p:transition>
  <p:timing>
    <p:tnLst>
      <p:par>
        <p:cTn id="1" dur="indefinite" restart="never" nodeType="tmRoot"/>
      </p:par>
    </p:tnLst>
  </p:timing>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2730391"/>
      </p:ext>
    </p:extLst>
  </p:cSld>
  <p:clrMapOvr>
    <a:masterClrMapping/>
  </p:clrMapOvr>
  <p:transition>
    <p:fade/>
  </p:transition>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04746790"/>
      </p:ext>
    </p:extLst>
  </p:cSld>
  <p:clrMapOvr>
    <a:masterClrMapping/>
  </p:clrMapOvr>
  <p:transition>
    <p:fade/>
  </p:transition>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087542944"/>
      </p:ext>
    </p:extLst>
  </p:cSld>
  <p:clrMapOvr>
    <a:masterClrMapping/>
  </p:clrMapOvr>
  <p:transition>
    <p:fade/>
  </p:transition>
  <p:timing>
    <p:tnLst>
      <p:par>
        <p:cTn id="1" dur="indefinite" restart="never" nodeType="tmRoot"/>
      </p:par>
    </p:tnLst>
  </p:timing>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Picture Placeholder 3"/>
          <p:cNvSpPr>
            <a:spLocks noGrp="1"/>
          </p:cNvSpPr>
          <p:nvPr>
            <p:ph type="pic" sz="quarter" idx="10"/>
          </p:nvPr>
        </p:nvSpPr>
        <p:spPr>
          <a:xfrm>
            <a:off x="6106791" y="1475741"/>
            <a:ext cx="5633939" cy="727571"/>
          </a:xfrm>
        </p:spPr>
        <p:txBody>
          <a:bodyPr/>
          <a:lstStyle/>
          <a:p>
            <a:endParaRPr lang="en-US"/>
          </a:p>
        </p:txBody>
      </p:sp>
    </p:spTree>
    <p:extLst>
      <p:ext uri="{BB962C8B-B14F-4D97-AF65-F5344CB8AC3E}">
        <p14:creationId xmlns:p14="http://schemas.microsoft.com/office/powerpoint/2010/main" val="831997443"/>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2"/>
            <a:ext cx="6271784" cy="1794661"/>
          </a:xfrm>
          <a:noFill/>
        </p:spPr>
        <p:txBody>
          <a:bodyPr lIns="146304" tIns="109728" rIns="146304" bIns="109728">
            <a:noAutofit/>
          </a:bodyPr>
          <a:lstStyle>
            <a:lvl1pPr marL="0" indent="0">
              <a:spcBef>
                <a:spcPts val="0"/>
              </a:spcBef>
              <a:buNone/>
              <a:defRPr sz="3528" spc="0" baseline="0">
                <a:solidFill>
                  <a:schemeClr val="bg1">
                    <a:lumMod val="75000"/>
                  </a:schemeClr>
                </a:soli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8065659" cy="1801436"/>
          </a:xfrm>
          <a:noFill/>
        </p:spPr>
        <p:txBody>
          <a:bodyPr lIns="146304" tIns="91440" rIns="146304" bIns="91440" anchor="t" anchorCtr="0"/>
          <a:lstStyle>
            <a:lvl1pPr>
              <a:defRPr sz="5880" spc="-98" baseline="0">
                <a:solidFill>
                  <a:schemeClr val="bg1">
                    <a:lumMod val="75000"/>
                  </a:schemeClr>
                </a:solidFill>
              </a:defRPr>
            </a:lvl1pPr>
          </a:lstStyle>
          <a:p>
            <a:r>
              <a:rPr lang="en-US" dirty="0" smtClean="0"/>
              <a:t>Presentation title</a:t>
            </a:r>
            <a:endParaRPr lang="en-US" dirty="0"/>
          </a:p>
        </p:txBody>
      </p:sp>
      <p:pic>
        <p:nvPicPr>
          <p:cNvPr id="8" name="MS logo whit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449205" y="6061767"/>
            <a:ext cx="1522008" cy="326167"/>
          </a:xfrm>
          <a:prstGeom prst="rect">
            <a:avLst/>
          </a:prstGeom>
        </p:spPr>
      </p:pic>
    </p:spTree>
    <p:extLst>
      <p:ext uri="{BB962C8B-B14F-4D97-AF65-F5344CB8AC3E}">
        <p14:creationId xmlns:p14="http://schemas.microsoft.com/office/powerpoint/2010/main" val="35625412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6949" y="1187621"/>
            <a:ext cx="11652805" cy="899665"/>
          </a:xfrm>
        </p:spPr>
        <p:txBody>
          <a:bodyPr/>
          <a:lstStyle>
            <a:lvl1pPr>
              <a:defRPr sz="7057" baseline="0"/>
            </a:lvl1pPr>
          </a:lstStyle>
          <a:p>
            <a:r>
              <a:rPr lang="en-US" smtClean="0"/>
              <a:t>Click to edit Master title style</a:t>
            </a:r>
            <a:endParaRPr lang="en-US" dirty="0"/>
          </a:p>
        </p:txBody>
      </p:sp>
    </p:spTree>
    <p:extLst>
      <p:ext uri="{BB962C8B-B14F-4D97-AF65-F5344CB8AC3E}">
        <p14:creationId xmlns:p14="http://schemas.microsoft.com/office/powerpoint/2010/main" val="832616204"/>
      </p:ext>
    </p:extLst>
  </p:cSld>
  <p:clrMapOvr>
    <a:masterClrMapping/>
  </p:clrMapOvr>
  <p:transition>
    <p:fade/>
  </p:transition>
  <p:timing>
    <p:tnLst>
      <p:par>
        <p:cTn id="1" dur="indefinite" restart="never" nodeType="tmRoot"/>
      </p:par>
    </p:tnLst>
  </p:timing>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3946584458"/>
      </p:ext>
    </p:extLst>
  </p:cSld>
  <p:clrMapOvr>
    <a:masterClrMapping/>
  </p:clrMapOvr>
  <p:transition>
    <p:fade/>
  </p:transition>
  <p:timing>
    <p:tnLst>
      <p:par>
        <p:cTn id="1" dur="indefinite" restart="never" nodeType="tmRoot"/>
      </p:par>
    </p:tnLst>
  </p:timing>
</p:sldLayout>
</file>

<file path=ppt/slideLayouts/slideLayout472.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172402779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1178349"/>
            <a:ext cx="9858104" cy="899665"/>
          </a:xfrm>
        </p:spPr>
        <p:txBody>
          <a:bodyPr/>
          <a:lstStyle>
            <a:lvl1pPr marL="228719" indent="-228719">
              <a:defRPr sz="5881"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5025984"/>
            <a:ext cx="5377148" cy="1050156"/>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3621173198"/>
      </p:ext>
    </p:extLst>
  </p:cSld>
  <p:clrMapOvr>
    <a:masterClrMapping/>
  </p:clrMapOvr>
  <p:transition>
    <p:fade/>
  </p:transition>
  <p:timing>
    <p:tnLst>
      <p:par>
        <p:cTn id="1" dur="indefinite" restart="never" nodeType="tmRoot"/>
      </p:par>
    </p:tnLst>
  </p:timing>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2084173"/>
            <a:ext cx="9858104" cy="899665"/>
          </a:xfrm>
        </p:spPr>
        <p:txBody>
          <a:bodyPr/>
          <a:lstStyle>
            <a:lvl1pPr marL="276952" indent="-276952">
              <a:tabLst>
                <a:tab pos="276952" algn="l"/>
              </a:tabLst>
              <a:defRPr sz="5881"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4773813"/>
            <a:ext cx="5377148" cy="1050156"/>
          </a:xfrm>
        </p:spPr>
        <p:txBody>
          <a:bodyPr/>
          <a:lstStyle>
            <a:lvl1pPr marL="0" indent="0">
              <a:spcBef>
                <a:spcPts val="0"/>
              </a:spcBef>
              <a:buNone/>
              <a:defRPr sz="3136"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170984172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49" y="2383023"/>
            <a:ext cx="11650488"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smtClean="0"/>
              <a:t>Click to edit Master text styles</a:t>
            </a:r>
          </a:p>
        </p:txBody>
      </p:sp>
      <p:sp>
        <p:nvSpPr>
          <p:cNvPr id="4" name="Title 1"/>
          <p:cNvSpPr>
            <a:spLocks noGrp="1"/>
          </p:cNvSpPr>
          <p:nvPr>
            <p:ph type="title"/>
          </p:nvPr>
        </p:nvSpPr>
        <p:spPr>
          <a:xfrm>
            <a:off x="276949" y="1187621"/>
            <a:ext cx="11652805" cy="899665"/>
          </a:xfrm>
        </p:spPr>
        <p:txBody>
          <a:bodyPr/>
          <a:lstStyle>
            <a:lvl1pPr>
              <a:defRPr sz="7057"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317709378"/>
      </p:ext>
    </p:extLst>
  </p:cSld>
  <p:clrMapOvr>
    <a:masterClrMapping/>
  </p:clrMapOvr>
  <p:transition>
    <p:fade/>
  </p:transition>
  <p:timing>
    <p:tnLst>
      <p:par>
        <p:cTn id="1" dur="indefinite" restart="never" nodeType="tmRoot"/>
      </p:par>
    </p:tnLst>
  </p:timing>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5774253"/>
      </p:ext>
    </p:extLst>
  </p:cSld>
  <p:clrMapOvr>
    <a:masterClrMapping/>
  </p:clrMapOvr>
  <p:transition>
    <p:fade/>
  </p:transition>
  <p:timing>
    <p:tnLst>
      <p:par>
        <p:cTn id="1" dur="indefinite" restart="never" nodeType="tmRoot"/>
      </p:par>
    </p:tnLst>
  </p:timing>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736421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206722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337425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232" y="1187644"/>
            <a:ext cx="806566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1" y="1186356"/>
            <a:ext cx="8065721" cy="2697988"/>
          </a:xfrm>
          <a:noFill/>
        </p:spPr>
        <p:txBody>
          <a:bodyPr tIns="91440" bIns="91440" anchor="t" anchorCtr="0"/>
          <a:lstStyle>
            <a:lvl1pPr>
              <a:defRPr sz="7056" spc="-98"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69" y="3877278"/>
            <a:ext cx="8065712" cy="1793881"/>
          </a:xfrm>
          <a:noFill/>
        </p:spPr>
        <p:txBody>
          <a:bodyPr lIns="182880" tIns="146304" rIns="182880" bIns="146304">
            <a:noAutofit/>
          </a:bodyPr>
          <a:lstStyle>
            <a:lvl1pPr marL="0" indent="0">
              <a:spcBef>
                <a:spcPts val="0"/>
              </a:spcBef>
              <a:buNone/>
              <a:defRPr sz="3528" spc="0" baseline="0">
                <a:gradFill>
                  <a:gsLst>
                    <a:gs pos="0">
                      <a:srgbClr val="FFFFFF"/>
                    </a:gs>
                    <a:gs pos="100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15245357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77351930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81.xml><?xml version="1.0" encoding="utf-8"?>
<p:sldLayout xmlns:a="http://schemas.openxmlformats.org/drawingml/2006/main" xmlns:r="http://schemas.openxmlformats.org/officeDocument/2006/relationships" xmlns:p="http://schemas.openxmlformats.org/presentationml/2006/main">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115" y="228602"/>
            <a:ext cx="11149013" cy="747897"/>
          </a:xfrm>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5" y="1447799"/>
            <a:ext cx="11149013" cy="2198551"/>
          </a:xfrm>
          <a:prstGeom prst="rect">
            <a:avLst/>
          </a:prstGeom>
        </p:spPr>
        <p:txBody>
          <a:bodyPr/>
          <a:lstStyle>
            <a:lvl1pPr marL="283635" indent="-283635">
              <a:buFont typeface="Wingdings" pitchFamily="2" charset="2"/>
              <a:buChar char=""/>
              <a:defRPr sz="3999"/>
            </a:lvl1pPr>
            <a:lvl2pPr marL="516563" indent="-232929">
              <a:buFont typeface="Wingdings" pitchFamily="2" charset="2"/>
              <a:buChar char=""/>
              <a:defRPr>
                <a:latin typeface="+mn-lt"/>
              </a:defRPr>
            </a:lvl2pPr>
            <a:lvl3pPr marL="739981" indent="-223422">
              <a:buFont typeface="Wingdings" pitchFamily="2" charset="2"/>
              <a:buChar char=""/>
              <a:tabLst/>
              <a:defRPr>
                <a:latin typeface="+mn-lt"/>
              </a:defRPr>
            </a:lvl3pPr>
            <a:lvl4pPr marL="912697" indent="-172715">
              <a:buFont typeface="Wingdings" pitchFamily="2" charset="2"/>
              <a:buChar char=""/>
              <a:defRPr>
                <a:latin typeface="+mn-lt"/>
              </a:defRPr>
            </a:lvl4pPr>
            <a:lvl5pPr marL="1085413" indent="-172715">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9"/>
          <p:cNvSpPr>
            <a:spLocks noGrp="1"/>
          </p:cNvSpPr>
          <p:nvPr>
            <p:ph type="sldNum" sz="quarter" idx="12"/>
          </p:nvPr>
        </p:nvSpPr>
        <p:spPr>
          <a:xfrm>
            <a:off x="520701" y="6399557"/>
            <a:ext cx="560686"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4038"/>
            <a:fld id="{FA4A93B8-B23A-4F35-A6A2-2F1F9227CD90}" type="slidenum">
              <a:rPr lang="en-US" smtClean="0">
                <a:gradFill>
                  <a:gsLst>
                    <a:gs pos="100000">
                      <a:srgbClr val="797A7D"/>
                    </a:gs>
                    <a:gs pos="0">
                      <a:srgbClr val="797A7D"/>
                    </a:gs>
                  </a:gsLst>
                  <a:lin ang="5400000" scaled="0"/>
                </a:gradFill>
              </a:rPr>
              <a:pPr defTabSz="914038"/>
              <a:t>‹#›</a:t>
            </a:fld>
            <a:endParaRPr lang="en-US">
              <a:gradFill>
                <a:gsLst>
                  <a:gs pos="100000">
                    <a:srgbClr val="797A7D"/>
                  </a:gs>
                  <a:gs pos="0">
                    <a:srgbClr val="797A7D"/>
                  </a:gs>
                </a:gsLst>
                <a:lin ang="5400000" scaled="0"/>
              </a:gradFill>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2862" y="6309360"/>
            <a:ext cx="1774550" cy="548640"/>
          </a:xfrm>
          <a:prstGeom prst="rect">
            <a:avLst/>
          </a:prstGeom>
        </p:spPr>
      </p:pic>
    </p:spTree>
    <p:extLst>
      <p:ext uri="{BB962C8B-B14F-4D97-AF65-F5344CB8AC3E}">
        <p14:creationId xmlns:p14="http://schemas.microsoft.com/office/powerpoint/2010/main" val="1824375079"/>
      </p:ext>
    </p:extLst>
  </p:cSld>
  <p:clrMapOvr>
    <a:masterClrMapping/>
  </p:clrMapOvr>
  <p:transition>
    <p:fade/>
  </p:transition>
  <p:timing>
    <p:tnLst>
      <p:par>
        <p:cTn id="1" dur="indefinite" restart="never" nodeType="tmRoot"/>
      </p:par>
    </p:tnLst>
  </p:timing>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bg2"/>
        </a:solidFill>
        <a:effectLst/>
      </p:bgPr>
    </p:bg>
    <p:spTree>
      <p:nvGrpSpPr>
        <p:cNvPr id="1" name=""/>
        <p:cNvGrpSpPr/>
        <p:nvPr/>
      </p:nvGrpSpPr>
      <p:grpSpPr>
        <a:xfrm>
          <a:off x="0" y="0"/>
          <a:ext cx="0" cy="0"/>
          <a:chOff x="0" y="0"/>
          <a:chExt cx="0" cy="0"/>
        </a:xfrm>
      </p:grpSpPr>
      <p:sp>
        <p:nvSpPr>
          <p:cNvPr id="15" name="Rectangle 14"/>
          <p:cNvSpPr/>
          <p:nvPr userDrawn="1"/>
        </p:nvSpPr>
        <p:spPr bwMode="white">
          <a:xfrm>
            <a:off x="1" y="1"/>
            <a:ext cx="12188202" cy="685862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5"/>
          <p:cNvSpPr>
            <a:spLocks noChangeArrowheads="1"/>
          </p:cNvSpPr>
          <p:nvPr userDrawn="1"/>
        </p:nvSpPr>
        <p:spPr bwMode="auto">
          <a:xfrm>
            <a:off x="3113" y="4309989"/>
            <a:ext cx="12185713" cy="2551127"/>
          </a:xfrm>
          <a:prstGeom prst="rect">
            <a:avLst/>
          </a:prstGeom>
          <a:solidFill>
            <a:srgbClr val="4D9ED7"/>
          </a:solidFill>
          <a:ln>
            <a:noFill/>
          </a:ln>
        </p:spPr>
        <p:txBody>
          <a:bodyPr vert="horz" wrap="square" lIns="89619" tIns="44809" rIns="89619" bIns="44809" numCol="1" anchor="t" anchorCtr="0" compatLnSpc="1">
            <a:prstTxWarp prst="textNoShape">
              <a:avLst/>
            </a:prstTxWarp>
          </a:bodyPr>
          <a:lstStyle/>
          <a:p>
            <a:pPr defTabSz="914093"/>
            <a:endParaRPr lang="en-US" sz="1764" dirty="0">
              <a:solidFill>
                <a:srgbClr val="FFFFFF"/>
              </a:solidFill>
            </a:endParaRPr>
          </a:p>
        </p:txBody>
      </p:sp>
      <p:sp>
        <p:nvSpPr>
          <p:cNvPr id="10" name="Rectangle 7"/>
          <p:cNvSpPr>
            <a:spLocks noChangeArrowheads="1"/>
          </p:cNvSpPr>
          <p:nvPr userDrawn="1"/>
        </p:nvSpPr>
        <p:spPr bwMode="auto">
          <a:xfrm>
            <a:off x="1" y="5729528"/>
            <a:ext cx="12185714" cy="1131586"/>
          </a:xfrm>
          <a:prstGeom prst="rect">
            <a:avLst/>
          </a:prstGeom>
          <a:solidFill>
            <a:srgbClr val="00188F"/>
          </a:solidFill>
          <a:ln>
            <a:noFill/>
          </a:ln>
          <a:extLst/>
        </p:spPr>
        <p:txBody>
          <a:bodyPr vert="horz" wrap="square" lIns="89619" tIns="44809" rIns="89619" bIns="44809" numCol="1" anchor="t" anchorCtr="0" compatLnSpc="1">
            <a:prstTxWarp prst="textNoShape">
              <a:avLst/>
            </a:prstTxWarp>
          </a:bodyPr>
          <a:lstStyle/>
          <a:p>
            <a:pPr defTabSz="914093"/>
            <a:endParaRPr lang="en-US" sz="1764" dirty="0">
              <a:solidFill>
                <a:srgbClr val="FFFFFF"/>
              </a:solidFill>
            </a:endParaRPr>
          </a:p>
        </p:txBody>
      </p:sp>
      <p:sp>
        <p:nvSpPr>
          <p:cNvPr id="11" name="Rectangle 8"/>
          <p:cNvSpPr>
            <a:spLocks noChangeArrowheads="1"/>
          </p:cNvSpPr>
          <p:nvPr userDrawn="1"/>
        </p:nvSpPr>
        <p:spPr bwMode="auto">
          <a:xfrm>
            <a:off x="3112" y="3343393"/>
            <a:ext cx="12182604"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dirty="0">
              <a:solidFill>
                <a:srgbClr val="FFFFFF"/>
              </a:solidFill>
            </a:endParaRPr>
          </a:p>
        </p:txBody>
      </p:sp>
      <p:sp>
        <p:nvSpPr>
          <p:cNvPr id="13" name="Rectangle 12"/>
          <p:cNvSpPr/>
          <p:nvPr userDrawn="1"/>
        </p:nvSpPr>
        <p:spPr bwMode="white">
          <a:xfrm>
            <a:off x="1" y="-312"/>
            <a:ext cx="12188202" cy="6858623"/>
          </a:xfrm>
          <a:prstGeom prst="rect">
            <a:avLst/>
          </a:prstGeom>
          <a:solidFill>
            <a:srgbClr val="008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034" y="3877272"/>
            <a:ext cx="6271784"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9858042" cy="1801436"/>
          </a:xfrm>
          <a:noFill/>
        </p:spPr>
        <p:txBody>
          <a:bodyPr lIns="146304" tIns="91440" rIns="146304" bIns="91440" anchor="t" anchorCtr="0"/>
          <a:lstStyle>
            <a:lvl1pPr>
              <a:defRPr sz="5880"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205" y="6061767"/>
            <a:ext cx="1522008" cy="326167"/>
          </a:xfrm>
          <a:prstGeom prst="rect">
            <a:avLst/>
          </a:prstGeom>
        </p:spPr>
      </p:pic>
      <p:sp>
        <p:nvSpPr>
          <p:cNvPr id="8" name="Rectangle 6"/>
          <p:cNvSpPr>
            <a:spLocks noChangeArrowheads="1"/>
          </p:cNvSpPr>
          <p:nvPr userDrawn="1"/>
        </p:nvSpPr>
        <p:spPr bwMode="auto">
          <a:xfrm>
            <a:off x="3113" y="4309989"/>
            <a:ext cx="12185713"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dirty="0">
              <a:solidFill>
                <a:srgbClr val="FFFFFF"/>
              </a:solidFill>
            </a:endParaRPr>
          </a:p>
        </p:txBody>
      </p:sp>
      <p:sp>
        <p:nvSpPr>
          <p:cNvPr id="17" name="Text Placeholder 16"/>
          <p:cNvSpPr>
            <a:spLocks noGrp="1"/>
          </p:cNvSpPr>
          <p:nvPr>
            <p:ph type="body" sz="quarter" idx="13" hasCustomPrompt="1"/>
          </p:nvPr>
        </p:nvSpPr>
        <p:spPr>
          <a:xfrm>
            <a:off x="269169" y="291069"/>
            <a:ext cx="3584765" cy="452654"/>
          </a:xfrm>
        </p:spPr>
        <p:txBody>
          <a:bodyPr/>
          <a:lstStyle>
            <a:lvl1pPr marL="0" indent="0">
              <a:buNone/>
              <a:defRPr sz="1960">
                <a:latin typeface="+mn-lt"/>
              </a:defRPr>
            </a:lvl1pPr>
            <a:lvl2pPr marL="336044" indent="0">
              <a:buNone/>
              <a:defRPr sz="1960"/>
            </a:lvl2pPr>
            <a:lvl3pPr marL="560073" indent="0">
              <a:buNone/>
              <a:defRPr sz="1960"/>
            </a:lvl3pPr>
            <a:lvl4pPr marL="784103" indent="0">
              <a:buNone/>
              <a:defRPr sz="1960"/>
            </a:lvl4pPr>
            <a:lvl5pPr marL="1008132" indent="0">
              <a:buNone/>
              <a:defRPr sz="1960"/>
            </a:lvl5pPr>
          </a:lstStyle>
          <a:p>
            <a:pPr lvl="0"/>
            <a:r>
              <a:rPr lang="en-US" dirty="0" smtClean="0"/>
              <a:t>Session Code</a:t>
            </a:r>
            <a:endParaRPr lang="en-US" dirty="0"/>
          </a:p>
        </p:txBody>
      </p:sp>
    </p:spTree>
    <p:extLst>
      <p:ext uri="{BB962C8B-B14F-4D97-AF65-F5344CB8AC3E}">
        <p14:creationId xmlns:p14="http://schemas.microsoft.com/office/powerpoint/2010/main" val="73643721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150"/>
                                  </p:stCondLst>
                                  <p:childTnLst>
                                    <p:animMotion origin="layout" path="M 0 0 L 1.00728 0 " pathEditMode="relative" rAng="0" ptsTypes="AA">
                                      <p:cBhvr>
                                        <p:cTn id="8" dur="750" fill="hold"/>
                                        <p:tgtEl>
                                          <p:spTgt spid="15"/>
                                        </p:tgtEl>
                                        <p:attrNameLst>
                                          <p:attrName>ppt_x</p:attrName>
                                          <p:attrName>ppt_y</p:attrName>
                                        </p:attrNameLst>
                                      </p:cBhvr>
                                      <p:rCtr x="50357" y="0"/>
                                    </p:animMotion>
                                  </p:childTnLst>
                                </p:cTn>
                              </p:par>
                              <p:par>
                                <p:cTn id="9" presetID="63" presetClass="path" presetSubtype="0" accel="24000" decel="76000" fill="hold" grpId="0" nodeType="withEffect">
                                  <p:stCondLst>
                                    <p:cond delay="250"/>
                                  </p:stCondLst>
                                  <p:childTnLst>
                                    <p:animMotion origin="layout" path="M 0 3.25011E-6 L 1.00728 3.25011E-6 " pathEditMode="relative" rAng="0" ptsTypes="AA">
                                      <p:cBhvr>
                                        <p:cTn id="10" dur="750" fill="hold"/>
                                        <p:tgtEl>
                                          <p:spTgt spid="12"/>
                                        </p:tgtEl>
                                        <p:attrNameLst>
                                          <p:attrName>ppt_x</p:attrName>
                                          <p:attrName>ppt_y</p:attrName>
                                        </p:attrNameLst>
                                      </p:cBhvr>
                                      <p:rCtr x="50357" y="0"/>
                                    </p:animMotion>
                                  </p:childTnLst>
                                </p:cTn>
                              </p:par>
                              <p:par>
                                <p:cTn id="11" presetID="63" presetClass="path" presetSubtype="0" accel="24000" decel="76000" fill="hold" grpId="0" nodeType="withEffect">
                                  <p:stCondLst>
                                    <p:cond delay="150"/>
                                  </p:stCondLst>
                                  <p:childTnLst>
                                    <p:animMotion origin="layout" path="M 0 3.25011E-6 L 1.00728 3.25011E-6 " pathEditMode="relative" rAng="0" ptsTypes="AA">
                                      <p:cBhvr>
                                        <p:cTn id="12" dur="750" fill="hold"/>
                                        <p:tgtEl>
                                          <p:spTgt spid="10"/>
                                        </p:tgtEl>
                                        <p:attrNameLst>
                                          <p:attrName>ppt_x</p:attrName>
                                          <p:attrName>ppt_y</p:attrName>
                                        </p:attrNameLst>
                                      </p:cBhvr>
                                      <p:rCtr x="50357" y="0"/>
                                    </p:animMotion>
                                  </p:childTnLst>
                                </p:cTn>
                              </p:par>
                              <p:par>
                                <p:cTn id="13" presetID="1" presetClass="entr" presetSubtype="0" fill="hold" grpId="0" nodeType="withEffect">
                                  <p:stCondLst>
                                    <p:cond delay="1000"/>
                                  </p:stCondLst>
                                  <p:childTnLst>
                                    <p:set>
                                      <p:cBhvr>
                                        <p:cTn id="14" dur="1" fill="hold">
                                          <p:stCondLst>
                                            <p:cond delay="0"/>
                                          </p:stCondLst>
                                        </p:cTn>
                                        <p:tgtEl>
                                          <p:spTgt spid="13"/>
                                        </p:tgtEl>
                                        <p:attrNameLst>
                                          <p:attrName>style.visibility</p:attrName>
                                        </p:attrNameLst>
                                      </p:cBhvr>
                                      <p:to>
                                        <p:strVal val="visible"/>
                                      </p:to>
                                    </p:set>
                                  </p:childTnLst>
                                </p:cTn>
                              </p:par>
                              <p:par>
                                <p:cTn id="15" presetID="10" presetClass="entr" presetSubtype="0" fill="hold" grpId="0" nodeType="withEffect">
                                  <p:stCondLst>
                                    <p:cond delay="75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950"/>
                                        <p:tgtEl>
                                          <p:spTgt spid="9"/>
                                        </p:tgtEl>
                                      </p:cBhvr>
                                    </p:animEffect>
                                  </p:childTnLst>
                                </p:cTn>
                              </p:par>
                              <p:par>
                                <p:cTn id="18" presetID="63" presetClass="path" presetSubtype="0" decel="100000" fill="hold" grpId="1" nodeType="withEffect">
                                  <p:stCondLst>
                                    <p:cond delay="750"/>
                                  </p:stCondLst>
                                  <p:childTnLst>
                                    <p:animMotion origin="layout" path="M -0.01455 -1.34362E-6 L -3.90605E-7 -1.34362E-6 " pathEditMode="relative" rAng="0" ptsTypes="AA">
                                      <p:cBhvr>
                                        <p:cTn id="19" dur="950" fill="hold"/>
                                        <p:tgtEl>
                                          <p:spTgt spid="9"/>
                                        </p:tgtEl>
                                        <p:attrNameLst>
                                          <p:attrName>ppt_x</p:attrName>
                                          <p:attrName>ppt_y</p:attrName>
                                        </p:attrNameLst>
                                      </p:cBhvr>
                                      <p:rCtr x="728" y="0"/>
                                    </p:animMotion>
                                  </p:childTnLst>
                                </p:cTn>
                              </p:par>
                              <p:par>
                                <p:cTn id="20" presetID="6" presetClass="emph" presetSubtype="0" accel="100000" autoRev="1" fill="hold" grpId="2" nodeType="withEffect">
                                  <p:stCondLst>
                                    <p:cond delay="50"/>
                                  </p:stCondLst>
                                  <p:childTnLst>
                                    <p:animScale>
                                      <p:cBhvr>
                                        <p:cTn id="21" dur="500" fill="hold"/>
                                        <p:tgtEl>
                                          <p:spTgt spid="9"/>
                                        </p:tgtEl>
                                      </p:cBhvr>
                                      <p:by x="95000" y="95000"/>
                                    </p:animScale>
                                  </p:childTnLst>
                                </p:cTn>
                              </p:par>
                              <p:par>
                                <p:cTn id="22" presetID="10" presetClass="entr" presetSubtype="0" fill="hold" grpId="0" nodeType="withEffect">
                                  <p:stCondLst>
                                    <p:cond delay="80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950"/>
                                        <p:tgtEl>
                                          <p:spTgt spid="5"/>
                                        </p:tgtEl>
                                      </p:cBhvr>
                                    </p:animEffect>
                                  </p:childTnLst>
                                </p:cTn>
                              </p:par>
                              <p:par>
                                <p:cTn id="25" presetID="63" presetClass="path" presetSubtype="0" decel="100000" fill="hold" grpId="1" nodeType="withEffect">
                                  <p:stCondLst>
                                    <p:cond delay="800"/>
                                  </p:stCondLst>
                                  <p:childTnLst>
                                    <p:animMotion origin="layout" path="M -0.01455 -1.34362E-6 L -3.90605E-7 -1.34362E-6 " pathEditMode="relative" rAng="0" ptsTypes="AA">
                                      <p:cBhvr>
                                        <p:cTn id="26" dur="950" fill="hold"/>
                                        <p:tgtEl>
                                          <p:spTgt spid="5"/>
                                        </p:tgtEl>
                                        <p:attrNameLst>
                                          <p:attrName>ppt_x</p:attrName>
                                          <p:attrName>ppt_y</p:attrName>
                                        </p:attrNameLst>
                                      </p:cBhvr>
                                      <p:rCtr x="728" y="0"/>
                                    </p:animMotion>
                                  </p:childTnLst>
                                </p:cTn>
                              </p:par>
                              <p:par>
                                <p:cTn id="27" presetID="6" presetClass="emph" presetSubtype="0" accel="100000" autoRev="1" fill="hold" grpId="2" nodeType="withEffect">
                                  <p:stCondLst>
                                    <p:cond delay="100"/>
                                  </p:stCondLst>
                                  <p:childTnLst>
                                    <p:animScale>
                                      <p:cBhvr>
                                        <p:cTn id="28" dur="500" fill="hold"/>
                                        <p:tgtEl>
                                          <p:spTgt spid="5"/>
                                        </p:tgtEl>
                                      </p:cBhvr>
                                      <p:by x="95000" y="95000"/>
                                    </p:animScale>
                                  </p:childTnLst>
                                </p:cTn>
                              </p:par>
                              <p:par>
                                <p:cTn id="29" presetID="10" presetClass="entr" presetSubtype="0" fill="hold" nodeType="withEffect">
                                  <p:stCondLst>
                                    <p:cond delay="900"/>
                                  </p:stCondLst>
                                  <p:childTnLst>
                                    <p:set>
                                      <p:cBhvr>
                                        <p:cTn id="30" dur="1" fill="hold">
                                          <p:stCondLst>
                                            <p:cond delay="0"/>
                                          </p:stCondLst>
                                        </p:cTn>
                                        <p:tgtEl>
                                          <p:spTgt spid="6"/>
                                        </p:tgtEl>
                                        <p:attrNameLst>
                                          <p:attrName>style.visibility</p:attrName>
                                        </p:attrNameLst>
                                      </p:cBhvr>
                                      <p:to>
                                        <p:strVal val="visible"/>
                                      </p:to>
                                    </p:set>
                                    <p:animEffect transition="in" filter="fade">
                                      <p:cBhvr>
                                        <p:cTn id="31" dur="950"/>
                                        <p:tgtEl>
                                          <p:spTgt spid="6"/>
                                        </p:tgtEl>
                                      </p:cBhvr>
                                    </p:animEffect>
                                  </p:childTnLst>
                                </p:cTn>
                              </p:par>
                              <p:par>
                                <p:cTn id="32" presetID="63" presetClass="path" presetSubtype="0" decel="100000" fill="hold" nodeType="withEffect">
                                  <p:stCondLst>
                                    <p:cond delay="900"/>
                                  </p:stCondLst>
                                  <p:childTnLst>
                                    <p:animMotion origin="layout" path="M -0.01455 -1.34362E-6 L -3.90605E-7 -1.34362E-6 " pathEditMode="relative" rAng="0" ptsTypes="AA">
                                      <p:cBhvr>
                                        <p:cTn id="33" dur="950" fill="hold"/>
                                        <p:tgtEl>
                                          <p:spTgt spid="6"/>
                                        </p:tgtEl>
                                        <p:attrNameLst>
                                          <p:attrName>ppt_x</p:attrName>
                                          <p:attrName>ppt_y</p:attrName>
                                        </p:attrNameLst>
                                      </p:cBhvr>
                                      <p:rCtr x="728" y="0"/>
                                    </p:animMotion>
                                  </p:childTnLst>
                                </p:cTn>
                              </p:par>
                              <p:par>
                                <p:cTn id="34" presetID="6" presetClass="emph" presetSubtype="0" accel="100000" autoRev="1" fill="hold" nodeType="withEffect">
                                  <p:stCondLst>
                                    <p:cond delay="200"/>
                                  </p:stCondLst>
                                  <p:childTnLst>
                                    <p:animScale>
                                      <p:cBhvr>
                                        <p:cTn id="35" dur="500" fill="hold"/>
                                        <p:tgtEl>
                                          <p:spTgt spid="6"/>
                                        </p:tgtEl>
                                      </p:cBhvr>
                                      <p:by x="95000" y="95000"/>
                                    </p:animScale>
                                  </p:childTnLst>
                                </p:cTn>
                              </p:par>
                              <p:par>
                                <p:cTn id="36" presetID="10" presetClass="entr" presetSubtype="0" fill="hold" grpId="0" nodeType="withEffect">
                                  <p:stCondLst>
                                    <p:cond delay="700"/>
                                  </p:stCondLst>
                                  <p:childTnLst>
                                    <p:set>
                                      <p:cBhvr>
                                        <p:cTn id="37" dur="1" fill="hold">
                                          <p:stCondLst>
                                            <p:cond delay="0"/>
                                          </p:stCondLst>
                                        </p:cTn>
                                        <p:tgtEl>
                                          <p:spTgt spid="17"/>
                                        </p:tgtEl>
                                        <p:attrNameLst>
                                          <p:attrName>style.visibility</p:attrName>
                                        </p:attrNameLst>
                                      </p:cBhvr>
                                      <p:to>
                                        <p:strVal val="visible"/>
                                      </p:to>
                                    </p:set>
                                    <p:animEffect transition="in" filter="fade">
                                      <p:cBhvr>
                                        <p:cTn id="38" dur="950"/>
                                        <p:tgtEl>
                                          <p:spTgt spid="17"/>
                                        </p:tgtEl>
                                      </p:cBhvr>
                                    </p:animEffect>
                                  </p:childTnLst>
                                </p:cTn>
                              </p:par>
                              <p:par>
                                <p:cTn id="39" presetID="63" presetClass="path" presetSubtype="0" decel="100000" fill="hold" grpId="1" nodeType="withEffect">
                                  <p:stCondLst>
                                    <p:cond delay="700"/>
                                  </p:stCondLst>
                                  <p:childTnLst>
                                    <p:animMotion origin="layout" path="M -0.01455 -1.34362E-6 L -3.90605E-7 -1.34362E-6 " pathEditMode="relative" rAng="0" ptsTypes="AA">
                                      <p:cBhvr>
                                        <p:cTn id="40" dur="950" fill="hold"/>
                                        <p:tgtEl>
                                          <p:spTgt spid="17"/>
                                        </p:tgtEl>
                                        <p:attrNameLst>
                                          <p:attrName>ppt_x</p:attrName>
                                          <p:attrName>ppt_y</p:attrName>
                                        </p:attrNameLst>
                                      </p:cBhvr>
                                      <p:rCtr x="728" y="0"/>
                                    </p:animMotion>
                                  </p:childTnLst>
                                </p:cTn>
                              </p:par>
                              <p:par>
                                <p:cTn id="41" presetID="6" presetClass="emph" presetSubtype="0" accel="100000" autoRev="1" fill="hold" grpId="2" nodeType="withEffect">
                                  <p:stCondLst>
                                    <p:cond delay="0"/>
                                  </p:stCondLst>
                                  <p:childTnLst>
                                    <p:animScale>
                                      <p:cBhvr>
                                        <p:cTn id="42" dur="500" fill="hold"/>
                                        <p:tgtEl>
                                          <p:spTgt spid="1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1_Title Slide - ANIMATED">
    <p:bg bwMode="auto">
      <p:bgPr>
        <a:solidFill>
          <a:schemeClr val="bg2"/>
        </a:solidFill>
        <a:effectLst/>
      </p:bgPr>
    </p:bg>
    <p:spTree>
      <p:nvGrpSpPr>
        <p:cNvPr id="1" name=""/>
        <p:cNvGrpSpPr/>
        <p:nvPr/>
      </p:nvGrpSpPr>
      <p:grpSpPr>
        <a:xfrm>
          <a:off x="0" y="0"/>
          <a:ext cx="0" cy="0"/>
          <a:chOff x="0" y="0"/>
          <a:chExt cx="0" cy="0"/>
        </a:xfrm>
      </p:grpSpPr>
      <p:sp>
        <p:nvSpPr>
          <p:cNvPr id="16" name="Rectangle 15"/>
          <p:cNvSpPr/>
          <p:nvPr userDrawn="1"/>
        </p:nvSpPr>
        <p:spPr bwMode="auto">
          <a:xfrm>
            <a:off x="0" y="0"/>
            <a:ext cx="12188825" cy="6858000"/>
          </a:xfrm>
          <a:prstGeom prst="rect">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09" tIns="44809" rIns="44809" bIns="44809" numCol="1" spcCol="0" rtlCol="0" fromWordArt="0" anchor="ctr" anchorCtr="0" forceAA="0" compatLnSpc="1">
            <a:prstTxWarp prst="textNoShape">
              <a:avLst/>
            </a:prstTxWarp>
            <a:noAutofit/>
          </a:bodyPr>
          <a:lstStyle/>
          <a:p>
            <a:pPr algn="ctr" defTabSz="895822" fontAlgn="base">
              <a:spcBef>
                <a:spcPct val="0"/>
              </a:spcBef>
              <a:spcAft>
                <a:spcPct val="0"/>
              </a:spcAft>
            </a:pPr>
            <a:endParaRPr lang="en-US" sz="2156" dirty="0">
              <a:gradFill>
                <a:gsLst>
                  <a:gs pos="0">
                    <a:srgbClr val="FFFFFF"/>
                  </a:gs>
                  <a:gs pos="100000">
                    <a:srgbClr val="FFFFFF"/>
                  </a:gs>
                </a:gsLst>
                <a:lin ang="5400000" scaled="0"/>
              </a:gradFill>
              <a:ea typeface="Segoe UI" pitchFamily="34" charset="0"/>
              <a:cs typeface="Segoe UI" pitchFamily="34" charset="0"/>
            </a:endParaRP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33621" y="5209395"/>
            <a:ext cx="3301738" cy="1549224"/>
          </a:xfrm>
          <a:prstGeom prst="rect">
            <a:avLst/>
          </a:prstGeom>
        </p:spPr>
      </p:pic>
      <p:pic>
        <p:nvPicPr>
          <p:cNvPr id="19" name="Picture 1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972892" y="112902"/>
            <a:ext cx="1962467" cy="752064"/>
          </a:xfrm>
          <a:prstGeom prst="rect">
            <a:avLst/>
          </a:prstGeom>
        </p:spPr>
      </p:pic>
      <p:sp>
        <p:nvSpPr>
          <p:cNvPr id="5" name="Text Placeholder 4"/>
          <p:cNvSpPr>
            <a:spLocks noGrp="1"/>
          </p:cNvSpPr>
          <p:nvPr>
            <p:ph type="body" sz="quarter" idx="12" hasCustomPrompt="1"/>
          </p:nvPr>
        </p:nvSpPr>
        <p:spPr>
          <a:xfrm>
            <a:off x="271034" y="3877272"/>
            <a:ext cx="6271784"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9858042" cy="1801436"/>
          </a:xfrm>
          <a:noFill/>
        </p:spPr>
        <p:txBody>
          <a:bodyPr lIns="146304" tIns="91440" rIns="146304" bIns="91440" anchor="t" anchorCtr="0"/>
          <a:lstStyle>
            <a:lvl1pPr>
              <a:defRPr sz="5880" spc="-98"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8" name="Rectangle 6"/>
          <p:cNvSpPr>
            <a:spLocks noChangeArrowheads="1"/>
          </p:cNvSpPr>
          <p:nvPr userDrawn="1"/>
        </p:nvSpPr>
        <p:spPr bwMode="auto">
          <a:xfrm>
            <a:off x="3113" y="4309989"/>
            <a:ext cx="12185713"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dirty="0">
              <a:solidFill>
                <a:srgbClr val="FFFFFF"/>
              </a:solidFill>
            </a:endParaRPr>
          </a:p>
        </p:txBody>
      </p:sp>
      <p:sp>
        <p:nvSpPr>
          <p:cNvPr id="17" name="Text Placeholder 16"/>
          <p:cNvSpPr>
            <a:spLocks noGrp="1"/>
          </p:cNvSpPr>
          <p:nvPr>
            <p:ph type="body" sz="quarter" idx="13" hasCustomPrompt="1"/>
          </p:nvPr>
        </p:nvSpPr>
        <p:spPr>
          <a:xfrm>
            <a:off x="269169" y="291069"/>
            <a:ext cx="3584765" cy="452654"/>
          </a:xfrm>
        </p:spPr>
        <p:txBody>
          <a:bodyPr/>
          <a:lstStyle>
            <a:lvl1pPr marL="0" indent="0">
              <a:buNone/>
              <a:defRPr sz="1960">
                <a:latin typeface="+mn-lt"/>
              </a:defRPr>
            </a:lvl1pPr>
            <a:lvl2pPr marL="336044" indent="0">
              <a:buNone/>
              <a:defRPr sz="1960"/>
            </a:lvl2pPr>
            <a:lvl3pPr marL="560073" indent="0">
              <a:buNone/>
              <a:defRPr sz="1960"/>
            </a:lvl3pPr>
            <a:lvl4pPr marL="784103" indent="0">
              <a:buNone/>
              <a:defRPr sz="1960"/>
            </a:lvl4pPr>
            <a:lvl5pPr marL="1008132" indent="0">
              <a:buNone/>
              <a:defRPr sz="1960"/>
            </a:lvl5pPr>
          </a:lstStyle>
          <a:p>
            <a:pPr lvl="0"/>
            <a:r>
              <a:rPr lang="en-US" dirty="0" smtClean="0"/>
              <a:t>Session Code</a:t>
            </a:r>
            <a:endParaRPr lang="en-US" dirty="0"/>
          </a:p>
        </p:txBody>
      </p:sp>
    </p:spTree>
    <p:extLst>
      <p:ext uri="{BB962C8B-B14F-4D97-AF65-F5344CB8AC3E}">
        <p14:creationId xmlns:p14="http://schemas.microsoft.com/office/powerpoint/2010/main" val="168973659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5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950"/>
                                        <p:tgtEl>
                                          <p:spTgt spid="9"/>
                                        </p:tgtEl>
                                      </p:cBhvr>
                                    </p:animEffect>
                                  </p:childTnLst>
                                </p:cTn>
                              </p:par>
                              <p:par>
                                <p:cTn id="8" presetID="63" presetClass="path" presetSubtype="0" decel="100000" fill="hold" grpId="1" nodeType="withEffect">
                                  <p:stCondLst>
                                    <p:cond delay="750"/>
                                  </p:stCondLst>
                                  <p:childTnLst>
                                    <p:animMotion origin="layout" path="M -0.01455 -1.34362E-6 L -3.90605E-7 -1.34362E-6 " pathEditMode="relative" rAng="0" ptsTypes="AA">
                                      <p:cBhvr>
                                        <p:cTn id="9" dur="950" fill="hold"/>
                                        <p:tgtEl>
                                          <p:spTgt spid="9"/>
                                        </p:tgtEl>
                                        <p:attrNameLst>
                                          <p:attrName>ppt_x</p:attrName>
                                          <p:attrName>ppt_y</p:attrName>
                                        </p:attrNameLst>
                                      </p:cBhvr>
                                      <p:rCtr x="728" y="0"/>
                                    </p:animMotion>
                                  </p:childTnLst>
                                </p:cTn>
                              </p:par>
                              <p:par>
                                <p:cTn id="10" presetID="6" presetClass="emph" presetSubtype="0" accel="100000" autoRev="1" fill="hold" grpId="2" nodeType="withEffect">
                                  <p:stCondLst>
                                    <p:cond delay="50"/>
                                  </p:stCondLst>
                                  <p:childTnLst>
                                    <p:animScale>
                                      <p:cBhvr>
                                        <p:cTn id="11" dur="500" fill="hold"/>
                                        <p:tgtEl>
                                          <p:spTgt spid="9"/>
                                        </p:tgtEl>
                                      </p:cBhvr>
                                      <p:by x="95000" y="95000"/>
                                    </p:animScale>
                                  </p:childTnLst>
                                </p:cTn>
                              </p:par>
                              <p:par>
                                <p:cTn id="12" presetID="10" presetClass="entr" presetSubtype="0" fill="hold" grpId="0" nodeType="withEffect">
                                  <p:stCondLst>
                                    <p:cond delay="800"/>
                                  </p:stCondLst>
                                  <p:childTnLst>
                                    <p:set>
                                      <p:cBhvr>
                                        <p:cTn id="13" dur="1" fill="hold">
                                          <p:stCondLst>
                                            <p:cond delay="0"/>
                                          </p:stCondLst>
                                        </p:cTn>
                                        <p:tgtEl>
                                          <p:spTgt spid="5"/>
                                        </p:tgtEl>
                                        <p:attrNameLst>
                                          <p:attrName>style.visibility</p:attrName>
                                        </p:attrNameLst>
                                      </p:cBhvr>
                                      <p:to>
                                        <p:strVal val="visible"/>
                                      </p:to>
                                    </p:set>
                                    <p:animEffect transition="in" filter="fade">
                                      <p:cBhvr>
                                        <p:cTn id="14" dur="950"/>
                                        <p:tgtEl>
                                          <p:spTgt spid="5"/>
                                        </p:tgtEl>
                                      </p:cBhvr>
                                    </p:animEffect>
                                  </p:childTnLst>
                                </p:cTn>
                              </p:par>
                              <p:par>
                                <p:cTn id="15" presetID="63" presetClass="path" presetSubtype="0" decel="100000" fill="hold" grpId="1" nodeType="withEffect">
                                  <p:stCondLst>
                                    <p:cond delay="800"/>
                                  </p:stCondLst>
                                  <p:childTnLst>
                                    <p:animMotion origin="layout" path="M -0.01455 -1.34362E-6 L -3.90605E-7 -1.34362E-6 " pathEditMode="relative" rAng="0" ptsTypes="AA">
                                      <p:cBhvr>
                                        <p:cTn id="16" dur="950" fill="hold"/>
                                        <p:tgtEl>
                                          <p:spTgt spid="5"/>
                                        </p:tgtEl>
                                        <p:attrNameLst>
                                          <p:attrName>ppt_x</p:attrName>
                                          <p:attrName>ppt_y</p:attrName>
                                        </p:attrNameLst>
                                      </p:cBhvr>
                                      <p:rCtr x="728" y="0"/>
                                    </p:animMotion>
                                  </p:childTnLst>
                                </p:cTn>
                              </p:par>
                              <p:par>
                                <p:cTn id="17" presetID="6" presetClass="emph" presetSubtype="0" accel="100000" autoRev="1" fill="hold" grpId="2" nodeType="withEffect">
                                  <p:stCondLst>
                                    <p:cond delay="100"/>
                                  </p:stCondLst>
                                  <p:childTnLst>
                                    <p:animScale>
                                      <p:cBhvr>
                                        <p:cTn id="18" dur="500" fill="hold"/>
                                        <p:tgtEl>
                                          <p:spTgt spid="5"/>
                                        </p:tgtEl>
                                      </p:cBhvr>
                                      <p:by x="95000" y="95000"/>
                                    </p:animScale>
                                  </p:childTnLst>
                                </p:cTn>
                              </p:par>
                              <p:par>
                                <p:cTn id="19" presetID="10" presetClass="entr" presetSubtype="0" fill="hold" grpId="0" nodeType="withEffect">
                                  <p:stCondLst>
                                    <p:cond delay="700"/>
                                  </p:stCondLst>
                                  <p:childTnLst>
                                    <p:set>
                                      <p:cBhvr>
                                        <p:cTn id="20" dur="1" fill="hold">
                                          <p:stCondLst>
                                            <p:cond delay="0"/>
                                          </p:stCondLst>
                                        </p:cTn>
                                        <p:tgtEl>
                                          <p:spTgt spid="17"/>
                                        </p:tgtEl>
                                        <p:attrNameLst>
                                          <p:attrName>style.visibility</p:attrName>
                                        </p:attrNameLst>
                                      </p:cBhvr>
                                      <p:to>
                                        <p:strVal val="visible"/>
                                      </p:to>
                                    </p:set>
                                    <p:animEffect transition="in" filter="fade">
                                      <p:cBhvr>
                                        <p:cTn id="21" dur="950"/>
                                        <p:tgtEl>
                                          <p:spTgt spid="17"/>
                                        </p:tgtEl>
                                      </p:cBhvr>
                                    </p:animEffect>
                                  </p:childTnLst>
                                </p:cTn>
                              </p:par>
                              <p:par>
                                <p:cTn id="22" presetID="63" presetClass="path" presetSubtype="0" decel="100000" fill="hold" grpId="1" nodeType="withEffect">
                                  <p:stCondLst>
                                    <p:cond delay="700"/>
                                  </p:stCondLst>
                                  <p:childTnLst>
                                    <p:animMotion origin="layout" path="M -0.01455 -1.34362E-6 L -3.90605E-7 -1.34362E-6 " pathEditMode="relative" rAng="0" ptsTypes="AA">
                                      <p:cBhvr>
                                        <p:cTn id="23" dur="950" fill="hold"/>
                                        <p:tgtEl>
                                          <p:spTgt spid="17"/>
                                        </p:tgtEl>
                                        <p:attrNameLst>
                                          <p:attrName>ppt_x</p:attrName>
                                          <p:attrName>ppt_y</p:attrName>
                                        </p:attrNameLst>
                                      </p:cBhvr>
                                      <p:rCtr x="728" y="0"/>
                                    </p:animMotion>
                                  </p:childTnLst>
                                </p:cTn>
                              </p:par>
                              <p:par>
                                <p:cTn id="24" presetID="6" presetClass="emph" presetSubtype="0" accel="100000" autoRev="1" fill="hold" grpId="2" nodeType="withEffect">
                                  <p:stCondLst>
                                    <p:cond delay="0"/>
                                  </p:stCondLst>
                                  <p:childTnLst>
                                    <p:animScale>
                                      <p:cBhvr>
                                        <p:cTn id="25" dur="500" fill="hold"/>
                                        <p:tgtEl>
                                          <p:spTgt spid="1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chemeClr val="bg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2"/>
            <a:ext cx="6271784"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9858042" cy="1801436"/>
          </a:xfrm>
          <a:noFill/>
        </p:spPr>
        <p:txBody>
          <a:bodyPr lIns="146304" tIns="91440" rIns="146304" bIns="91440" anchor="t" anchorCtr="0"/>
          <a:lstStyle>
            <a:lvl1pPr>
              <a:defRPr sz="5880"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205" y="6061767"/>
            <a:ext cx="1522008" cy="326167"/>
          </a:xfrm>
          <a:prstGeom prst="rect">
            <a:avLst/>
          </a:prstGeom>
        </p:spPr>
      </p:pic>
      <p:sp>
        <p:nvSpPr>
          <p:cNvPr id="8" name="Rectangle 6"/>
          <p:cNvSpPr>
            <a:spLocks noChangeArrowheads="1"/>
          </p:cNvSpPr>
          <p:nvPr userDrawn="1"/>
        </p:nvSpPr>
        <p:spPr bwMode="auto">
          <a:xfrm>
            <a:off x="3113" y="4309989"/>
            <a:ext cx="12185713"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dirty="0">
              <a:solidFill>
                <a:srgbClr val="FFFFFF"/>
              </a:solidFill>
            </a:endParaRPr>
          </a:p>
        </p:txBody>
      </p:sp>
      <p:sp>
        <p:nvSpPr>
          <p:cNvPr id="15" name="Text Placeholder 16"/>
          <p:cNvSpPr>
            <a:spLocks noGrp="1"/>
          </p:cNvSpPr>
          <p:nvPr>
            <p:ph type="body" sz="quarter" idx="13" hasCustomPrompt="1"/>
          </p:nvPr>
        </p:nvSpPr>
        <p:spPr>
          <a:xfrm>
            <a:off x="269169" y="291069"/>
            <a:ext cx="3584765" cy="452654"/>
          </a:xfrm>
        </p:spPr>
        <p:txBody>
          <a:bodyPr/>
          <a:lstStyle>
            <a:lvl1pPr marL="0" indent="0">
              <a:buNone/>
              <a:defRPr sz="1960">
                <a:latin typeface="+mn-lt"/>
              </a:defRPr>
            </a:lvl1pPr>
            <a:lvl2pPr marL="336044" indent="0">
              <a:buNone/>
              <a:defRPr sz="1960"/>
            </a:lvl2pPr>
            <a:lvl3pPr marL="560073" indent="0">
              <a:buNone/>
              <a:defRPr sz="1960"/>
            </a:lvl3pPr>
            <a:lvl4pPr marL="784103" indent="0">
              <a:buNone/>
              <a:defRPr sz="1960"/>
            </a:lvl4pPr>
            <a:lvl5pPr marL="1008132" indent="0">
              <a:buNone/>
              <a:defRPr sz="1960"/>
            </a:lvl5pPr>
          </a:lstStyle>
          <a:p>
            <a:pPr lvl="0"/>
            <a:r>
              <a:rPr lang="en-US" dirty="0" smtClean="0"/>
              <a:t>Session Code</a:t>
            </a:r>
            <a:endParaRPr lang="en-US" dirty="0"/>
          </a:p>
        </p:txBody>
      </p:sp>
    </p:spTree>
    <p:extLst>
      <p:ext uri="{BB962C8B-B14F-4D97-AF65-F5344CB8AC3E}">
        <p14:creationId xmlns:p14="http://schemas.microsoft.com/office/powerpoint/2010/main" val="402170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Confidentiality Slide">
    <p:bg bwMode="auto">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smtClean="0"/>
              <a:t>Click to edit Master title style</a:t>
            </a:r>
            <a:endParaRPr lang="en-US"/>
          </a:p>
        </p:txBody>
      </p:sp>
    </p:spTree>
    <p:extLst>
      <p:ext uri="{BB962C8B-B14F-4D97-AF65-F5344CB8AC3E}">
        <p14:creationId xmlns:p14="http://schemas.microsoft.com/office/powerpoint/2010/main" val="3398312753"/>
      </p:ext>
    </p:extLst>
  </p:cSld>
  <p:clrMapOvr>
    <a:masterClrMapping/>
  </p:clrMapOvr>
  <p:transition>
    <p:fade/>
  </p:transition>
  <p:timing>
    <p:tnLst>
      <p:par>
        <p:cTn id="1" dur="indefinite" restart="never" nodeType="tmRoot"/>
      </p:par>
    </p:tnLst>
  </p:timing>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6"/>
            <a:ext cx="7168398" cy="3407696"/>
          </a:xfrm>
          <a:noFill/>
        </p:spPr>
        <p:txBody>
          <a:bodyPr tIns="91440" bIns="91440" anchor="t" anchorCtr="0"/>
          <a:lstStyle>
            <a:lvl1pPr>
              <a:defRPr sz="7056" spc="-98" baseline="0">
                <a:gradFill>
                  <a:gsLst>
                    <a:gs pos="75912">
                      <a:schemeClr val="tx1"/>
                    </a:gs>
                    <a:gs pos="34307">
                      <a:schemeClr val="tx1"/>
                    </a:gs>
                    <a:gs pos="43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1" y="4594053"/>
            <a:ext cx="7169531" cy="1793881"/>
          </a:xfrm>
          <a:noFill/>
        </p:spPr>
        <p:txBody>
          <a:bodyPr lIns="182880" tIns="146304" rIns="182880" bIns="146304">
            <a:noAutofit/>
          </a:bodyPr>
          <a:lstStyle>
            <a:lvl1pPr marL="0" indent="0">
              <a:spcBef>
                <a:spcPts val="0"/>
              </a:spcBef>
              <a:buNone/>
              <a:defRPr sz="3528" spc="0" baseline="0">
                <a:gradFill>
                  <a:gsLst>
                    <a:gs pos="75912">
                      <a:schemeClr val="tx1"/>
                    </a:gs>
                    <a:gs pos="34307">
                      <a:schemeClr val="tx1"/>
                    </a:gs>
                    <a:gs pos="43000">
                      <a:schemeClr val="tx1"/>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a:stretch>
            <a:fillRect/>
          </a:stretch>
        </p:blipFill>
        <p:spPr>
          <a:xfrm>
            <a:off x="7602973" y="298255"/>
            <a:ext cx="4321634" cy="6275864"/>
          </a:xfrm>
          <a:prstGeom prst="rect">
            <a:avLst/>
          </a:prstGeom>
        </p:spPr>
      </p:pic>
    </p:spTree>
    <p:extLst>
      <p:ext uri="{BB962C8B-B14F-4D97-AF65-F5344CB8AC3E}">
        <p14:creationId xmlns:p14="http://schemas.microsoft.com/office/powerpoint/2010/main" val="1519828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1" y="1186356"/>
            <a:ext cx="8961913" cy="2697988"/>
          </a:xfrm>
          <a:noFill/>
        </p:spPr>
        <p:txBody>
          <a:bodyPr tIns="91440" bIns="91440" anchor="t" anchorCtr="0"/>
          <a:lstStyle>
            <a:lvl1pPr>
              <a:defRPr sz="7056" spc="-98" baseline="0">
                <a:gradFill>
                  <a:gsLst>
                    <a:gs pos="75912">
                      <a:schemeClr val="tx1"/>
                    </a:gs>
                    <a:gs pos="34307">
                      <a:schemeClr val="tx1"/>
                    </a:gs>
                    <a:gs pos="43000">
                      <a:schemeClr val="tx1"/>
                    </a:gs>
                  </a:gsLst>
                  <a:lin ang="5400000" scaled="0"/>
                </a:gradFill>
              </a:defRPr>
            </a:lvl1pPr>
          </a:lstStyle>
          <a:p>
            <a:r>
              <a:rPr lang="en-US" dirty="0" smtClean="0"/>
              <a:t>Video title</a:t>
            </a:r>
            <a:endParaRPr lang="en-US" dirty="0"/>
          </a:p>
        </p:txBody>
      </p:sp>
      <p:pic>
        <p:nvPicPr>
          <p:cNvPr id="6" name="Picture 5"/>
          <p:cNvPicPr>
            <a:picLocks noChangeAspect="1"/>
          </p:cNvPicPr>
          <p:nvPr userDrawn="1"/>
        </p:nvPicPr>
        <p:blipFill>
          <a:blip r:embed="rId2"/>
          <a:stretch>
            <a:fillRect/>
          </a:stretch>
        </p:blipFill>
        <p:spPr>
          <a:xfrm>
            <a:off x="3853524" y="2894898"/>
            <a:ext cx="8335302" cy="3963103"/>
          </a:xfrm>
          <a:prstGeom prst="rect">
            <a:avLst/>
          </a:prstGeom>
        </p:spPr>
      </p:pic>
    </p:spTree>
    <p:extLst>
      <p:ext uri="{BB962C8B-B14F-4D97-AF65-F5344CB8AC3E}">
        <p14:creationId xmlns:p14="http://schemas.microsoft.com/office/powerpoint/2010/main" val="3012006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defRPr sz="8624" spc="-98" baseline="0">
                <a:gradFill>
                  <a:gsLst>
                    <a:gs pos="75912">
                      <a:schemeClr val="tx1"/>
                    </a:gs>
                    <a:gs pos="34307">
                      <a:schemeClr val="tx1"/>
                    </a:gs>
                    <a:gs pos="43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907752258"/>
      </p:ext>
    </p:extLst>
  </p:cSld>
  <p:clrMapOvr>
    <a:masterClrMapping/>
  </p:clrMapOvr>
  <p:transition>
    <p:fade/>
  </p:transition>
  <p:timing>
    <p:tnLst>
      <p:par>
        <p:cTn id="1" dur="indefinite" restart="never" nodeType="tmRoot"/>
      </p:par>
    </p:tnLst>
  </p:timing>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4093" rtl="0" eaLnBrk="1" latinLnBrk="0" hangingPunct="1">
              <a:lnSpc>
                <a:spcPct val="90000"/>
              </a:lnSpc>
              <a:spcBef>
                <a:spcPct val="0"/>
              </a:spcBef>
              <a:buNone/>
              <a:defRPr lang="en-US" sz="8624"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359549369"/>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232" y="1187644"/>
            <a:ext cx="806566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1" y="1186356"/>
            <a:ext cx="8065721" cy="2697988"/>
          </a:xfrm>
          <a:noFill/>
        </p:spPr>
        <p:txBody>
          <a:bodyPr tIns="91440" bIns="91440" anchor="t" anchorCtr="0"/>
          <a:lstStyle>
            <a:lvl1pPr>
              <a:defRPr sz="7056" spc="-98"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5831025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4093" rtl="0" eaLnBrk="1" latinLnBrk="0" hangingPunct="1">
              <a:lnSpc>
                <a:spcPct val="90000"/>
              </a:lnSpc>
              <a:spcBef>
                <a:spcPct val="0"/>
              </a:spcBef>
              <a:buNone/>
              <a:defRPr lang="en-US" sz="8624"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1711230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7"/>
            <a:ext cx="11652805" cy="2018835"/>
          </a:xfrm>
        </p:spPr>
        <p:txBody>
          <a:bodyPr/>
          <a:lstStyle>
            <a:lvl1pPr marL="0" indent="0">
              <a:buNone/>
              <a:defRPr/>
            </a:lvl1pPr>
            <a:lvl2pPr marL="28004" indent="0">
              <a:buNone/>
              <a:defRPr sz="1960"/>
            </a:lvl2pPr>
            <a:lvl3pPr marL="219362" indent="0">
              <a:buNone/>
              <a:defRPr sz="1960"/>
            </a:lvl3pPr>
            <a:lvl4pPr marL="466728" indent="0">
              <a:buNone/>
              <a:defRPr sz="1764"/>
            </a:lvl4pPr>
            <a:lvl5pPr marL="72498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90954427"/>
      </p:ext>
    </p:extLst>
  </p:cSld>
  <p:clrMapOvr>
    <a:masterClrMapping/>
  </p:clrMapOvr>
  <p:transition>
    <p:fade/>
  </p:transition>
  <p:timing>
    <p:tnLst>
      <p:par>
        <p:cTn id="1" dur="indefinite" restart="never" nodeType="tmRoot"/>
      </p:par>
    </p:tnLst>
  </p:timing>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dirty="0" smtClean="0"/>
              <a:t>Click to edit Master title style</a:t>
            </a:r>
            <a:endParaRPr lang="en-US" dirty="0"/>
          </a:p>
        </p:txBody>
      </p:sp>
      <p:sp>
        <p:nvSpPr>
          <p:cNvPr id="4" name="Text Placeholder 3"/>
          <p:cNvSpPr>
            <a:spLocks noGrp="1"/>
          </p:cNvSpPr>
          <p:nvPr>
            <p:ph type="body" sz="quarter" idx="11"/>
          </p:nvPr>
        </p:nvSpPr>
        <p:spPr>
          <a:xfrm>
            <a:off x="269170" y="1189177"/>
            <a:ext cx="11652805" cy="2018835"/>
          </a:xfrm>
        </p:spPr>
        <p:txBody>
          <a:bodyPr/>
          <a:lstStyle>
            <a:lvl1pPr marL="0" indent="0">
              <a:buNone/>
              <a:defRPr>
                <a:gradFill>
                  <a:gsLst>
                    <a:gs pos="1250">
                      <a:schemeClr val="bg1"/>
                    </a:gs>
                    <a:gs pos="100000">
                      <a:schemeClr val="bg1"/>
                    </a:gs>
                  </a:gsLst>
                  <a:lin ang="5400000" scaled="0"/>
                </a:gradFill>
              </a:defRPr>
            </a:lvl1pPr>
            <a:lvl2pPr marL="28004" indent="0">
              <a:buNone/>
              <a:defRPr sz="1960">
                <a:gradFill>
                  <a:gsLst>
                    <a:gs pos="1250">
                      <a:schemeClr val="bg1"/>
                    </a:gs>
                    <a:gs pos="100000">
                      <a:schemeClr val="bg1"/>
                    </a:gs>
                  </a:gsLst>
                  <a:lin ang="5400000" scaled="0"/>
                </a:gradFill>
              </a:defRPr>
            </a:lvl2pPr>
            <a:lvl3pPr marL="219362" indent="0">
              <a:buNone/>
              <a:defRPr sz="1960">
                <a:gradFill>
                  <a:gsLst>
                    <a:gs pos="1250">
                      <a:schemeClr val="bg1"/>
                    </a:gs>
                    <a:gs pos="100000">
                      <a:schemeClr val="bg1"/>
                    </a:gs>
                  </a:gsLst>
                  <a:lin ang="5400000" scaled="0"/>
                </a:gradFill>
              </a:defRPr>
            </a:lvl3pPr>
            <a:lvl4pPr marL="466728" indent="0">
              <a:buNone/>
              <a:defRPr sz="1764">
                <a:gradFill>
                  <a:gsLst>
                    <a:gs pos="1250">
                      <a:schemeClr val="bg1"/>
                    </a:gs>
                    <a:gs pos="100000">
                      <a:schemeClr val="bg1"/>
                    </a:gs>
                  </a:gsLst>
                  <a:lin ang="5400000" scaled="0"/>
                </a:gradFill>
              </a:defRPr>
            </a:lvl4pPr>
            <a:lvl5pPr marL="724983" indent="0">
              <a:buNone/>
              <a:defRPr sz="1764">
                <a:gradFill>
                  <a:gsLst>
                    <a:gs pos="1250">
                      <a:schemeClr val="bg1"/>
                    </a:gs>
                    <a:gs pos="100000">
                      <a:schemeClr val="bg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Slide Number Placeholder 9"/>
          <p:cNvSpPr>
            <a:spLocks noGrp="1"/>
          </p:cNvSpPr>
          <p:nvPr>
            <p:ph type="sldNum" sz="quarter" idx="12"/>
          </p:nvPr>
        </p:nvSpPr>
        <p:spPr>
          <a:xfrm>
            <a:off x="0" y="6541165"/>
            <a:ext cx="560686" cy="219456"/>
          </a:xfrm>
          <a:prstGeom prst="rect">
            <a:avLst/>
          </a:prstGeom>
        </p:spPr>
        <p:txBody>
          <a:bodyPr lIns="121899" tIns="60949" rIns="121899" bIns="60949" anchor="ctr"/>
          <a:lstStyle>
            <a:lvl1pPr algn="l">
              <a:defRPr sz="1600">
                <a:solidFill>
                  <a:schemeClr val="tx2"/>
                </a:solidFill>
              </a:defRPr>
            </a:lvl1pPr>
          </a:lstStyle>
          <a:p>
            <a:pPr defTabSz="913914"/>
            <a:fld id="{727B4C2D-45E2-4621-8491-2995EB46A674}" type="slidenum">
              <a:rPr lang="en-US" smtClean="0">
                <a:solidFill>
                  <a:srgbClr val="D2D2D2"/>
                </a:solidFill>
              </a:rPr>
              <a:pPr defTabSz="913914"/>
              <a:t>‹#›</a:t>
            </a:fld>
            <a:endParaRPr lang="en-US" dirty="0">
              <a:solidFill>
                <a:srgbClr val="D2D2D2"/>
              </a:solidFill>
            </a:endParaRPr>
          </a:p>
        </p:txBody>
      </p:sp>
    </p:spTree>
    <p:extLst>
      <p:ext uri="{BB962C8B-B14F-4D97-AF65-F5344CB8AC3E}">
        <p14:creationId xmlns:p14="http://schemas.microsoft.com/office/powerpoint/2010/main" val="1222572527"/>
      </p:ext>
    </p:extLst>
  </p:cSld>
  <p:clrMapOvr>
    <a:masterClrMapping/>
  </p:clrMapOvr>
  <p:transition>
    <p:fade/>
  </p:transition>
  <p:timing>
    <p:tnLst>
      <p:par>
        <p:cTn id="1" dur="indefinite" restart="never" nodeType="tmRoot"/>
      </p:par>
    </p:tnLst>
  </p:timing>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2_Title &amp; Non-bulleted tex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dirty="0" smtClean="0"/>
              <a:t>Click to edit Master title style</a:t>
            </a:r>
            <a:endParaRPr lang="en-US" dirty="0"/>
          </a:p>
        </p:txBody>
      </p:sp>
      <p:sp>
        <p:nvSpPr>
          <p:cNvPr id="5" name="TextBox 7"/>
          <p:cNvSpPr txBox="1"/>
          <p:nvPr userDrawn="1"/>
        </p:nvSpPr>
        <p:spPr bwMode="white">
          <a:xfrm>
            <a:off x="4241321" y="6566899"/>
            <a:ext cx="3706183"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solidFill>
                  <a:srgbClr val="D2D2D2"/>
                </a:solidFill>
                <a:latin typeface="Segoe Semibold" pitchFamily="34" charset="0"/>
              </a:rPr>
              <a:t>MICROSOFT CONFIDENTIAL – INTERNAL ONLY</a:t>
            </a:r>
          </a:p>
        </p:txBody>
      </p:sp>
      <p:sp>
        <p:nvSpPr>
          <p:cNvPr id="6" name="Slide Number Placeholder 9"/>
          <p:cNvSpPr>
            <a:spLocks noGrp="1"/>
          </p:cNvSpPr>
          <p:nvPr>
            <p:ph type="sldNum" sz="quarter" idx="12"/>
          </p:nvPr>
        </p:nvSpPr>
        <p:spPr>
          <a:xfrm>
            <a:off x="0" y="6541165"/>
            <a:ext cx="560686" cy="219456"/>
          </a:xfrm>
          <a:prstGeom prst="rect">
            <a:avLst/>
          </a:prstGeom>
        </p:spPr>
        <p:txBody>
          <a:bodyPr lIns="121899" tIns="60949" rIns="121899" bIns="60949" anchor="ctr"/>
          <a:lstStyle>
            <a:lvl1pPr algn="l">
              <a:defRPr sz="1600">
                <a:solidFill>
                  <a:schemeClr val="tx2"/>
                </a:solidFill>
              </a:defRPr>
            </a:lvl1pPr>
          </a:lstStyle>
          <a:p>
            <a:pPr defTabSz="913914"/>
            <a:fld id="{727B4C2D-45E2-4621-8491-2995EB46A674}" type="slidenum">
              <a:rPr lang="en-US" smtClean="0">
                <a:solidFill>
                  <a:srgbClr val="D2D2D2"/>
                </a:solidFill>
              </a:rPr>
              <a:pPr defTabSz="913914"/>
              <a:t>‹#›</a:t>
            </a:fld>
            <a:endParaRPr lang="en-US" dirty="0">
              <a:solidFill>
                <a:srgbClr val="D2D2D2"/>
              </a:solidFill>
            </a:endParaRPr>
          </a:p>
        </p:txBody>
      </p:sp>
    </p:spTree>
    <p:extLst>
      <p:ext uri="{BB962C8B-B14F-4D97-AF65-F5344CB8AC3E}">
        <p14:creationId xmlns:p14="http://schemas.microsoft.com/office/powerpoint/2010/main" val="3781808599"/>
      </p:ext>
    </p:extLst>
  </p:cSld>
  <p:clrMapOvr>
    <a:masterClrMapping/>
  </p:clrMapOvr>
  <p:transition>
    <p:fade/>
  </p:transition>
  <p:timing>
    <p:tnLst>
      <p:par>
        <p:cTn id="1" dur="indefinite" restart="never" nodeType="tmRoot"/>
      </p:par>
    </p:tnLst>
  </p:timing>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1_Blank Accent Color 3">
    <p:bg>
      <p:bgPr>
        <a:solidFill>
          <a:schemeClr val="tx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241321" y="6566899"/>
            <a:ext cx="3706183"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solidFill>
                  <a:srgbClr val="D2D2D2"/>
                </a:solidFill>
                <a:latin typeface="Segoe Semibold" pitchFamily="34" charset="0"/>
              </a:rPr>
              <a:t>MICROSOFT CONFIDENTIAL – INTERNAL ONLY</a:t>
            </a:r>
          </a:p>
        </p:txBody>
      </p:sp>
    </p:spTree>
    <p:extLst>
      <p:ext uri="{BB962C8B-B14F-4D97-AF65-F5344CB8AC3E}">
        <p14:creationId xmlns:p14="http://schemas.microsoft.com/office/powerpoint/2010/main" val="2735027699"/>
      </p:ext>
    </p:extLst>
  </p:cSld>
  <p:clrMapOvr>
    <a:masterClrMapping/>
  </p:clrMapOvr>
  <p:transition>
    <p:fade/>
  </p:transition>
  <p:timing>
    <p:tnLst>
      <p:par>
        <p:cTn id="1" dur="indefinite" restart="never" nodeType="tmRoot"/>
      </p:par>
    </p:tnLst>
  </p:timing>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7"/>
            <a:ext cx="11652805" cy="2018835"/>
          </a:xfrm>
        </p:spPr>
        <p:txBody>
          <a:bodyPr/>
          <a:lstStyle>
            <a:lvl1pPr marL="0" indent="0">
              <a:buNone/>
              <a:defRPr>
                <a:gradFill>
                  <a:gsLst>
                    <a:gs pos="2920">
                      <a:schemeClr val="tx2"/>
                    </a:gs>
                    <a:gs pos="39000">
                      <a:schemeClr val="tx2"/>
                    </a:gs>
                  </a:gsLst>
                  <a:lin ang="5400000" scaled="0"/>
                </a:gradFill>
              </a:defRPr>
            </a:lvl1pPr>
            <a:lvl2pPr marL="28004" indent="0">
              <a:buNone/>
              <a:defRPr sz="1960"/>
            </a:lvl2pPr>
            <a:lvl3pPr marL="219362" indent="0">
              <a:buNone/>
              <a:defRPr sz="1960"/>
            </a:lvl3pPr>
            <a:lvl4pPr marL="466728" indent="0">
              <a:buNone/>
              <a:defRPr sz="1764"/>
            </a:lvl4pPr>
            <a:lvl5pPr marL="72498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Box 7"/>
          <p:cNvSpPr txBox="1"/>
          <p:nvPr userDrawn="1"/>
        </p:nvSpPr>
        <p:spPr bwMode="white">
          <a:xfrm>
            <a:off x="4243523" y="6566925"/>
            <a:ext cx="3701781"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609591507"/>
      </p:ext>
    </p:extLst>
  </p:cSld>
  <p:clrMapOvr>
    <a:masterClrMapping/>
  </p:clrMapOvr>
  <p:transition>
    <p:fade/>
  </p:transition>
  <p:timing>
    <p:tnLst>
      <p:par>
        <p:cTn id="1" dur="indefinite" restart="never" nodeType="tmRoot"/>
      </p:par>
    </p:tnLst>
  </p:timing>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5" name="TextBox 7"/>
          <p:cNvSpPr txBox="1"/>
          <p:nvPr userDrawn="1"/>
        </p:nvSpPr>
        <p:spPr bwMode="white">
          <a:xfrm>
            <a:off x="4243523" y="6566925"/>
            <a:ext cx="3701781"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203605327"/>
      </p:ext>
    </p:extLst>
  </p:cSld>
  <p:clrMapOvr>
    <a:masterClrMapping/>
  </p:clrMapOvr>
  <p:transition>
    <p:fade/>
  </p:transition>
  <p:timing>
    <p:tnLst>
      <p:par>
        <p:cTn id="1" dur="indefinite" restart="never" nodeType="tmRoot"/>
      </p:par>
    </p:tnLst>
  </p:timing>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94396266"/>
      </p:ext>
    </p:extLst>
  </p:cSld>
  <p:clrMapOvr>
    <a:masterClrMapping/>
  </p:clrMapOvr>
  <p:transition>
    <p:fade/>
  </p:transition>
  <p:timing>
    <p:tnLst>
      <p:par>
        <p:cTn id="1" dur="indefinite" restart="never" nodeType="tmRoot"/>
      </p:par>
    </p:tnLst>
  </p:timing>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85950885"/>
      </p:ext>
    </p:extLst>
  </p:cSld>
  <p:clrMapOvr>
    <a:masterClrMapping/>
  </p:clrMapOvr>
  <p:transition>
    <p:fade/>
  </p:transition>
  <p:timing>
    <p:tnLst>
      <p:par>
        <p:cTn id="1" dur="indefinite" restart="never" nodeType="tmRoot"/>
      </p:par>
    </p:tnLst>
  </p:timing>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5109">
                      <a:schemeClr val="tx2"/>
                    </a:gs>
                    <a:gs pos="25000">
                      <a:schemeClr val="tx2"/>
                    </a:gs>
                  </a:gsLst>
                  <a:lin ang="5400000" scaled="0"/>
                </a:gradFill>
              </a:defRPr>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100000">
                      <a:schemeClr val="tx2"/>
                    </a:gs>
                    <a:gs pos="0">
                      <a:schemeClr val="tx2"/>
                    </a:gs>
                  </a:gsLst>
                  <a:lin ang="5400000" scaled="0"/>
                </a:gradFill>
              </a:defRPr>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Box 7"/>
          <p:cNvSpPr txBox="1"/>
          <p:nvPr userDrawn="1"/>
        </p:nvSpPr>
        <p:spPr bwMode="white">
          <a:xfrm>
            <a:off x="4301809" y="6566899"/>
            <a:ext cx="3585209"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NFIDENTIAL – INTERNAL ONLY</a:t>
            </a:r>
          </a:p>
        </p:txBody>
      </p:sp>
    </p:spTree>
    <p:extLst>
      <p:ext uri="{BB962C8B-B14F-4D97-AF65-F5344CB8AC3E}">
        <p14:creationId xmlns:p14="http://schemas.microsoft.com/office/powerpoint/2010/main" val="18415096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2" y="1447799"/>
            <a:ext cx="11149013" cy="1975926"/>
          </a:xfrm>
          <a:prstGeom prst="rect">
            <a:avLst/>
          </a:prstGeom>
        </p:spPr>
        <p:txBody>
          <a:bodyPr/>
          <a:lstStyle>
            <a:lvl1pPr marL="0" indent="0">
              <a:spcBef>
                <a:spcPts val="2400"/>
              </a:spcBef>
              <a:buNone/>
              <a:defRPr sz="4000">
                <a:gradFill>
                  <a:gsLst>
                    <a:gs pos="100000">
                      <a:schemeClr val="bg2"/>
                    </a:gs>
                    <a:gs pos="0">
                      <a:schemeClr val="bg2"/>
                    </a:gs>
                  </a:gsLst>
                  <a:lin ang="5400000" scaled="0"/>
                </a:gradFill>
                <a:latin typeface="+mj-lt"/>
              </a:defRPr>
            </a:lvl1pPr>
            <a:lvl2pPr marL="0" indent="0">
              <a:buNone/>
              <a:defRPr sz="2000">
                <a:gradFill>
                  <a:gsLst>
                    <a:gs pos="100000">
                      <a:schemeClr val="bg2"/>
                    </a:gs>
                    <a:gs pos="0">
                      <a:schemeClr val="bg2"/>
                    </a:gs>
                  </a:gsLst>
                  <a:lin ang="5400000" scaled="0"/>
                </a:gradFill>
              </a:defRPr>
            </a:lvl2pPr>
            <a:lvl3pPr marL="231775" indent="0">
              <a:buNone/>
              <a:defRPr sz="2000">
                <a:gradFill>
                  <a:gsLst>
                    <a:gs pos="100000">
                      <a:schemeClr val="bg2"/>
                    </a:gs>
                    <a:gs pos="0">
                      <a:schemeClr val="bg2"/>
                    </a:gs>
                  </a:gsLst>
                  <a:lin ang="5400000" scaled="0"/>
                </a:gradFill>
              </a:defRPr>
            </a:lvl3pPr>
            <a:lvl4pPr marL="457200" indent="0">
              <a:buNone/>
              <a:defRPr sz="2000">
                <a:gradFill>
                  <a:gsLst>
                    <a:gs pos="100000">
                      <a:schemeClr val="bg2"/>
                    </a:gs>
                    <a:gs pos="0">
                      <a:schemeClr val="bg2"/>
                    </a:gs>
                  </a:gsLst>
                  <a:lin ang="5400000" scaled="0"/>
                </a:gradFill>
              </a:defRPr>
            </a:lvl4pPr>
            <a:lvl5pPr marL="693738" indent="0">
              <a:buNone/>
              <a:defRPr sz="2000">
                <a:gradFill>
                  <a:gsLst>
                    <a:gs pos="100000">
                      <a:schemeClr val="bg2"/>
                    </a:gs>
                    <a:gs pos="0">
                      <a:schemeClr val="bg2"/>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6"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2414694883"/>
      </p:ext>
    </p:extLst>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defRPr sz="8624" spc="-98"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919849880"/>
      </p:ext>
    </p:extLst>
  </p:cSld>
  <p:clrMapOvr>
    <a:masterClrMapping/>
  </p:clrMapOvr>
  <p:transition>
    <p:fade/>
  </p:transition>
  <p:timing>
    <p:tnLst>
      <p:par>
        <p:cTn id="1" dur="indefinite" restart="never" nodeType="tmRoot"/>
      </p:par>
    </p:tnLst>
  </p:timing>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7"/>
            <a:ext cx="5377147" cy="2556149"/>
          </a:xfrm>
        </p:spPr>
        <p:txBody>
          <a:bodyPr wrap="square">
            <a:spAutoFit/>
          </a:bodyPr>
          <a:lstStyle>
            <a:lvl1pPr marL="281592" indent="-281592">
              <a:spcBef>
                <a:spcPts val="1200"/>
              </a:spcBef>
              <a:buClr>
                <a:schemeClr val="tx1"/>
              </a:buClr>
              <a:buFont typeface="Wingdings" panose="05000000000000000000" pitchFamily="2" charset="2"/>
              <a:buChar char="§"/>
              <a:defRPr sz="3528"/>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7"/>
            <a:ext cx="5377147" cy="2556149"/>
          </a:xfrm>
        </p:spPr>
        <p:txBody>
          <a:bodyPr wrap="square">
            <a:spAutoFit/>
          </a:bodyPr>
          <a:lstStyle>
            <a:lvl1pPr marL="281592" indent="-281592">
              <a:spcBef>
                <a:spcPts val="1200"/>
              </a:spcBef>
              <a:buClr>
                <a:schemeClr val="tx1"/>
              </a:buClr>
              <a:buFont typeface="Wingdings" panose="05000000000000000000" pitchFamily="2" charset="2"/>
              <a:buChar char="§"/>
              <a:defRPr sz="3528"/>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06706925"/>
      </p:ext>
    </p:extLst>
  </p:cSld>
  <p:clrMapOvr>
    <a:masterClrMapping/>
  </p:clrMapOvr>
  <p:transition>
    <p:fade/>
  </p:transition>
  <p:timing>
    <p:tnLst>
      <p:par>
        <p:cTn id="1" dur="indefinite" restart="never" nodeType="tmRoot"/>
      </p:par>
    </p:tnLst>
  </p:timing>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7"/>
            <a:ext cx="5377147" cy="2552967"/>
          </a:xfrm>
        </p:spPr>
        <p:txBody>
          <a:bodyPr wrap="square">
            <a:spAutoFit/>
          </a:bodyPr>
          <a:lstStyle>
            <a:lvl1pPr marL="281592" indent="-281592">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7"/>
            <a:ext cx="5377147" cy="2552967"/>
          </a:xfrm>
        </p:spPr>
        <p:txBody>
          <a:bodyPr wrap="square">
            <a:spAutoFit/>
          </a:bodyPr>
          <a:lstStyle>
            <a:lvl1pPr marL="281592" indent="-281592">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04365847"/>
      </p:ext>
    </p:extLst>
  </p:cSld>
  <p:clrMapOvr>
    <a:masterClrMapping/>
  </p:clrMapOvr>
  <p:transition>
    <p:fade/>
  </p:transition>
  <p:timing>
    <p:tnLst>
      <p:par>
        <p:cTn id="1" dur="indefinite" restart="never" nodeType="tmRoot"/>
      </p:par>
    </p:tnLst>
  </p:timing>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346905752"/>
      </p:ext>
    </p:extLst>
  </p:cSld>
  <p:clrMapOvr>
    <a:masterClrMapping/>
  </p:clrMapOvr>
  <p:transition>
    <p:fade/>
  </p:transition>
  <p:timing>
    <p:tnLst>
      <p:par>
        <p:cTn id="1" dur="indefinite" restart="never" nodeType="tmRoot"/>
      </p:par>
    </p:tnLst>
  </p:timing>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6949" y="1187622"/>
            <a:ext cx="11652805" cy="899665"/>
          </a:xfrm>
        </p:spPr>
        <p:txBody>
          <a:bodyPr/>
          <a:lstStyle>
            <a:lvl1pPr>
              <a:defRPr sz="7056" baseline="0"/>
            </a:lvl1pPr>
          </a:lstStyle>
          <a:p>
            <a:r>
              <a:rPr lang="en-US" smtClean="0"/>
              <a:t>Click to edit Master title style</a:t>
            </a:r>
            <a:endParaRPr lang="en-US" dirty="0"/>
          </a:p>
        </p:txBody>
      </p:sp>
    </p:spTree>
    <p:extLst>
      <p:ext uri="{BB962C8B-B14F-4D97-AF65-F5344CB8AC3E}">
        <p14:creationId xmlns:p14="http://schemas.microsoft.com/office/powerpoint/2010/main" val="2609930241"/>
      </p:ext>
    </p:extLst>
  </p:cSld>
  <p:clrMapOvr>
    <a:masterClrMapping/>
  </p:clrMapOvr>
  <p:transition>
    <p:fade/>
  </p:transition>
  <p:timing>
    <p:tnLst>
      <p:par>
        <p:cTn id="1" dur="indefinite" restart="never" nodeType="tmRoot"/>
      </p:par>
    </p:tnLst>
  </p:timing>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1" cy="1793104"/>
          </a:xfrm>
        </p:spPr>
        <p:txBody>
          <a:bodyPr/>
          <a:lstStyle>
            <a:lvl1pPr>
              <a:defRPr sz="5880" baseline="0"/>
            </a:lvl1pPr>
          </a:lstStyle>
          <a:p>
            <a:r>
              <a:rPr lang="en-US" smtClean="0"/>
              <a:t>Click to edit Master title style</a:t>
            </a:r>
            <a:endParaRPr lang="en-US" dirty="0"/>
          </a:p>
        </p:txBody>
      </p:sp>
    </p:spTree>
    <p:extLst>
      <p:ext uri="{BB962C8B-B14F-4D97-AF65-F5344CB8AC3E}">
        <p14:creationId xmlns:p14="http://schemas.microsoft.com/office/powerpoint/2010/main" val="2959193858"/>
      </p:ext>
    </p:extLst>
  </p:cSld>
  <p:clrMapOvr>
    <a:masterClrMapping/>
  </p:clrMapOvr>
  <p:transition>
    <p:fade/>
  </p:transition>
  <p:timing>
    <p:tnLst>
      <p:par>
        <p:cTn id="1" dur="indefinite" restart="never" nodeType="tmRoot"/>
      </p:par>
    </p:tnLst>
  </p:timing>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1" cy="1793104"/>
          </a:xfrm>
        </p:spPr>
        <p:txBody>
          <a:bodyPr/>
          <a:lstStyle>
            <a:lvl1pPr>
              <a:defRPr sz="5880" baseline="0"/>
            </a:lvl1pPr>
          </a:lstStyle>
          <a:p>
            <a:r>
              <a:rPr lang="en-US" smtClean="0"/>
              <a:t>Click to edit Master title style</a:t>
            </a:r>
            <a:endParaRPr lang="en-US" dirty="0"/>
          </a:p>
        </p:txBody>
      </p:sp>
      <p:sp>
        <p:nvSpPr>
          <p:cNvPr id="3" name="TextBox 7"/>
          <p:cNvSpPr txBox="1"/>
          <p:nvPr userDrawn="1"/>
        </p:nvSpPr>
        <p:spPr bwMode="white">
          <a:xfrm>
            <a:off x="4243523" y="6566925"/>
            <a:ext cx="3701781"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505806471"/>
      </p:ext>
    </p:extLst>
  </p:cSld>
  <p:clrMapOvr>
    <a:masterClrMapping/>
  </p:clrMapOvr>
  <p:transition>
    <p:fade/>
  </p:transition>
  <p:timing>
    <p:tnLst>
      <p:par>
        <p:cTn id="1" dur="indefinite" restart="never" nodeType="tmRoot"/>
      </p:par>
    </p:tnLst>
  </p:timing>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1178350"/>
            <a:ext cx="9858104" cy="899665"/>
          </a:xfrm>
        </p:spPr>
        <p:txBody>
          <a:bodyPr/>
          <a:lstStyle>
            <a:lvl1pPr marL="228697" indent="-228697">
              <a:defRPr sz="5880"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8" y="5025984"/>
            <a:ext cx="5377148" cy="1050156"/>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
        <p:nvSpPr>
          <p:cNvPr id="5" name="TextBox 7"/>
          <p:cNvSpPr txBox="1"/>
          <p:nvPr userDrawn="1"/>
        </p:nvSpPr>
        <p:spPr bwMode="white">
          <a:xfrm>
            <a:off x="4243523" y="6566925"/>
            <a:ext cx="3701781"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363965716"/>
      </p:ext>
    </p:extLst>
  </p:cSld>
  <p:clrMapOvr>
    <a:masterClrMapping/>
  </p:clrMapOvr>
  <p:transition>
    <p:fade/>
  </p:transition>
  <p:timing>
    <p:tnLst>
      <p:par>
        <p:cTn id="1" dur="indefinite" restart="never" nodeType="tmRoot"/>
      </p:par>
    </p:tnLst>
  </p:timing>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2084174"/>
            <a:ext cx="9858104" cy="899665"/>
          </a:xfrm>
        </p:spPr>
        <p:txBody>
          <a:bodyPr/>
          <a:lstStyle>
            <a:lvl1pPr marL="276925" indent="-276925">
              <a:tabLst>
                <a:tab pos="276925" algn="l"/>
              </a:tabLst>
              <a:defRPr sz="5880"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8" y="4773813"/>
            <a:ext cx="5377148" cy="1050156"/>
          </a:xfrm>
        </p:spPr>
        <p:txBody>
          <a:bodyPr/>
          <a:lstStyle>
            <a:lvl1pPr marL="0" indent="0">
              <a:spcBef>
                <a:spcPts val="0"/>
              </a:spcBef>
              <a:buNone/>
              <a:defRPr sz="3136" baseline="0">
                <a:latin typeface="+mj-lt"/>
              </a:defRPr>
            </a:lvl1pPr>
          </a:lstStyle>
          <a:p>
            <a:pPr lvl="0"/>
            <a:r>
              <a:rPr lang="en-US" dirty="0" smtClean="0"/>
              <a:t>Author’s Name</a:t>
            </a:r>
          </a:p>
          <a:p>
            <a:pPr lvl="0"/>
            <a:r>
              <a:rPr lang="en-US" dirty="0" smtClean="0"/>
              <a:t>Title</a:t>
            </a:r>
          </a:p>
        </p:txBody>
      </p:sp>
      <p:sp>
        <p:nvSpPr>
          <p:cNvPr id="5" name="TextBox 7"/>
          <p:cNvSpPr txBox="1"/>
          <p:nvPr userDrawn="1"/>
        </p:nvSpPr>
        <p:spPr bwMode="white">
          <a:xfrm>
            <a:off x="4243523" y="6566925"/>
            <a:ext cx="3701781"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816519372"/>
      </p:ext>
    </p:extLst>
  </p:cSld>
  <p:clrMapOvr>
    <a:masterClrMapping/>
  </p:clrMapOvr>
  <p:transition>
    <p:fade/>
  </p:transition>
  <p:timing>
    <p:tnLst>
      <p:par>
        <p:cTn id="1" dur="indefinite" restart="never" nodeType="tmRoot"/>
      </p:par>
    </p:tnLst>
  </p:timing>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49" y="2383023"/>
            <a:ext cx="11650488" cy="914360"/>
          </a:xfrm>
        </p:spPr>
        <p:txBody>
          <a:bodyPr/>
          <a:lstStyle>
            <a:lvl1pPr marL="0" indent="0">
              <a:buNone/>
              <a:defRPr sz="5292">
                <a:gradFill>
                  <a:gsLst>
                    <a:gs pos="3333">
                      <a:schemeClr val="tx1"/>
                    </a:gs>
                    <a:gs pos="39000">
                      <a:schemeClr val="tx1"/>
                    </a:gs>
                  </a:gsLst>
                  <a:lin ang="5400000" scaled="0"/>
                </a:gradFill>
              </a:defRPr>
            </a:lvl1pPr>
            <a:lvl2pPr marL="0" indent="0">
              <a:buFontTx/>
              <a:buNone/>
              <a:defRPr sz="1960"/>
            </a:lvl2pPr>
            <a:lvl3pPr marL="224030" indent="0">
              <a:buNone/>
              <a:defRPr/>
            </a:lvl3pPr>
            <a:lvl4pPr marL="448059" indent="0">
              <a:buNone/>
              <a:defRPr/>
            </a:lvl4pPr>
            <a:lvl5pPr marL="672088" indent="0">
              <a:buNone/>
              <a:defRPr/>
            </a:lvl5pPr>
          </a:lstStyle>
          <a:p>
            <a:pPr lvl="0"/>
            <a:r>
              <a:rPr lang="en-US" smtClean="0"/>
              <a:t>Click to edit Master text styles</a:t>
            </a:r>
          </a:p>
        </p:txBody>
      </p:sp>
      <p:sp>
        <p:nvSpPr>
          <p:cNvPr id="4" name="Title 1"/>
          <p:cNvSpPr>
            <a:spLocks noGrp="1"/>
          </p:cNvSpPr>
          <p:nvPr>
            <p:ph type="title"/>
          </p:nvPr>
        </p:nvSpPr>
        <p:spPr>
          <a:xfrm>
            <a:off x="276949" y="1187622"/>
            <a:ext cx="11652805" cy="899665"/>
          </a:xfrm>
        </p:spPr>
        <p:txBody>
          <a:bodyPr/>
          <a:lstStyle>
            <a:lvl1pPr>
              <a:defRPr sz="7056"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5" name="TextBox 7"/>
          <p:cNvSpPr txBox="1"/>
          <p:nvPr userDrawn="1"/>
        </p:nvSpPr>
        <p:spPr bwMode="white">
          <a:xfrm>
            <a:off x="4243523" y="6566925"/>
            <a:ext cx="3701781"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398924751"/>
      </p:ext>
    </p:extLst>
  </p:cSld>
  <p:clrMapOvr>
    <a:masterClrMapping/>
  </p:clrMapOvr>
  <p:transition>
    <p:fade/>
  </p:transition>
  <p:timing>
    <p:tnLst>
      <p:par>
        <p:cTn id="1" dur="indefinite" restart="never" nodeType="tmRoot"/>
      </p:par>
    </p:tnLst>
  </p:timing>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1" y="1217195"/>
            <a:ext cx="5377147" cy="1763530"/>
          </a:xfrm>
        </p:spPr>
        <p:txBody>
          <a:bodyPr/>
          <a:lstStyle>
            <a:lvl1pPr>
              <a:defRPr sz="6468"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5968" y="0"/>
            <a:ext cx="6092857"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smtClean="0"/>
              <a:t>Click icon to add picture</a:t>
            </a:r>
            <a:endParaRPr lang="en-US" dirty="0"/>
          </a:p>
        </p:txBody>
      </p:sp>
    </p:spTree>
    <p:extLst>
      <p:ext uri="{BB962C8B-B14F-4D97-AF65-F5344CB8AC3E}">
        <p14:creationId xmlns:p14="http://schemas.microsoft.com/office/powerpoint/2010/main" val="359844130"/>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defRPr sz="8624" spc="-98"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729710257"/>
      </p:ext>
    </p:extLst>
  </p:cSld>
  <p:clrMapOvr>
    <a:masterClrMapping/>
  </p:clrMapOvr>
  <p:transition>
    <p:fade/>
  </p:transition>
  <p:timing>
    <p:tnLst>
      <p:par>
        <p:cTn id="1" dur="indefinite" restart="never" nodeType="tmRoot"/>
      </p:par>
    </p:tnLst>
  </p:timing>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2510" y="1217196"/>
            <a:ext cx="5377147" cy="899665"/>
          </a:xfrm>
        </p:spPr>
        <p:txBody>
          <a:bodyPr/>
          <a:lstStyle>
            <a:lvl1pPr>
              <a:defRPr sz="6468"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4" name="Picture Placeholder 4"/>
          <p:cNvSpPr>
            <a:spLocks noGrp="1"/>
          </p:cNvSpPr>
          <p:nvPr>
            <p:ph type="pic" sz="quarter" idx="10"/>
          </p:nvPr>
        </p:nvSpPr>
        <p:spPr bwMode="ltGray">
          <a:xfrm>
            <a:off x="0" y="1"/>
            <a:ext cx="6092857" cy="6852151"/>
          </a:xfrm>
          <a:blipFill>
            <a:blip r:embed="rId2"/>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dirty="0" smtClean="0"/>
              <a:t>Click icon to add picture</a:t>
            </a:r>
            <a:endParaRPr lang="en-US" dirty="0"/>
          </a:p>
        </p:txBody>
      </p:sp>
    </p:spTree>
    <p:extLst>
      <p:ext uri="{BB962C8B-B14F-4D97-AF65-F5344CB8AC3E}">
        <p14:creationId xmlns:p14="http://schemas.microsoft.com/office/powerpoint/2010/main" val="3916835775"/>
      </p:ext>
    </p:extLst>
  </p:cSld>
  <p:clrMapOvr>
    <a:masterClrMapping/>
  </p:clrMapOvr>
  <p:transition>
    <p:fade/>
  </p:transition>
  <p:timing>
    <p:tnLst>
      <p:par>
        <p:cTn id="1" dur="indefinite" restart="never" nodeType="tmRoot"/>
      </p:par>
    </p:tnLst>
  </p:timing>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243523" y="6566925"/>
            <a:ext cx="3701781"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894502309"/>
      </p:ext>
    </p:extLst>
  </p:cSld>
  <p:clrMapOvr>
    <a:masterClrMapping/>
  </p:clrMapOvr>
  <p:transition>
    <p:fade/>
  </p:transition>
  <p:timing>
    <p:tnLst>
      <p:par>
        <p:cTn id="1" dur="indefinite" restart="never" nodeType="tmRoot"/>
      </p:par>
    </p:tnLst>
  </p:timing>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243523" y="6566925"/>
            <a:ext cx="3701781"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628089685"/>
      </p:ext>
    </p:extLst>
  </p:cSld>
  <p:clrMapOvr>
    <a:masterClrMapping/>
  </p:clrMapOvr>
  <p:transition>
    <p:fade/>
  </p:transition>
  <p:timing>
    <p:tnLst>
      <p:par>
        <p:cTn id="1" dur="indefinite" restart="never" nodeType="tmRoot"/>
      </p:par>
    </p:tnLst>
  </p:timing>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243523" y="6566925"/>
            <a:ext cx="3701781"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902883988"/>
      </p:ext>
    </p:extLst>
  </p:cSld>
  <p:clrMapOvr>
    <a:masterClrMapping/>
  </p:clrMapOvr>
  <p:transition>
    <p:fade/>
  </p:transition>
  <p:timing>
    <p:tnLst>
      <p:par>
        <p:cTn id="1" dur="indefinite" restart="never" nodeType="tmRoot"/>
      </p:par>
    </p:tnLst>
  </p:timing>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396047"/>
          </a:xfrm>
          <a:prstGeom prst="rect">
            <a:avLst/>
          </a:prstGeom>
        </p:spPr>
        <p:txBody>
          <a:bodyPr/>
          <a:lstStyle>
            <a:lvl1pPr marL="284705" indent="-28470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73" indent="-275370">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77" indent="-284705">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807" indent="-224030">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837" indent="-224030">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7"/>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56852072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15.xml><?xml version="1.0" encoding="utf-8"?>
<p:sldLayout xmlns:a="http://schemas.openxmlformats.org/drawingml/2006/main" xmlns:r="http://schemas.openxmlformats.org/officeDocument/2006/relationships" xmlns:p="http://schemas.openxmlformats.org/presentationml/2006/main" userDrawn="1">
  <p:cSld name="Title &amp; Content Layout">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308039" y="307247"/>
            <a:ext cx="11149013" cy="747897"/>
          </a:xfrm>
        </p:spPr>
        <p:txBody>
          <a:bodyPr lIns="146304" tIns="91440" rIns="146304" bIns="91440"/>
          <a:lstStyle/>
          <a:p>
            <a:r>
              <a:rPr lang="en-US" dirty="0" smtClean="0"/>
              <a:t>Click to edit master title style</a:t>
            </a:r>
            <a:endParaRPr lang="en-US" dirty="0"/>
          </a:p>
        </p:txBody>
      </p:sp>
      <p:sp>
        <p:nvSpPr>
          <p:cNvPr id="5" name="Text Placeholder 4"/>
          <p:cNvSpPr>
            <a:spLocks noGrp="1"/>
          </p:cNvSpPr>
          <p:nvPr>
            <p:ph type="body" sz="quarter" idx="10"/>
          </p:nvPr>
        </p:nvSpPr>
        <p:spPr>
          <a:xfrm>
            <a:off x="316337" y="1203349"/>
            <a:ext cx="11650488" cy="2495748"/>
          </a:xfrm>
        </p:spPr>
        <p:txBody>
          <a:bodyPr lIns="146304" tIns="91440" rIns="146304" bIns="91440"/>
          <a:lstStyle>
            <a:lvl1pPr marL="0" indent="0">
              <a:spcAft>
                <a:spcPts val="588"/>
              </a:spcAft>
              <a:buNone/>
              <a:defRPr/>
            </a:lvl1pPr>
            <a:lvl2pPr marL="339462" indent="0">
              <a:spcAft>
                <a:spcPts val="588"/>
              </a:spcAft>
              <a:buNone/>
              <a:defRPr/>
            </a:lvl2pPr>
            <a:lvl3pPr marL="572644" indent="0">
              <a:spcAft>
                <a:spcPts val="588"/>
              </a:spcAft>
              <a:buNone/>
              <a:defRPr/>
            </a:lvl3pPr>
            <a:lvl4pPr marL="797898" indent="0">
              <a:spcAft>
                <a:spcPts val="588"/>
              </a:spcAft>
              <a:buNone/>
              <a:defRPr/>
            </a:lvl4pPr>
            <a:lvl5pPr marL="1029490" indent="0">
              <a:spcAft>
                <a:spcPts val="588"/>
              </a:spcAft>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39684144"/>
      </p:ext>
    </p:extLst>
  </p:cSld>
  <p:clrMapOvr>
    <a:masterClrMapping/>
  </p:clrMapOvr>
  <p:timing>
    <p:tnLst>
      <p:par>
        <p:cTn id="1" dur="indefinite" restart="never" nodeType="tmRoot"/>
      </p:par>
    </p:tnLst>
  </p:timing>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5" y="2109542"/>
            <a:ext cx="10237787" cy="997196"/>
          </a:xfrm>
        </p:spPr>
        <p:txBody>
          <a:bodyPr anchor="b" anchorCtr="0"/>
          <a:lstStyle>
            <a:lvl1pPr>
              <a:defRPr sz="7197" spc="-150" baseline="0">
                <a:gradFill>
                  <a:gsLst>
                    <a:gs pos="1250">
                      <a:schemeClr val="bg1"/>
                    </a:gs>
                    <a:gs pos="100000">
                      <a:schemeClr val="bg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5" y="3425825"/>
            <a:ext cx="10237787" cy="498598"/>
          </a:xfrm>
        </p:spPr>
        <p:txBody>
          <a:bodyPr>
            <a:noAutofit/>
          </a:bodyPr>
          <a:lstStyle>
            <a:lvl1pPr marL="0" indent="0">
              <a:spcBef>
                <a:spcPts val="0"/>
              </a:spcBef>
              <a:buNone/>
              <a:defRPr spc="-70" baseline="0">
                <a:gradFill>
                  <a:gsLst>
                    <a:gs pos="0">
                      <a:schemeClr val="bg1"/>
                    </a:gs>
                    <a:gs pos="100000">
                      <a:schemeClr val="bg1"/>
                    </a:gs>
                  </a:gsLst>
                  <a:lin ang="5400000" scaled="0"/>
                </a:gradFill>
                <a:latin typeface="+mj-lt"/>
              </a:defRPr>
            </a:lvl1pPr>
          </a:lstStyle>
          <a:p>
            <a:pPr lvl="0"/>
            <a:r>
              <a:rPr lang="en-US" dirty="0" smtClean="0"/>
              <a:t>Speaker Title</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615004" y="4873974"/>
            <a:ext cx="4362138" cy="2046779"/>
          </a:xfrm>
          <a:prstGeom prst="rect">
            <a:avLst/>
          </a:prstGeom>
        </p:spPr>
      </p:pic>
    </p:spTree>
    <p:extLst>
      <p:ext uri="{BB962C8B-B14F-4D97-AF65-F5344CB8AC3E}">
        <p14:creationId xmlns:p14="http://schemas.microsoft.com/office/powerpoint/2010/main" val="227018241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3" y="2819604"/>
            <a:ext cx="11149013" cy="1218795"/>
          </a:xfrm>
        </p:spPr>
        <p:txBody>
          <a:bodyPr anchor="b" anchorCtr="0"/>
          <a:lstStyle>
            <a:lvl1pPr>
              <a:defRPr sz="8796" spc="-300" baseline="0">
                <a:gradFill>
                  <a:gsLst>
                    <a:gs pos="100000">
                      <a:schemeClr val="bg1"/>
                    </a:gs>
                    <a:gs pos="0">
                      <a:schemeClr val="bg1"/>
                    </a:gs>
                  </a:gsLst>
                  <a:lin ang="5400000" scaled="0"/>
                </a:gradFill>
              </a:defRPr>
            </a:lvl1pPr>
          </a:lstStyle>
          <a:p>
            <a:r>
              <a:rPr lang="en-US" dirty="0" smtClean="0"/>
              <a:t>Click to edit title style</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3312" y="6014914"/>
            <a:ext cx="1738860" cy="815899"/>
          </a:xfrm>
          <a:prstGeom prst="rect">
            <a:avLst/>
          </a:prstGeom>
        </p:spPr>
      </p:pic>
    </p:spTree>
    <p:extLst>
      <p:ext uri="{BB962C8B-B14F-4D97-AF65-F5344CB8AC3E}">
        <p14:creationId xmlns:p14="http://schemas.microsoft.com/office/powerpoint/2010/main" val="3635251755"/>
      </p:ext>
    </p:extLst>
  </p:cSld>
  <p:clrMapOvr>
    <a:masterClrMapping/>
  </p:clrMapOvr>
  <p:transition>
    <p:fade/>
  </p:transition>
  <p:timing>
    <p:tnLst>
      <p:par>
        <p:cTn id="1" dur="indefinite" restart="never" nodeType="tmRoot"/>
      </p:par>
    </p:tnLst>
  </p:timing>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139" y="4343400"/>
            <a:ext cx="10237786" cy="461665"/>
          </a:xfrm>
        </p:spPr>
        <p:txBody>
          <a:bodyPr>
            <a:noAutofit/>
          </a:bodyPr>
          <a:lstStyle>
            <a:lvl1pPr marL="0" indent="0" algn="l">
              <a:lnSpc>
                <a:spcPct val="90000"/>
              </a:lnSpc>
              <a:spcBef>
                <a:spcPts val="0"/>
              </a:spcBef>
              <a:buNone/>
              <a:defRPr lang="en-US" sz="3599" kern="1200" spc="-70" baseline="0" dirty="0">
                <a:gradFill>
                  <a:gsLst>
                    <a:gs pos="2083">
                      <a:schemeClr val="bg2"/>
                    </a:gs>
                    <a:gs pos="99000">
                      <a:schemeClr val="bg2"/>
                    </a:gs>
                  </a:gsLst>
                  <a:lin ang="5400000" scaled="0"/>
                </a:gradFill>
                <a:latin typeface="+mj-lt"/>
                <a:ea typeface="+mn-ea"/>
                <a:cs typeface="+mn-cs"/>
              </a:defRPr>
            </a:lvl1pPr>
            <a:lvl2pPr marL="457001" indent="0" algn="ctr">
              <a:buNone/>
              <a:defRPr>
                <a:solidFill>
                  <a:schemeClr val="tx1">
                    <a:tint val="75000"/>
                  </a:schemeClr>
                </a:solidFill>
              </a:defRPr>
            </a:lvl2pPr>
            <a:lvl3pPr marL="914001" indent="0" algn="ctr">
              <a:buNone/>
              <a:defRPr>
                <a:solidFill>
                  <a:schemeClr val="tx1">
                    <a:tint val="75000"/>
                  </a:schemeClr>
                </a:solidFill>
              </a:defRPr>
            </a:lvl3pPr>
            <a:lvl4pPr marL="1371002" indent="0" algn="ctr">
              <a:buNone/>
              <a:defRPr>
                <a:solidFill>
                  <a:schemeClr val="tx1">
                    <a:tint val="75000"/>
                  </a:schemeClr>
                </a:solidFill>
              </a:defRPr>
            </a:lvl4pPr>
            <a:lvl5pPr marL="1828003" indent="0" algn="ctr">
              <a:buNone/>
              <a:defRPr>
                <a:solidFill>
                  <a:schemeClr val="tx1">
                    <a:tint val="75000"/>
                  </a:schemeClr>
                </a:solidFill>
              </a:defRPr>
            </a:lvl5pPr>
            <a:lvl6pPr marL="2285004" indent="0" algn="ctr">
              <a:buNone/>
              <a:defRPr>
                <a:solidFill>
                  <a:schemeClr val="tx1">
                    <a:tint val="75000"/>
                  </a:schemeClr>
                </a:solidFill>
              </a:defRPr>
            </a:lvl6pPr>
            <a:lvl7pPr marL="2742003" indent="0" algn="ctr">
              <a:buNone/>
              <a:defRPr>
                <a:solidFill>
                  <a:schemeClr val="tx1">
                    <a:tint val="75000"/>
                  </a:schemeClr>
                </a:solidFill>
              </a:defRPr>
            </a:lvl7pPr>
            <a:lvl8pPr marL="3199004" indent="0" algn="ctr">
              <a:buNone/>
              <a:defRPr>
                <a:solidFill>
                  <a:schemeClr val="tx1">
                    <a:tint val="75000"/>
                  </a:schemeClr>
                </a:solidFill>
              </a:defRPr>
            </a:lvl8pPr>
            <a:lvl9pPr marL="3656005" indent="0" algn="ctr">
              <a:buNone/>
              <a:defRPr>
                <a:solidFill>
                  <a:schemeClr val="tx1">
                    <a:tint val="75000"/>
                  </a:schemeClr>
                </a:solidFill>
              </a:defRPr>
            </a:lvl9pPr>
          </a:lstStyle>
          <a:p>
            <a:pPr marL="0" marR="0" lvl="0" indent="0" algn="l" defTabSz="914001"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138" y="2739678"/>
            <a:ext cx="10245725"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596" b="0" kern="1200" cap="none" spc="-400"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139" y="1447800"/>
            <a:ext cx="10237787" cy="914096"/>
          </a:xfrm>
        </p:spPr>
        <p:txBody>
          <a:bodyPr wrap="square" anchor="b">
            <a:noAutofit/>
          </a:bodyPr>
          <a:lstStyle>
            <a:lvl1pPr marL="0" indent="0">
              <a:buNone/>
              <a:defRPr sz="6597" spc="-150"/>
            </a:lvl1pPr>
          </a:lstStyle>
          <a:p>
            <a:pPr lvl="0"/>
            <a:r>
              <a:rPr lang="en-US" smtClean="0"/>
              <a:t>Click to edit Master text styles</a:t>
            </a:r>
          </a:p>
        </p:txBody>
      </p:sp>
    </p:spTree>
    <p:extLst>
      <p:ext uri="{BB962C8B-B14F-4D97-AF65-F5344CB8AC3E}">
        <p14:creationId xmlns:p14="http://schemas.microsoft.com/office/powerpoint/2010/main" val="20456013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Title &amp; Content, 2-color, no Bullets">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
        <p:nvSpPr>
          <p:cNvPr id="5" name="Text Placeholder 4"/>
          <p:cNvSpPr>
            <a:spLocks noGrp="1"/>
          </p:cNvSpPr>
          <p:nvPr>
            <p:ph type="body" sz="quarter" idx="10"/>
          </p:nvPr>
        </p:nvSpPr>
        <p:spPr>
          <a:xfrm>
            <a:off x="519113" y="1447799"/>
            <a:ext cx="11149013" cy="1975926"/>
          </a:xfrm>
          <a:prstGeom prst="rect">
            <a:avLst/>
          </a:prstGeom>
        </p:spPr>
        <p:txBody>
          <a:bodyPr/>
          <a:lstStyle>
            <a:lvl1pPr marL="0" indent="0">
              <a:spcBef>
                <a:spcPts val="2399"/>
              </a:spcBef>
              <a:buNone/>
              <a:defRPr sz="3999">
                <a:gradFill>
                  <a:gsLst>
                    <a:gs pos="100000">
                      <a:schemeClr val="tx2"/>
                    </a:gs>
                    <a:gs pos="0">
                      <a:schemeClr val="tx2"/>
                    </a:gs>
                  </a:gsLst>
                  <a:lin ang="5400000" scaled="0"/>
                </a:gradFill>
                <a:latin typeface="+mj-lt"/>
              </a:defRPr>
            </a:lvl1pPr>
            <a:lvl2pPr marL="0" indent="0">
              <a:buNone/>
              <a:defRPr sz="1999">
                <a:gradFill>
                  <a:gsLst>
                    <a:gs pos="100000">
                      <a:schemeClr val="bg2"/>
                    </a:gs>
                    <a:gs pos="6000">
                      <a:schemeClr val="bg2"/>
                    </a:gs>
                  </a:gsLst>
                  <a:lin ang="5400000" scaled="0"/>
                </a:gradFill>
              </a:defRPr>
            </a:lvl2pPr>
            <a:lvl3pPr marL="231683" indent="0">
              <a:buNone/>
              <a:defRPr sz="1999">
                <a:gradFill>
                  <a:gsLst>
                    <a:gs pos="100000">
                      <a:schemeClr val="bg2"/>
                    </a:gs>
                    <a:gs pos="6000">
                      <a:schemeClr val="bg2"/>
                    </a:gs>
                  </a:gsLst>
                  <a:lin ang="5400000" scaled="0"/>
                </a:gradFill>
              </a:defRPr>
            </a:lvl3pPr>
            <a:lvl4pPr marL="457019" indent="0">
              <a:buNone/>
              <a:defRPr sz="1999">
                <a:gradFill>
                  <a:gsLst>
                    <a:gs pos="100000">
                      <a:schemeClr val="bg2"/>
                    </a:gs>
                    <a:gs pos="6000">
                      <a:schemeClr val="bg2"/>
                    </a:gs>
                  </a:gsLst>
                  <a:lin ang="5400000" scaled="0"/>
                </a:gradFill>
              </a:defRPr>
            </a:lvl4pPr>
            <a:lvl5pPr marL="693463" indent="0">
              <a:buNone/>
              <a:defRPr sz="1999">
                <a:gradFill>
                  <a:gsLst>
                    <a:gs pos="100000">
                      <a:schemeClr val="bg2"/>
                    </a:gs>
                    <a:gs pos="6000">
                      <a:schemeClr val="bg2"/>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6"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defTabSz="914001"/>
            <a:fld id="{727B4C2D-45E2-4621-8491-2995EB46A674}" type="slidenum">
              <a:rPr lang="en-US" smtClean="0">
                <a:gradFill>
                  <a:gsLst>
                    <a:gs pos="100000">
                      <a:srgbClr val="797A7D"/>
                    </a:gs>
                    <a:gs pos="0">
                      <a:srgbClr val="797A7D"/>
                    </a:gs>
                  </a:gsLst>
                  <a:lin ang="5400000" scaled="0"/>
                </a:gradFill>
              </a:rPr>
              <a:pPr defTabSz="914001"/>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1884195926"/>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4093" rtl="0" eaLnBrk="1" latinLnBrk="0" hangingPunct="1">
              <a:lnSpc>
                <a:spcPct val="90000"/>
              </a:lnSpc>
              <a:spcBef>
                <a:spcPct val="0"/>
              </a:spcBef>
              <a:buNone/>
              <a:defRPr lang="en-US" sz="8624" b="0" kern="1200" cap="none" spc="-98"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895511632"/>
      </p:ext>
    </p:extLst>
  </p:cSld>
  <p:clrMapOvr>
    <a:masterClrMapping/>
  </p:clrMapOvr>
  <p:transition>
    <p:fade/>
  </p:transition>
  <p:timing>
    <p:tnLst>
      <p:par>
        <p:cTn id="1" dur="indefinite" restart="never" nodeType="tmRoot"/>
      </p:par>
    </p:tnLst>
  </p:timing>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3" y="1447799"/>
            <a:ext cx="11149013" cy="1975926"/>
          </a:xfrm>
          <a:prstGeom prst="rect">
            <a:avLst/>
          </a:prstGeom>
        </p:spPr>
        <p:txBody>
          <a:bodyPr/>
          <a:lstStyle>
            <a:lvl1pPr marL="0" indent="0">
              <a:spcBef>
                <a:spcPts val="2399"/>
              </a:spcBef>
              <a:buNone/>
              <a:defRPr sz="3999">
                <a:gradFill>
                  <a:gsLst>
                    <a:gs pos="100000">
                      <a:schemeClr val="bg2"/>
                    </a:gs>
                    <a:gs pos="0">
                      <a:schemeClr val="bg2"/>
                    </a:gs>
                  </a:gsLst>
                  <a:lin ang="5400000" scaled="0"/>
                </a:gradFill>
                <a:latin typeface="+mj-lt"/>
              </a:defRPr>
            </a:lvl1pPr>
            <a:lvl2pPr marL="0" indent="0">
              <a:buNone/>
              <a:defRPr sz="1999">
                <a:gradFill>
                  <a:gsLst>
                    <a:gs pos="100000">
                      <a:schemeClr val="bg2"/>
                    </a:gs>
                    <a:gs pos="0">
                      <a:schemeClr val="bg2"/>
                    </a:gs>
                  </a:gsLst>
                  <a:lin ang="5400000" scaled="0"/>
                </a:gradFill>
              </a:defRPr>
            </a:lvl2pPr>
            <a:lvl3pPr marL="231683" indent="0">
              <a:buNone/>
              <a:defRPr sz="1999">
                <a:gradFill>
                  <a:gsLst>
                    <a:gs pos="100000">
                      <a:schemeClr val="bg2"/>
                    </a:gs>
                    <a:gs pos="0">
                      <a:schemeClr val="bg2"/>
                    </a:gs>
                  </a:gsLst>
                  <a:lin ang="5400000" scaled="0"/>
                </a:gradFill>
              </a:defRPr>
            </a:lvl3pPr>
            <a:lvl4pPr marL="457019" indent="0">
              <a:buNone/>
              <a:defRPr sz="1999">
                <a:gradFill>
                  <a:gsLst>
                    <a:gs pos="100000">
                      <a:schemeClr val="bg2"/>
                    </a:gs>
                    <a:gs pos="0">
                      <a:schemeClr val="bg2"/>
                    </a:gs>
                  </a:gsLst>
                  <a:lin ang="5400000" scaled="0"/>
                </a:gradFill>
              </a:defRPr>
            </a:lvl4pPr>
            <a:lvl5pPr marL="693463" indent="0">
              <a:buNone/>
              <a:defRPr sz="1999">
                <a:gradFill>
                  <a:gsLst>
                    <a:gs pos="100000">
                      <a:schemeClr val="bg2"/>
                    </a:gs>
                    <a:gs pos="0">
                      <a:schemeClr val="bg2"/>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6"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defTabSz="914001"/>
            <a:fld id="{727B4C2D-45E2-4621-8491-2995EB46A674}" type="slidenum">
              <a:rPr lang="en-US" smtClean="0">
                <a:gradFill>
                  <a:gsLst>
                    <a:gs pos="100000">
                      <a:srgbClr val="797A7D"/>
                    </a:gs>
                    <a:gs pos="0">
                      <a:srgbClr val="797A7D"/>
                    </a:gs>
                  </a:gsLst>
                  <a:lin ang="5400000" scaled="0"/>
                </a:gradFill>
              </a:rPr>
              <a:pPr defTabSz="914001"/>
              <a:t>‹#›</a:t>
            </a:fld>
            <a:endParaRPr lang="en-US" dirty="0">
              <a:gradFill>
                <a:gsLst>
                  <a:gs pos="100000">
                    <a:srgbClr val="797A7D"/>
                  </a:gs>
                  <a:gs pos="0">
                    <a:srgbClr val="797A7D"/>
                  </a:gs>
                </a:gsLst>
                <a:lin ang="5400000" scaled="0"/>
              </a:gradFill>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3463579121"/>
      </p:ext>
    </p:extLst>
  </p:cSld>
  <p:clrMapOvr>
    <a:masterClrMapping/>
  </p:clrMapOvr>
  <p:transition>
    <p:fade/>
  </p:transition>
  <p:timing>
    <p:tnLst>
      <p:par>
        <p:cTn id="1" dur="indefinite" restart="never" nodeType="tmRoot"/>
      </p:par>
    </p:tnLst>
  </p:timing>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47897"/>
          </a:xfrm>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43636"/>
          </a:xfrm>
          <a:prstGeom prst="rect">
            <a:avLst/>
          </a:prstGeom>
        </p:spPr>
        <p:txBody>
          <a:bodyPr/>
          <a:lstStyle>
            <a:lvl1pPr marL="284051" indent="-284051">
              <a:buFont typeface="Wingdings" pitchFamily="2" charset="2"/>
              <a:buChar char=""/>
              <a:defRPr sz="3999"/>
            </a:lvl1pPr>
            <a:lvl2pPr marL="517320" indent="-233271">
              <a:buFont typeface="Wingdings" pitchFamily="2" charset="2"/>
              <a:buChar char=""/>
              <a:defRPr>
                <a:latin typeface="+mn-lt"/>
              </a:defRPr>
            </a:lvl2pPr>
            <a:lvl3pPr marL="741069" indent="-223749">
              <a:buFont typeface="Wingdings" pitchFamily="2" charset="2"/>
              <a:buChar char=""/>
              <a:tabLst/>
              <a:defRPr>
                <a:latin typeface="+mn-lt"/>
              </a:defRPr>
            </a:lvl3pPr>
            <a:lvl4pPr marL="914038" indent="-172969">
              <a:buFont typeface="Wingdings" pitchFamily="2" charset="2"/>
              <a:buChar char=""/>
              <a:defRPr>
                <a:latin typeface="+mn-lt"/>
              </a:defRPr>
            </a:lvl4pPr>
            <a:lvl5pPr marL="1087007" indent="-172969">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defTabSz="914001"/>
            <a:fld id="{727B4C2D-45E2-4621-8491-2995EB46A674}" type="slidenum">
              <a:rPr lang="en-US" smtClean="0">
                <a:gradFill>
                  <a:gsLst>
                    <a:gs pos="100000">
                      <a:srgbClr val="797A7D"/>
                    </a:gs>
                    <a:gs pos="0">
                      <a:srgbClr val="797A7D"/>
                    </a:gs>
                  </a:gsLst>
                  <a:lin ang="5400000" scaled="0"/>
                </a:gradFill>
              </a:rPr>
              <a:pPr defTabSz="914001"/>
              <a:t>‹#›</a:t>
            </a:fld>
            <a:endParaRPr lang="en-US" dirty="0">
              <a:gradFill>
                <a:gsLst>
                  <a:gs pos="100000">
                    <a:srgbClr val="797A7D"/>
                  </a:gs>
                  <a:gs pos="0">
                    <a:srgbClr val="797A7D"/>
                  </a:gs>
                </a:gsLst>
                <a:lin ang="5400000" scaled="0"/>
              </a:gradFill>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4210890726"/>
      </p:ext>
    </p:extLst>
  </p:cSld>
  <p:clrMapOvr>
    <a:masterClrMapping/>
  </p:clrMapOvr>
  <p:transition>
    <p:fade/>
  </p:transition>
  <p:timing>
    <p:tnLst>
      <p:par>
        <p:cTn id="1" dur="indefinite" restart="never" nodeType="tmRoot"/>
      </p:par>
    </p:tnLst>
  </p:timing>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700" y="1447801"/>
            <a:ext cx="5394960" cy="2462213"/>
          </a:xfrm>
        </p:spPr>
        <p:txBody>
          <a:bodyPr/>
          <a:lstStyle>
            <a:lvl1pPr marL="0" indent="0">
              <a:spcBef>
                <a:spcPts val="1200"/>
              </a:spcBef>
              <a:buNone/>
              <a:defRPr sz="3999">
                <a:gradFill>
                  <a:gsLst>
                    <a:gs pos="100000">
                      <a:schemeClr val="tx2"/>
                    </a:gs>
                    <a:gs pos="0">
                      <a:schemeClr val="tx2"/>
                    </a:gs>
                  </a:gsLst>
                  <a:lin ang="5400000" scaled="0"/>
                </a:gradFill>
                <a:latin typeface="+mj-lt"/>
              </a:defRPr>
            </a:lvl1pPr>
            <a:lvl2pPr marL="0" indent="0">
              <a:buNone/>
              <a:defRPr sz="1999"/>
            </a:lvl2pPr>
            <a:lvl3pPr marL="233271" indent="0">
              <a:buNone/>
              <a:defRPr sz="1999"/>
            </a:lvl3pPr>
            <a:lvl4pPr marL="457019" indent="0">
              <a:buNone/>
              <a:defRPr sz="1999"/>
            </a:lvl4pPr>
            <a:lvl5pPr marL="693463" indent="0">
              <a:buNone/>
              <a:defRPr sz="1999"/>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7928" y="1447801"/>
            <a:ext cx="5394960" cy="2462213"/>
          </a:xfrm>
        </p:spPr>
        <p:txBody>
          <a:bodyPr/>
          <a:lstStyle>
            <a:lvl1pPr marL="0" indent="0">
              <a:spcBef>
                <a:spcPts val="1200"/>
              </a:spcBef>
              <a:buNone/>
              <a:defRPr lang="en-US" sz="3999" kern="1200" spc="-70" baseline="0" dirty="0" smtClean="0">
                <a:gradFill>
                  <a:gsLst>
                    <a:gs pos="100000">
                      <a:schemeClr val="tx2"/>
                    </a:gs>
                    <a:gs pos="0">
                      <a:schemeClr val="tx2"/>
                    </a:gs>
                  </a:gsLst>
                  <a:lin ang="5400000" scaled="0"/>
                </a:gradFill>
                <a:latin typeface="+mj-lt"/>
                <a:ea typeface="+mn-ea"/>
                <a:cs typeface="+mn-cs"/>
              </a:defRPr>
            </a:lvl1pPr>
            <a:lvl2pPr marL="3174" marR="0" indent="0" algn="l" defTabSz="914001" rtl="0" eaLnBrk="1" fontAlgn="auto" latinLnBrk="0" hangingPunct="1">
              <a:lnSpc>
                <a:spcPct val="90000"/>
              </a:lnSpc>
              <a:spcBef>
                <a:spcPct val="20000"/>
              </a:spcBef>
              <a:spcAft>
                <a:spcPts val="0"/>
              </a:spcAft>
              <a:buClrTx/>
              <a:buSzPct val="90000"/>
              <a:buFont typeface="Arial" pitchFamily="34" charset="0"/>
              <a:buNone/>
              <a:tabLst/>
              <a:defRPr lang="en-US" sz="1999" kern="1200" spc="-70" baseline="0" dirty="0" smtClean="0">
                <a:gradFill>
                  <a:gsLst>
                    <a:gs pos="1250">
                      <a:schemeClr val="bg2"/>
                    </a:gs>
                    <a:gs pos="100000">
                      <a:schemeClr val="bg2"/>
                    </a:gs>
                  </a:gsLst>
                  <a:lin ang="5400000" scaled="0"/>
                </a:gradFill>
                <a:latin typeface="+mn-lt"/>
                <a:ea typeface="+mn-ea"/>
                <a:cs typeface="+mn-cs"/>
              </a:defRPr>
            </a:lvl2pPr>
            <a:lvl3pPr marL="233271" marR="0" indent="0" algn="l" defTabSz="914001" rtl="0" eaLnBrk="1" fontAlgn="auto" latinLnBrk="0" hangingPunct="1">
              <a:lnSpc>
                <a:spcPct val="90000"/>
              </a:lnSpc>
              <a:spcBef>
                <a:spcPct val="20000"/>
              </a:spcBef>
              <a:spcAft>
                <a:spcPts val="0"/>
              </a:spcAft>
              <a:buClrTx/>
              <a:buSzPct val="90000"/>
              <a:buFont typeface="Arial" pitchFamily="34" charset="0"/>
              <a:buNone/>
              <a:tabLst/>
              <a:defRPr lang="en-US" sz="1999" kern="1200" spc="-70" baseline="0" dirty="0" smtClean="0">
                <a:gradFill>
                  <a:gsLst>
                    <a:gs pos="1250">
                      <a:schemeClr val="bg2"/>
                    </a:gs>
                    <a:gs pos="100000">
                      <a:schemeClr val="bg2"/>
                    </a:gs>
                  </a:gsLst>
                  <a:lin ang="5400000" scaled="0"/>
                </a:gradFill>
                <a:latin typeface="+mn-lt"/>
                <a:ea typeface="+mn-ea"/>
                <a:cs typeface="+mn-cs"/>
              </a:defRPr>
            </a:lvl3pPr>
            <a:lvl4pPr marL="460192" marR="0" indent="0" algn="l" defTabSz="914001" rtl="0" eaLnBrk="1" fontAlgn="auto" latinLnBrk="0" hangingPunct="1">
              <a:lnSpc>
                <a:spcPct val="90000"/>
              </a:lnSpc>
              <a:spcBef>
                <a:spcPct val="20000"/>
              </a:spcBef>
              <a:spcAft>
                <a:spcPts val="0"/>
              </a:spcAft>
              <a:buClrTx/>
              <a:buSzPct val="90000"/>
              <a:buFont typeface="Arial" pitchFamily="34" charset="0"/>
              <a:buNone/>
              <a:tabLst/>
              <a:defRPr lang="en-US" sz="1999" kern="1200" spc="-70" baseline="0" dirty="0" smtClean="0">
                <a:gradFill>
                  <a:gsLst>
                    <a:gs pos="1250">
                      <a:schemeClr val="bg2"/>
                    </a:gs>
                    <a:gs pos="100000">
                      <a:schemeClr val="bg2"/>
                    </a:gs>
                  </a:gsLst>
                  <a:lin ang="5400000" scaled="0"/>
                </a:gradFill>
                <a:latin typeface="+mn-lt"/>
                <a:ea typeface="+mn-ea"/>
                <a:cs typeface="+mn-cs"/>
              </a:defRPr>
            </a:lvl4pPr>
            <a:lvl5pPr marL="687116" marR="0" indent="0" algn="l" defTabSz="914001" rtl="0" eaLnBrk="1" fontAlgn="auto" latinLnBrk="0" hangingPunct="1">
              <a:lnSpc>
                <a:spcPct val="90000"/>
              </a:lnSpc>
              <a:spcBef>
                <a:spcPct val="20000"/>
              </a:spcBef>
              <a:spcAft>
                <a:spcPts val="0"/>
              </a:spcAft>
              <a:buClrTx/>
              <a:buSzPct val="90000"/>
              <a:buFont typeface="Arial" pitchFamily="34" charset="0"/>
              <a:buNone/>
              <a:tabLst/>
              <a:defRPr lang="en-US" sz="1999" kern="1200" spc="-70" baseline="0" dirty="0">
                <a:gradFill>
                  <a:gsLst>
                    <a:gs pos="1250">
                      <a:schemeClr val="bg2"/>
                    </a:gs>
                    <a:gs pos="100000">
                      <a:schemeClr val="bg2"/>
                    </a:gs>
                  </a:gsLst>
                  <a:lin ang="5400000" scaled="0"/>
                </a:gradFill>
                <a:latin typeface="+mn-lt"/>
                <a:ea typeface="+mn-ea"/>
                <a:cs typeface="+mn-cs"/>
              </a:defRPr>
            </a:lvl5pPr>
          </a:lstStyle>
          <a:p>
            <a:pPr marL="0" marR="0" lvl="0" indent="0" algn="l" defTabSz="914001"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001"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001"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001"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001"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
        <p:nvSpPr>
          <p:cNvPr id="7" name="Slide Number Placeholder 9"/>
          <p:cNvSpPr>
            <a:spLocks noGrp="1"/>
          </p:cNvSpPr>
          <p:nvPr>
            <p:ph type="sldNum" sz="quarter" idx="13"/>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defTabSz="914001"/>
            <a:fld id="{727B4C2D-45E2-4621-8491-2995EB46A674}" type="slidenum">
              <a:rPr lang="en-US" smtClean="0">
                <a:gradFill>
                  <a:gsLst>
                    <a:gs pos="100000">
                      <a:srgbClr val="797A7D"/>
                    </a:gs>
                    <a:gs pos="0">
                      <a:srgbClr val="797A7D"/>
                    </a:gs>
                  </a:gsLst>
                  <a:lin ang="5400000" scaled="0"/>
                </a:gradFill>
              </a:rPr>
              <a:pPr defTabSz="914001"/>
              <a:t>‹#›</a:t>
            </a:fld>
            <a:endParaRPr lang="en-US" dirty="0">
              <a:gradFill>
                <a:gsLst>
                  <a:gs pos="100000">
                    <a:srgbClr val="797A7D"/>
                  </a:gs>
                  <a:gs pos="0">
                    <a:srgbClr val="797A7D"/>
                  </a:gs>
                </a:gsLst>
                <a:lin ang="5400000" scaled="0"/>
              </a:gradFill>
            </a:endParaRP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3101115025"/>
      </p:ext>
    </p:extLst>
  </p:cSld>
  <p:clrMapOvr>
    <a:masterClrMapping/>
  </p:clrMapOvr>
  <p:transition>
    <p:fade/>
  </p:transition>
  <p:timing>
    <p:tnLst>
      <p:par>
        <p:cTn id="1" dur="indefinite" restart="never" nodeType="tmRoot"/>
      </p:par>
    </p:tnLst>
  </p:timing>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700" y="1447801"/>
            <a:ext cx="5394960" cy="2462213"/>
          </a:xfrm>
        </p:spPr>
        <p:txBody>
          <a:bodyPr/>
          <a:lstStyle>
            <a:lvl1pPr marL="0" indent="0">
              <a:spcBef>
                <a:spcPts val="1200"/>
              </a:spcBef>
              <a:buNone/>
              <a:defRPr sz="3999">
                <a:gradFill>
                  <a:gsLst>
                    <a:gs pos="1000">
                      <a:schemeClr val="bg2"/>
                    </a:gs>
                    <a:gs pos="98000">
                      <a:schemeClr val="bg2"/>
                    </a:gs>
                  </a:gsLst>
                  <a:lin ang="5400000" scaled="0"/>
                </a:gradFill>
                <a:latin typeface="+mj-lt"/>
              </a:defRPr>
            </a:lvl1pPr>
            <a:lvl2pPr marL="0" indent="0">
              <a:buNone/>
              <a:defRPr sz="1999">
                <a:gradFill>
                  <a:gsLst>
                    <a:gs pos="1000">
                      <a:schemeClr val="bg2"/>
                    </a:gs>
                    <a:gs pos="98000">
                      <a:schemeClr val="bg2"/>
                    </a:gs>
                  </a:gsLst>
                  <a:lin ang="5400000" scaled="0"/>
                </a:gradFill>
              </a:defRPr>
            </a:lvl2pPr>
            <a:lvl3pPr marL="233271" indent="0">
              <a:buNone/>
              <a:defRPr sz="1999">
                <a:gradFill>
                  <a:gsLst>
                    <a:gs pos="1000">
                      <a:schemeClr val="bg2"/>
                    </a:gs>
                    <a:gs pos="98000">
                      <a:schemeClr val="bg2"/>
                    </a:gs>
                  </a:gsLst>
                  <a:lin ang="5400000" scaled="0"/>
                </a:gradFill>
              </a:defRPr>
            </a:lvl3pPr>
            <a:lvl4pPr marL="457019" indent="0">
              <a:buNone/>
              <a:defRPr sz="1999">
                <a:gradFill>
                  <a:gsLst>
                    <a:gs pos="1000">
                      <a:schemeClr val="bg2"/>
                    </a:gs>
                    <a:gs pos="98000">
                      <a:schemeClr val="bg2"/>
                    </a:gs>
                  </a:gsLst>
                  <a:lin ang="5400000" scaled="0"/>
                </a:gradFill>
              </a:defRPr>
            </a:lvl4pPr>
            <a:lvl5pPr marL="693463" indent="0">
              <a:buNone/>
              <a:defRPr sz="1999">
                <a:gradFill>
                  <a:gsLst>
                    <a:gs pos="1000">
                      <a:schemeClr val="bg2"/>
                    </a:gs>
                    <a:gs pos="98000">
                      <a:schemeClr val="bg2"/>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7928" y="1447801"/>
            <a:ext cx="5394960" cy="2462213"/>
          </a:xfrm>
        </p:spPr>
        <p:txBody>
          <a:bodyPr/>
          <a:lstStyle>
            <a:lvl1pPr marL="0" indent="0">
              <a:spcBef>
                <a:spcPts val="1200"/>
              </a:spcBef>
              <a:buNone/>
              <a:defRPr lang="en-US" sz="3999" kern="1200" spc="-70" baseline="0" dirty="0" smtClean="0">
                <a:gradFill>
                  <a:gsLst>
                    <a:gs pos="1000">
                      <a:schemeClr val="bg2"/>
                    </a:gs>
                    <a:gs pos="98000">
                      <a:schemeClr val="bg2"/>
                    </a:gs>
                  </a:gsLst>
                  <a:lin ang="5400000" scaled="0"/>
                </a:gradFill>
                <a:latin typeface="+mj-lt"/>
                <a:ea typeface="+mn-ea"/>
                <a:cs typeface="+mn-cs"/>
              </a:defRPr>
            </a:lvl1pPr>
            <a:lvl2pPr marL="3174" marR="0" indent="0" algn="l" defTabSz="914001" rtl="0" eaLnBrk="1" fontAlgn="auto" latinLnBrk="0" hangingPunct="1">
              <a:lnSpc>
                <a:spcPct val="90000"/>
              </a:lnSpc>
              <a:spcBef>
                <a:spcPct val="20000"/>
              </a:spcBef>
              <a:spcAft>
                <a:spcPts val="0"/>
              </a:spcAft>
              <a:buClrTx/>
              <a:buSzPct val="90000"/>
              <a:buFont typeface="Arial" pitchFamily="34" charset="0"/>
              <a:buNone/>
              <a:tabLst/>
              <a:defRPr lang="en-US" sz="1999" kern="1200" spc="-70" baseline="0" dirty="0" smtClean="0">
                <a:gradFill>
                  <a:gsLst>
                    <a:gs pos="1000">
                      <a:schemeClr val="bg2"/>
                    </a:gs>
                    <a:gs pos="98000">
                      <a:schemeClr val="bg2"/>
                    </a:gs>
                  </a:gsLst>
                  <a:lin ang="5400000" scaled="0"/>
                </a:gradFill>
                <a:latin typeface="+mn-lt"/>
                <a:ea typeface="+mn-ea"/>
                <a:cs typeface="+mn-cs"/>
              </a:defRPr>
            </a:lvl2pPr>
            <a:lvl3pPr marL="233271" marR="0" indent="0" algn="l" defTabSz="914001" rtl="0" eaLnBrk="1" fontAlgn="auto" latinLnBrk="0" hangingPunct="1">
              <a:lnSpc>
                <a:spcPct val="90000"/>
              </a:lnSpc>
              <a:spcBef>
                <a:spcPct val="20000"/>
              </a:spcBef>
              <a:spcAft>
                <a:spcPts val="0"/>
              </a:spcAft>
              <a:buClrTx/>
              <a:buSzPct val="90000"/>
              <a:buFont typeface="Arial" pitchFamily="34" charset="0"/>
              <a:buNone/>
              <a:tabLst/>
              <a:defRPr lang="en-US" sz="1999" kern="1200" spc="-70" baseline="0" dirty="0" smtClean="0">
                <a:gradFill>
                  <a:gsLst>
                    <a:gs pos="1000">
                      <a:schemeClr val="bg2"/>
                    </a:gs>
                    <a:gs pos="98000">
                      <a:schemeClr val="bg2"/>
                    </a:gs>
                  </a:gsLst>
                  <a:lin ang="5400000" scaled="0"/>
                </a:gradFill>
                <a:latin typeface="+mn-lt"/>
                <a:ea typeface="+mn-ea"/>
                <a:cs typeface="+mn-cs"/>
              </a:defRPr>
            </a:lvl3pPr>
            <a:lvl4pPr marL="460192" marR="0" indent="0" algn="l" defTabSz="914001" rtl="0" eaLnBrk="1" fontAlgn="auto" latinLnBrk="0" hangingPunct="1">
              <a:lnSpc>
                <a:spcPct val="90000"/>
              </a:lnSpc>
              <a:spcBef>
                <a:spcPct val="20000"/>
              </a:spcBef>
              <a:spcAft>
                <a:spcPts val="0"/>
              </a:spcAft>
              <a:buClrTx/>
              <a:buSzPct val="90000"/>
              <a:buFont typeface="Arial" pitchFamily="34" charset="0"/>
              <a:buNone/>
              <a:tabLst/>
              <a:defRPr lang="en-US" sz="1999" kern="1200" spc="-70" baseline="0" dirty="0" smtClean="0">
                <a:gradFill>
                  <a:gsLst>
                    <a:gs pos="1000">
                      <a:schemeClr val="bg2"/>
                    </a:gs>
                    <a:gs pos="98000">
                      <a:schemeClr val="bg2"/>
                    </a:gs>
                  </a:gsLst>
                  <a:lin ang="5400000" scaled="0"/>
                </a:gradFill>
                <a:latin typeface="+mn-lt"/>
                <a:ea typeface="+mn-ea"/>
                <a:cs typeface="+mn-cs"/>
              </a:defRPr>
            </a:lvl4pPr>
            <a:lvl5pPr marL="687116" marR="0" indent="0" algn="l" defTabSz="914001" rtl="0" eaLnBrk="1" fontAlgn="auto" latinLnBrk="0" hangingPunct="1">
              <a:lnSpc>
                <a:spcPct val="90000"/>
              </a:lnSpc>
              <a:spcBef>
                <a:spcPct val="20000"/>
              </a:spcBef>
              <a:spcAft>
                <a:spcPts val="0"/>
              </a:spcAft>
              <a:buClrTx/>
              <a:buSzPct val="90000"/>
              <a:buFont typeface="Arial" pitchFamily="34" charset="0"/>
              <a:buNone/>
              <a:tabLst/>
              <a:defRPr lang="en-US" sz="1999" kern="1200" spc="-70" baseline="0" dirty="0">
                <a:gradFill>
                  <a:gsLst>
                    <a:gs pos="1000">
                      <a:schemeClr val="bg2"/>
                    </a:gs>
                    <a:gs pos="98000">
                      <a:schemeClr val="bg2"/>
                    </a:gs>
                  </a:gsLst>
                  <a:lin ang="5400000" scaled="0"/>
                </a:gradFill>
                <a:latin typeface="+mn-lt"/>
                <a:ea typeface="+mn-ea"/>
                <a:cs typeface="+mn-cs"/>
              </a:defRPr>
            </a:lvl5pPr>
          </a:lstStyle>
          <a:p>
            <a:pPr marL="0" marR="0" lvl="0" indent="0" algn="l" defTabSz="914001"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001"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001"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001"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001"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
        <p:nvSpPr>
          <p:cNvPr id="7" name="Slide Number Placeholder 9"/>
          <p:cNvSpPr>
            <a:spLocks noGrp="1"/>
          </p:cNvSpPr>
          <p:nvPr>
            <p:ph type="sldNum" sz="quarter" idx="13"/>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defTabSz="914001"/>
            <a:fld id="{727B4C2D-45E2-4621-8491-2995EB46A674}" type="slidenum">
              <a:rPr lang="en-US" smtClean="0">
                <a:gradFill>
                  <a:gsLst>
                    <a:gs pos="100000">
                      <a:srgbClr val="797A7D"/>
                    </a:gs>
                    <a:gs pos="0">
                      <a:srgbClr val="797A7D"/>
                    </a:gs>
                  </a:gsLst>
                  <a:lin ang="5400000" scaled="0"/>
                </a:gradFill>
              </a:rPr>
              <a:pPr defTabSz="914001"/>
              <a:t>‹#›</a:t>
            </a:fld>
            <a:endParaRPr lang="en-US" dirty="0">
              <a:gradFill>
                <a:gsLst>
                  <a:gs pos="100000">
                    <a:srgbClr val="797A7D"/>
                  </a:gs>
                  <a:gs pos="0">
                    <a:srgbClr val="797A7D"/>
                  </a:gs>
                </a:gsLst>
                <a:lin ang="5400000" scaled="0"/>
              </a:gradFill>
            </a:endParaRP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841057720"/>
      </p:ext>
    </p:extLst>
  </p:cSld>
  <p:clrMapOvr>
    <a:masterClrMapping/>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700" y="1447800"/>
            <a:ext cx="5394960" cy="2351413"/>
          </a:xfrm>
        </p:spPr>
        <p:txBody>
          <a:bodyPr>
            <a:spAutoFit/>
          </a:bodyPr>
          <a:lstStyle>
            <a:lvl1pPr marL="291985" indent="-291985">
              <a:spcBef>
                <a:spcPts val="1200"/>
              </a:spcBef>
              <a:buClr>
                <a:schemeClr val="bg2"/>
              </a:buClr>
              <a:buSzPct val="100000"/>
              <a:buFont typeface="Wingdings" pitchFamily="2" charset="2"/>
              <a:buChar char=""/>
              <a:defRPr lang="en-US" sz="3599" kern="1200" spc="-70" baseline="0" dirty="0" smtClean="0">
                <a:gradFill>
                  <a:gsLst>
                    <a:gs pos="1250">
                      <a:schemeClr val="bg2"/>
                    </a:gs>
                    <a:gs pos="100000">
                      <a:schemeClr val="bg2"/>
                    </a:gs>
                  </a:gsLst>
                  <a:lin ang="5400000" scaled="0"/>
                </a:gradFill>
                <a:latin typeface="+mj-lt"/>
                <a:ea typeface="+mn-ea"/>
                <a:cs typeface="+mn-cs"/>
              </a:defRPr>
            </a:lvl1pPr>
            <a:lvl2pPr marL="520494" indent="-228509">
              <a:defRPr sz="1999"/>
            </a:lvl2pPr>
            <a:lvl3pPr marL="685528" indent="-165034">
              <a:tabLst/>
              <a:defRPr sz="1999"/>
            </a:lvl3pPr>
            <a:lvl4pPr marL="863258" indent="-177729">
              <a:defRPr/>
            </a:lvl4pPr>
            <a:lvl5pPr marL="1028292" indent="-165034">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7928" y="1447800"/>
            <a:ext cx="5394960" cy="2762808"/>
          </a:xfrm>
        </p:spPr>
        <p:txBody>
          <a:bodyPr>
            <a:spAutoFit/>
          </a:bodyPr>
          <a:lstStyle>
            <a:lvl1pPr marL="339591" indent="-339591">
              <a:spcBef>
                <a:spcPts val="1200"/>
              </a:spcBef>
              <a:buClr>
                <a:schemeClr val="bg2"/>
              </a:buClr>
              <a:buFont typeface="Arial" pitchFamily="34" charset="0"/>
              <a:buChar char="•"/>
              <a:defRPr lang="en-US" sz="3599" kern="1200" spc="-70" baseline="0" dirty="0" smtClean="0">
                <a:gradFill>
                  <a:gsLst>
                    <a:gs pos="1250">
                      <a:schemeClr val="bg2"/>
                    </a:gs>
                    <a:gs pos="100000">
                      <a:schemeClr val="bg2"/>
                    </a:gs>
                  </a:gsLst>
                  <a:lin ang="5400000" scaled="0"/>
                </a:gradFill>
                <a:latin typeface="+mj-lt"/>
                <a:ea typeface="+mn-ea"/>
                <a:cs typeface="+mn-cs"/>
              </a:defRPr>
            </a:lvl1pPr>
            <a:lvl2pPr marL="634749" indent="-342764">
              <a:defRPr lang="en-US" sz="1999" kern="1200" spc="0" baseline="0" dirty="0" smtClean="0">
                <a:gradFill>
                  <a:gsLst>
                    <a:gs pos="1250">
                      <a:schemeClr val="bg2"/>
                    </a:gs>
                    <a:gs pos="100000">
                      <a:schemeClr val="bg2"/>
                    </a:gs>
                  </a:gsLst>
                  <a:lin ang="5400000" scaled="0"/>
                </a:gradFill>
                <a:latin typeface="+mn-lt"/>
                <a:ea typeface="+mn-ea"/>
                <a:cs typeface="+mn-cs"/>
              </a:defRPr>
            </a:lvl2pPr>
            <a:lvl3pPr marL="863258" indent="-342764">
              <a:defRPr lang="en-US" sz="1999" kern="1200" spc="0" baseline="0" dirty="0" smtClean="0">
                <a:gradFill>
                  <a:gsLst>
                    <a:gs pos="1250">
                      <a:schemeClr val="bg2"/>
                    </a:gs>
                    <a:gs pos="100000">
                      <a:schemeClr val="bg2"/>
                    </a:gs>
                  </a:gsLst>
                  <a:lin ang="5400000" scaled="0"/>
                </a:gradFill>
                <a:latin typeface="+mn-lt"/>
                <a:ea typeface="+mn-ea"/>
                <a:cs typeface="+mn-cs"/>
              </a:defRPr>
            </a:lvl3pPr>
            <a:lvl4pPr marL="1028292" indent="-342764">
              <a:defRPr lang="en-US" sz="1999" kern="1200" spc="0" baseline="0" dirty="0" smtClean="0">
                <a:gradFill>
                  <a:gsLst>
                    <a:gs pos="1250">
                      <a:schemeClr val="bg2"/>
                    </a:gs>
                    <a:gs pos="100000">
                      <a:schemeClr val="bg2"/>
                    </a:gs>
                  </a:gsLst>
                  <a:lin ang="5400000" scaled="0"/>
                </a:gradFill>
                <a:latin typeface="+mn-lt"/>
                <a:ea typeface="+mn-ea"/>
                <a:cs typeface="+mn-cs"/>
              </a:defRPr>
            </a:lvl4pPr>
            <a:lvl5pPr marL="1206022" indent="-342764">
              <a:defRPr lang="en-US" sz="1999" kern="1200" spc="0" baseline="0" dirty="0">
                <a:gradFill>
                  <a:gsLst>
                    <a:gs pos="1250">
                      <a:schemeClr val="bg2"/>
                    </a:gs>
                    <a:gs pos="100000">
                      <a:schemeClr val="bg2"/>
                    </a:gs>
                  </a:gsLst>
                  <a:lin ang="5400000" scaled="0"/>
                </a:gradFill>
                <a:latin typeface="+mn-lt"/>
                <a:ea typeface="+mn-ea"/>
                <a:cs typeface="+mn-cs"/>
              </a:defRPr>
            </a:lvl5pPr>
          </a:lstStyle>
          <a:p>
            <a:pPr marL="291985" marR="0" lvl="0" indent="-291985" algn="l" defTabSz="914001"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smtClean="0"/>
              <a:t>Click to edit Master text styles</a:t>
            </a:r>
          </a:p>
          <a:p>
            <a:pPr marL="291985" marR="0" lvl="1" indent="-291985" algn="l" defTabSz="914001"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smtClean="0"/>
              <a:t>Second level</a:t>
            </a:r>
          </a:p>
          <a:p>
            <a:pPr marL="291985" marR="0" lvl="2" indent="-291985" algn="l" defTabSz="914001"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smtClean="0"/>
              <a:t>Third level</a:t>
            </a:r>
          </a:p>
          <a:p>
            <a:pPr marL="291985" marR="0" lvl="3" indent="-291985" algn="l" defTabSz="914001"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smtClean="0"/>
              <a:t>Fourth level</a:t>
            </a:r>
          </a:p>
          <a:p>
            <a:pPr marL="291985" marR="0" lvl="4" indent="-291985" algn="l" defTabSz="914001"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smtClean="0"/>
              <a:t>Fifth level</a:t>
            </a:r>
            <a:endParaRPr lang="en-US" dirty="0"/>
          </a:p>
        </p:txBody>
      </p:sp>
      <p:sp>
        <p:nvSpPr>
          <p:cNvPr id="6"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defTabSz="914001"/>
            <a:fld id="{727B4C2D-45E2-4621-8491-2995EB46A674}" type="slidenum">
              <a:rPr lang="en-US" smtClean="0">
                <a:gradFill>
                  <a:gsLst>
                    <a:gs pos="100000">
                      <a:srgbClr val="797A7D"/>
                    </a:gs>
                    <a:gs pos="0">
                      <a:srgbClr val="797A7D"/>
                    </a:gs>
                  </a:gsLst>
                  <a:lin ang="5400000" scaled="0"/>
                </a:gradFill>
              </a:rPr>
              <a:pPr defTabSz="914001"/>
              <a:t>‹#›</a:t>
            </a:fld>
            <a:endParaRPr lang="en-US" dirty="0">
              <a:gradFill>
                <a:gsLst>
                  <a:gs pos="100000">
                    <a:srgbClr val="797A7D"/>
                  </a:gs>
                  <a:gs pos="0">
                    <a:srgbClr val="797A7D"/>
                  </a:gs>
                </a:gsLst>
                <a:lin ang="5400000" scaled="0"/>
              </a:gradFill>
            </a:endParaRP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79532932"/>
      </p:ext>
    </p:extLst>
  </p:cSld>
  <p:clrMapOvr>
    <a:masterClrMapping/>
  </p:clrMapOvr>
  <p:transition>
    <p:fade/>
  </p:transition>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699" y="1447801"/>
            <a:ext cx="5433533" cy="1661993"/>
          </a:xfrm>
          <a:prstGeom prst="rect">
            <a:avLst/>
          </a:prstGeom>
        </p:spPr>
        <p:txBody>
          <a:bodyPr>
            <a:noAutofit/>
          </a:bodyPr>
          <a:lstStyle>
            <a:lvl1pPr marL="0" indent="0">
              <a:buNone/>
              <a:defRPr sz="3999" b="0" cap="none" baseline="0">
                <a:gradFill>
                  <a:gsLst>
                    <a:gs pos="100000">
                      <a:schemeClr val="tx2"/>
                    </a:gs>
                    <a:gs pos="0">
                      <a:schemeClr val="tx2"/>
                    </a:gs>
                  </a:gsLst>
                  <a:lin ang="5400000" scaled="0"/>
                </a:gradFill>
                <a:latin typeface="+mj-lt"/>
              </a:defRPr>
            </a:lvl1pPr>
            <a:lvl2pPr marL="609252" indent="0">
              <a:buNone/>
              <a:defRPr sz="2699" b="1"/>
            </a:lvl2pPr>
            <a:lvl3pPr marL="1218504" indent="0">
              <a:buNone/>
              <a:defRPr sz="2399" b="1"/>
            </a:lvl3pPr>
            <a:lvl4pPr marL="1827756" indent="0">
              <a:buNone/>
              <a:defRPr sz="2099" b="1"/>
            </a:lvl4pPr>
            <a:lvl5pPr marL="2437008" indent="0">
              <a:buNone/>
              <a:defRPr sz="2099" b="1"/>
            </a:lvl5pPr>
            <a:lvl6pPr marL="3046261" indent="0">
              <a:buNone/>
              <a:defRPr sz="2099" b="1"/>
            </a:lvl6pPr>
            <a:lvl7pPr marL="3655512" indent="0">
              <a:buNone/>
              <a:defRPr sz="2099" b="1"/>
            </a:lvl7pPr>
            <a:lvl8pPr marL="4264763" indent="0">
              <a:buNone/>
              <a:defRPr sz="2099" b="1"/>
            </a:lvl8pPr>
            <a:lvl9pPr marL="4874016" indent="0">
              <a:buNone/>
              <a:defRPr sz="2099" b="1"/>
            </a:lvl9pPr>
          </a:lstStyle>
          <a:p>
            <a:pPr lvl="0"/>
            <a:r>
              <a:rPr lang="en-US" dirty="0" smtClean="0"/>
              <a:t>Click to edit Master text styles.</a:t>
            </a:r>
          </a:p>
        </p:txBody>
      </p:sp>
      <p:sp>
        <p:nvSpPr>
          <p:cNvPr id="6" name="Content Placeholder 5"/>
          <p:cNvSpPr>
            <a:spLocks noGrp="1"/>
          </p:cNvSpPr>
          <p:nvPr>
            <p:ph sz="quarter" idx="4"/>
          </p:nvPr>
        </p:nvSpPr>
        <p:spPr>
          <a:xfrm>
            <a:off x="6188149" y="1681905"/>
            <a:ext cx="5484740" cy="332399"/>
          </a:xfrm>
          <a:prstGeom prst="rect">
            <a:avLst/>
          </a:prstGeom>
        </p:spPr>
        <p:txBody>
          <a:bodyPr>
            <a:noAutofit/>
          </a:bodyPr>
          <a:lstStyle>
            <a:lvl1pPr marL="0" indent="0">
              <a:spcBef>
                <a:spcPts val="1200"/>
              </a:spcBef>
              <a:buNone/>
              <a:defRPr lang="en-US" sz="1999" kern="1200" spc="0" dirty="0" smtClean="0">
                <a:gradFill>
                  <a:gsLst>
                    <a:gs pos="100000">
                      <a:schemeClr val="bg2"/>
                    </a:gs>
                    <a:gs pos="0">
                      <a:schemeClr val="bg2"/>
                    </a:gs>
                  </a:gsLst>
                  <a:lin ang="5400000" scaled="0"/>
                </a:gradFill>
                <a:latin typeface="+mn-lt"/>
                <a:ea typeface="+mn-ea"/>
                <a:cs typeface="Segoe UI" pitchFamily="34" charset="0"/>
              </a:defRPr>
            </a:lvl1pPr>
            <a:lvl2pPr marL="913878" indent="-380783">
              <a:defRPr lang="en-US" sz="2099" kern="1200" dirty="0" smtClean="0">
                <a:solidFill>
                  <a:schemeClr val="bg2">
                    <a:lumMod val="50000"/>
                  </a:schemeClr>
                </a:solidFill>
                <a:latin typeface="+mn-lt"/>
                <a:ea typeface="+mn-ea"/>
                <a:cs typeface="Arial" pitchFamily="34" charset="0"/>
              </a:defRPr>
            </a:lvl2pPr>
            <a:lvl3pPr marL="913878" indent="-228469">
              <a:defRPr lang="en-US" sz="1899" kern="1200" dirty="0" smtClean="0">
                <a:solidFill>
                  <a:schemeClr val="bg2">
                    <a:lumMod val="50000"/>
                  </a:schemeClr>
                </a:solidFill>
                <a:latin typeface="+mn-lt"/>
                <a:ea typeface="+mn-ea"/>
                <a:cs typeface="Arial" pitchFamily="34" charset="0"/>
              </a:defRPr>
            </a:lvl3pPr>
            <a:lvl4pPr marL="1218504" indent="-228469">
              <a:defRPr lang="en-US" sz="1600" kern="1200" dirty="0" smtClean="0">
                <a:solidFill>
                  <a:schemeClr val="bg2">
                    <a:lumMod val="50000"/>
                  </a:schemeClr>
                </a:solidFill>
                <a:latin typeface="+mn-lt"/>
                <a:ea typeface="+mn-ea"/>
                <a:cs typeface="Arial" pitchFamily="34" charset="0"/>
              </a:defRPr>
            </a:lvl4pPr>
            <a:lvl5pPr marL="1446974" indent="-228469">
              <a:defRPr lang="en-US" sz="1600" kern="1200" dirty="0">
                <a:solidFill>
                  <a:schemeClr val="bg2">
                    <a:lumMod val="50000"/>
                  </a:schemeClr>
                </a:solidFill>
                <a:latin typeface="+mn-lt"/>
                <a:ea typeface="+mn-ea"/>
                <a:cs typeface="Arial" pitchFamily="34" charset="0"/>
              </a:defRPr>
            </a:lvl5pPr>
            <a:lvl6pPr>
              <a:defRPr sz="2099"/>
            </a:lvl6pPr>
            <a:lvl7pPr>
              <a:defRPr sz="2099"/>
            </a:lvl7pPr>
            <a:lvl8pPr>
              <a:defRPr sz="2099"/>
            </a:lvl8pPr>
            <a:lvl9pPr>
              <a:defRPr sz="2099"/>
            </a:lvl9pPr>
          </a:lstStyle>
          <a:p>
            <a:pPr lvl="0"/>
            <a:r>
              <a:rPr lang="en-US" smtClean="0"/>
              <a:t>Click to edit Master text styles</a:t>
            </a:r>
          </a:p>
        </p:txBody>
      </p:sp>
      <p:sp>
        <p:nvSpPr>
          <p:cNvPr id="12" name="Title 11"/>
          <p:cNvSpPr>
            <a:spLocks noGrp="1"/>
          </p:cNvSpPr>
          <p:nvPr>
            <p:ph type="title"/>
          </p:nvPr>
        </p:nvSpPr>
        <p:spPr/>
        <p:txBody>
          <a:bodyPr>
            <a:noAutofit/>
          </a:bodyPr>
          <a:lstStyle>
            <a:lvl1pPr>
              <a:defRPr/>
            </a:lvl1pPr>
          </a:lstStyle>
          <a:p>
            <a:r>
              <a:rPr lang="en-US" smtClean="0"/>
              <a:t>Click to edit Master title style</a:t>
            </a:r>
            <a:endParaRPr lang="en-US" dirty="0"/>
          </a:p>
        </p:txBody>
      </p:sp>
      <p:sp>
        <p:nvSpPr>
          <p:cNvPr id="10"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defTabSz="914001"/>
            <a:fld id="{727B4C2D-45E2-4621-8491-2995EB46A674}" type="slidenum">
              <a:rPr lang="en-US" smtClean="0">
                <a:gradFill>
                  <a:gsLst>
                    <a:gs pos="100000">
                      <a:srgbClr val="797A7D"/>
                    </a:gs>
                    <a:gs pos="0">
                      <a:srgbClr val="797A7D"/>
                    </a:gs>
                  </a:gsLst>
                  <a:lin ang="5400000" scaled="0"/>
                </a:gradFill>
              </a:rPr>
              <a:pPr defTabSz="914001"/>
              <a:t>‹#›</a:t>
            </a:fld>
            <a:endParaRPr lang="en-US" dirty="0">
              <a:gradFill>
                <a:gsLst>
                  <a:gs pos="100000">
                    <a:srgbClr val="797A7D"/>
                  </a:gs>
                  <a:gs pos="0">
                    <a:srgbClr val="797A7D"/>
                  </a:gs>
                </a:gsLst>
                <a:lin ang="5400000" scaled="0"/>
              </a:gradFill>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3275687058"/>
      </p:ext>
    </p:extLst>
  </p:cSld>
  <p:clrMapOvr>
    <a:masterClrMapping/>
  </p:clrMapOvr>
  <p:timing>
    <p:tnLst>
      <p:par>
        <p:cTn id="1" dur="indefinite" restart="never" nodeType="tmRoot"/>
      </p:par>
    </p:tnLst>
  </p:timing>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699" y="1447801"/>
            <a:ext cx="5433533" cy="1178442"/>
          </a:xfrm>
          <a:prstGeom prst="rect">
            <a:avLst/>
          </a:prstGeom>
        </p:spPr>
        <p:txBody>
          <a:bodyPr>
            <a:noAutofit/>
          </a:bodyPr>
          <a:lstStyle>
            <a:lvl1pPr marL="0" indent="0">
              <a:buNone/>
              <a:defRPr sz="3999" b="0" cap="none" baseline="0">
                <a:gradFill>
                  <a:gsLst>
                    <a:gs pos="100000">
                      <a:schemeClr val="tx2"/>
                    </a:gs>
                    <a:gs pos="0">
                      <a:schemeClr val="tx2"/>
                    </a:gs>
                  </a:gsLst>
                  <a:lin ang="5400000" scaled="0"/>
                </a:gradFill>
                <a:latin typeface="+mj-lt"/>
              </a:defRPr>
            </a:lvl1pPr>
            <a:lvl2pPr marL="609252" indent="0">
              <a:buNone/>
              <a:defRPr sz="2699" b="1"/>
            </a:lvl2pPr>
            <a:lvl3pPr marL="1218504" indent="0">
              <a:buNone/>
              <a:defRPr sz="2399" b="1"/>
            </a:lvl3pPr>
            <a:lvl4pPr marL="1827756" indent="0">
              <a:buNone/>
              <a:defRPr sz="2099" b="1"/>
            </a:lvl4pPr>
            <a:lvl5pPr marL="2437008" indent="0">
              <a:buNone/>
              <a:defRPr sz="2099" b="1"/>
            </a:lvl5pPr>
            <a:lvl6pPr marL="3046261" indent="0">
              <a:buNone/>
              <a:defRPr sz="2099" b="1"/>
            </a:lvl6pPr>
            <a:lvl7pPr marL="3655512" indent="0">
              <a:buNone/>
              <a:defRPr sz="2099" b="1"/>
            </a:lvl7pPr>
            <a:lvl8pPr marL="4264763" indent="0">
              <a:buNone/>
              <a:defRPr sz="2099" b="1"/>
            </a:lvl8pPr>
            <a:lvl9pPr marL="4874016" indent="0">
              <a:buNone/>
              <a:defRPr sz="2099" b="1"/>
            </a:lvl9pPr>
          </a:lstStyle>
          <a:p>
            <a:pPr lvl="0"/>
            <a:r>
              <a:rPr lang="en-US" dirty="0" smtClean="0"/>
              <a:t>Click to edit Master text styles.</a:t>
            </a:r>
          </a:p>
        </p:txBody>
      </p:sp>
      <p:sp>
        <p:nvSpPr>
          <p:cNvPr id="10"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defTabSz="914001"/>
            <a:fld id="{727B4C2D-45E2-4621-8491-2995EB46A674}" type="slidenum">
              <a:rPr lang="en-US" smtClean="0">
                <a:gradFill>
                  <a:gsLst>
                    <a:gs pos="100000">
                      <a:srgbClr val="797A7D"/>
                    </a:gs>
                    <a:gs pos="0">
                      <a:srgbClr val="797A7D"/>
                    </a:gs>
                  </a:gsLst>
                  <a:lin ang="5400000" scaled="0"/>
                </a:gradFill>
              </a:rPr>
              <a:pPr defTabSz="914001"/>
              <a:t>‹#›</a:t>
            </a:fld>
            <a:endParaRPr lang="en-US" dirty="0">
              <a:gradFill>
                <a:gsLst>
                  <a:gs pos="100000">
                    <a:srgbClr val="797A7D"/>
                  </a:gs>
                  <a:gs pos="0">
                    <a:srgbClr val="797A7D"/>
                  </a:gs>
                </a:gsLst>
                <a:lin ang="5400000" scaled="0"/>
              </a:gradFill>
            </a:endParaRPr>
          </a:p>
        </p:txBody>
      </p:sp>
      <p:sp>
        <p:nvSpPr>
          <p:cNvPr id="9" name="Content Placeholder 5"/>
          <p:cNvSpPr>
            <a:spLocks noGrp="1"/>
          </p:cNvSpPr>
          <p:nvPr>
            <p:ph sz="quarter" idx="13"/>
          </p:nvPr>
        </p:nvSpPr>
        <p:spPr>
          <a:xfrm>
            <a:off x="520699" y="2734985"/>
            <a:ext cx="5444165" cy="609398"/>
          </a:xfrm>
          <a:prstGeom prst="rect">
            <a:avLst/>
          </a:prstGeom>
        </p:spPr>
        <p:txBody>
          <a:bodyPr>
            <a:noAutofit/>
          </a:bodyPr>
          <a:lstStyle>
            <a:lvl1pPr marL="0" indent="0">
              <a:spcBef>
                <a:spcPts val="1200"/>
              </a:spcBef>
              <a:buFont typeface="Arial" pitchFamily="34" charset="0"/>
              <a:buNone/>
              <a:defRPr lang="en-US" sz="1999" kern="1200" spc="0" dirty="0" smtClean="0">
                <a:gradFill>
                  <a:gsLst>
                    <a:gs pos="100000">
                      <a:schemeClr val="bg2"/>
                    </a:gs>
                    <a:gs pos="0">
                      <a:schemeClr val="bg2"/>
                    </a:gs>
                  </a:gsLst>
                  <a:lin ang="5400000" scaled="0"/>
                </a:gradFill>
                <a:latin typeface="+mn-lt"/>
                <a:ea typeface="+mn-ea"/>
                <a:cs typeface="Segoe UI" pitchFamily="34" charset="0"/>
              </a:defRPr>
            </a:lvl1pPr>
            <a:lvl2pPr marL="913878" indent="-380783">
              <a:defRPr lang="en-US" sz="2099" kern="1200" dirty="0" smtClean="0">
                <a:solidFill>
                  <a:schemeClr val="bg2">
                    <a:lumMod val="50000"/>
                  </a:schemeClr>
                </a:solidFill>
                <a:latin typeface="+mn-lt"/>
                <a:ea typeface="+mn-ea"/>
                <a:cs typeface="Arial" pitchFamily="34" charset="0"/>
              </a:defRPr>
            </a:lvl2pPr>
            <a:lvl3pPr marL="913878" indent="-228469">
              <a:defRPr lang="en-US" sz="1899" kern="1200" dirty="0" smtClean="0">
                <a:solidFill>
                  <a:schemeClr val="bg2">
                    <a:lumMod val="50000"/>
                  </a:schemeClr>
                </a:solidFill>
                <a:latin typeface="+mn-lt"/>
                <a:ea typeface="+mn-ea"/>
                <a:cs typeface="Arial" pitchFamily="34" charset="0"/>
              </a:defRPr>
            </a:lvl3pPr>
            <a:lvl4pPr marL="1218504" indent="-228469">
              <a:defRPr lang="en-US" sz="1600" kern="1200" dirty="0" smtClean="0">
                <a:solidFill>
                  <a:schemeClr val="bg2">
                    <a:lumMod val="50000"/>
                  </a:schemeClr>
                </a:solidFill>
                <a:latin typeface="+mn-lt"/>
                <a:ea typeface="+mn-ea"/>
                <a:cs typeface="Arial" pitchFamily="34" charset="0"/>
              </a:defRPr>
            </a:lvl4pPr>
            <a:lvl5pPr marL="1446974" indent="-228469">
              <a:defRPr lang="en-US" sz="1600" kern="1200" dirty="0">
                <a:solidFill>
                  <a:schemeClr val="bg2">
                    <a:lumMod val="50000"/>
                  </a:schemeClr>
                </a:solidFill>
                <a:latin typeface="+mn-lt"/>
                <a:ea typeface="+mn-ea"/>
                <a:cs typeface="Arial" pitchFamily="34" charset="0"/>
              </a:defRPr>
            </a:lvl5pPr>
            <a:lvl6pPr>
              <a:defRPr sz="2099"/>
            </a:lvl6pPr>
            <a:lvl7pPr>
              <a:defRPr sz="2099"/>
            </a:lvl7pPr>
            <a:lvl8pPr>
              <a:defRPr sz="2099"/>
            </a:lvl8pPr>
            <a:lvl9pPr>
              <a:defRPr sz="2099"/>
            </a:lvl9pPr>
          </a:lstStyle>
          <a:p>
            <a:pPr lvl="0"/>
            <a:r>
              <a:rPr lang="en-US" smtClean="0"/>
              <a:t>Click to edit Master text styles</a:t>
            </a:r>
          </a:p>
        </p:txBody>
      </p:sp>
      <p:sp>
        <p:nvSpPr>
          <p:cNvPr id="4" name="Picture Placeholder 3"/>
          <p:cNvSpPr>
            <a:spLocks noGrp="1"/>
          </p:cNvSpPr>
          <p:nvPr>
            <p:ph type="pic" sz="quarter" idx="14" hasCustomPrompt="1"/>
          </p:nvPr>
        </p:nvSpPr>
        <p:spPr>
          <a:xfrm>
            <a:off x="6208713" y="0"/>
            <a:ext cx="5980112" cy="6858000"/>
          </a:xfrm>
        </p:spPr>
        <p:txBody>
          <a:bodyPr lIns="182880" anchor="ctr"/>
          <a:lstStyle>
            <a:lvl1pPr marL="0" indent="0" algn="l">
              <a:buNone/>
              <a:defRPr/>
            </a:lvl1pPr>
          </a:lstStyle>
          <a:p>
            <a:r>
              <a:rPr lang="en-US" dirty="0" smtClean="0"/>
              <a:t>Click to insert photo.</a:t>
            </a:r>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1009938297"/>
      </p:ext>
    </p:extLst>
  </p:cSld>
  <p:clrMapOvr>
    <a:masterClrMapping/>
  </p:clrMapOvr>
  <p:timing>
    <p:tnLst>
      <p:par>
        <p:cTn id="1" dur="indefinite" restart="never" nodeType="tmRoot"/>
      </p:par>
    </p:tnLst>
  </p:timing>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218091" y="1447801"/>
            <a:ext cx="5433533" cy="1178442"/>
          </a:xfrm>
          <a:prstGeom prst="rect">
            <a:avLst/>
          </a:prstGeom>
        </p:spPr>
        <p:txBody>
          <a:bodyPr>
            <a:noAutofit/>
          </a:bodyPr>
          <a:lstStyle>
            <a:lvl1pPr marL="0" indent="0">
              <a:buNone/>
              <a:defRPr sz="3999" b="0" cap="none" baseline="0">
                <a:gradFill>
                  <a:gsLst>
                    <a:gs pos="100000">
                      <a:schemeClr val="tx2"/>
                    </a:gs>
                    <a:gs pos="0">
                      <a:schemeClr val="tx2"/>
                    </a:gs>
                  </a:gsLst>
                  <a:lin ang="5400000" scaled="0"/>
                </a:gradFill>
                <a:latin typeface="+mj-lt"/>
              </a:defRPr>
            </a:lvl1pPr>
            <a:lvl2pPr marL="609252" indent="0">
              <a:buNone/>
              <a:defRPr sz="2699" b="1"/>
            </a:lvl2pPr>
            <a:lvl3pPr marL="1218504" indent="0">
              <a:buNone/>
              <a:defRPr sz="2399" b="1"/>
            </a:lvl3pPr>
            <a:lvl4pPr marL="1827756" indent="0">
              <a:buNone/>
              <a:defRPr sz="2099" b="1"/>
            </a:lvl4pPr>
            <a:lvl5pPr marL="2437008" indent="0">
              <a:buNone/>
              <a:defRPr sz="2099" b="1"/>
            </a:lvl5pPr>
            <a:lvl6pPr marL="3046261" indent="0">
              <a:buNone/>
              <a:defRPr sz="2099" b="1"/>
            </a:lvl6pPr>
            <a:lvl7pPr marL="3655512" indent="0">
              <a:buNone/>
              <a:defRPr sz="2099" b="1"/>
            </a:lvl7pPr>
            <a:lvl8pPr marL="4264763" indent="0">
              <a:buNone/>
              <a:defRPr sz="2099" b="1"/>
            </a:lvl8pPr>
            <a:lvl9pPr marL="4874016" indent="0">
              <a:buNone/>
              <a:defRPr sz="2099" b="1"/>
            </a:lvl9pPr>
          </a:lstStyle>
          <a:p>
            <a:pPr lvl="0"/>
            <a:r>
              <a:rPr lang="en-US" dirty="0" smtClean="0"/>
              <a:t>Click to edit Master text styles.</a:t>
            </a:r>
          </a:p>
        </p:txBody>
      </p:sp>
      <p:sp>
        <p:nvSpPr>
          <p:cNvPr id="9" name="Content Placeholder 5"/>
          <p:cNvSpPr>
            <a:spLocks noGrp="1"/>
          </p:cNvSpPr>
          <p:nvPr>
            <p:ph sz="quarter" idx="13"/>
          </p:nvPr>
        </p:nvSpPr>
        <p:spPr>
          <a:xfrm>
            <a:off x="6218091" y="2734985"/>
            <a:ext cx="5444165" cy="609398"/>
          </a:xfrm>
          <a:prstGeom prst="rect">
            <a:avLst/>
          </a:prstGeom>
        </p:spPr>
        <p:txBody>
          <a:bodyPr>
            <a:noAutofit/>
          </a:bodyPr>
          <a:lstStyle>
            <a:lvl1pPr marL="0" indent="0">
              <a:spcBef>
                <a:spcPts val="1200"/>
              </a:spcBef>
              <a:buFont typeface="Arial" pitchFamily="34" charset="0"/>
              <a:buNone/>
              <a:defRPr lang="en-US" sz="1999" kern="1200" spc="0" dirty="0" smtClean="0">
                <a:gradFill>
                  <a:gsLst>
                    <a:gs pos="100000">
                      <a:schemeClr val="bg2"/>
                    </a:gs>
                    <a:gs pos="0">
                      <a:schemeClr val="bg2"/>
                    </a:gs>
                  </a:gsLst>
                  <a:lin ang="5400000" scaled="0"/>
                </a:gradFill>
                <a:latin typeface="+mn-lt"/>
                <a:ea typeface="+mn-ea"/>
                <a:cs typeface="Segoe UI" pitchFamily="34" charset="0"/>
              </a:defRPr>
            </a:lvl1pPr>
            <a:lvl2pPr marL="913878" indent="-380783">
              <a:defRPr lang="en-US" sz="2099" kern="1200" dirty="0" smtClean="0">
                <a:solidFill>
                  <a:schemeClr val="bg2">
                    <a:lumMod val="50000"/>
                  </a:schemeClr>
                </a:solidFill>
                <a:latin typeface="+mn-lt"/>
                <a:ea typeface="+mn-ea"/>
                <a:cs typeface="Arial" pitchFamily="34" charset="0"/>
              </a:defRPr>
            </a:lvl2pPr>
            <a:lvl3pPr marL="913878" indent="-228469">
              <a:defRPr lang="en-US" sz="1899" kern="1200" dirty="0" smtClean="0">
                <a:solidFill>
                  <a:schemeClr val="bg2">
                    <a:lumMod val="50000"/>
                  </a:schemeClr>
                </a:solidFill>
                <a:latin typeface="+mn-lt"/>
                <a:ea typeface="+mn-ea"/>
                <a:cs typeface="Arial" pitchFamily="34" charset="0"/>
              </a:defRPr>
            </a:lvl3pPr>
            <a:lvl4pPr marL="1218504" indent="-228469">
              <a:defRPr lang="en-US" sz="1600" kern="1200" dirty="0" smtClean="0">
                <a:solidFill>
                  <a:schemeClr val="bg2">
                    <a:lumMod val="50000"/>
                  </a:schemeClr>
                </a:solidFill>
                <a:latin typeface="+mn-lt"/>
                <a:ea typeface="+mn-ea"/>
                <a:cs typeface="Arial" pitchFamily="34" charset="0"/>
              </a:defRPr>
            </a:lvl4pPr>
            <a:lvl5pPr marL="1446974" indent="-228469">
              <a:defRPr lang="en-US" sz="1600" kern="1200" dirty="0">
                <a:solidFill>
                  <a:schemeClr val="bg2">
                    <a:lumMod val="50000"/>
                  </a:schemeClr>
                </a:solidFill>
                <a:latin typeface="+mn-lt"/>
                <a:ea typeface="+mn-ea"/>
                <a:cs typeface="Arial" pitchFamily="34" charset="0"/>
              </a:defRPr>
            </a:lvl5pPr>
            <a:lvl6pPr>
              <a:defRPr sz="2099"/>
            </a:lvl6pPr>
            <a:lvl7pPr>
              <a:defRPr sz="2099"/>
            </a:lvl7pPr>
            <a:lvl8pPr>
              <a:defRPr sz="2099"/>
            </a:lvl8pPr>
            <a:lvl9pPr>
              <a:defRPr sz="2099"/>
            </a:lvl9pPr>
          </a:lstStyle>
          <a:p>
            <a:pPr lvl="0"/>
            <a:r>
              <a:rPr lang="en-US" smtClean="0"/>
              <a:t>Click to edit Master text styles</a:t>
            </a:r>
          </a:p>
        </p:txBody>
      </p:sp>
      <p:sp>
        <p:nvSpPr>
          <p:cNvPr id="4" name="Picture Placeholder 3"/>
          <p:cNvSpPr>
            <a:spLocks noGrp="1"/>
          </p:cNvSpPr>
          <p:nvPr>
            <p:ph type="pic" sz="quarter" idx="14" hasCustomPrompt="1"/>
          </p:nvPr>
        </p:nvSpPr>
        <p:spPr>
          <a:xfrm>
            <a:off x="1" y="0"/>
            <a:ext cx="5980112" cy="6858000"/>
          </a:xfrm>
        </p:spPr>
        <p:txBody>
          <a:bodyPr lIns="182880" anchor="ctr"/>
          <a:lstStyle>
            <a:lvl1pPr marL="0" indent="0" algn="l">
              <a:buNone/>
              <a:defRPr/>
            </a:lvl1pPr>
          </a:lstStyle>
          <a:p>
            <a:r>
              <a:rPr lang="en-US" dirty="0" smtClean="0"/>
              <a:t>Click to insert photo.</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1223697521"/>
      </p:ext>
    </p:extLst>
  </p:cSld>
  <p:clrMapOvr>
    <a:masterClrMapping/>
  </p:clrMapOvr>
  <p:timing>
    <p:tnLst>
      <p:par>
        <p:cTn id="1" dur="indefinite" restart="never" nodeType="tmRoot"/>
      </p:par>
    </p:tnLst>
  </p:timing>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Color Block Header on Left &amp; Text on Right ">
    <p:spTree>
      <p:nvGrpSpPr>
        <p:cNvPr id="1" name=""/>
        <p:cNvGrpSpPr/>
        <p:nvPr/>
      </p:nvGrpSpPr>
      <p:grpSpPr>
        <a:xfrm>
          <a:off x="0" y="0"/>
          <a:ext cx="0" cy="0"/>
          <a:chOff x="0" y="0"/>
          <a:chExt cx="0" cy="0"/>
        </a:xfrm>
      </p:grpSpPr>
      <p:sp>
        <p:nvSpPr>
          <p:cNvPr id="2" name="Rectangle 1"/>
          <p:cNvSpPr/>
          <p:nvPr userDrawn="1"/>
        </p:nvSpPr>
        <p:spPr bwMode="white">
          <a:xfrm>
            <a:off x="-9524" y="0"/>
            <a:ext cx="5986463"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1" tIns="45701" rIns="45701" bIns="45701" numCol="1" spcCol="0" rtlCol="0" fromWordArt="0" anchor="ctr" anchorCtr="0" forceAA="0" compatLnSpc="1">
            <a:prstTxWarp prst="textNoShape">
              <a:avLst/>
            </a:prstTxWarp>
            <a:noAutofit/>
          </a:bodyPr>
          <a:lstStyle/>
          <a:p>
            <a:pPr algn="ctr" defTabSz="913737" fontAlgn="base">
              <a:spcBef>
                <a:spcPct val="0"/>
              </a:spcBef>
              <a:spcAft>
                <a:spcPct val="0"/>
              </a:spcAft>
            </a:pPr>
            <a:endParaRPr lang="en-US" sz="2199"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700" y="1447801"/>
            <a:ext cx="5232401" cy="1661993"/>
          </a:xfrm>
          <a:prstGeom prst="rect">
            <a:avLst/>
          </a:prstGeom>
        </p:spPr>
        <p:txBody>
          <a:bodyPr>
            <a:noAutofit/>
          </a:bodyPr>
          <a:lstStyle>
            <a:lvl1pPr marL="0" indent="0">
              <a:buNone/>
              <a:defRPr sz="3999" b="0" cap="none" baseline="0">
                <a:gradFill>
                  <a:gsLst>
                    <a:gs pos="100000">
                      <a:schemeClr val="bg1"/>
                    </a:gs>
                    <a:gs pos="0">
                      <a:schemeClr val="bg1"/>
                    </a:gs>
                  </a:gsLst>
                  <a:lin ang="5400000" scaled="0"/>
                </a:gradFill>
                <a:latin typeface="+mj-lt"/>
              </a:defRPr>
            </a:lvl1pPr>
            <a:lvl2pPr marL="609252" indent="0">
              <a:buNone/>
              <a:defRPr sz="2699" b="1"/>
            </a:lvl2pPr>
            <a:lvl3pPr marL="1218504" indent="0">
              <a:buNone/>
              <a:defRPr sz="2399" b="1"/>
            </a:lvl3pPr>
            <a:lvl4pPr marL="1827756" indent="0">
              <a:buNone/>
              <a:defRPr sz="2099" b="1"/>
            </a:lvl4pPr>
            <a:lvl5pPr marL="2437008" indent="0">
              <a:buNone/>
              <a:defRPr sz="2099" b="1"/>
            </a:lvl5pPr>
            <a:lvl6pPr marL="3046261" indent="0">
              <a:buNone/>
              <a:defRPr sz="2099" b="1"/>
            </a:lvl6pPr>
            <a:lvl7pPr marL="3655512" indent="0">
              <a:buNone/>
              <a:defRPr sz="2099" b="1"/>
            </a:lvl7pPr>
            <a:lvl8pPr marL="4264763" indent="0">
              <a:buNone/>
              <a:defRPr sz="2099" b="1"/>
            </a:lvl8pPr>
            <a:lvl9pPr marL="4874016" indent="0">
              <a:buNone/>
              <a:defRPr sz="2099" b="1"/>
            </a:lvl9pPr>
          </a:lstStyle>
          <a:p>
            <a:pPr lvl="0"/>
            <a:r>
              <a:rPr lang="en-US" dirty="0" smtClean="0"/>
              <a:t>Click to edit Master text styles.</a:t>
            </a:r>
          </a:p>
        </p:txBody>
      </p:sp>
      <p:sp>
        <p:nvSpPr>
          <p:cNvPr id="6" name="Content Placeholder 5"/>
          <p:cNvSpPr>
            <a:spLocks noGrp="1"/>
          </p:cNvSpPr>
          <p:nvPr>
            <p:ph sz="quarter" idx="4"/>
          </p:nvPr>
        </p:nvSpPr>
        <p:spPr>
          <a:xfrm>
            <a:off x="6188149" y="1681905"/>
            <a:ext cx="5484740" cy="332399"/>
          </a:xfrm>
          <a:prstGeom prst="rect">
            <a:avLst/>
          </a:prstGeom>
        </p:spPr>
        <p:txBody>
          <a:bodyPr>
            <a:noAutofit/>
          </a:bodyPr>
          <a:lstStyle>
            <a:lvl1pPr marL="0" indent="0">
              <a:spcBef>
                <a:spcPts val="1200"/>
              </a:spcBef>
              <a:buNone/>
              <a:defRPr lang="en-US" sz="1999" kern="1200" spc="0" dirty="0" smtClean="0">
                <a:gradFill>
                  <a:gsLst>
                    <a:gs pos="100000">
                      <a:schemeClr val="bg2"/>
                    </a:gs>
                    <a:gs pos="0">
                      <a:schemeClr val="bg2"/>
                    </a:gs>
                  </a:gsLst>
                  <a:lin ang="5400000" scaled="0"/>
                </a:gradFill>
                <a:latin typeface="+mn-lt"/>
                <a:ea typeface="+mn-ea"/>
                <a:cs typeface="Segoe UI" pitchFamily="34" charset="0"/>
              </a:defRPr>
            </a:lvl1pPr>
            <a:lvl2pPr marL="913878" indent="-380783">
              <a:defRPr lang="en-US" sz="2099" kern="1200" dirty="0" smtClean="0">
                <a:solidFill>
                  <a:schemeClr val="bg2">
                    <a:lumMod val="50000"/>
                  </a:schemeClr>
                </a:solidFill>
                <a:latin typeface="+mn-lt"/>
                <a:ea typeface="+mn-ea"/>
                <a:cs typeface="Arial" pitchFamily="34" charset="0"/>
              </a:defRPr>
            </a:lvl2pPr>
            <a:lvl3pPr marL="913878" indent="-228469">
              <a:defRPr lang="en-US" sz="1899" kern="1200" dirty="0" smtClean="0">
                <a:solidFill>
                  <a:schemeClr val="bg2">
                    <a:lumMod val="50000"/>
                  </a:schemeClr>
                </a:solidFill>
                <a:latin typeface="+mn-lt"/>
                <a:ea typeface="+mn-ea"/>
                <a:cs typeface="Arial" pitchFamily="34" charset="0"/>
              </a:defRPr>
            </a:lvl3pPr>
            <a:lvl4pPr marL="1218504" indent="-228469">
              <a:defRPr lang="en-US" sz="1600" kern="1200" dirty="0" smtClean="0">
                <a:solidFill>
                  <a:schemeClr val="bg2">
                    <a:lumMod val="50000"/>
                  </a:schemeClr>
                </a:solidFill>
                <a:latin typeface="+mn-lt"/>
                <a:ea typeface="+mn-ea"/>
                <a:cs typeface="Arial" pitchFamily="34" charset="0"/>
              </a:defRPr>
            </a:lvl4pPr>
            <a:lvl5pPr marL="1446974" indent="-228469">
              <a:defRPr lang="en-US" sz="1600" kern="1200" dirty="0">
                <a:solidFill>
                  <a:schemeClr val="bg2">
                    <a:lumMod val="50000"/>
                  </a:schemeClr>
                </a:solidFill>
                <a:latin typeface="+mn-lt"/>
                <a:ea typeface="+mn-ea"/>
                <a:cs typeface="Arial" pitchFamily="34" charset="0"/>
              </a:defRPr>
            </a:lvl5pPr>
            <a:lvl6pPr>
              <a:defRPr sz="2099"/>
            </a:lvl6pPr>
            <a:lvl7pPr>
              <a:defRPr sz="2099"/>
            </a:lvl7pPr>
            <a:lvl8pPr>
              <a:defRPr sz="2099"/>
            </a:lvl8pPr>
            <a:lvl9pPr>
              <a:defRPr sz="2099"/>
            </a:lvl9pPr>
          </a:lstStyle>
          <a:p>
            <a:pPr lvl="0"/>
            <a:r>
              <a:rPr lang="en-US" smtClean="0"/>
              <a:t>Click to edit Master text styles</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2283882998"/>
      </p:ext>
    </p:extLst>
  </p:cSld>
  <p:clrMapOvr>
    <a:masterClrMapping/>
  </p:clrMapOvr>
  <p:timing>
    <p:tnLst>
      <p:par>
        <p:cTn id="1" dur="indefinite" restart="never" nodeType="tmRoot"/>
      </p:par>
    </p:tnLst>
  </p:timing>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Color Block text w/Photo on Right">
    <p:spTree>
      <p:nvGrpSpPr>
        <p:cNvPr id="1" name=""/>
        <p:cNvGrpSpPr/>
        <p:nvPr/>
      </p:nvGrpSpPr>
      <p:grpSpPr>
        <a:xfrm>
          <a:off x="0" y="0"/>
          <a:ext cx="0" cy="0"/>
          <a:chOff x="0" y="0"/>
          <a:chExt cx="0" cy="0"/>
        </a:xfrm>
      </p:grpSpPr>
      <p:sp>
        <p:nvSpPr>
          <p:cNvPr id="7" name="Rectangle 6"/>
          <p:cNvSpPr/>
          <p:nvPr userDrawn="1"/>
        </p:nvSpPr>
        <p:spPr bwMode="white">
          <a:xfrm>
            <a:off x="1" y="0"/>
            <a:ext cx="6219825"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1" tIns="45701" rIns="45701" bIns="45701" numCol="1" spcCol="0" rtlCol="0" fromWordArt="0" anchor="ctr" anchorCtr="0" forceAA="0" compatLnSpc="1">
            <a:prstTxWarp prst="textNoShape">
              <a:avLst/>
            </a:prstTxWarp>
            <a:noAutofit/>
          </a:bodyPr>
          <a:lstStyle/>
          <a:p>
            <a:pPr algn="ctr" defTabSz="913737" fontAlgn="base">
              <a:spcBef>
                <a:spcPct val="0"/>
              </a:spcBef>
              <a:spcAft>
                <a:spcPct val="0"/>
              </a:spcAft>
            </a:pPr>
            <a:endParaRPr lang="en-US" sz="2199"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699" y="1447801"/>
            <a:ext cx="5433533" cy="1178442"/>
          </a:xfrm>
          <a:prstGeom prst="rect">
            <a:avLst/>
          </a:prstGeom>
        </p:spPr>
        <p:txBody>
          <a:bodyPr>
            <a:noAutofit/>
          </a:bodyPr>
          <a:lstStyle>
            <a:lvl1pPr marL="0" indent="0">
              <a:buNone/>
              <a:defRPr sz="3999" b="0" cap="none" baseline="0">
                <a:gradFill>
                  <a:gsLst>
                    <a:gs pos="100000">
                      <a:schemeClr val="bg1"/>
                    </a:gs>
                    <a:gs pos="0">
                      <a:schemeClr val="bg1"/>
                    </a:gs>
                  </a:gsLst>
                  <a:lin ang="5400000" scaled="0"/>
                </a:gradFill>
                <a:latin typeface="+mj-lt"/>
              </a:defRPr>
            </a:lvl1pPr>
            <a:lvl2pPr marL="609252" indent="0">
              <a:buNone/>
              <a:defRPr sz="2699" b="1"/>
            </a:lvl2pPr>
            <a:lvl3pPr marL="1218504" indent="0">
              <a:buNone/>
              <a:defRPr sz="2399" b="1"/>
            </a:lvl3pPr>
            <a:lvl4pPr marL="1827756" indent="0">
              <a:buNone/>
              <a:defRPr sz="2099" b="1"/>
            </a:lvl4pPr>
            <a:lvl5pPr marL="2437008" indent="0">
              <a:buNone/>
              <a:defRPr sz="2099" b="1"/>
            </a:lvl5pPr>
            <a:lvl6pPr marL="3046261" indent="0">
              <a:buNone/>
              <a:defRPr sz="2099" b="1"/>
            </a:lvl6pPr>
            <a:lvl7pPr marL="3655512" indent="0">
              <a:buNone/>
              <a:defRPr sz="2099" b="1"/>
            </a:lvl7pPr>
            <a:lvl8pPr marL="4264763" indent="0">
              <a:buNone/>
              <a:defRPr sz="2099" b="1"/>
            </a:lvl8pPr>
            <a:lvl9pPr marL="4874016" indent="0">
              <a:buNone/>
              <a:defRPr sz="2099" b="1"/>
            </a:lvl9pPr>
          </a:lstStyle>
          <a:p>
            <a:pPr lvl="0"/>
            <a:r>
              <a:rPr lang="en-US" dirty="0" smtClean="0"/>
              <a:t>Click to edit Master text styles.</a:t>
            </a:r>
          </a:p>
        </p:txBody>
      </p:sp>
      <p:sp>
        <p:nvSpPr>
          <p:cNvPr id="9" name="Content Placeholder 5"/>
          <p:cNvSpPr>
            <a:spLocks noGrp="1"/>
          </p:cNvSpPr>
          <p:nvPr>
            <p:ph sz="quarter" idx="13"/>
          </p:nvPr>
        </p:nvSpPr>
        <p:spPr>
          <a:xfrm>
            <a:off x="520699" y="2734985"/>
            <a:ext cx="5444165" cy="609398"/>
          </a:xfrm>
          <a:prstGeom prst="rect">
            <a:avLst/>
          </a:prstGeom>
        </p:spPr>
        <p:txBody>
          <a:bodyPr>
            <a:noAutofit/>
          </a:bodyPr>
          <a:lstStyle>
            <a:lvl1pPr marL="0" indent="0">
              <a:spcBef>
                <a:spcPts val="1200"/>
              </a:spcBef>
              <a:buFont typeface="Arial" pitchFamily="34" charset="0"/>
              <a:buNone/>
              <a:defRPr lang="en-US" sz="1999" kern="1200" spc="0" dirty="0" smtClean="0">
                <a:gradFill>
                  <a:gsLst>
                    <a:gs pos="100000">
                      <a:schemeClr val="bg1"/>
                    </a:gs>
                    <a:gs pos="0">
                      <a:schemeClr val="bg1"/>
                    </a:gs>
                  </a:gsLst>
                  <a:lin ang="5400000" scaled="0"/>
                </a:gradFill>
                <a:latin typeface="+mn-lt"/>
                <a:ea typeface="+mn-ea"/>
                <a:cs typeface="Segoe UI" pitchFamily="34" charset="0"/>
              </a:defRPr>
            </a:lvl1pPr>
            <a:lvl2pPr marL="913878" indent="-380783">
              <a:defRPr lang="en-US" sz="2099" kern="1200" dirty="0" smtClean="0">
                <a:solidFill>
                  <a:schemeClr val="bg2">
                    <a:lumMod val="50000"/>
                  </a:schemeClr>
                </a:solidFill>
                <a:latin typeface="+mn-lt"/>
                <a:ea typeface="+mn-ea"/>
                <a:cs typeface="Arial" pitchFamily="34" charset="0"/>
              </a:defRPr>
            </a:lvl2pPr>
            <a:lvl3pPr marL="913878" indent="-228469">
              <a:defRPr lang="en-US" sz="1899" kern="1200" dirty="0" smtClean="0">
                <a:solidFill>
                  <a:schemeClr val="bg2">
                    <a:lumMod val="50000"/>
                  </a:schemeClr>
                </a:solidFill>
                <a:latin typeface="+mn-lt"/>
                <a:ea typeface="+mn-ea"/>
                <a:cs typeface="Arial" pitchFamily="34" charset="0"/>
              </a:defRPr>
            </a:lvl3pPr>
            <a:lvl4pPr marL="1218504" indent="-228469">
              <a:defRPr lang="en-US" sz="1600" kern="1200" dirty="0" smtClean="0">
                <a:solidFill>
                  <a:schemeClr val="bg2">
                    <a:lumMod val="50000"/>
                  </a:schemeClr>
                </a:solidFill>
                <a:latin typeface="+mn-lt"/>
                <a:ea typeface="+mn-ea"/>
                <a:cs typeface="Arial" pitchFamily="34" charset="0"/>
              </a:defRPr>
            </a:lvl4pPr>
            <a:lvl5pPr marL="1446974" indent="-228469">
              <a:defRPr lang="en-US" sz="1600" kern="1200" dirty="0">
                <a:solidFill>
                  <a:schemeClr val="bg2">
                    <a:lumMod val="50000"/>
                  </a:schemeClr>
                </a:solidFill>
                <a:latin typeface="+mn-lt"/>
                <a:ea typeface="+mn-ea"/>
                <a:cs typeface="Arial" pitchFamily="34" charset="0"/>
              </a:defRPr>
            </a:lvl5pPr>
            <a:lvl6pPr>
              <a:defRPr sz="2099"/>
            </a:lvl6pPr>
            <a:lvl7pPr>
              <a:defRPr sz="2099"/>
            </a:lvl7pPr>
            <a:lvl8pPr>
              <a:defRPr sz="2099"/>
            </a:lvl8pPr>
            <a:lvl9pPr>
              <a:defRPr sz="2099"/>
            </a:lvl9pPr>
          </a:lstStyle>
          <a:p>
            <a:pPr lvl="0"/>
            <a:r>
              <a:rPr lang="en-US" smtClean="0"/>
              <a:t>Click to edit Master text styles</a:t>
            </a:r>
          </a:p>
        </p:txBody>
      </p:sp>
      <p:sp>
        <p:nvSpPr>
          <p:cNvPr id="4" name="Picture Placeholder 3"/>
          <p:cNvSpPr>
            <a:spLocks noGrp="1"/>
          </p:cNvSpPr>
          <p:nvPr>
            <p:ph type="pic" sz="quarter" idx="14" hasCustomPrompt="1"/>
          </p:nvPr>
        </p:nvSpPr>
        <p:spPr>
          <a:xfrm>
            <a:off x="6208713" y="0"/>
            <a:ext cx="5980112" cy="6858000"/>
          </a:xfrm>
        </p:spPr>
        <p:txBody>
          <a:bodyPr lIns="182880" anchor="ctr"/>
          <a:lstStyle>
            <a:lvl1pPr marL="0" indent="0" algn="l">
              <a:buNone/>
              <a:defRPr/>
            </a:lvl1pPr>
          </a:lstStyle>
          <a:p>
            <a:r>
              <a:rPr lang="en-US" dirty="0" smtClean="0"/>
              <a:t>Click to insert photo.</a:t>
            </a:r>
            <a:endParaRPr lang="en-US"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1985222145"/>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4093" rtl="0" eaLnBrk="1" latinLnBrk="0" hangingPunct="1">
              <a:lnSpc>
                <a:spcPct val="90000"/>
              </a:lnSpc>
              <a:spcBef>
                <a:spcPct val="0"/>
              </a:spcBef>
              <a:buNone/>
              <a:defRPr lang="en-US" sz="8624"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058312421"/>
      </p:ext>
    </p:extLst>
  </p:cSld>
  <p:clrMapOvr>
    <a:masterClrMapping/>
  </p:clrMapOvr>
  <p:transition>
    <p:fade/>
  </p:transition>
  <p:timing>
    <p:tnLst>
      <p:par>
        <p:cTn id="1" dur="indefinite" restart="never" nodeType="tmRoot"/>
      </p:par>
    </p:tnLst>
  </p:timing>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Color Block text w/Photo on Left">
    <p:spTree>
      <p:nvGrpSpPr>
        <p:cNvPr id="1" name=""/>
        <p:cNvGrpSpPr/>
        <p:nvPr/>
      </p:nvGrpSpPr>
      <p:grpSpPr>
        <a:xfrm>
          <a:off x="0" y="0"/>
          <a:ext cx="0" cy="0"/>
          <a:chOff x="0" y="0"/>
          <a:chExt cx="0" cy="0"/>
        </a:xfrm>
      </p:grpSpPr>
      <p:sp>
        <p:nvSpPr>
          <p:cNvPr id="7" name="Rectangle 6"/>
          <p:cNvSpPr/>
          <p:nvPr userDrawn="1"/>
        </p:nvSpPr>
        <p:spPr bwMode="white">
          <a:xfrm>
            <a:off x="5967413" y="0"/>
            <a:ext cx="6221411"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1" tIns="45701" rIns="45701" bIns="45701" numCol="1" spcCol="0" rtlCol="0" fromWordArt="0" anchor="ctr" anchorCtr="0" forceAA="0" compatLnSpc="1">
            <a:prstTxWarp prst="textNoShape">
              <a:avLst/>
            </a:prstTxWarp>
            <a:noAutofit/>
          </a:bodyPr>
          <a:lstStyle/>
          <a:p>
            <a:pPr algn="ctr" defTabSz="913737" fontAlgn="base">
              <a:spcBef>
                <a:spcPct val="0"/>
              </a:spcBef>
              <a:spcAft>
                <a:spcPct val="0"/>
              </a:spcAft>
            </a:pPr>
            <a:endParaRPr lang="en-US" sz="2199"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6218091" y="1447801"/>
            <a:ext cx="5433533" cy="1178442"/>
          </a:xfrm>
          <a:prstGeom prst="rect">
            <a:avLst/>
          </a:prstGeom>
        </p:spPr>
        <p:txBody>
          <a:bodyPr>
            <a:noAutofit/>
          </a:bodyPr>
          <a:lstStyle>
            <a:lvl1pPr marL="0" indent="0">
              <a:buNone/>
              <a:defRPr sz="3999" b="0" cap="none" baseline="0">
                <a:gradFill>
                  <a:gsLst>
                    <a:gs pos="100000">
                      <a:schemeClr val="bg1"/>
                    </a:gs>
                    <a:gs pos="0">
                      <a:schemeClr val="bg1"/>
                    </a:gs>
                  </a:gsLst>
                  <a:lin ang="5400000" scaled="0"/>
                </a:gradFill>
                <a:latin typeface="+mj-lt"/>
              </a:defRPr>
            </a:lvl1pPr>
            <a:lvl2pPr marL="609252" indent="0">
              <a:buNone/>
              <a:defRPr sz="2699" b="1"/>
            </a:lvl2pPr>
            <a:lvl3pPr marL="1218504" indent="0">
              <a:buNone/>
              <a:defRPr sz="2399" b="1"/>
            </a:lvl3pPr>
            <a:lvl4pPr marL="1827756" indent="0">
              <a:buNone/>
              <a:defRPr sz="2099" b="1"/>
            </a:lvl4pPr>
            <a:lvl5pPr marL="2437008" indent="0">
              <a:buNone/>
              <a:defRPr sz="2099" b="1"/>
            </a:lvl5pPr>
            <a:lvl6pPr marL="3046261" indent="0">
              <a:buNone/>
              <a:defRPr sz="2099" b="1"/>
            </a:lvl6pPr>
            <a:lvl7pPr marL="3655512" indent="0">
              <a:buNone/>
              <a:defRPr sz="2099" b="1"/>
            </a:lvl7pPr>
            <a:lvl8pPr marL="4264763" indent="0">
              <a:buNone/>
              <a:defRPr sz="2099" b="1"/>
            </a:lvl8pPr>
            <a:lvl9pPr marL="4874016" indent="0">
              <a:buNone/>
              <a:defRPr sz="2099" b="1"/>
            </a:lvl9pPr>
          </a:lstStyle>
          <a:p>
            <a:pPr lvl="0"/>
            <a:r>
              <a:rPr lang="en-US" dirty="0" smtClean="0"/>
              <a:t>Click to edit Master text styles.</a:t>
            </a:r>
          </a:p>
        </p:txBody>
      </p:sp>
      <p:sp>
        <p:nvSpPr>
          <p:cNvPr id="9" name="Content Placeholder 5"/>
          <p:cNvSpPr>
            <a:spLocks noGrp="1"/>
          </p:cNvSpPr>
          <p:nvPr>
            <p:ph sz="quarter" idx="13"/>
          </p:nvPr>
        </p:nvSpPr>
        <p:spPr>
          <a:xfrm>
            <a:off x="6218091" y="2734985"/>
            <a:ext cx="5444165" cy="609398"/>
          </a:xfrm>
          <a:prstGeom prst="rect">
            <a:avLst/>
          </a:prstGeom>
        </p:spPr>
        <p:txBody>
          <a:bodyPr>
            <a:noAutofit/>
          </a:bodyPr>
          <a:lstStyle>
            <a:lvl1pPr marL="0" indent="0">
              <a:spcBef>
                <a:spcPts val="1200"/>
              </a:spcBef>
              <a:buFont typeface="Arial" pitchFamily="34" charset="0"/>
              <a:buNone/>
              <a:defRPr lang="en-US" sz="1999" kern="1200" spc="0" dirty="0" smtClean="0">
                <a:gradFill>
                  <a:gsLst>
                    <a:gs pos="100000">
                      <a:schemeClr val="bg1"/>
                    </a:gs>
                    <a:gs pos="0">
                      <a:schemeClr val="bg1"/>
                    </a:gs>
                  </a:gsLst>
                  <a:lin ang="5400000" scaled="0"/>
                </a:gradFill>
                <a:latin typeface="+mn-lt"/>
                <a:ea typeface="+mn-ea"/>
                <a:cs typeface="Segoe UI" pitchFamily="34" charset="0"/>
              </a:defRPr>
            </a:lvl1pPr>
            <a:lvl2pPr marL="913878" indent="-380783">
              <a:defRPr lang="en-US" sz="2099" kern="1200" dirty="0" smtClean="0">
                <a:solidFill>
                  <a:schemeClr val="bg2">
                    <a:lumMod val="50000"/>
                  </a:schemeClr>
                </a:solidFill>
                <a:latin typeface="+mn-lt"/>
                <a:ea typeface="+mn-ea"/>
                <a:cs typeface="Arial" pitchFamily="34" charset="0"/>
              </a:defRPr>
            </a:lvl2pPr>
            <a:lvl3pPr marL="913878" indent="-228469">
              <a:defRPr lang="en-US" sz="1899" kern="1200" dirty="0" smtClean="0">
                <a:solidFill>
                  <a:schemeClr val="bg2">
                    <a:lumMod val="50000"/>
                  </a:schemeClr>
                </a:solidFill>
                <a:latin typeface="+mn-lt"/>
                <a:ea typeface="+mn-ea"/>
                <a:cs typeface="Arial" pitchFamily="34" charset="0"/>
              </a:defRPr>
            </a:lvl3pPr>
            <a:lvl4pPr marL="1218504" indent="-228469">
              <a:defRPr lang="en-US" sz="1600" kern="1200" dirty="0" smtClean="0">
                <a:solidFill>
                  <a:schemeClr val="bg2">
                    <a:lumMod val="50000"/>
                  </a:schemeClr>
                </a:solidFill>
                <a:latin typeface="+mn-lt"/>
                <a:ea typeface="+mn-ea"/>
                <a:cs typeface="Arial" pitchFamily="34" charset="0"/>
              </a:defRPr>
            </a:lvl4pPr>
            <a:lvl5pPr marL="1446974" indent="-228469">
              <a:defRPr lang="en-US" sz="1600" kern="1200" dirty="0">
                <a:solidFill>
                  <a:schemeClr val="bg2">
                    <a:lumMod val="50000"/>
                  </a:schemeClr>
                </a:solidFill>
                <a:latin typeface="+mn-lt"/>
                <a:ea typeface="+mn-ea"/>
                <a:cs typeface="Arial" pitchFamily="34" charset="0"/>
              </a:defRPr>
            </a:lvl5pPr>
            <a:lvl6pPr>
              <a:defRPr sz="2099"/>
            </a:lvl6pPr>
            <a:lvl7pPr>
              <a:defRPr sz="2099"/>
            </a:lvl7pPr>
            <a:lvl8pPr>
              <a:defRPr sz="2099"/>
            </a:lvl8pPr>
            <a:lvl9pPr>
              <a:defRPr sz="2099"/>
            </a:lvl9pPr>
          </a:lstStyle>
          <a:p>
            <a:pPr lvl="0"/>
            <a:r>
              <a:rPr lang="en-US" smtClean="0"/>
              <a:t>Click to edit Master text styles</a:t>
            </a:r>
          </a:p>
        </p:txBody>
      </p:sp>
      <p:sp>
        <p:nvSpPr>
          <p:cNvPr id="4" name="Picture Placeholder 3"/>
          <p:cNvSpPr>
            <a:spLocks noGrp="1"/>
          </p:cNvSpPr>
          <p:nvPr>
            <p:ph type="pic" sz="quarter" idx="14" hasCustomPrompt="1"/>
          </p:nvPr>
        </p:nvSpPr>
        <p:spPr>
          <a:xfrm>
            <a:off x="1" y="0"/>
            <a:ext cx="5980112" cy="6858000"/>
          </a:xfrm>
        </p:spPr>
        <p:txBody>
          <a:bodyPr lIns="182880" anchor="ctr"/>
          <a:lstStyle>
            <a:lvl1pPr marL="0" indent="0" algn="l">
              <a:buNone/>
              <a:defRPr/>
            </a:lvl1pPr>
          </a:lstStyle>
          <a:p>
            <a:r>
              <a:rPr lang="en-US" dirty="0" smtClean="0"/>
              <a:t>Click to insert photo.</a:t>
            </a:r>
            <a:endParaRPr lang="en-US"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3312" y="6014914"/>
            <a:ext cx="1738860" cy="815899"/>
          </a:xfrm>
          <a:prstGeom prst="rect">
            <a:avLst/>
          </a:prstGeom>
        </p:spPr>
      </p:pic>
    </p:spTree>
    <p:extLst>
      <p:ext uri="{BB962C8B-B14F-4D97-AF65-F5344CB8AC3E}">
        <p14:creationId xmlns:p14="http://schemas.microsoft.com/office/powerpoint/2010/main" val="295821890"/>
      </p:ext>
    </p:extLst>
  </p:cSld>
  <p:clrMapOvr>
    <a:masterClrMapping/>
  </p:clrMapOvr>
  <p:timing>
    <p:tnLst>
      <p:par>
        <p:cTn id="1" dur="indefinite" restart="never" nodeType="tmRoot"/>
      </p:par>
    </p:tnLst>
  </p:timing>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userDrawn="1"/>
        </p:nvSpPr>
        <p:spPr bwMode="white">
          <a:xfrm>
            <a:off x="1" y="857250"/>
            <a:ext cx="12188825" cy="51244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1" tIns="45701" rIns="45701" bIns="45701" numCol="1" spcCol="0" rtlCol="0" fromWordArt="0" anchor="ctr" anchorCtr="0" forceAA="0" compatLnSpc="1">
            <a:prstTxWarp prst="textNoShape">
              <a:avLst/>
            </a:prstTxWarp>
            <a:noAutofit/>
          </a:bodyPr>
          <a:lstStyle/>
          <a:p>
            <a:pPr algn="ctr" defTabSz="913737" fontAlgn="base">
              <a:spcBef>
                <a:spcPct val="0"/>
              </a:spcBef>
              <a:spcAft>
                <a:spcPct val="0"/>
              </a:spcAft>
            </a:pPr>
            <a:endParaRPr lang="en-US" sz="2199"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Content Placeholder 4"/>
          <p:cNvSpPr>
            <a:spLocks noGrp="1"/>
          </p:cNvSpPr>
          <p:nvPr>
            <p:ph sz="quarter" idx="11" hasCustomPrompt="1"/>
          </p:nvPr>
        </p:nvSpPr>
        <p:spPr>
          <a:xfrm>
            <a:off x="520700" y="1358054"/>
            <a:ext cx="11152188" cy="2863073"/>
          </a:xfrm>
          <a:prstGeom prst="rect">
            <a:avLst/>
          </a:prstGeom>
        </p:spPr>
        <p:txBody>
          <a:bodyPr>
            <a:normAutofit/>
          </a:bodyPr>
          <a:lstStyle>
            <a:lvl1pPr marL="0" indent="0">
              <a:lnSpc>
                <a:spcPct val="90000"/>
              </a:lnSpc>
              <a:buNone/>
              <a:defRPr sz="6397">
                <a:gradFill>
                  <a:gsLst>
                    <a:gs pos="100000">
                      <a:schemeClr val="bg1"/>
                    </a:gs>
                    <a:gs pos="0">
                      <a:schemeClr val="bg1"/>
                    </a:gs>
                  </a:gsLst>
                  <a:lin ang="5400000" scaled="0"/>
                </a:gradFill>
                <a:latin typeface="+mj-lt"/>
              </a:defRPr>
            </a:lvl1pPr>
            <a:lvl2pPr>
              <a:defRPr sz="6397">
                <a:solidFill>
                  <a:schemeClr val="tx2"/>
                </a:solidFill>
                <a:latin typeface="+mn-lt"/>
              </a:defRPr>
            </a:lvl2pPr>
          </a:lstStyle>
          <a:p>
            <a:pPr lvl="0"/>
            <a:r>
              <a:rPr lang="en-US" dirty="0" smtClean="0"/>
              <a:t>“Click to edit Master text styles”</a:t>
            </a:r>
          </a:p>
        </p:txBody>
      </p:sp>
      <p:sp>
        <p:nvSpPr>
          <p:cNvPr id="10"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defTabSz="914001"/>
            <a:fld id="{727B4C2D-45E2-4621-8491-2995EB46A674}" type="slidenum">
              <a:rPr lang="en-US" smtClean="0">
                <a:gradFill>
                  <a:gsLst>
                    <a:gs pos="100000">
                      <a:srgbClr val="797A7D"/>
                    </a:gs>
                    <a:gs pos="0">
                      <a:srgbClr val="797A7D"/>
                    </a:gs>
                  </a:gsLst>
                  <a:lin ang="5400000" scaled="0"/>
                </a:gradFill>
              </a:rPr>
              <a:pPr defTabSz="914001"/>
              <a:t>‹#›</a:t>
            </a:fld>
            <a:endParaRPr lang="en-US" dirty="0">
              <a:gradFill>
                <a:gsLst>
                  <a:gs pos="100000">
                    <a:srgbClr val="797A7D"/>
                  </a:gs>
                  <a:gs pos="0">
                    <a:srgbClr val="797A7D"/>
                  </a:gs>
                </a:gsLst>
                <a:lin ang="5400000" scaled="0"/>
              </a:gradFill>
            </a:endParaRPr>
          </a:p>
        </p:txBody>
      </p:sp>
      <p:sp>
        <p:nvSpPr>
          <p:cNvPr id="11" name="Content Placeholder 4"/>
          <p:cNvSpPr>
            <a:spLocks noGrp="1"/>
          </p:cNvSpPr>
          <p:nvPr>
            <p:ph sz="quarter" idx="13"/>
          </p:nvPr>
        </p:nvSpPr>
        <p:spPr>
          <a:xfrm>
            <a:off x="520700" y="4343401"/>
            <a:ext cx="11152188" cy="470747"/>
          </a:xfrm>
          <a:prstGeom prst="rect">
            <a:avLst/>
          </a:prstGeom>
        </p:spPr>
        <p:txBody>
          <a:bodyPr>
            <a:normAutofit/>
          </a:bodyPr>
          <a:lstStyle>
            <a:lvl1pPr marL="0" indent="0">
              <a:lnSpc>
                <a:spcPct val="90000"/>
              </a:lnSpc>
              <a:buNone/>
              <a:defRPr sz="3599">
                <a:gradFill>
                  <a:gsLst>
                    <a:gs pos="100000">
                      <a:schemeClr val="bg1"/>
                    </a:gs>
                    <a:gs pos="0">
                      <a:schemeClr val="bg1"/>
                    </a:gs>
                  </a:gsLst>
                  <a:lin ang="5400000" scaled="0"/>
                </a:gradFill>
                <a:latin typeface="+mj-lt"/>
              </a:defRPr>
            </a:lvl1pPr>
            <a:lvl2pPr>
              <a:defRPr sz="6397">
                <a:solidFill>
                  <a:schemeClr val="tx2"/>
                </a:solidFill>
                <a:latin typeface="+mn-lt"/>
              </a:defRPr>
            </a:lvl2pPr>
          </a:lstStyle>
          <a:p>
            <a:pPr lvl="0"/>
            <a:r>
              <a:rPr lang="en-US" smtClean="0"/>
              <a:t>Click to edit Master text styles</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4023938568"/>
      </p:ext>
    </p:extLst>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4"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defTabSz="914001"/>
            <a:fld id="{727B4C2D-45E2-4621-8491-2995EB46A674}" type="slidenum">
              <a:rPr lang="en-US" smtClean="0">
                <a:gradFill>
                  <a:gsLst>
                    <a:gs pos="100000">
                      <a:srgbClr val="797A7D"/>
                    </a:gs>
                    <a:gs pos="0">
                      <a:srgbClr val="797A7D"/>
                    </a:gs>
                  </a:gsLst>
                  <a:lin ang="5400000" scaled="0"/>
                </a:gradFill>
              </a:rPr>
              <a:pPr defTabSz="914001"/>
              <a:t>‹#›</a:t>
            </a:fld>
            <a:endParaRPr lang="en-US" dirty="0">
              <a:gradFill>
                <a:gsLst>
                  <a:gs pos="100000">
                    <a:srgbClr val="797A7D"/>
                  </a:gs>
                  <a:gs pos="0">
                    <a:srgbClr val="797A7D"/>
                  </a:gs>
                </a:gsLst>
                <a:lin ang="5400000" scaled="0"/>
              </a:gradFill>
            </a:endParaRP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2518877312"/>
      </p:ext>
    </p:extLst>
  </p:cSld>
  <p:clrMapOvr>
    <a:masterClrMapping/>
  </p:clrMapOvr>
  <p:transition>
    <p:fade/>
  </p:transition>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6892559"/>
      </p:ext>
    </p:extLst>
  </p:cSld>
  <p:clrMapOvr>
    <a:masterClrMapping/>
  </p:clrMapOvr>
  <p:transition>
    <p:fade/>
  </p:transition>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smtClean="0"/>
              <a:t>Slide for Developer Code</a:t>
            </a:r>
            <a:endParaRPr lang="en-US" dirty="0"/>
          </a:p>
        </p:txBody>
      </p:sp>
      <p:sp>
        <p:nvSpPr>
          <p:cNvPr id="3" name="Rectangle 2"/>
          <p:cNvSpPr/>
          <p:nvPr userDrawn="1"/>
        </p:nvSpPr>
        <p:spPr bwMode="hidden">
          <a:xfrm>
            <a:off x="1" y="1155941"/>
            <a:ext cx="12188825"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1" tIns="45701" rIns="45701" bIns="45701" numCol="1" spcCol="0" rtlCol="0" fromWordArt="0" anchor="ctr" anchorCtr="0" forceAA="0" compatLnSpc="1">
            <a:prstTxWarp prst="textNoShape">
              <a:avLst/>
            </a:prstTxWarp>
            <a:noAutofit/>
          </a:bodyPr>
          <a:lstStyle/>
          <a:p>
            <a:pPr algn="ctr" defTabSz="913737" fontAlgn="base">
              <a:spcBef>
                <a:spcPct val="0"/>
              </a:spcBef>
              <a:spcAft>
                <a:spcPct val="0"/>
              </a:spcAft>
            </a:pPr>
            <a:endParaRPr lang="en-US" sz="1799"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318" y="1447800"/>
            <a:ext cx="11152188" cy="1988237"/>
          </a:xfrm>
        </p:spPr>
        <p:txBody>
          <a:bodyPr/>
          <a:lstStyle>
            <a:lvl1pPr marL="0" indent="0">
              <a:lnSpc>
                <a:spcPct val="95000"/>
              </a:lnSpc>
              <a:buNone/>
              <a:defRPr sz="3199">
                <a:gradFill>
                  <a:gsLst>
                    <a:gs pos="1250">
                      <a:srgbClr val="000000"/>
                    </a:gs>
                    <a:gs pos="100000">
                      <a:srgbClr val="000000"/>
                    </a:gs>
                  </a:gsLst>
                  <a:lin ang="5400000" scaled="0"/>
                </a:gradFill>
                <a:latin typeface="Consolas" pitchFamily="49" charset="0"/>
                <a:cs typeface="Consolas" pitchFamily="49" charset="0"/>
              </a:defRPr>
            </a:lvl1pPr>
            <a:lvl2pPr marL="339591"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2861"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8196"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29880"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38851601"/>
      </p:ext>
    </p:extLst>
  </p:cSld>
  <p:clrMapOvr>
    <a:masterClrMapping/>
  </p:clrMapOvr>
  <p:transition>
    <p:fade/>
  </p:transition>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700" y="228601"/>
            <a:ext cx="11152188" cy="664797"/>
          </a:xfrm>
        </p:spPr>
        <p:txBody>
          <a:bodyPr/>
          <a:lstStyle>
            <a:lvl1pPr>
              <a:defRPr sz="4799"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113" y="1447799"/>
            <a:ext cx="11149013" cy="2043636"/>
          </a:xfrm>
          <a:prstGeom prst="rect">
            <a:avLst/>
          </a:prstGeom>
        </p:spPr>
        <p:txBody>
          <a:bodyPr/>
          <a:lstStyle>
            <a:lvl1pPr marL="342764" indent="-342764">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401" indent="-28563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038" indent="-28563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548" indent="-228509">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057" indent="-228509">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599"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2356570596"/>
      </p:ext>
    </p:extLst>
  </p:cSld>
  <p:clrMapOvr>
    <a:masterClrMapping/>
  </p:clrMapOvr>
  <p:transition>
    <p:fade/>
  </p:transition>
  <p:timing>
    <p:tnLst>
      <p:par>
        <p:cTn id="1" dur="indefinite" restart="never" nodeType="tmRoot"/>
      </p:par>
    </p:tnLst>
  </p:timing>
</p:sldLayout>
</file>

<file path=ppt/slideLayouts/slideLayout536.xml><?xml version="1.0" encoding="utf-8"?>
<p:sldLayout xmlns:a="http://schemas.openxmlformats.org/drawingml/2006/main" xmlns:r="http://schemas.openxmlformats.org/officeDocument/2006/relationships" xmlns:p="http://schemas.openxmlformats.org/presentationml/2006/main" userDrawn="1">
  <p:cSld name="3_Color Block Header on Left &amp; Text on Right ">
    <p:spTree>
      <p:nvGrpSpPr>
        <p:cNvPr id="1" name=""/>
        <p:cNvGrpSpPr/>
        <p:nvPr/>
      </p:nvGrpSpPr>
      <p:grpSpPr>
        <a:xfrm>
          <a:off x="0" y="0"/>
          <a:ext cx="0" cy="0"/>
          <a:chOff x="0" y="0"/>
          <a:chExt cx="0" cy="0"/>
        </a:xfrm>
      </p:grpSpPr>
      <p:sp>
        <p:nvSpPr>
          <p:cNvPr id="2" name="Rectangle 1"/>
          <p:cNvSpPr/>
          <p:nvPr/>
        </p:nvSpPr>
        <p:spPr bwMode="white">
          <a:xfrm>
            <a:off x="2" y="-1587"/>
            <a:ext cx="5986463"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17" tIns="45617" rIns="45617" bIns="45617" numCol="1" spcCol="0" rtlCol="0" fromWordArt="0" anchor="ctr" anchorCtr="0" forceAA="0" compatLnSpc="1">
            <a:prstTxWarp prst="textNoShape">
              <a:avLst/>
            </a:prstTxWarp>
            <a:noAutofit/>
          </a:bodyPr>
          <a:lstStyle/>
          <a:p>
            <a:pPr algn="ctr" defTabSz="912037" fontAlgn="base">
              <a:spcBef>
                <a:spcPct val="0"/>
              </a:spcBef>
              <a:spcAft>
                <a:spcPct val="0"/>
              </a:spcAft>
            </a:pPr>
            <a:endParaRPr lang="en-US" sz="2298" dirty="0" smtClean="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3" name="Text Placeholder 2"/>
          <p:cNvSpPr>
            <a:spLocks noGrp="1"/>
          </p:cNvSpPr>
          <p:nvPr>
            <p:ph type="body" idx="1" hasCustomPrompt="1"/>
          </p:nvPr>
        </p:nvSpPr>
        <p:spPr>
          <a:xfrm>
            <a:off x="520702" y="616805"/>
            <a:ext cx="5232401" cy="1283435"/>
          </a:xfrm>
          <a:prstGeom prst="rect">
            <a:avLst/>
          </a:prstGeom>
        </p:spPr>
        <p:txBody>
          <a:bodyPr>
            <a:noAutofit/>
          </a:bodyPr>
          <a:lstStyle>
            <a:lvl1pPr marL="0" indent="0">
              <a:buNone/>
              <a:defRPr sz="5494" b="0" i="0" cap="none" baseline="0">
                <a:gradFill>
                  <a:gsLst>
                    <a:gs pos="100000">
                      <a:schemeClr val="bg1"/>
                    </a:gs>
                    <a:gs pos="0">
                      <a:schemeClr val="bg1"/>
                    </a:gs>
                  </a:gsLst>
                  <a:lin ang="5400000" scaled="0"/>
                </a:gradFill>
                <a:latin typeface="+mj-lt"/>
                <a:cs typeface="Segoe Pro Light"/>
              </a:defRPr>
            </a:lvl1pPr>
            <a:lvl2pPr marL="608117" indent="0">
              <a:buNone/>
              <a:defRPr sz="2698" b="1"/>
            </a:lvl2pPr>
            <a:lvl3pPr marL="1216235" indent="0">
              <a:buNone/>
              <a:defRPr sz="2398" b="1"/>
            </a:lvl3pPr>
            <a:lvl4pPr marL="1824352" indent="0">
              <a:buNone/>
              <a:defRPr sz="2098" b="1"/>
            </a:lvl4pPr>
            <a:lvl5pPr marL="2432469" indent="0">
              <a:buNone/>
              <a:defRPr sz="2098" b="1"/>
            </a:lvl5pPr>
            <a:lvl6pPr marL="3040588" indent="0">
              <a:buNone/>
              <a:defRPr sz="2098" b="1"/>
            </a:lvl6pPr>
            <a:lvl7pPr marL="3648705" indent="0">
              <a:buNone/>
              <a:defRPr sz="2098" b="1"/>
            </a:lvl7pPr>
            <a:lvl8pPr marL="4256820" indent="0">
              <a:buNone/>
              <a:defRPr sz="2098" b="1"/>
            </a:lvl8pPr>
            <a:lvl9pPr marL="4864940" indent="0">
              <a:buNone/>
              <a:defRPr sz="2098" b="1"/>
            </a:lvl9pPr>
          </a:lstStyle>
          <a:p>
            <a:pPr lvl="0"/>
            <a:r>
              <a:rPr lang="en-US" dirty="0" smtClean="0"/>
              <a:t>Click to edit Master text styles.</a:t>
            </a:r>
          </a:p>
        </p:txBody>
      </p:sp>
      <p:sp>
        <p:nvSpPr>
          <p:cNvPr id="6" name="Content Placeholder 5"/>
          <p:cNvSpPr>
            <a:spLocks noGrp="1"/>
          </p:cNvSpPr>
          <p:nvPr>
            <p:ph sz="quarter" idx="4"/>
          </p:nvPr>
        </p:nvSpPr>
        <p:spPr>
          <a:xfrm>
            <a:off x="6507236" y="688975"/>
            <a:ext cx="5484741" cy="332399"/>
          </a:xfrm>
          <a:prstGeom prst="rect">
            <a:avLst/>
          </a:prstGeom>
        </p:spPr>
        <p:txBody>
          <a:bodyPr>
            <a:noAutofit/>
          </a:bodyPr>
          <a:lstStyle>
            <a:lvl1pPr marL="0" indent="0">
              <a:spcBef>
                <a:spcPts val="1198"/>
              </a:spcBef>
              <a:buNone/>
              <a:defRPr lang="en-US" sz="1998" b="0" i="0" kern="1200" spc="0" dirty="0" smtClean="0">
                <a:gradFill>
                  <a:gsLst>
                    <a:gs pos="100000">
                      <a:schemeClr val="bg2"/>
                    </a:gs>
                    <a:gs pos="0">
                      <a:schemeClr val="bg2"/>
                    </a:gs>
                  </a:gsLst>
                  <a:lin ang="5400000" scaled="0"/>
                </a:gradFill>
                <a:latin typeface="+mn-lt"/>
                <a:ea typeface="+mn-ea"/>
                <a:cs typeface="Segoe Pro Light"/>
              </a:defRPr>
            </a:lvl1pPr>
            <a:lvl2pPr marL="912175" indent="-380072">
              <a:defRPr lang="en-US" sz="2098" kern="1200" dirty="0" smtClean="0">
                <a:solidFill>
                  <a:schemeClr val="bg2">
                    <a:lumMod val="50000"/>
                  </a:schemeClr>
                </a:solidFill>
                <a:latin typeface="+mn-lt"/>
                <a:ea typeface="+mn-ea"/>
                <a:cs typeface="Arial" pitchFamily="34" charset="0"/>
              </a:defRPr>
            </a:lvl2pPr>
            <a:lvl3pPr marL="912175" indent="-228045">
              <a:defRPr lang="en-US" sz="1898" kern="1200" dirty="0" smtClean="0">
                <a:solidFill>
                  <a:schemeClr val="bg2">
                    <a:lumMod val="50000"/>
                  </a:schemeClr>
                </a:solidFill>
                <a:latin typeface="+mn-lt"/>
                <a:ea typeface="+mn-ea"/>
                <a:cs typeface="Arial" pitchFamily="34" charset="0"/>
              </a:defRPr>
            </a:lvl3pPr>
            <a:lvl4pPr marL="1216235" indent="-228045">
              <a:defRPr lang="en-US" sz="1600" kern="1200" dirty="0" smtClean="0">
                <a:solidFill>
                  <a:schemeClr val="bg2">
                    <a:lumMod val="50000"/>
                  </a:schemeClr>
                </a:solidFill>
                <a:latin typeface="+mn-lt"/>
                <a:ea typeface="+mn-ea"/>
                <a:cs typeface="Arial" pitchFamily="34" charset="0"/>
              </a:defRPr>
            </a:lvl4pPr>
            <a:lvl5pPr marL="1444280" indent="-228045">
              <a:defRPr lang="en-US" sz="1600" kern="1200" dirty="0">
                <a:solidFill>
                  <a:schemeClr val="bg2">
                    <a:lumMod val="50000"/>
                  </a:schemeClr>
                </a:solidFill>
                <a:latin typeface="+mn-lt"/>
                <a:ea typeface="+mn-ea"/>
                <a:cs typeface="Arial" pitchFamily="34" charset="0"/>
              </a:defRPr>
            </a:lvl5pPr>
            <a:lvl6pPr>
              <a:defRPr sz="2098"/>
            </a:lvl6pPr>
            <a:lvl7pPr>
              <a:defRPr sz="2098"/>
            </a:lvl7pPr>
            <a:lvl8pPr>
              <a:defRPr sz="2098"/>
            </a:lvl8pPr>
            <a:lvl9pPr>
              <a:defRPr sz="2098"/>
            </a:lvl9pPr>
          </a:lstStyle>
          <a:p>
            <a:pPr lvl="0"/>
            <a:r>
              <a:rPr lang="en-US" dirty="0" smtClean="0"/>
              <a:t>Click to edit Master text styles</a:t>
            </a:r>
          </a:p>
        </p:txBody>
      </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339442" y="6166420"/>
            <a:ext cx="1617872" cy="522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Content Placeholder 5"/>
          <p:cNvSpPr>
            <a:spLocks noGrp="1"/>
          </p:cNvSpPr>
          <p:nvPr>
            <p:ph sz="quarter" idx="13"/>
          </p:nvPr>
        </p:nvSpPr>
        <p:spPr>
          <a:xfrm>
            <a:off x="520703" y="1900240"/>
            <a:ext cx="5255444" cy="615227"/>
          </a:xfrm>
          <a:prstGeom prst="rect">
            <a:avLst/>
          </a:prstGeom>
        </p:spPr>
        <p:txBody>
          <a:bodyPr>
            <a:noAutofit/>
          </a:bodyPr>
          <a:lstStyle>
            <a:lvl1pPr marL="0" indent="0">
              <a:spcBef>
                <a:spcPts val="1198"/>
              </a:spcBef>
              <a:buFont typeface="Arial" pitchFamily="34" charset="0"/>
              <a:buNone/>
              <a:defRPr lang="en-US" sz="1998" b="0" i="0" kern="1200" spc="0" dirty="0" smtClean="0">
                <a:gradFill>
                  <a:gsLst>
                    <a:gs pos="100000">
                      <a:schemeClr val="bg1"/>
                    </a:gs>
                    <a:gs pos="0">
                      <a:schemeClr val="bg1"/>
                    </a:gs>
                  </a:gsLst>
                  <a:lin ang="5400000" scaled="0"/>
                </a:gradFill>
                <a:latin typeface="Segoe Pro Light"/>
                <a:ea typeface="+mn-ea"/>
                <a:cs typeface="Segoe Pro Light"/>
              </a:defRPr>
            </a:lvl1pPr>
            <a:lvl2pPr marL="912175" indent="-380072">
              <a:defRPr lang="en-US" sz="2098" kern="1200" dirty="0" smtClean="0">
                <a:solidFill>
                  <a:schemeClr val="bg2">
                    <a:lumMod val="50000"/>
                  </a:schemeClr>
                </a:solidFill>
                <a:latin typeface="+mn-lt"/>
                <a:ea typeface="+mn-ea"/>
                <a:cs typeface="Arial" pitchFamily="34" charset="0"/>
              </a:defRPr>
            </a:lvl2pPr>
            <a:lvl3pPr marL="912175" indent="-228045">
              <a:defRPr lang="en-US" sz="1898" kern="1200" dirty="0" smtClean="0">
                <a:solidFill>
                  <a:schemeClr val="bg2">
                    <a:lumMod val="50000"/>
                  </a:schemeClr>
                </a:solidFill>
                <a:latin typeface="+mn-lt"/>
                <a:ea typeface="+mn-ea"/>
                <a:cs typeface="Arial" pitchFamily="34" charset="0"/>
              </a:defRPr>
            </a:lvl3pPr>
            <a:lvl4pPr marL="1216235" indent="-228045">
              <a:defRPr lang="en-US" sz="1600" kern="1200" dirty="0" smtClean="0">
                <a:solidFill>
                  <a:schemeClr val="bg2">
                    <a:lumMod val="50000"/>
                  </a:schemeClr>
                </a:solidFill>
                <a:latin typeface="+mn-lt"/>
                <a:ea typeface="+mn-ea"/>
                <a:cs typeface="Arial" pitchFamily="34" charset="0"/>
              </a:defRPr>
            </a:lvl4pPr>
            <a:lvl5pPr marL="1444280" indent="-228045">
              <a:defRPr lang="en-US" sz="1600" kern="1200" dirty="0">
                <a:solidFill>
                  <a:schemeClr val="bg2">
                    <a:lumMod val="50000"/>
                  </a:schemeClr>
                </a:solidFill>
                <a:latin typeface="+mn-lt"/>
                <a:ea typeface="+mn-ea"/>
                <a:cs typeface="Arial" pitchFamily="34" charset="0"/>
              </a:defRPr>
            </a:lvl5pPr>
            <a:lvl6pPr>
              <a:defRPr sz="2098"/>
            </a:lvl6pPr>
            <a:lvl7pPr>
              <a:defRPr sz="2098"/>
            </a:lvl7pPr>
            <a:lvl8pPr>
              <a:defRPr sz="2098"/>
            </a:lvl8pPr>
            <a:lvl9pPr>
              <a:defRPr sz="2098"/>
            </a:lvl9pPr>
          </a:lstStyle>
          <a:p>
            <a:pPr lvl="0"/>
            <a:r>
              <a:rPr lang="en-US" dirty="0" smtClean="0"/>
              <a:t>Click to edit Master text styles</a:t>
            </a:r>
          </a:p>
        </p:txBody>
      </p:sp>
    </p:spTree>
    <p:extLst>
      <p:ext uri="{BB962C8B-B14F-4D97-AF65-F5344CB8AC3E}">
        <p14:creationId xmlns:p14="http://schemas.microsoft.com/office/powerpoint/2010/main" val="3118577242"/>
      </p:ext>
    </p:extLst>
  </p:cSld>
  <p:clrMapOvr>
    <a:masterClrMapping/>
  </p:clrMapOvr>
  <p:timing>
    <p:tnLst>
      <p:par>
        <p:cTn id="1" dur="indefinite" restart="never" nodeType="tmRoot"/>
      </p:par>
    </p:tnLst>
  </p:timing>
</p:sldLayout>
</file>

<file path=ppt/slideLayouts/slideLayout537.xml><?xml version="1.0" encoding="utf-8"?>
<p:sldLayout xmlns:a="http://schemas.openxmlformats.org/drawingml/2006/main" xmlns:r="http://schemas.openxmlformats.org/officeDocument/2006/relationships" xmlns:p="http://schemas.openxmlformats.org/presentationml/2006/main" userDrawn="1">
  <p:cSld name="Punchy Slide Grey">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4" y="2819605"/>
            <a:ext cx="11149013" cy="1218795"/>
          </a:xfrm>
          <a:prstGeom prst="rect">
            <a:avLst/>
          </a:prstGeom>
        </p:spPr>
        <p:txBody>
          <a:bodyPr anchor="b" anchorCtr="0"/>
          <a:lstStyle>
            <a:lvl1pPr>
              <a:defRPr sz="8792" spc="-300" baseline="0">
                <a:solidFill>
                  <a:schemeClr val="tx1"/>
                </a:solidFill>
              </a:defRPr>
            </a:lvl1pPr>
          </a:lstStyle>
          <a:p>
            <a:r>
              <a:rPr lang="en-US" dirty="0" smtClean="0"/>
              <a:t>Click to edit title style</a:t>
            </a:r>
            <a:endParaRPr lang="en-US" dirty="0"/>
          </a:p>
        </p:txBody>
      </p:sp>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l="24987"/>
          <a:stretch/>
        </p:blipFill>
        <p:spPr bwMode="black">
          <a:xfrm>
            <a:off x="10315979" y="6141750"/>
            <a:ext cx="1586959" cy="549178"/>
          </a:xfrm>
          <a:prstGeom prst="rect">
            <a:avLst/>
          </a:prstGeom>
        </p:spPr>
      </p:pic>
    </p:spTree>
    <p:extLst>
      <p:ext uri="{BB962C8B-B14F-4D97-AF65-F5344CB8AC3E}">
        <p14:creationId xmlns:p14="http://schemas.microsoft.com/office/powerpoint/2010/main" val="4171694585"/>
      </p:ext>
    </p:extLst>
  </p:cSld>
  <p:clrMapOvr>
    <a:masterClrMapping/>
  </p:clrMapOvr>
  <p:transition>
    <p:fade/>
  </p:transition>
  <p:timing>
    <p:tnLst>
      <p:par>
        <p:cTn id="1" dur="indefinite" restart="never" nodeType="tmRoot"/>
      </p:par>
    </p:tnLst>
  </p:timing>
</p:sldLayout>
</file>

<file path=ppt/slideLayouts/slideLayout53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1966692"/>
          </a:xfrm>
        </p:spPr>
        <p:txBody>
          <a:bodyPr>
            <a:spAutoFit/>
          </a:bodyPr>
          <a:lstStyle>
            <a:lvl3pPr>
              <a:defRPr sz="2351"/>
            </a:lvl3pPr>
            <a:lvl4pPr>
              <a:defRPr sz="1959"/>
            </a:lvl4pPr>
            <a:lvl5pPr>
              <a:defRPr sz="1959"/>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917312410"/>
      </p:ext>
    </p:extLst>
  </p:cSld>
  <p:clrMapOvr>
    <a:masterClrMapping/>
  </p:clrMapOvr>
  <p:transition>
    <p:fade/>
  </p:transition>
  <p:timing>
    <p:tnLst>
      <p:par>
        <p:cTn id="1" dur="indefinite" restart="never" nodeType="tmRoot"/>
      </p:par>
    </p:tnLst>
  </p:timing>
</p:sldLayout>
</file>

<file path=ppt/slideLayouts/slideLayout539.xml><?xml version="1.0" encoding="utf-8"?>
<p:sldLayout xmlns:a="http://schemas.openxmlformats.org/drawingml/2006/main" xmlns:r="http://schemas.openxmlformats.org/officeDocument/2006/relationships" xmlns:p="http://schemas.openxmlformats.org/presentationml/2006/main" showMasterSp="0" userDrawn="1">
  <p:cSld name="1_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4" y="1447799"/>
            <a:ext cx="11149013" cy="1975926"/>
          </a:xfrm>
          <a:prstGeom prst="rect">
            <a:avLst/>
          </a:prstGeom>
        </p:spPr>
        <p:txBody>
          <a:bodyPr/>
          <a:lstStyle>
            <a:lvl1pPr marL="0" indent="0">
              <a:spcBef>
                <a:spcPts val="2398"/>
              </a:spcBef>
              <a:buNone/>
              <a:defRPr sz="3998">
                <a:gradFill>
                  <a:gsLst>
                    <a:gs pos="100000">
                      <a:schemeClr val="bg2"/>
                    </a:gs>
                    <a:gs pos="0">
                      <a:schemeClr val="bg2"/>
                    </a:gs>
                  </a:gsLst>
                  <a:lin ang="5400000" scaled="0"/>
                </a:gradFill>
                <a:latin typeface="+mj-lt"/>
              </a:defRPr>
            </a:lvl1pPr>
            <a:lvl2pPr marL="0" indent="0">
              <a:buNone/>
              <a:defRPr sz="1998">
                <a:gradFill>
                  <a:gsLst>
                    <a:gs pos="100000">
                      <a:schemeClr val="bg2"/>
                    </a:gs>
                    <a:gs pos="0">
                      <a:schemeClr val="bg2"/>
                    </a:gs>
                  </a:gsLst>
                  <a:lin ang="5400000" scaled="0"/>
                </a:gradFill>
              </a:defRPr>
            </a:lvl2pPr>
            <a:lvl3pPr marL="231591" indent="0">
              <a:buNone/>
              <a:defRPr sz="1998">
                <a:gradFill>
                  <a:gsLst>
                    <a:gs pos="100000">
                      <a:schemeClr val="bg2"/>
                    </a:gs>
                    <a:gs pos="0">
                      <a:schemeClr val="bg2"/>
                    </a:gs>
                  </a:gsLst>
                  <a:lin ang="5400000" scaled="0"/>
                </a:gradFill>
              </a:defRPr>
            </a:lvl3pPr>
            <a:lvl4pPr marL="456838" indent="0">
              <a:buNone/>
              <a:defRPr sz="1998">
                <a:gradFill>
                  <a:gsLst>
                    <a:gs pos="100000">
                      <a:schemeClr val="bg2"/>
                    </a:gs>
                    <a:gs pos="0">
                      <a:schemeClr val="bg2"/>
                    </a:gs>
                  </a:gsLst>
                  <a:lin ang="5400000" scaled="0"/>
                </a:gradFill>
              </a:defRPr>
            </a:lvl4pPr>
            <a:lvl5pPr marL="693188" indent="0">
              <a:buNone/>
              <a:defRPr sz="1998">
                <a:gradFill>
                  <a:gsLst>
                    <a:gs pos="100000">
                      <a:schemeClr val="bg2"/>
                    </a:gs>
                    <a:gs pos="0">
                      <a:schemeClr val="bg2"/>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6"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defTabSz="913639"/>
            <a:fld id="{727B4C2D-45E2-4621-8491-2995EB46A674}" type="slidenum">
              <a:rPr lang="en-US" smtClean="0">
                <a:gradFill>
                  <a:gsLst>
                    <a:gs pos="100000">
                      <a:srgbClr val="797A7D"/>
                    </a:gs>
                    <a:gs pos="0">
                      <a:srgbClr val="797A7D"/>
                    </a:gs>
                  </a:gsLst>
                  <a:lin ang="5400000" scaled="0"/>
                </a:gradFill>
              </a:rPr>
              <a:pPr defTabSz="913639"/>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3475879937"/>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7"/>
            <a:ext cx="11652805" cy="2018835"/>
          </a:xfrm>
        </p:spPr>
        <p:txBody>
          <a:bodyPr/>
          <a:lstStyle>
            <a:lvl1pPr marL="0" indent="0">
              <a:buNone/>
              <a:defRPr/>
            </a:lvl1pPr>
            <a:lvl2pPr marL="28004" indent="0">
              <a:buNone/>
              <a:defRPr sz="1960"/>
            </a:lvl2pPr>
            <a:lvl3pPr marL="219362" indent="0">
              <a:buNone/>
              <a:defRPr sz="1960"/>
            </a:lvl3pPr>
            <a:lvl4pPr marL="466728" indent="0">
              <a:buNone/>
              <a:defRPr sz="1764"/>
            </a:lvl4pPr>
            <a:lvl5pPr marL="72498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76237906"/>
      </p:ext>
    </p:extLst>
  </p:cSld>
  <p:clrMapOvr>
    <a:masterClrMapping/>
  </p:clrMapOvr>
  <p:transition>
    <p:fade/>
  </p:transition>
  <p:timing>
    <p:tnLst>
      <p:par>
        <p:cTn id="1" dur="indefinite" restart="never" nodeType="tmRoot"/>
      </p:par>
    </p:tnLst>
  </p:timing>
</p:sldLayout>
</file>

<file path=ppt/slideLayouts/slideLayout540.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232756" y="157944"/>
            <a:ext cx="11722682" cy="1205345"/>
          </a:xfrm>
          <a:prstGeom prst="rect">
            <a:avLst/>
          </a:prstGeom>
        </p:spPr>
        <p:txBody>
          <a:bodyPr/>
          <a:lstStyle>
            <a:lvl1pPr>
              <a:defRPr sz="3998">
                <a:solidFill>
                  <a:srgbClr val="002050"/>
                </a:solidFill>
                <a:latin typeface="Segoe UI Light" pitchFamily="34" charset="0"/>
              </a:defRPr>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436563" y="1487490"/>
            <a:ext cx="11533187" cy="5159375"/>
          </a:xfrm>
          <a:prstGeom prst="rect">
            <a:avLst/>
          </a:prstGeom>
        </p:spPr>
        <p:txBody>
          <a:bodyPr/>
          <a:lstStyle>
            <a:lvl1pPr marL="342628" indent="-342628">
              <a:lnSpc>
                <a:spcPct val="100000"/>
              </a:lnSpc>
              <a:spcBef>
                <a:spcPts val="1798"/>
              </a:spcBef>
              <a:buClr>
                <a:schemeClr val="accent1"/>
              </a:buClr>
              <a:buSzPct val="100000"/>
              <a:buFont typeface="Arial" pitchFamily="34" charset="0"/>
              <a:buChar char="•"/>
              <a:defRPr sz="3198">
                <a:solidFill>
                  <a:srgbClr val="002050">
                    <a:alpha val="99000"/>
                  </a:srgbClr>
                </a:solidFill>
                <a:latin typeface="Segoe UI Light" panose="020B0502040204020203" pitchFamily="34" charset="0"/>
                <a:cs typeface="Segoe UI Light" panose="020B0502040204020203" pitchFamily="34" charset="0"/>
              </a:defRPr>
            </a:lvl1pPr>
            <a:lvl2pPr marL="807399" indent="-344215">
              <a:lnSpc>
                <a:spcPct val="100000"/>
              </a:lnSpc>
              <a:spcBef>
                <a:spcPts val="400"/>
              </a:spcBef>
              <a:spcAft>
                <a:spcPts val="400"/>
              </a:spcAft>
              <a:buClr>
                <a:schemeClr val="tx1">
                  <a:lumMod val="75000"/>
                  <a:lumOff val="25000"/>
                </a:schemeClr>
              </a:buClr>
              <a:buSzPct val="85000"/>
              <a:buFont typeface="Segoe UI" pitchFamily="34" charset="0"/>
              <a:buChar char="–"/>
              <a:defRPr sz="2798">
                <a:solidFill>
                  <a:schemeClr val="tx1">
                    <a:alpha val="99000"/>
                  </a:schemeClr>
                </a:solidFill>
                <a:latin typeface="Segoe UI Light" panose="020B0502040204020203" pitchFamily="34" charset="0"/>
                <a:cs typeface="Segoe UI Light" panose="020B0502040204020203" pitchFamily="34" charset="0"/>
              </a:defRPr>
            </a:lvl2pPr>
            <a:lvl3pPr marL="1197614" indent="-342628">
              <a:lnSpc>
                <a:spcPct val="100000"/>
              </a:lnSpc>
              <a:spcBef>
                <a:spcPts val="200"/>
              </a:spcBef>
              <a:spcAft>
                <a:spcPts val="200"/>
              </a:spcAft>
              <a:buClr>
                <a:schemeClr val="tx1">
                  <a:lumMod val="75000"/>
                  <a:lumOff val="25000"/>
                </a:schemeClr>
              </a:buClr>
              <a:buSzPct val="85000"/>
              <a:buFont typeface="Courier New" pitchFamily="49" charset="0"/>
              <a:buChar char="o"/>
              <a:defRPr sz="1798">
                <a:solidFill>
                  <a:schemeClr val="tx1">
                    <a:alpha val="99000"/>
                  </a:schemeClr>
                </a:solidFill>
                <a:latin typeface="Segoe UI Light" panose="020B0502040204020203" pitchFamily="34" charset="0"/>
                <a:cs typeface="Segoe UI Light" panose="020B0502040204020203" pitchFamily="34" charset="0"/>
              </a:defRPr>
            </a:lvl3pPr>
            <a:lvl4pPr>
              <a:defRPr sz="1998"/>
            </a:lvl4pPr>
            <a:lvl5pPr>
              <a:defRPr sz="1998"/>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357074802"/>
      </p:ext>
    </p:extLst>
  </p:cSld>
  <p:clrMapOvr>
    <a:masterClrMapping/>
  </p:clrMapOvr>
  <p:transition>
    <p:fade/>
  </p:transition>
  <p:timing>
    <p:tnLst>
      <p:par>
        <p:cTn id="1" dur="indefinite" restart="never" nodeType="tmRoot"/>
      </p:par>
    </p:tnLst>
  </p:timing>
  <p:hf hdr="0"/>
</p:sldLayout>
</file>

<file path=ppt/slideLayouts/slideLayout541.xml><?xml version="1.0" encoding="utf-8"?>
<p:sldLayout xmlns:a="http://schemas.openxmlformats.org/drawingml/2006/main" xmlns:r="http://schemas.openxmlformats.org/officeDocument/2006/relationships" xmlns:p="http://schemas.openxmlformats.org/presentationml/2006/main">
  <p:cSld name="Course Title Layout">
    <p:bg>
      <p:bgPr>
        <a:solidFill>
          <a:srgbClr val="4668C5"/>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2266" y="2312128"/>
            <a:ext cx="11122924" cy="1933979"/>
          </a:xfrm>
          <a:prstGeom prst="rect">
            <a:avLst/>
          </a:prstGeom>
        </p:spPr>
        <p:txBody>
          <a:bodyPr anchor="ctr">
            <a:noAutofit/>
          </a:bodyPr>
          <a:lstStyle>
            <a:lvl1pPr algn="l">
              <a:lnSpc>
                <a:spcPct val="90000"/>
              </a:lnSpc>
              <a:defRPr sz="4798" spc="-150" baseline="0">
                <a:solidFill>
                  <a:schemeClr val="bg1">
                    <a:alpha val="99000"/>
                  </a:schemeClr>
                </a:solidFill>
                <a:latin typeface="Segoe UI Light" pitchFamily="34" charset="0"/>
              </a:defRPr>
            </a:lvl1pPr>
          </a:lstStyle>
          <a:p>
            <a:r>
              <a:rPr lang="en-US" dirty="0" smtClean="0"/>
              <a:t>Course Title</a:t>
            </a:r>
            <a:endParaRPr lang="en-US" dirty="0"/>
          </a:p>
        </p:txBody>
      </p:sp>
      <p:sp>
        <p:nvSpPr>
          <p:cNvPr id="6" name="Subtitle 2"/>
          <p:cNvSpPr>
            <a:spLocks noGrp="1"/>
          </p:cNvSpPr>
          <p:nvPr>
            <p:ph type="subTitle" idx="1" hasCustomPrompt="1"/>
          </p:nvPr>
        </p:nvSpPr>
        <p:spPr>
          <a:xfrm>
            <a:off x="532265" y="4735774"/>
            <a:ext cx="6147660" cy="1878780"/>
          </a:xfrm>
          <a:prstGeom prst="rect">
            <a:avLst/>
          </a:prstGeom>
        </p:spPr>
        <p:txBody>
          <a:bodyPr>
            <a:noAutofit/>
          </a:bodyPr>
          <a:lstStyle>
            <a:lvl1pPr marL="0" indent="0" algn="l">
              <a:lnSpc>
                <a:spcPct val="90000"/>
              </a:lnSpc>
              <a:spcBef>
                <a:spcPts val="0"/>
              </a:spcBef>
              <a:buNone/>
              <a:defRPr sz="2398" b="1" cap="none" baseline="0">
                <a:solidFill>
                  <a:schemeClr val="bg1">
                    <a:lumMod val="95000"/>
                    <a:alpha val="99000"/>
                  </a:schemeClr>
                </a:solidFill>
                <a:latin typeface="Segoe UI Light" pitchFamily="34" charset="0"/>
              </a:defRPr>
            </a:lvl1pPr>
            <a:lvl2pPr marL="456820" indent="0" algn="ctr">
              <a:buNone/>
              <a:defRPr>
                <a:solidFill>
                  <a:schemeClr val="tx1">
                    <a:tint val="75000"/>
                  </a:schemeClr>
                </a:solidFill>
              </a:defRPr>
            </a:lvl2pPr>
            <a:lvl3pPr marL="913639" indent="0" algn="ctr">
              <a:buNone/>
              <a:defRPr>
                <a:solidFill>
                  <a:schemeClr val="tx1">
                    <a:tint val="75000"/>
                  </a:schemeClr>
                </a:solidFill>
              </a:defRPr>
            </a:lvl3pPr>
            <a:lvl4pPr marL="1370459" indent="0" algn="ctr">
              <a:buNone/>
              <a:defRPr>
                <a:solidFill>
                  <a:schemeClr val="tx1">
                    <a:tint val="75000"/>
                  </a:schemeClr>
                </a:solidFill>
              </a:defRPr>
            </a:lvl4pPr>
            <a:lvl5pPr marL="1827279" indent="0" algn="ctr">
              <a:buNone/>
              <a:defRPr>
                <a:solidFill>
                  <a:schemeClr val="tx1">
                    <a:tint val="75000"/>
                  </a:schemeClr>
                </a:solidFill>
              </a:defRPr>
            </a:lvl5pPr>
            <a:lvl6pPr marL="2284100" indent="0" algn="ctr">
              <a:buNone/>
              <a:defRPr>
                <a:solidFill>
                  <a:schemeClr val="tx1">
                    <a:tint val="75000"/>
                  </a:schemeClr>
                </a:solidFill>
              </a:defRPr>
            </a:lvl6pPr>
            <a:lvl7pPr marL="2740917" indent="0" algn="ctr">
              <a:buNone/>
              <a:defRPr>
                <a:solidFill>
                  <a:schemeClr val="tx1">
                    <a:tint val="75000"/>
                  </a:schemeClr>
                </a:solidFill>
              </a:defRPr>
            </a:lvl7pPr>
            <a:lvl8pPr marL="3197737" indent="0" algn="ctr">
              <a:buNone/>
              <a:defRPr>
                <a:solidFill>
                  <a:schemeClr val="tx1">
                    <a:tint val="75000"/>
                  </a:schemeClr>
                </a:solidFill>
              </a:defRPr>
            </a:lvl8pPr>
            <a:lvl9pPr marL="3654557" indent="0" algn="ctr">
              <a:buNone/>
              <a:defRPr>
                <a:solidFill>
                  <a:schemeClr val="tx1">
                    <a:tint val="75000"/>
                  </a:schemeClr>
                </a:solidFill>
              </a:defRPr>
            </a:lvl9pPr>
          </a:lstStyle>
          <a:p>
            <a:r>
              <a:rPr lang="en-US" dirty="0" smtClean="0"/>
              <a:t>Subtitle</a:t>
            </a:r>
            <a:endParaRPr lang="en-US" dirty="0"/>
          </a:p>
        </p:txBody>
      </p:sp>
    </p:spTree>
    <p:extLst>
      <p:ext uri="{BB962C8B-B14F-4D97-AF65-F5344CB8AC3E}">
        <p14:creationId xmlns:p14="http://schemas.microsoft.com/office/powerpoint/2010/main" val="2398200571"/>
      </p:ext>
    </p:extLst>
  </p:cSld>
  <p:clrMapOvr>
    <a:masterClrMapping/>
  </p:clrMapOvr>
  <p:transition>
    <p:fade/>
  </p:transition>
  <p:timing>
    <p:tnLst>
      <p:par>
        <p:cTn id="1" dur="indefinite" restart="never" nodeType="tmRoot"/>
      </p:par>
    </p:tnLst>
  </p:timing>
  <p:hf hdr="0"/>
</p:sldLayout>
</file>

<file path=ppt/slideLayouts/slideLayout542.xml><?xml version="1.0" encoding="utf-8"?>
<p:sldLayout xmlns:a="http://schemas.openxmlformats.org/drawingml/2006/main" xmlns:r="http://schemas.openxmlformats.org/officeDocument/2006/relationships" xmlns:p="http://schemas.openxmlformats.org/presentationml/2006/main">
  <p:cSld name="Microsoft Slide">
    <p:bg>
      <p:bgPr>
        <a:solidFill>
          <a:srgbClr val="4668C5"/>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val="0"/>
              </a:ext>
            </a:extLst>
          </a:blip>
          <a:srcRect l="9719"/>
          <a:stretch/>
        </p:blipFill>
        <p:spPr>
          <a:xfrm>
            <a:off x="512763" y="2922747"/>
            <a:ext cx="5767719" cy="2350013"/>
          </a:xfrm>
          <a:prstGeom prst="rect">
            <a:avLst/>
          </a:prstGeom>
        </p:spPr>
      </p:pic>
      <p:sp>
        <p:nvSpPr>
          <p:cNvPr id="9" name="Rectangle 2"/>
          <p:cNvSpPr>
            <a:spLocks noChangeArrowheads="1"/>
          </p:cNvSpPr>
          <p:nvPr userDrawn="1"/>
        </p:nvSpPr>
        <p:spPr bwMode="auto">
          <a:xfrm>
            <a:off x="530087" y="5960743"/>
            <a:ext cx="11078818" cy="751488"/>
          </a:xfrm>
          <a:prstGeom prst="rect">
            <a:avLst/>
          </a:prstGeom>
          <a:noFill/>
          <a:ln w="9525">
            <a:noFill/>
            <a:miter lim="800000"/>
            <a:headEnd/>
            <a:tailEnd/>
          </a:ln>
        </p:spPr>
        <p:txBody>
          <a:bodyPr wrap="square">
            <a:spAutoFit/>
          </a:bodyPr>
          <a:lstStyle/>
          <a:p>
            <a:pPr marL="0" lvl="1" defTabSz="913364">
              <a:defRPr/>
            </a:pPr>
            <a:r>
              <a:rPr lang="en-US" sz="1050" dirty="0">
                <a:solidFill>
                  <a:prstClr val="white">
                    <a:lumMod val="85000"/>
                  </a:prstClr>
                </a:solidFill>
                <a:latin typeface="Calibri"/>
              </a:rPr>
              <a:t>©2013 Microsoft Corporation. All rights reserved. Microsoft, Windows, Office, Azure, System Center, Dynamic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003695933"/>
      </p:ext>
    </p:extLst>
  </p:cSld>
  <p:clrMapOvr>
    <a:masterClrMapping/>
  </p:clrMapOvr>
  <p:timing>
    <p:tnLst>
      <p:par>
        <p:cTn id="1" dur="indefinite" restart="never" nodeType="tmRoot"/>
      </p:par>
    </p:tnLst>
  </p:timing>
</p:sldLayout>
</file>

<file path=ppt/slideLayouts/slideLayout543.xml><?xml version="1.0" encoding="utf-8"?>
<p:sldLayout xmlns:a="http://schemas.openxmlformats.org/drawingml/2006/main" xmlns:r="http://schemas.openxmlformats.org/officeDocument/2006/relationships" xmlns:p="http://schemas.openxmlformats.org/presentationml/2006/main">
  <p:cSld name="1_Demo Slide">
    <p:bg>
      <p:bgPr>
        <a:solidFill>
          <a:srgbClr val="007233"/>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415636" y="4771506"/>
            <a:ext cx="10484896" cy="1604356"/>
          </a:xfrm>
          <a:prstGeom prst="rect">
            <a:avLst/>
          </a:prstGeom>
        </p:spPr>
        <p:txBody>
          <a:bodyPr anchor="ctr">
            <a:noAutofit/>
          </a:bodyPr>
          <a:lstStyle>
            <a:lvl1pPr marL="0" marR="0" indent="0" algn="l" defTabSz="913639" rtl="0" eaLnBrk="1" fontAlgn="auto" latinLnBrk="0" hangingPunct="1">
              <a:lnSpc>
                <a:spcPct val="90000"/>
              </a:lnSpc>
              <a:spcBef>
                <a:spcPts val="0"/>
              </a:spcBef>
              <a:spcAft>
                <a:spcPts val="0"/>
              </a:spcAft>
              <a:buClr>
                <a:srgbClr val="00DCFF"/>
              </a:buClr>
              <a:buSzPct val="90000"/>
              <a:buFont typeface="Arial" pitchFamily="34" charset="0"/>
              <a:buNone/>
              <a:tabLst/>
              <a:defRPr sz="2798" b="1" cap="all" baseline="0">
                <a:solidFill>
                  <a:schemeClr val="bg1">
                    <a:alpha val="99000"/>
                  </a:schemeClr>
                </a:solidFill>
              </a:defRPr>
            </a:lvl1pPr>
            <a:lvl2pPr marL="456820" indent="0" algn="ctr">
              <a:buNone/>
              <a:defRPr>
                <a:solidFill>
                  <a:schemeClr val="tx1">
                    <a:tint val="75000"/>
                  </a:schemeClr>
                </a:solidFill>
              </a:defRPr>
            </a:lvl2pPr>
            <a:lvl3pPr marL="913639" indent="0" algn="ctr">
              <a:buNone/>
              <a:defRPr>
                <a:solidFill>
                  <a:schemeClr val="tx1">
                    <a:tint val="75000"/>
                  </a:schemeClr>
                </a:solidFill>
              </a:defRPr>
            </a:lvl3pPr>
            <a:lvl4pPr marL="1370459" indent="0" algn="ctr">
              <a:buNone/>
              <a:defRPr>
                <a:solidFill>
                  <a:schemeClr val="tx1">
                    <a:tint val="75000"/>
                  </a:schemeClr>
                </a:solidFill>
              </a:defRPr>
            </a:lvl4pPr>
            <a:lvl5pPr marL="1827279" indent="0" algn="ctr">
              <a:buNone/>
              <a:defRPr>
                <a:solidFill>
                  <a:schemeClr val="tx1">
                    <a:tint val="75000"/>
                  </a:schemeClr>
                </a:solidFill>
              </a:defRPr>
            </a:lvl5pPr>
            <a:lvl6pPr marL="2284100" indent="0" algn="ctr">
              <a:buNone/>
              <a:defRPr>
                <a:solidFill>
                  <a:schemeClr val="tx1">
                    <a:tint val="75000"/>
                  </a:schemeClr>
                </a:solidFill>
              </a:defRPr>
            </a:lvl6pPr>
            <a:lvl7pPr marL="2740917" indent="0" algn="ctr">
              <a:buNone/>
              <a:defRPr>
                <a:solidFill>
                  <a:schemeClr val="tx1">
                    <a:tint val="75000"/>
                  </a:schemeClr>
                </a:solidFill>
              </a:defRPr>
            </a:lvl7pPr>
            <a:lvl8pPr marL="3197737" indent="0" algn="ctr">
              <a:buNone/>
              <a:defRPr>
                <a:solidFill>
                  <a:schemeClr val="tx1">
                    <a:tint val="75000"/>
                  </a:schemeClr>
                </a:solidFill>
              </a:defRPr>
            </a:lvl8pPr>
            <a:lvl9pPr marL="3654557" indent="0" algn="ctr">
              <a:buNone/>
              <a:defRPr>
                <a:solidFill>
                  <a:schemeClr val="tx1">
                    <a:tint val="75000"/>
                  </a:schemeClr>
                </a:solidFill>
              </a:defRPr>
            </a:lvl9pPr>
          </a:lstStyle>
          <a:p>
            <a:r>
              <a:rPr lang="en-US" b="0" dirty="0" smtClean="0"/>
              <a:t>{Sample Code Location e.g., Codeshow.codeplex.com} </a:t>
            </a:r>
          </a:p>
          <a:p>
            <a:r>
              <a:rPr lang="en-US" dirty="0" smtClean="0"/>
              <a:t>(</a:t>
            </a:r>
            <a:r>
              <a:rPr lang="en-US" dirty="0" err="1" smtClean="0"/>
              <a:t>dEMO</a:t>
            </a:r>
            <a:r>
              <a:rPr lang="en-US" dirty="0" smtClean="0"/>
              <a:t> NAME)</a:t>
            </a:r>
            <a:endParaRPr lang="en-US" dirty="0"/>
          </a:p>
        </p:txBody>
      </p:sp>
      <p:sp>
        <p:nvSpPr>
          <p:cNvPr id="10" name="Text Placeholder 9"/>
          <p:cNvSpPr>
            <a:spLocks noGrp="1"/>
          </p:cNvSpPr>
          <p:nvPr>
            <p:ph type="body" sz="quarter" idx="10" hasCustomPrompt="1"/>
          </p:nvPr>
        </p:nvSpPr>
        <p:spPr>
          <a:xfrm>
            <a:off x="415636" y="3117273"/>
            <a:ext cx="10720676" cy="1383983"/>
          </a:xfrm>
          <a:prstGeom prst="rect">
            <a:avLst/>
          </a:prstGeom>
        </p:spPr>
        <p:txBody>
          <a:bodyPr anchor="ctr"/>
          <a:lstStyle>
            <a:lvl1pPr algn="l">
              <a:defRPr sz="7194" baseline="0">
                <a:solidFill>
                  <a:schemeClr val="bg1">
                    <a:alpha val="99000"/>
                  </a:schemeClr>
                </a:solidFill>
                <a:latin typeface="Segoe UI Light" panose="020B0502040204020203" pitchFamily="34" charset="0"/>
                <a:cs typeface="Segoe UI Light" panose="020B0502040204020203" pitchFamily="34" charset="0"/>
              </a:defRPr>
            </a:lvl1pPr>
            <a:lvl2pPr>
              <a:defRPr sz="5994">
                <a:solidFill>
                  <a:schemeClr val="bg1">
                    <a:alpha val="99000"/>
                  </a:schemeClr>
                </a:solidFill>
                <a:latin typeface="+mj-lt"/>
              </a:defRPr>
            </a:lvl2pPr>
            <a:lvl3pPr>
              <a:defRPr sz="5994">
                <a:solidFill>
                  <a:schemeClr val="bg1">
                    <a:alpha val="99000"/>
                  </a:schemeClr>
                </a:solidFill>
                <a:latin typeface="+mj-lt"/>
              </a:defRPr>
            </a:lvl3pPr>
            <a:lvl4pPr>
              <a:defRPr sz="5994">
                <a:solidFill>
                  <a:schemeClr val="bg1">
                    <a:alpha val="99000"/>
                  </a:schemeClr>
                </a:solidFill>
                <a:latin typeface="+mj-lt"/>
              </a:defRPr>
            </a:lvl4pPr>
            <a:lvl5pPr>
              <a:defRPr sz="5994">
                <a:solidFill>
                  <a:schemeClr val="bg1">
                    <a:alpha val="99000"/>
                  </a:schemeClr>
                </a:solidFill>
                <a:latin typeface="+mj-lt"/>
              </a:defRPr>
            </a:lvl5pPr>
          </a:lstStyle>
          <a:p>
            <a:pPr lvl="0"/>
            <a:r>
              <a:rPr lang="en-US" dirty="0" smtClean="0"/>
              <a:t>demo</a:t>
            </a:r>
            <a:endParaRPr lang="en-US" dirty="0"/>
          </a:p>
        </p:txBody>
      </p:sp>
    </p:spTree>
    <p:extLst>
      <p:ext uri="{BB962C8B-B14F-4D97-AF65-F5344CB8AC3E}">
        <p14:creationId xmlns:p14="http://schemas.microsoft.com/office/powerpoint/2010/main" val="1459974662"/>
      </p:ext>
    </p:extLst>
  </p:cSld>
  <p:clrMapOvr>
    <a:masterClrMapping/>
  </p:clrMapOvr>
  <p:transition>
    <p:fade/>
  </p:transition>
  <p:timing>
    <p:tnLst>
      <p:par>
        <p:cTn id="1" dur="indefinite" restart="never" nodeType="tmRoot"/>
      </p:par>
    </p:tnLst>
  </p:timing>
</p:sldLayout>
</file>

<file path=ppt/slideLayouts/slideLayout544.xml><?xml version="1.0" encoding="utf-8"?>
<p:sldLayout xmlns:a="http://schemas.openxmlformats.org/drawingml/2006/main" xmlns:r="http://schemas.openxmlformats.org/officeDocument/2006/relationships" xmlns:p="http://schemas.openxmlformats.org/presentationml/2006/main" userDrawn="1">
  <p:cSld name="Module Layout">
    <p:bg>
      <p:bgPr>
        <a:solidFill>
          <a:srgbClr val="4668C5"/>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45912" y="3775166"/>
            <a:ext cx="11354938" cy="1933979"/>
          </a:xfrm>
          <a:prstGeom prst="rect">
            <a:avLst/>
          </a:prstGeom>
        </p:spPr>
        <p:txBody>
          <a:bodyPr anchor="t" anchorCtr="0">
            <a:noAutofit/>
          </a:bodyPr>
          <a:lstStyle>
            <a:lvl1pPr algn="l">
              <a:lnSpc>
                <a:spcPct val="90000"/>
              </a:lnSpc>
              <a:defRPr sz="4798" spc="-150" baseline="0">
                <a:solidFill>
                  <a:schemeClr val="bg1">
                    <a:alpha val="99000"/>
                  </a:schemeClr>
                </a:solidFill>
                <a:latin typeface="Segoe UI Light" pitchFamily="34" charset="0"/>
              </a:defRPr>
            </a:lvl1pPr>
          </a:lstStyle>
          <a:p>
            <a:r>
              <a:rPr lang="en-US" dirty="0" smtClean="0"/>
              <a:t>Module or Section transition style</a:t>
            </a:r>
            <a:endParaRPr lang="en-US" dirty="0"/>
          </a:p>
        </p:txBody>
      </p:sp>
      <p:sp>
        <p:nvSpPr>
          <p:cNvPr id="9" name="Subtitle 2"/>
          <p:cNvSpPr>
            <a:spLocks noGrp="1"/>
          </p:cNvSpPr>
          <p:nvPr>
            <p:ph type="subTitle" idx="1" hasCustomPrompt="1"/>
          </p:nvPr>
        </p:nvSpPr>
        <p:spPr>
          <a:xfrm>
            <a:off x="545912" y="2942705"/>
            <a:ext cx="11354938" cy="748146"/>
          </a:xfrm>
          <a:prstGeom prst="rect">
            <a:avLst/>
          </a:prstGeom>
        </p:spPr>
        <p:txBody>
          <a:bodyPr>
            <a:noAutofit/>
          </a:bodyPr>
          <a:lstStyle>
            <a:lvl1pPr marL="0" indent="0" algn="l">
              <a:lnSpc>
                <a:spcPct val="90000"/>
              </a:lnSpc>
              <a:spcBef>
                <a:spcPts val="0"/>
              </a:spcBef>
              <a:buNone/>
              <a:defRPr sz="2398" b="0" cap="none" baseline="0">
                <a:solidFill>
                  <a:schemeClr val="bg1">
                    <a:alpha val="99000"/>
                  </a:schemeClr>
                </a:solidFill>
                <a:latin typeface="Segoe UI Light" pitchFamily="34" charset="0"/>
              </a:defRPr>
            </a:lvl1pPr>
            <a:lvl2pPr marL="456820" indent="0" algn="ctr">
              <a:buNone/>
              <a:defRPr>
                <a:solidFill>
                  <a:schemeClr val="tx1">
                    <a:tint val="75000"/>
                  </a:schemeClr>
                </a:solidFill>
              </a:defRPr>
            </a:lvl2pPr>
            <a:lvl3pPr marL="913639" indent="0" algn="ctr">
              <a:buNone/>
              <a:defRPr>
                <a:solidFill>
                  <a:schemeClr val="tx1">
                    <a:tint val="75000"/>
                  </a:schemeClr>
                </a:solidFill>
              </a:defRPr>
            </a:lvl3pPr>
            <a:lvl4pPr marL="1370459" indent="0" algn="ctr">
              <a:buNone/>
              <a:defRPr>
                <a:solidFill>
                  <a:schemeClr val="tx1">
                    <a:tint val="75000"/>
                  </a:schemeClr>
                </a:solidFill>
              </a:defRPr>
            </a:lvl4pPr>
            <a:lvl5pPr marL="1827279" indent="0" algn="ctr">
              <a:buNone/>
              <a:defRPr>
                <a:solidFill>
                  <a:schemeClr val="tx1">
                    <a:tint val="75000"/>
                  </a:schemeClr>
                </a:solidFill>
              </a:defRPr>
            </a:lvl5pPr>
            <a:lvl6pPr marL="2284100" indent="0" algn="ctr">
              <a:buNone/>
              <a:defRPr>
                <a:solidFill>
                  <a:schemeClr val="tx1">
                    <a:tint val="75000"/>
                  </a:schemeClr>
                </a:solidFill>
              </a:defRPr>
            </a:lvl6pPr>
            <a:lvl7pPr marL="2740917" indent="0" algn="ctr">
              <a:buNone/>
              <a:defRPr>
                <a:solidFill>
                  <a:schemeClr val="tx1">
                    <a:tint val="75000"/>
                  </a:schemeClr>
                </a:solidFill>
              </a:defRPr>
            </a:lvl7pPr>
            <a:lvl8pPr marL="3197737" indent="0" algn="ctr">
              <a:buNone/>
              <a:defRPr>
                <a:solidFill>
                  <a:schemeClr val="tx1">
                    <a:tint val="75000"/>
                  </a:schemeClr>
                </a:solidFill>
              </a:defRPr>
            </a:lvl8pPr>
            <a:lvl9pPr marL="3654557" indent="0" algn="ctr">
              <a:buNone/>
              <a:defRPr>
                <a:solidFill>
                  <a:schemeClr val="tx1">
                    <a:tint val="75000"/>
                  </a:schemeClr>
                </a:solidFill>
              </a:defRPr>
            </a:lvl9pPr>
          </a:lstStyle>
          <a:p>
            <a:r>
              <a:rPr lang="en-US" dirty="0" smtClean="0"/>
              <a:t>Course Title Style</a:t>
            </a:r>
            <a:endParaRPr lang="en-US" dirty="0"/>
          </a:p>
        </p:txBody>
      </p:sp>
    </p:spTree>
    <p:extLst>
      <p:ext uri="{BB962C8B-B14F-4D97-AF65-F5344CB8AC3E}">
        <p14:creationId xmlns:p14="http://schemas.microsoft.com/office/powerpoint/2010/main" val="494576342"/>
      </p:ext>
    </p:extLst>
  </p:cSld>
  <p:clrMapOvr>
    <a:masterClrMapping/>
  </p:clrMapOvr>
  <p:transition>
    <p:fade/>
  </p:transition>
  <p:timing>
    <p:tnLst>
      <p:par>
        <p:cTn id="1" dur="indefinite" restart="never" nodeType="tmRoot"/>
      </p:par>
    </p:tnLst>
  </p:timing>
  <p:hf hdr="0"/>
</p:sldLayout>
</file>

<file path=ppt/slideLayouts/slideLayout545.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9767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46.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3818" rtl="0" eaLnBrk="1" latinLnBrk="0" hangingPunct="1">
              <a:lnSpc>
                <a:spcPct val="90000"/>
              </a:lnSpc>
              <a:spcBef>
                <a:spcPct val="0"/>
              </a:spcBef>
              <a:buNone/>
              <a:defRPr lang="en-US" sz="8622"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87195269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4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1" y="1189178"/>
            <a:ext cx="11652805" cy="2018835"/>
          </a:xfrm>
        </p:spPr>
        <p:txBody>
          <a:bodyPr/>
          <a:lstStyle>
            <a:lvl1pPr marL="0" indent="0">
              <a:buNone/>
              <a:defRPr/>
            </a:lvl1pPr>
            <a:lvl2pPr marL="28000" indent="0">
              <a:buNone/>
              <a:defRPr sz="1960"/>
            </a:lvl2pPr>
            <a:lvl3pPr marL="219341" indent="0">
              <a:buNone/>
              <a:defRPr sz="1960"/>
            </a:lvl3pPr>
            <a:lvl4pPr marL="466683" indent="0">
              <a:buNone/>
              <a:defRPr sz="1764"/>
            </a:lvl4pPr>
            <a:lvl5pPr marL="72491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14794767"/>
      </p:ext>
    </p:extLst>
  </p:cSld>
  <p:clrMapOvr>
    <a:masterClrMapping/>
  </p:clrMapOvr>
  <p:transition>
    <p:fade/>
  </p:transition>
  <p:timing>
    <p:tnLst>
      <p:par>
        <p:cTn id="1" dur="indefinite" restart="never" nodeType="tmRoot"/>
      </p:par>
    </p:tnLst>
  </p:timing>
</p:sldLayout>
</file>

<file path=ppt/slideLayouts/slideLayout548.xml><?xml version="1.0" encoding="utf-8"?>
<p:sldLayout xmlns:a="http://schemas.openxmlformats.org/drawingml/2006/main" xmlns:r="http://schemas.openxmlformats.org/officeDocument/2006/relationships" xmlns:p="http://schemas.openxmlformats.org/presentationml/2006/main"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0126" y="2980724"/>
            <a:ext cx="7169534" cy="896552"/>
          </a:xfrm>
        </p:spPr>
        <p:txBody>
          <a:bodyPr vert="horz" wrap="square" lIns="182880" tIns="146304" rIns="182880" bIns="146304" rtlCol="0" anchor="ctr">
            <a:noAutofit/>
          </a:bodyPr>
          <a:lstStyle>
            <a:lvl1pPr marL="0" indent="0">
              <a:buFont typeface="Arial" panose="020B0604020202020204" pitchFamily="34" charset="0"/>
              <a:buNone/>
              <a:defRPr lang="en-US" sz="3526" kern="1200" dirty="0" smtClean="0">
                <a:gradFill>
                  <a:gsLst>
                    <a:gs pos="1299">
                      <a:schemeClr val="tx1"/>
                    </a:gs>
                    <a:gs pos="100000">
                      <a:schemeClr val="tx1"/>
                    </a:gs>
                  </a:gsLst>
                  <a:lin ang="5400000" scaled="0"/>
                </a:gradFill>
                <a:latin typeface="+mj-lt"/>
                <a:ea typeface="+mn-ea"/>
                <a:cs typeface="+mn-cs"/>
              </a:defRPr>
            </a:lvl1pPr>
          </a:lstStyle>
          <a:p>
            <a:pPr marL="0" lvl="0" indent="0" algn="l" defTabSz="895619" rtl="0" eaLnBrk="1" latinLnBrk="0" hangingPunct="1">
              <a:spcBef>
                <a:spcPct val="20000"/>
              </a:spcBef>
            </a:pPr>
            <a:r>
              <a:rPr lang="en-US" smtClean="0"/>
              <a:t>Click to edit Master text styles</a:t>
            </a:r>
          </a:p>
        </p:txBody>
      </p:sp>
      <p:sp>
        <p:nvSpPr>
          <p:cNvPr id="7" name="Picture Placeholder 12"/>
          <p:cNvSpPr>
            <a:spLocks noGrp="1"/>
          </p:cNvSpPr>
          <p:nvPr>
            <p:ph type="pic" sz="quarter" idx="16"/>
          </p:nvPr>
        </p:nvSpPr>
        <p:spPr>
          <a:xfrm>
            <a:off x="269169" y="1505896"/>
            <a:ext cx="3853623"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smtClean="0"/>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smtClean="0"/>
              <a:t>Click to edit Master title style</a:t>
            </a:r>
            <a:endParaRPr lang="en-US" dirty="0"/>
          </a:p>
        </p:txBody>
      </p:sp>
    </p:spTree>
    <p:extLst>
      <p:ext uri="{BB962C8B-B14F-4D97-AF65-F5344CB8AC3E}">
        <p14:creationId xmlns:p14="http://schemas.microsoft.com/office/powerpoint/2010/main" val="262825544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Walkin">
    <p:bg bwMode="gray">
      <p:bgPr>
        <a:solidFill>
          <a:srgbClr val="00000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380"/>
            <a:ext cx="12188825" cy="6856620"/>
          </a:xfrm>
          <a:prstGeom prst="rect">
            <a:avLst/>
          </a:prstGeom>
        </p:spPr>
      </p:pic>
      <p:pic>
        <p:nvPicPr>
          <p:cNvPr id="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62148" y="474236"/>
            <a:ext cx="1775047" cy="380393"/>
          </a:xfrm>
          <a:prstGeom prst="rect">
            <a:avLst/>
          </a:prstGeom>
        </p:spPr>
      </p:pic>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857670" y="440492"/>
            <a:ext cx="2870723" cy="1318654"/>
          </a:xfrm>
          <a:prstGeom prst="rect">
            <a:avLst/>
          </a:prstGeom>
        </p:spPr>
      </p:pic>
    </p:spTree>
    <p:extLst>
      <p:ext uri="{BB962C8B-B14F-4D97-AF65-F5344CB8AC3E}">
        <p14:creationId xmlns:p14="http://schemas.microsoft.com/office/powerpoint/2010/main" val="61553963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7"/>
            <a:ext cx="11652805" cy="2018835"/>
          </a:xfrm>
        </p:spPr>
        <p:txBody>
          <a:bodyPr/>
          <a:lstStyle>
            <a:lvl1pPr marL="0" indent="0">
              <a:buNone/>
              <a:defRPr>
                <a:gradFill>
                  <a:gsLst>
                    <a:gs pos="2920">
                      <a:schemeClr val="tx1"/>
                    </a:gs>
                    <a:gs pos="100000">
                      <a:schemeClr val="tx1"/>
                    </a:gs>
                  </a:gsLst>
                  <a:lin ang="5400000" scaled="0"/>
                </a:gradFill>
              </a:defRPr>
            </a:lvl1pPr>
            <a:lvl2pPr marL="28004" indent="0">
              <a:buNone/>
              <a:defRPr sz="1960"/>
            </a:lvl2pPr>
            <a:lvl3pPr marL="219362" indent="0">
              <a:buNone/>
              <a:defRPr sz="1960"/>
            </a:lvl3pPr>
            <a:lvl4pPr marL="466728" indent="0">
              <a:buNone/>
              <a:defRPr sz="1764"/>
            </a:lvl4pPr>
            <a:lvl5pPr marL="72498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92978656"/>
      </p:ext>
    </p:extLst>
  </p:cSld>
  <p:clrMapOvr>
    <a:masterClrMapping/>
  </p:clrMapOvr>
  <p:transition>
    <p:fade/>
  </p:transition>
  <p:timing>
    <p:tnLst>
      <p:par>
        <p:cTn id="1" dur="indefinite" restart="never" nodeType="tmRoot"/>
      </p:par>
    </p:tnLst>
  </p:timing>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Title Slide Photo Layout">
    <p:bg bwMode="gray">
      <p:bgPr>
        <a:solidFill>
          <a:srgbClr val="00205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t="15937" r="3431" b="2608"/>
          <a:stretch/>
        </p:blipFill>
        <p:spPr>
          <a:xfrm>
            <a:off x="2" y="-7783"/>
            <a:ext cx="12218386" cy="6873565"/>
          </a:xfrm>
          <a:prstGeom prst="rect">
            <a:avLst/>
          </a:prstGeom>
        </p:spPr>
      </p:pic>
      <p:sp>
        <p:nvSpPr>
          <p:cNvPr id="19" name="Dark gradation top"/>
          <p:cNvSpPr/>
          <p:nvPr userDrawn="1"/>
        </p:nvSpPr>
        <p:spPr bwMode="gray">
          <a:xfrm>
            <a:off x="0" y="-7783"/>
            <a:ext cx="12103070" cy="6568608"/>
          </a:xfrm>
          <a:prstGeom prst="rect">
            <a:avLst/>
          </a:prstGeom>
          <a:gradFill flip="none" rotWithShape="1">
            <a:gsLst>
              <a:gs pos="0">
                <a:srgbClr val="000000">
                  <a:alpha val="7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6" tIns="143334" rIns="179166" bIns="143334" numCol="1" spcCol="0" rtlCol="0" fromWordArt="0" anchor="t" anchorCtr="0" forceAA="0" compatLnSpc="1">
            <a:prstTxWarp prst="textNoShape">
              <a:avLst/>
            </a:prstTxWarp>
            <a:noAutofit/>
          </a:bodyPr>
          <a:lstStyle/>
          <a:p>
            <a:pPr algn="ctr" defTabSz="913554"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79871" y="440492"/>
            <a:ext cx="2870723" cy="1318654"/>
          </a:xfrm>
          <a:prstGeom prst="rect">
            <a:avLst/>
          </a:prstGeom>
        </p:spPr>
      </p:pic>
      <p:sp>
        <p:nvSpPr>
          <p:cNvPr id="18" name="Rectangle 17"/>
          <p:cNvSpPr/>
          <p:nvPr userDrawn="1"/>
        </p:nvSpPr>
        <p:spPr bwMode="gray">
          <a:xfrm>
            <a:off x="269169" y="2084172"/>
            <a:ext cx="5899926" cy="3586208"/>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6" tIns="143334" rIns="179166" bIns="143334" numCol="1" spcCol="0" rtlCol="0" fromWordArt="0" anchor="t" anchorCtr="0" forceAA="0" compatLnSpc="1">
            <a:prstTxWarp prst="textNoShape">
              <a:avLst/>
            </a:prstTxWarp>
            <a:noAutofit/>
          </a:bodyPr>
          <a:lstStyle/>
          <a:p>
            <a:pPr algn="ctr" defTabSz="913554"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13" y="2084172"/>
            <a:ext cx="5901482" cy="2062069"/>
          </a:xfrm>
          <a:noFill/>
        </p:spPr>
        <p:txBody>
          <a:bodyPr vert="horz" wrap="square" lIns="146304" tIns="91440" rIns="146304" bIns="91440" rtlCol="0" anchor="t" anchorCtr="0">
            <a:noAutofit/>
          </a:bodyPr>
          <a:lstStyle>
            <a:lvl1pPr>
              <a:defRPr lang="en-US" sz="5879"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169" y="4146242"/>
            <a:ext cx="5899926" cy="1524136"/>
          </a:xfrm>
        </p:spPr>
        <p:txBody>
          <a:bodyPr tIns="109728" bIns="109728">
            <a:noAutofit/>
          </a:bodyPr>
          <a:lstStyle>
            <a:lvl1pPr marL="0" indent="0">
              <a:spcBef>
                <a:spcPts val="0"/>
              </a:spcBef>
              <a:buNone/>
              <a:defRPr sz="3134">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1"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49207" y="6061767"/>
            <a:ext cx="1522007" cy="326167"/>
          </a:xfrm>
          <a:prstGeom prst="rect">
            <a:avLst/>
          </a:prstGeom>
        </p:spPr>
      </p:pic>
    </p:spTree>
    <p:extLst>
      <p:ext uri="{BB962C8B-B14F-4D97-AF65-F5344CB8AC3E}">
        <p14:creationId xmlns:p14="http://schemas.microsoft.com/office/powerpoint/2010/main" val="11127036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Title Slide 1">
    <p:bg bwMode="auto">
      <p:bgPr>
        <a:solidFill>
          <a:schemeClr val="bg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871" y="440492"/>
            <a:ext cx="2870723" cy="1318654"/>
          </a:xfrm>
          <a:prstGeom prst="rect">
            <a:avLst/>
          </a:prstGeom>
        </p:spPr>
      </p:pic>
      <p:sp>
        <p:nvSpPr>
          <p:cNvPr id="5" name="Text Placeholder 4"/>
          <p:cNvSpPr>
            <a:spLocks noGrp="1"/>
          </p:cNvSpPr>
          <p:nvPr>
            <p:ph type="body" sz="quarter" idx="12" hasCustomPrompt="1"/>
          </p:nvPr>
        </p:nvSpPr>
        <p:spPr>
          <a:xfrm>
            <a:off x="271035" y="3877272"/>
            <a:ext cx="6271784" cy="1794661"/>
          </a:xfrm>
          <a:noFill/>
        </p:spPr>
        <p:txBody>
          <a:bodyPr lIns="146304" tIns="109728" rIns="146304" bIns="109728">
            <a:noAutofit/>
          </a:bodyPr>
          <a:lstStyle>
            <a:lvl1pPr marL="0" indent="0">
              <a:spcBef>
                <a:spcPts val="0"/>
              </a:spcBef>
              <a:buNone/>
              <a:defRPr sz="3526"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4" y="2075840"/>
            <a:ext cx="8065659" cy="1801436"/>
          </a:xfrm>
          <a:noFill/>
        </p:spPr>
        <p:txBody>
          <a:bodyPr lIns="146304" tIns="91440" rIns="146304" bIns="91440" anchor="t" anchorCtr="0"/>
          <a:lstStyle>
            <a:lvl1pPr>
              <a:defRPr sz="5879"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8"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207" y="6061767"/>
            <a:ext cx="1522007" cy="326167"/>
          </a:xfrm>
          <a:prstGeom prst="rect">
            <a:avLst/>
          </a:prstGeom>
        </p:spPr>
      </p:pic>
    </p:spTree>
    <p:extLst>
      <p:ext uri="{BB962C8B-B14F-4D97-AF65-F5344CB8AC3E}">
        <p14:creationId xmlns:p14="http://schemas.microsoft.com/office/powerpoint/2010/main" val="37049659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auto">
          <a:xfrm>
            <a:off x="269169" y="2084172"/>
            <a:ext cx="9973878"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6" tIns="143334" rIns="179166" bIns="143334" numCol="1" spcCol="0" rtlCol="0" fromWordArt="0" anchor="t" anchorCtr="0" forceAA="0" compatLnSpc="1">
            <a:prstTxWarp prst="textNoShape">
              <a:avLst/>
            </a:prstTxWarp>
            <a:noAutofit/>
          </a:bodyPr>
          <a:lstStyle/>
          <a:p>
            <a:pPr algn="ctr" defTabSz="913554"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232" y="2084187"/>
            <a:ext cx="8065660" cy="1793090"/>
          </a:xfrm>
          <a:noFill/>
        </p:spPr>
        <p:txBody>
          <a:bodyPr lIns="146304" tIns="91440" rIns="146304" bIns="91440" anchor="t" anchorCtr="0"/>
          <a:lstStyle>
            <a:lvl1pPr>
              <a:defRPr sz="5879"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232" y="3878574"/>
            <a:ext cx="8065661" cy="1792326"/>
          </a:xfrm>
          <a:noFill/>
        </p:spPr>
        <p:txBody>
          <a:bodyPr lIns="146304" tIns="109728" rIns="146304" bIns="109728">
            <a:noAutofit/>
          </a:bodyPr>
          <a:lstStyle>
            <a:lvl1pPr marL="0" indent="0">
              <a:spcBef>
                <a:spcPts val="0"/>
              </a:spcBef>
              <a:buNone/>
              <a:defRPr sz="3526"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49207" y="6061767"/>
            <a:ext cx="1522007" cy="326167"/>
          </a:xfrm>
          <a:prstGeom prst="rect">
            <a:avLst/>
          </a:prstGeom>
        </p:spPr>
      </p:pic>
    </p:spTree>
    <p:extLst>
      <p:ext uri="{BB962C8B-B14F-4D97-AF65-F5344CB8AC3E}">
        <p14:creationId xmlns:p14="http://schemas.microsoft.com/office/powerpoint/2010/main" val="21180078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232" y="1187644"/>
            <a:ext cx="806566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6" tIns="143334" rIns="179166" bIns="143334" numCol="1" spcCol="0" rtlCol="0" fromWordArt="0" anchor="t" anchorCtr="0" forceAA="0" compatLnSpc="1">
            <a:prstTxWarp prst="textNoShape">
              <a:avLst/>
            </a:prstTxWarp>
            <a:noAutofit/>
          </a:bodyPr>
          <a:lstStyle/>
          <a:p>
            <a:pPr algn="ctr" defTabSz="913554"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2" y="1186356"/>
            <a:ext cx="8065721" cy="2697988"/>
          </a:xfrm>
          <a:noFill/>
        </p:spPr>
        <p:txBody>
          <a:bodyPr tIns="91440" bIns="91440" anchor="t" anchorCtr="0"/>
          <a:lstStyle>
            <a:lvl1pPr>
              <a:defRPr sz="7054" spc="-98"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69" y="3877278"/>
            <a:ext cx="8065712" cy="1793881"/>
          </a:xfrm>
          <a:noFill/>
        </p:spPr>
        <p:txBody>
          <a:bodyPr lIns="182880" tIns="146304" rIns="182880" bIns="146304">
            <a:noAutofit/>
          </a:bodyPr>
          <a:lstStyle>
            <a:lvl1pPr marL="0" indent="0">
              <a:spcBef>
                <a:spcPts val="0"/>
              </a:spcBef>
              <a:buNone/>
              <a:defRPr sz="3526" spc="0" baseline="0">
                <a:gradFill>
                  <a:gsLst>
                    <a:gs pos="0">
                      <a:srgbClr val="FFFFFF"/>
                    </a:gs>
                    <a:gs pos="100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1192755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232" y="1187644"/>
            <a:ext cx="806566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6" tIns="143334" rIns="179166" bIns="143334" numCol="1" spcCol="0" rtlCol="0" fromWordArt="0" anchor="t" anchorCtr="0" forceAA="0" compatLnSpc="1">
            <a:prstTxWarp prst="textNoShape">
              <a:avLst/>
            </a:prstTxWarp>
            <a:noAutofit/>
          </a:bodyPr>
          <a:lstStyle/>
          <a:p>
            <a:pPr algn="ctr" defTabSz="913554"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2" y="1186356"/>
            <a:ext cx="8065721" cy="2697988"/>
          </a:xfrm>
          <a:noFill/>
        </p:spPr>
        <p:txBody>
          <a:bodyPr tIns="91440" bIns="91440" anchor="t" anchorCtr="0"/>
          <a:lstStyle>
            <a:lvl1pPr>
              <a:defRPr sz="7054" spc="-98"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37472444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defRPr sz="8622" spc="-98"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641960692"/>
      </p:ext>
    </p:extLst>
  </p:cSld>
  <p:clrMapOvr>
    <a:masterClrMapping/>
  </p:clrMapOvr>
  <p:transition>
    <p:fade/>
  </p:transition>
  <p:timing>
    <p:tnLst>
      <p:par>
        <p:cTn id="1" dur="indefinite" restart="never" nodeType="tmRoot"/>
      </p:par>
    </p:tnLst>
  </p:timing>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defRPr sz="8622" spc="-98"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389016178"/>
      </p:ext>
    </p:extLst>
  </p:cSld>
  <p:clrMapOvr>
    <a:masterClrMapping/>
  </p:clrMapOvr>
  <p:transition>
    <p:fade/>
  </p:transition>
  <p:timing>
    <p:tnLst>
      <p:par>
        <p:cTn id="1" dur="indefinite" restart="never" nodeType="tmRoot"/>
      </p:par>
    </p:tnLst>
  </p:timing>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3818" rtl="0" eaLnBrk="1" latinLnBrk="0" hangingPunct="1">
              <a:lnSpc>
                <a:spcPct val="90000"/>
              </a:lnSpc>
              <a:spcBef>
                <a:spcPct val="0"/>
              </a:spcBef>
              <a:buNone/>
              <a:defRPr lang="en-US" sz="8622" b="0" kern="1200" cap="none" spc="-98"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951347424"/>
      </p:ext>
    </p:extLst>
  </p:cSld>
  <p:clrMapOvr>
    <a:masterClrMapping/>
  </p:clrMapOvr>
  <p:transition>
    <p:fade/>
  </p:transition>
  <p:timing>
    <p:tnLst>
      <p:par>
        <p:cTn id="1" dur="indefinite" restart="never" nodeType="tmRoot"/>
      </p:par>
    </p:tnLst>
  </p:timing>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3818" rtl="0" eaLnBrk="1" latinLnBrk="0" hangingPunct="1">
              <a:lnSpc>
                <a:spcPct val="90000"/>
              </a:lnSpc>
              <a:spcBef>
                <a:spcPct val="0"/>
              </a:spcBef>
              <a:buNone/>
              <a:defRPr lang="en-US" sz="8622"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671391605"/>
      </p:ext>
    </p:extLst>
  </p:cSld>
  <p:clrMapOvr>
    <a:masterClrMapping/>
  </p:clrMapOvr>
  <p:transition>
    <p:fade/>
  </p:transition>
  <p:timing>
    <p:tnLst>
      <p:par>
        <p:cTn id="1" dur="indefinite" restart="never" nodeType="tmRoot"/>
      </p:par>
    </p:tnLst>
  </p:timing>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1" y="1189177"/>
            <a:ext cx="11652805" cy="2018835"/>
          </a:xfrm>
        </p:spPr>
        <p:txBody>
          <a:bodyPr/>
          <a:lstStyle>
            <a:lvl1pPr marL="0" indent="0">
              <a:buNone/>
              <a:defRPr/>
            </a:lvl1pPr>
            <a:lvl2pPr marL="27995" indent="0">
              <a:buNone/>
              <a:defRPr sz="1959"/>
            </a:lvl2pPr>
            <a:lvl3pPr marL="219297" indent="0">
              <a:buNone/>
              <a:defRPr sz="1959"/>
            </a:lvl3pPr>
            <a:lvl4pPr marL="466588" indent="0">
              <a:buNone/>
              <a:defRPr sz="1763"/>
            </a:lvl4pPr>
            <a:lvl5pPr marL="724766" indent="0">
              <a:buNone/>
              <a:defRPr sz="1763"/>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75522685"/>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668365119"/>
      </p:ext>
    </p:extLst>
  </p:cSld>
  <p:clrMapOvr>
    <a:masterClrMapping/>
  </p:clrMapOvr>
  <p:transition>
    <p:fade/>
  </p:transition>
  <p:timing>
    <p:tnLst>
      <p:par>
        <p:cTn id="1" dur="indefinite" restart="never" nodeType="tmRoot"/>
      </p:par>
    </p:tnLst>
  </p:timing>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1" y="1189177"/>
            <a:ext cx="11652805" cy="2018835"/>
          </a:xfrm>
        </p:spPr>
        <p:txBody>
          <a:bodyPr/>
          <a:lstStyle>
            <a:lvl1pPr marL="0" indent="0">
              <a:buNone/>
              <a:defRPr>
                <a:gradFill>
                  <a:gsLst>
                    <a:gs pos="2920">
                      <a:schemeClr val="tx1"/>
                    </a:gs>
                    <a:gs pos="100000">
                      <a:schemeClr val="tx1"/>
                    </a:gs>
                  </a:gsLst>
                  <a:lin ang="5400000" scaled="0"/>
                </a:gradFill>
              </a:defRPr>
            </a:lvl1pPr>
            <a:lvl2pPr marL="27995" indent="0">
              <a:buNone/>
              <a:defRPr sz="1959"/>
            </a:lvl2pPr>
            <a:lvl3pPr marL="219297" indent="0">
              <a:buNone/>
              <a:defRPr sz="1959"/>
            </a:lvl3pPr>
            <a:lvl4pPr marL="466588" indent="0">
              <a:buNone/>
              <a:defRPr sz="1763"/>
            </a:lvl4pPr>
            <a:lvl5pPr marL="724766" indent="0">
              <a:buNone/>
              <a:defRPr sz="1763"/>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39482470"/>
      </p:ext>
    </p:extLst>
  </p:cSld>
  <p:clrMapOvr>
    <a:masterClrMapping/>
  </p:clrMapOvr>
  <p:transition>
    <p:fade/>
  </p:transition>
  <p:timing>
    <p:tnLst>
      <p:par>
        <p:cTn id="1" dur="indefinite" restart="never" nodeType="tmRoot"/>
      </p:par>
    </p:tnLst>
  </p:timing>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1"/>
            </a:lvl3pPr>
            <a:lvl4pPr>
              <a:defRPr sz="1959"/>
            </a:lvl4pPr>
            <a:lvl5pPr>
              <a:defRPr sz="1959"/>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890284563"/>
      </p:ext>
    </p:extLst>
  </p:cSld>
  <p:clrMapOvr>
    <a:masterClrMapping/>
  </p:clrMapOvr>
  <p:transition>
    <p:fade/>
  </p:transition>
  <p:timing>
    <p:tnLst>
      <p:par>
        <p:cTn id="1" dur="indefinite" restart="never" nodeType="tmRoot"/>
      </p:par>
    </p:tnLst>
  </p:timing>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1pPr>
              <a:buClr>
                <a:schemeClr val="tx2"/>
              </a:buClr>
              <a:defRPr>
                <a:gradFill>
                  <a:gsLst>
                    <a:gs pos="0">
                      <a:schemeClr val="tx1"/>
                    </a:gs>
                    <a:gs pos="100000">
                      <a:schemeClr val="tx1"/>
                    </a:gs>
                  </a:gsLst>
                  <a:lin ang="5400000" scaled="0"/>
                </a:gradFill>
              </a:defRPr>
            </a:lvl1pPr>
            <a:lvl3pPr>
              <a:defRPr sz="2351"/>
            </a:lvl3pPr>
            <a:lvl4pPr>
              <a:defRPr sz="1959"/>
            </a:lvl4pPr>
            <a:lvl5pPr>
              <a:defRPr sz="1959"/>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675149811"/>
      </p:ext>
    </p:extLst>
  </p:cSld>
  <p:clrMapOvr>
    <a:masterClrMapping/>
  </p:clrMapOvr>
  <p:transition>
    <p:fade/>
  </p:transition>
  <p:timing>
    <p:tnLst>
      <p:par>
        <p:cTn id="1" dur="indefinite" restart="never" nodeType="tmRoot"/>
      </p:par>
    </p:tnLst>
  </p:timing>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7"/>
            <a:ext cx="5377147" cy="2489143"/>
          </a:xfrm>
        </p:spPr>
        <p:txBody>
          <a:bodyPr wrap="square">
            <a:spAutoFit/>
          </a:bodyPr>
          <a:lstStyle>
            <a:lvl1pPr marL="0" indent="0">
              <a:spcBef>
                <a:spcPts val="1200"/>
              </a:spcBef>
              <a:buClr>
                <a:schemeClr val="tx1"/>
              </a:buClr>
              <a:buFont typeface="Wingdings" pitchFamily="2" charset="2"/>
              <a:buNone/>
              <a:defRPr sz="3526"/>
            </a:lvl1pPr>
            <a:lvl2pPr marL="0" indent="0">
              <a:buNone/>
              <a:defRPr sz="1959"/>
            </a:lvl2pPr>
            <a:lvl3pPr marL="227073" indent="0">
              <a:buNone/>
              <a:tabLst/>
              <a:defRPr sz="1959"/>
            </a:lvl3pPr>
            <a:lvl4pPr marL="451035" indent="0">
              <a:buNone/>
              <a:defRPr/>
            </a:lvl4pPr>
            <a:lvl5pPr marL="671887"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1" y="1189177"/>
            <a:ext cx="5377147" cy="2489143"/>
          </a:xfrm>
        </p:spPr>
        <p:txBody>
          <a:bodyPr wrap="square">
            <a:spAutoFit/>
          </a:bodyPr>
          <a:lstStyle>
            <a:lvl1pPr marL="0" indent="0">
              <a:spcBef>
                <a:spcPts val="1200"/>
              </a:spcBef>
              <a:buClr>
                <a:schemeClr val="tx1"/>
              </a:buClr>
              <a:buFont typeface="Wingdings" pitchFamily="2" charset="2"/>
              <a:buNone/>
              <a:defRPr sz="3526"/>
            </a:lvl1pPr>
            <a:lvl2pPr marL="0" indent="0">
              <a:buNone/>
              <a:defRPr sz="1959"/>
            </a:lvl2pPr>
            <a:lvl3pPr marL="227073" indent="0">
              <a:buNone/>
              <a:tabLst/>
              <a:defRPr sz="1959"/>
            </a:lvl3pPr>
            <a:lvl4pPr marL="451035" indent="0">
              <a:buNone/>
              <a:defRPr/>
            </a:lvl4pPr>
            <a:lvl5pPr marL="671887"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59619527"/>
      </p:ext>
    </p:extLst>
  </p:cSld>
  <p:clrMapOvr>
    <a:masterClrMapping/>
  </p:clrMapOvr>
  <p:transition>
    <p:fade/>
  </p:transition>
  <p:timing>
    <p:tnLst>
      <p:par>
        <p:cTn id="1" dur="indefinite" restart="never" nodeType="tmRoot"/>
      </p:par>
    </p:tnLst>
  </p:timing>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7"/>
            <a:ext cx="5377147" cy="2486578"/>
          </a:xfrm>
        </p:spPr>
        <p:txBody>
          <a:bodyPr wrap="square">
            <a:spAutoFit/>
          </a:bodyPr>
          <a:lstStyle>
            <a:lvl1pPr marL="0" indent="0">
              <a:spcBef>
                <a:spcPts val="1200"/>
              </a:spcBef>
              <a:buClr>
                <a:schemeClr val="tx1"/>
              </a:buClr>
              <a:buFont typeface="Wingdings" pitchFamily="2" charset="2"/>
              <a:buNone/>
              <a:defRPr sz="3526">
                <a:solidFill>
                  <a:schemeClr val="tx1"/>
                </a:solidFill>
              </a:defRPr>
            </a:lvl1pPr>
            <a:lvl2pPr marL="0" indent="0">
              <a:buNone/>
              <a:defRPr sz="1959"/>
            </a:lvl2pPr>
            <a:lvl3pPr marL="227073" indent="0">
              <a:buNone/>
              <a:tabLst/>
              <a:defRPr sz="1959"/>
            </a:lvl3pPr>
            <a:lvl4pPr marL="451035" indent="0">
              <a:buNone/>
              <a:defRPr/>
            </a:lvl4pPr>
            <a:lvl5pPr marL="671887"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1" y="1189177"/>
            <a:ext cx="5377147" cy="2486578"/>
          </a:xfrm>
        </p:spPr>
        <p:txBody>
          <a:bodyPr wrap="square">
            <a:spAutoFit/>
          </a:bodyPr>
          <a:lstStyle>
            <a:lvl1pPr marL="0" indent="0">
              <a:spcBef>
                <a:spcPts val="1200"/>
              </a:spcBef>
              <a:buClr>
                <a:schemeClr val="tx1"/>
              </a:buClr>
              <a:buFont typeface="Wingdings" pitchFamily="2" charset="2"/>
              <a:buNone/>
              <a:defRPr sz="3526">
                <a:solidFill>
                  <a:schemeClr val="tx1"/>
                </a:solidFill>
              </a:defRPr>
            </a:lvl1pPr>
            <a:lvl2pPr marL="0" indent="0">
              <a:buNone/>
              <a:defRPr sz="1959"/>
            </a:lvl2pPr>
            <a:lvl3pPr marL="227073" indent="0">
              <a:buNone/>
              <a:tabLst/>
              <a:defRPr sz="1959"/>
            </a:lvl3pPr>
            <a:lvl4pPr marL="451035" indent="0">
              <a:buNone/>
              <a:defRPr/>
            </a:lvl4pPr>
            <a:lvl5pPr marL="671887"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39051648"/>
      </p:ext>
    </p:extLst>
  </p:cSld>
  <p:clrMapOvr>
    <a:masterClrMapping/>
  </p:clrMapOvr>
  <p:transition>
    <p:fade/>
  </p:transition>
  <p:timing>
    <p:tnLst>
      <p:par>
        <p:cTn id="1" dur="indefinite" restart="never" nodeType="tmRoot"/>
      </p:par>
    </p:tnLst>
  </p:timing>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7"/>
            <a:ext cx="5377147" cy="2552967"/>
          </a:xfrm>
        </p:spPr>
        <p:txBody>
          <a:bodyPr wrap="square">
            <a:spAutoFit/>
          </a:bodyPr>
          <a:lstStyle>
            <a:lvl1pPr marL="281508" indent="-281508">
              <a:spcBef>
                <a:spcPts val="1200"/>
              </a:spcBef>
              <a:buClr>
                <a:schemeClr val="tx1"/>
              </a:buClr>
              <a:buFontTx/>
              <a:buBlip>
                <a:blip r:embed="rId2"/>
              </a:buBlip>
              <a:defRPr sz="3526"/>
            </a:lvl1pPr>
            <a:lvl2pPr marL="520390" indent="-228463">
              <a:defRPr sz="2351"/>
            </a:lvl2pPr>
            <a:lvl3pPr marL="685392" indent="-165002">
              <a:tabLst/>
              <a:defRPr sz="1959"/>
            </a:lvl3pPr>
            <a:lvl4pPr marL="863085" indent="-177695">
              <a:defRPr/>
            </a:lvl4pPr>
            <a:lvl5pPr marL="1028087" indent="-165002">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1" y="1189177"/>
            <a:ext cx="5377147" cy="2552967"/>
          </a:xfrm>
        </p:spPr>
        <p:txBody>
          <a:bodyPr wrap="square">
            <a:spAutoFit/>
          </a:bodyPr>
          <a:lstStyle>
            <a:lvl1pPr marL="281508" indent="-281508">
              <a:spcBef>
                <a:spcPts val="1200"/>
              </a:spcBef>
              <a:buClr>
                <a:schemeClr val="tx1"/>
              </a:buClr>
              <a:buFontTx/>
              <a:buBlip>
                <a:blip r:embed="rId2"/>
              </a:buBlip>
              <a:defRPr sz="3526"/>
            </a:lvl1pPr>
            <a:lvl2pPr marL="520390" indent="-228463">
              <a:defRPr sz="2351"/>
            </a:lvl2pPr>
            <a:lvl3pPr marL="685392" indent="-165002">
              <a:tabLst/>
              <a:defRPr sz="1959"/>
            </a:lvl3pPr>
            <a:lvl4pPr marL="863085" indent="-177695">
              <a:defRPr/>
            </a:lvl4pPr>
            <a:lvl5pPr marL="1028087" indent="-165002">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96240270"/>
      </p:ext>
    </p:extLst>
  </p:cSld>
  <p:clrMapOvr>
    <a:masterClrMapping/>
  </p:clrMapOvr>
  <p:transition>
    <p:fade/>
  </p:transition>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Two Column 2-color Bullet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7"/>
            <a:ext cx="5377147" cy="2552967"/>
          </a:xfrm>
        </p:spPr>
        <p:txBody>
          <a:bodyPr wrap="square">
            <a:spAutoFit/>
          </a:bodyPr>
          <a:lstStyle>
            <a:lvl1pPr marL="281508" indent="-281508">
              <a:spcBef>
                <a:spcPts val="1200"/>
              </a:spcBef>
              <a:buClr>
                <a:schemeClr val="tx2"/>
              </a:buClr>
              <a:buFontTx/>
              <a:buBlip>
                <a:blip r:embed="rId2"/>
              </a:buBlip>
              <a:defRPr sz="3526">
                <a:solidFill>
                  <a:schemeClr val="tx1"/>
                </a:solidFill>
              </a:defRPr>
            </a:lvl1pPr>
            <a:lvl2pPr marL="520390" indent="-228463">
              <a:defRPr sz="2351"/>
            </a:lvl2pPr>
            <a:lvl3pPr marL="685392" indent="-165002">
              <a:tabLst/>
              <a:defRPr sz="1959"/>
            </a:lvl3pPr>
            <a:lvl4pPr marL="863085" indent="-177695">
              <a:defRPr/>
            </a:lvl4pPr>
            <a:lvl5pPr marL="1028087" indent="-165002">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1" y="1189177"/>
            <a:ext cx="5377147" cy="2552967"/>
          </a:xfrm>
        </p:spPr>
        <p:txBody>
          <a:bodyPr wrap="square">
            <a:spAutoFit/>
          </a:bodyPr>
          <a:lstStyle>
            <a:lvl1pPr marL="281508" indent="-281508">
              <a:spcBef>
                <a:spcPts val="1200"/>
              </a:spcBef>
              <a:buClr>
                <a:schemeClr val="tx2"/>
              </a:buClr>
              <a:buFontTx/>
              <a:buBlip>
                <a:blip r:embed="rId2"/>
              </a:buBlip>
              <a:defRPr sz="3526">
                <a:solidFill>
                  <a:schemeClr val="tx1"/>
                </a:solidFill>
              </a:defRPr>
            </a:lvl1pPr>
            <a:lvl2pPr marL="520390" indent="-228463">
              <a:defRPr sz="2351"/>
            </a:lvl2pPr>
            <a:lvl3pPr marL="685392" indent="-165002">
              <a:tabLst/>
              <a:defRPr sz="1959"/>
            </a:lvl3pPr>
            <a:lvl4pPr marL="863085" indent="-177695">
              <a:defRPr/>
            </a:lvl4pPr>
            <a:lvl5pPr marL="1028087" indent="-165002">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31320024"/>
      </p:ext>
    </p:extLst>
  </p:cSld>
  <p:clrMapOvr>
    <a:masterClrMapping/>
  </p:clrMapOvr>
  <p:transition>
    <p:fade/>
  </p:transition>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31014299"/>
      </p:ext>
    </p:extLst>
  </p:cSld>
  <p:clrMapOvr>
    <a:masterClrMapping/>
  </p:clrMapOvr>
  <p:transition>
    <p:fade/>
  </p:transition>
  <p:timing>
    <p:tnLst>
      <p:par>
        <p:cTn id="1" dur="indefinite" restart="never" nodeType="tmRoot"/>
      </p:par>
    </p:tnLst>
  </p:timing>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6950" y="1187622"/>
            <a:ext cx="11652805" cy="899665"/>
          </a:xfrm>
        </p:spPr>
        <p:txBody>
          <a:bodyPr/>
          <a:lstStyle>
            <a:lvl1pPr>
              <a:defRPr sz="7054" baseline="0"/>
            </a:lvl1pPr>
          </a:lstStyle>
          <a:p>
            <a:r>
              <a:rPr lang="en-US" smtClean="0"/>
              <a:t>Click to edit Master title style</a:t>
            </a:r>
            <a:endParaRPr lang="en-US" dirty="0"/>
          </a:p>
        </p:txBody>
      </p:sp>
    </p:spTree>
    <p:extLst>
      <p:ext uri="{BB962C8B-B14F-4D97-AF65-F5344CB8AC3E}">
        <p14:creationId xmlns:p14="http://schemas.microsoft.com/office/powerpoint/2010/main" val="1628277748"/>
      </p:ext>
    </p:extLst>
  </p:cSld>
  <p:clrMapOvr>
    <a:masterClrMapping/>
  </p:clrMapOvr>
  <p:transition>
    <p:fade/>
  </p:transition>
  <p:timing>
    <p:tnLst>
      <p:par>
        <p:cTn id="1" dur="indefinite" restart="never" nodeType="tmRoot"/>
      </p:par>
    </p:tnLst>
  </p:timing>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146" y="2084173"/>
            <a:ext cx="8056130" cy="1793104"/>
          </a:xfrm>
        </p:spPr>
        <p:txBody>
          <a:bodyPr/>
          <a:lstStyle>
            <a:lvl1pPr>
              <a:defRPr sz="5879" baseline="0"/>
            </a:lvl1pPr>
          </a:lstStyle>
          <a:p>
            <a:r>
              <a:rPr lang="en-US" smtClean="0"/>
              <a:t>Click to edit Master title style</a:t>
            </a:r>
            <a:endParaRPr lang="en-US" dirty="0"/>
          </a:p>
        </p:txBody>
      </p:sp>
    </p:spTree>
    <p:extLst>
      <p:ext uri="{BB962C8B-B14F-4D97-AF65-F5344CB8AC3E}">
        <p14:creationId xmlns:p14="http://schemas.microsoft.com/office/powerpoint/2010/main" val="1296762577"/>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1pPr>
              <a:buClr>
                <a:schemeClr val="tx2"/>
              </a:buClr>
              <a:defRPr>
                <a:gradFill>
                  <a:gsLst>
                    <a:gs pos="0">
                      <a:schemeClr val="tx1"/>
                    </a:gs>
                    <a:gs pos="100000">
                      <a:schemeClr val="tx1"/>
                    </a:gs>
                  </a:gsLst>
                  <a:lin ang="5400000" scaled="0"/>
                </a:gradFill>
              </a:defRPr>
            </a:lvl1pPr>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364270275"/>
      </p:ext>
    </p:extLst>
  </p:cSld>
  <p:clrMapOvr>
    <a:masterClrMapping/>
  </p:clrMapOvr>
  <p:transition>
    <p:fade/>
  </p:transition>
  <p:timing>
    <p:tnLst>
      <p:par>
        <p:cTn id="1" dur="indefinite" restart="never" nodeType="tmRoot"/>
      </p:par>
    </p:tnLst>
  </p:timing>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146" y="2084173"/>
            <a:ext cx="8056130" cy="1793104"/>
          </a:xfrm>
        </p:spPr>
        <p:txBody>
          <a:bodyPr/>
          <a:lstStyle>
            <a:lvl1pPr>
              <a:defRPr sz="5879" baseline="0"/>
            </a:lvl1pPr>
          </a:lstStyle>
          <a:p>
            <a:r>
              <a:rPr lang="en-US" smtClean="0"/>
              <a:t>Click to edit Master title style</a:t>
            </a:r>
            <a:endParaRPr lang="en-US" dirty="0"/>
          </a:p>
        </p:txBody>
      </p:sp>
    </p:spTree>
    <p:extLst>
      <p:ext uri="{BB962C8B-B14F-4D97-AF65-F5344CB8AC3E}">
        <p14:creationId xmlns:p14="http://schemas.microsoft.com/office/powerpoint/2010/main" val="532731505"/>
      </p:ext>
    </p:extLst>
  </p:cSld>
  <p:clrMapOvr>
    <a:masterClrMapping/>
  </p:clrMapOvr>
  <p:transition>
    <p:fade/>
  </p:transition>
  <p:timing>
    <p:tnLst>
      <p:par>
        <p:cTn id="1" dur="indefinite" restart="never" nodeType="tmRoot"/>
      </p:par>
    </p:tnLst>
  </p:timing>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2" y="1178350"/>
            <a:ext cx="9858104" cy="899665"/>
          </a:xfrm>
        </p:spPr>
        <p:txBody>
          <a:bodyPr/>
          <a:lstStyle>
            <a:lvl1pPr marL="228629" indent="-228629">
              <a:defRPr sz="5879"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5025984"/>
            <a:ext cx="5377148" cy="1050156"/>
          </a:xfrm>
        </p:spPr>
        <p:txBody>
          <a:bodyPr/>
          <a:lstStyle>
            <a:lvl1pPr marL="0" indent="0">
              <a:spcBef>
                <a:spcPts val="0"/>
              </a:spcBef>
              <a:buNone/>
              <a:defRPr sz="3134"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192501646"/>
      </p:ext>
    </p:extLst>
  </p:cSld>
  <p:clrMapOvr>
    <a:masterClrMapping/>
  </p:clrMapOvr>
  <p:transition>
    <p:fade/>
  </p:transition>
  <p:timing>
    <p:tnLst>
      <p:par>
        <p:cTn id="1" dur="indefinite" restart="never" nodeType="tmRoot"/>
      </p:par>
    </p:tnLst>
  </p:timing>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bg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2" y="2084174"/>
            <a:ext cx="9858104" cy="899665"/>
          </a:xfrm>
        </p:spPr>
        <p:txBody>
          <a:bodyPr/>
          <a:lstStyle>
            <a:lvl1pPr marL="276842" indent="-276842">
              <a:tabLst>
                <a:tab pos="276842" algn="l"/>
              </a:tabLst>
              <a:defRPr sz="5879"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4773813"/>
            <a:ext cx="5377148" cy="1050156"/>
          </a:xfrm>
        </p:spPr>
        <p:txBody>
          <a:bodyPr/>
          <a:lstStyle>
            <a:lvl1pPr marL="0" indent="0">
              <a:spcBef>
                <a:spcPts val="0"/>
              </a:spcBef>
              <a:buNone/>
              <a:defRPr sz="3134"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86064961"/>
      </p:ext>
    </p:extLst>
  </p:cSld>
  <p:clrMapOvr>
    <a:masterClrMapping/>
  </p:clrMapOvr>
  <p:transition>
    <p:fade/>
  </p:transition>
  <p:timing>
    <p:tnLst>
      <p:par>
        <p:cTn id="1" dur="indefinite" restart="never" nodeType="tmRoot"/>
      </p:par>
    </p:tnLst>
  </p:timing>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Big Idea &amp; 3 Points">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49" y="2383024"/>
            <a:ext cx="11650488" cy="914360"/>
          </a:xfrm>
        </p:spPr>
        <p:txBody>
          <a:bodyPr/>
          <a:lstStyle>
            <a:lvl1pPr marL="0" indent="0">
              <a:buNone/>
              <a:defRPr sz="5291">
                <a:gradFill>
                  <a:gsLst>
                    <a:gs pos="3333">
                      <a:schemeClr val="tx1"/>
                    </a:gs>
                    <a:gs pos="39000">
                      <a:schemeClr val="tx1"/>
                    </a:gs>
                  </a:gsLst>
                  <a:lin ang="5400000" scaled="0"/>
                </a:gradFill>
              </a:defRPr>
            </a:lvl1pPr>
            <a:lvl2pPr marL="0" indent="0">
              <a:buFontTx/>
              <a:buNone/>
              <a:defRPr sz="1959"/>
            </a:lvl2pPr>
            <a:lvl3pPr marL="223963" indent="0">
              <a:buNone/>
              <a:defRPr/>
            </a:lvl3pPr>
            <a:lvl4pPr marL="447924" indent="0">
              <a:buNone/>
              <a:defRPr/>
            </a:lvl4pPr>
            <a:lvl5pPr marL="671887" indent="0">
              <a:buNone/>
              <a:defRPr/>
            </a:lvl5pPr>
          </a:lstStyle>
          <a:p>
            <a:pPr lvl="0"/>
            <a:r>
              <a:rPr lang="en-US" smtClean="0"/>
              <a:t>Click to edit Master text styles</a:t>
            </a:r>
          </a:p>
        </p:txBody>
      </p:sp>
      <p:sp>
        <p:nvSpPr>
          <p:cNvPr id="4" name="Title 1"/>
          <p:cNvSpPr>
            <a:spLocks noGrp="1"/>
          </p:cNvSpPr>
          <p:nvPr>
            <p:ph type="title"/>
          </p:nvPr>
        </p:nvSpPr>
        <p:spPr>
          <a:xfrm>
            <a:off x="276950" y="1187622"/>
            <a:ext cx="11652805" cy="899665"/>
          </a:xfrm>
        </p:spPr>
        <p:txBody>
          <a:bodyPr/>
          <a:lstStyle>
            <a:lvl1pPr>
              <a:defRPr sz="7054"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44076118"/>
      </p:ext>
    </p:extLst>
  </p:cSld>
  <p:clrMapOvr>
    <a:masterClrMapping/>
  </p:clrMapOvr>
  <p:transition>
    <p:fade/>
  </p:transition>
  <p:timing>
    <p:tnLst>
      <p:par>
        <p:cTn id="1" dur="indefinite" restart="never" nodeType="tmRoot"/>
      </p:par>
    </p:tnLst>
  </p:timing>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1_50-50 Right Photo Layout_02">
    <p:bg bwMode="auto">
      <p:bgPr>
        <a:solidFill>
          <a:schemeClr val="bg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871" y="440492"/>
            <a:ext cx="2870723" cy="1318654"/>
          </a:xfrm>
          <a:prstGeom prst="rect">
            <a:avLst/>
          </a:prstGeom>
        </p:spPr>
      </p:pic>
      <p:sp>
        <p:nvSpPr>
          <p:cNvPr id="4" name="Title 1"/>
          <p:cNvSpPr>
            <a:spLocks noGrp="1"/>
          </p:cNvSpPr>
          <p:nvPr>
            <p:ph type="title" hasCustomPrompt="1"/>
          </p:nvPr>
        </p:nvSpPr>
        <p:spPr bwMode="invGray">
          <a:xfrm>
            <a:off x="269170" y="2095971"/>
            <a:ext cx="5377148" cy="2677859"/>
          </a:xfrm>
          <a:noFill/>
        </p:spPr>
        <p:txBody>
          <a:bodyPr vert="horz" wrap="square" lIns="146304" tIns="91440" rIns="146304" bIns="91440" rtlCol="0" anchor="t" anchorCtr="0">
            <a:noAutofit/>
          </a:bodyPr>
          <a:lstStyle>
            <a:lvl1pPr>
              <a:defRPr lang="en-US" sz="5879" spc="-98"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0771" y="4773830"/>
            <a:ext cx="5375814" cy="896551"/>
          </a:xfrm>
        </p:spPr>
        <p:txBody>
          <a:bodyPr tIns="109728" bIns="109728">
            <a:noAutofit/>
          </a:bodyPr>
          <a:lstStyle>
            <a:lvl1pPr marL="0" indent="0">
              <a:spcBef>
                <a:spcPts val="0"/>
              </a:spcBef>
              <a:buNone/>
              <a:defRPr sz="3134">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48097" y="6061767"/>
            <a:ext cx="1522007" cy="326167"/>
          </a:xfrm>
          <a:prstGeom prst="rect">
            <a:avLst/>
          </a:prstGeom>
        </p:spPr>
      </p:pic>
      <p:pic>
        <p:nvPicPr>
          <p:cNvPr id="8"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23279" r="17893"/>
          <a:stretch/>
        </p:blipFill>
        <p:spPr>
          <a:xfrm>
            <a:off x="6169095" y="0"/>
            <a:ext cx="6049292" cy="6858000"/>
          </a:xfrm>
          <a:prstGeom prst="rect">
            <a:avLst/>
          </a:prstGeom>
        </p:spPr>
      </p:pic>
      <p:pic>
        <p:nvPicPr>
          <p:cNvPr id="9" name="Picture Placeholder 4"/>
          <p:cNvPicPr>
            <a:picLocks noChangeAspect="1"/>
          </p:cNvPicPr>
          <p:nvPr userDrawn="1"/>
        </p:nvPicPr>
        <p:blipFill rotWithShape="1">
          <a:blip r:embed="rId5">
            <a:extLst>
              <a:ext uri="{28A0092B-C50C-407E-A947-70E740481C1C}">
                <a14:useLocalDpi xmlns:a14="http://schemas.microsoft.com/office/drawing/2010/main" val="0"/>
              </a:ext>
            </a:extLst>
          </a:blip>
          <a:srcRect l="-503" t="26090" r="67" b="-1"/>
          <a:stretch/>
        </p:blipFill>
        <p:spPr>
          <a:xfrm>
            <a:off x="6145398" y="-7783"/>
            <a:ext cx="6072988" cy="6873565"/>
          </a:xfrm>
          <a:prstGeom prst="rect">
            <a:avLst/>
          </a:prstGeom>
        </p:spPr>
      </p:pic>
    </p:spTree>
    <p:extLst>
      <p:ext uri="{BB962C8B-B14F-4D97-AF65-F5344CB8AC3E}">
        <p14:creationId xmlns:p14="http://schemas.microsoft.com/office/powerpoint/2010/main" val="578315924"/>
      </p:ext>
    </p:extLst>
  </p:cSld>
  <p:clrMapOvr>
    <a:masterClrMapping/>
  </p:clrMapOvr>
  <p:transition>
    <p:fade/>
  </p:transition>
  <p:timing>
    <p:tnLst>
      <p:par>
        <p:cTn id="1" dur="indefinite" restart="never" nodeType="tmRoot"/>
      </p:par>
    </p:tnLst>
  </p:timing>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1_50-50 Right Photo Layout_03">
    <p:bg bwMode="auto">
      <p:bgPr>
        <a:solidFill>
          <a:schemeClr val="bg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871" y="440492"/>
            <a:ext cx="2870723" cy="1318654"/>
          </a:xfrm>
          <a:prstGeom prst="rect">
            <a:avLst/>
          </a:prstGeom>
        </p:spPr>
      </p:pic>
      <p:sp>
        <p:nvSpPr>
          <p:cNvPr id="4" name="Title 1"/>
          <p:cNvSpPr>
            <a:spLocks noGrp="1"/>
          </p:cNvSpPr>
          <p:nvPr>
            <p:ph type="title" hasCustomPrompt="1"/>
          </p:nvPr>
        </p:nvSpPr>
        <p:spPr bwMode="invGray">
          <a:xfrm>
            <a:off x="269170" y="2095971"/>
            <a:ext cx="5377148" cy="2677859"/>
          </a:xfrm>
          <a:noFill/>
        </p:spPr>
        <p:txBody>
          <a:bodyPr vert="horz" wrap="square" lIns="146304" tIns="91440" rIns="146304" bIns="91440" rtlCol="0" anchor="t" anchorCtr="0">
            <a:noAutofit/>
          </a:bodyPr>
          <a:lstStyle>
            <a:lvl1pPr>
              <a:defRPr lang="en-US" sz="5879" spc="-98"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0771" y="4773830"/>
            <a:ext cx="5375814" cy="896551"/>
          </a:xfrm>
        </p:spPr>
        <p:txBody>
          <a:bodyPr tIns="109728" bIns="109728">
            <a:noAutofit/>
          </a:bodyPr>
          <a:lstStyle>
            <a:lvl1pPr marL="0" indent="0">
              <a:spcBef>
                <a:spcPts val="0"/>
              </a:spcBef>
              <a:buNone/>
              <a:defRPr sz="3134">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48097" y="6061767"/>
            <a:ext cx="1522007" cy="326167"/>
          </a:xfrm>
          <a:prstGeom prst="rect">
            <a:avLst/>
          </a:prstGeom>
        </p:spPr>
      </p:pic>
      <p:pic>
        <p:nvPicPr>
          <p:cNvPr id="8"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1536" t="114" r="36245" b="-114"/>
          <a:stretch/>
        </p:blipFill>
        <p:spPr>
          <a:xfrm>
            <a:off x="6169095" y="2"/>
            <a:ext cx="6049293" cy="6857999"/>
          </a:xfrm>
          <a:prstGeom prst="rect">
            <a:avLst/>
          </a:prstGeom>
        </p:spPr>
      </p:pic>
    </p:spTree>
    <p:extLst>
      <p:ext uri="{BB962C8B-B14F-4D97-AF65-F5344CB8AC3E}">
        <p14:creationId xmlns:p14="http://schemas.microsoft.com/office/powerpoint/2010/main" val="3740795421"/>
      </p:ext>
    </p:extLst>
  </p:cSld>
  <p:clrMapOvr>
    <a:masterClrMapping/>
  </p:clrMapOvr>
  <p:transition>
    <p:fade/>
  </p:transition>
  <p:timing>
    <p:tnLst>
      <p:par>
        <p:cTn id="1" dur="indefinite" restart="never" nodeType="tmRoot"/>
      </p:par>
    </p:tnLst>
  </p:timing>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1975533"/>
      </p:ext>
    </p:extLst>
  </p:cSld>
  <p:clrMapOvr>
    <a:masterClrMapping/>
  </p:clrMapOvr>
  <p:transition>
    <p:fade/>
  </p:transition>
  <p:timing>
    <p:tnLst>
      <p:par>
        <p:cTn id="1" dur="indefinite" restart="never" nodeType="tmRoot"/>
      </p:par>
    </p:tnLst>
  </p:timing>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130170"/>
      </p:ext>
    </p:extLst>
  </p:cSld>
  <p:clrMapOvr>
    <a:masterClrMapping/>
  </p:clrMapOvr>
  <p:transition>
    <p:fade/>
  </p:transition>
  <p:timing>
    <p:tnLst>
      <p:par>
        <p:cTn id="1" dur="indefinite" restart="never" nodeType="tmRoot"/>
      </p:par>
    </p:tnLst>
  </p:timing>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98335463"/>
      </p:ext>
    </p:extLst>
  </p:cSld>
  <p:clrMapOvr>
    <a:masterClrMapping/>
  </p:clrMapOvr>
  <p:transition>
    <p:fade/>
  </p:transition>
  <p:timing>
    <p:tnLst>
      <p:par>
        <p:cTn id="1" dur="indefinite" restart="never" nodeType="tmRoot"/>
      </p:par>
    </p:tnLst>
  </p:timing>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779150"/>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70662693"/>
      </p:ext>
    </p:extLst>
  </p:cSld>
  <p:clrMapOvr>
    <a:masterClrMapping/>
  </p:clrMapOvr>
  <p:transition>
    <p:fade/>
  </p:transition>
  <p:timing>
    <p:tnLst>
      <p:par>
        <p:cTn id="1" dur="indefinite" restart="never" nodeType="tmRoot"/>
      </p:par>
    </p:tnLst>
  </p:timing>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396047"/>
          </a:xfrm>
          <a:prstGeom prst="rect">
            <a:avLst/>
          </a:prstGeom>
        </p:spPr>
        <p:txBody>
          <a:bodyPr/>
          <a:lstStyle>
            <a:lvl1pPr marL="284619" indent="-284619">
              <a:buClr>
                <a:schemeClr val="tx1"/>
              </a:buClr>
              <a:buSzPct val="90000"/>
              <a:buFont typeface="Wingdings" panose="05000000000000000000" pitchFamily="2" charset="2"/>
              <a:buChar char="§"/>
              <a:defRPr sz="3526">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906" indent="-275287">
              <a:buClr>
                <a:schemeClr val="tx1"/>
              </a:buClr>
              <a:buSzPct val="90000"/>
              <a:buFont typeface="Wingdings" panose="05000000000000000000" pitchFamily="2" charset="2"/>
              <a:buChar char="§"/>
              <a:defRPr sz="31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525" indent="-284619">
              <a:buClr>
                <a:schemeClr val="tx1"/>
              </a:buClr>
              <a:buSzPct val="90000"/>
              <a:buFont typeface="Wingdings" panose="05000000000000000000" pitchFamily="2" charset="2"/>
              <a:buChar char="§"/>
              <a:defRPr sz="2743">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486" indent="-223963">
              <a:buClr>
                <a:schemeClr val="tx1"/>
              </a:buClr>
              <a:buSzPct val="90000"/>
              <a:buFont typeface="Wingdings" panose="05000000000000000000" pitchFamily="2" charset="2"/>
              <a:buChar char="§"/>
              <a:defRPr sz="2351">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449" indent="-223963">
              <a:buClr>
                <a:schemeClr val="tx1"/>
              </a:buClr>
              <a:buSzPct val="90000"/>
              <a:buFont typeface="Wingdings" panose="05000000000000000000" pitchFamily="2" charset="2"/>
              <a:buChar char="§"/>
              <a:defRPr sz="1959">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4"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20632429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396047"/>
          </a:xfrm>
          <a:prstGeom prst="rect">
            <a:avLst/>
          </a:prstGeom>
        </p:spPr>
        <p:txBody>
          <a:bodyPr/>
          <a:lstStyle>
            <a:lvl1pPr marL="284619" indent="-284619">
              <a:buClr>
                <a:schemeClr val="tx1"/>
              </a:buClr>
              <a:buSzPct val="90000"/>
              <a:buFont typeface="Wingdings" panose="05000000000000000000" pitchFamily="2" charset="2"/>
              <a:buChar char="§"/>
              <a:defRPr sz="3526">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906" indent="-275287">
              <a:buClr>
                <a:schemeClr val="tx1"/>
              </a:buClr>
              <a:buSzPct val="90000"/>
              <a:buFont typeface="Wingdings" panose="05000000000000000000" pitchFamily="2" charset="2"/>
              <a:buChar char="§"/>
              <a:defRPr sz="31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525" indent="-284619">
              <a:buClr>
                <a:schemeClr val="tx1"/>
              </a:buClr>
              <a:buSzPct val="90000"/>
              <a:buFont typeface="Wingdings" panose="05000000000000000000" pitchFamily="2" charset="2"/>
              <a:buChar char="§"/>
              <a:defRPr sz="2743">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486" indent="-223963">
              <a:buClr>
                <a:schemeClr val="tx1"/>
              </a:buClr>
              <a:buSzPct val="90000"/>
              <a:buFont typeface="Wingdings" panose="05000000000000000000" pitchFamily="2" charset="2"/>
              <a:buChar char="§"/>
              <a:defRPr sz="2351">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449" indent="-223963">
              <a:buClr>
                <a:schemeClr val="tx1"/>
              </a:buClr>
              <a:buSzPct val="90000"/>
              <a:buFont typeface="Wingdings" panose="05000000000000000000" pitchFamily="2" charset="2"/>
              <a:buChar char="§"/>
              <a:defRPr sz="1959">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78243007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6578"/>
          </a:xfrm>
        </p:spPr>
        <p:txBody>
          <a:bodyPr wrap="square">
            <a:spAutoFit/>
          </a:bodyPr>
          <a:lstStyle>
            <a:lvl1pPr marL="0" indent="0">
              <a:spcBef>
                <a:spcPts val="1200"/>
              </a:spcBef>
              <a:buClr>
                <a:schemeClr val="tx1"/>
              </a:buClr>
              <a:buFont typeface="Wingdings" pitchFamily="2" charset="2"/>
              <a:buNone/>
              <a:defRPr sz="3528">
                <a:solidFill>
                  <a:schemeClr val="tx1"/>
                </a:solidFill>
              </a:defRPr>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6578"/>
          </a:xfrm>
        </p:spPr>
        <p:txBody>
          <a:bodyPr wrap="square">
            <a:spAutoFit/>
          </a:bodyPr>
          <a:lstStyle>
            <a:lvl1pPr marL="0" indent="0">
              <a:spcBef>
                <a:spcPts val="1200"/>
              </a:spcBef>
              <a:buClr>
                <a:schemeClr val="tx1"/>
              </a:buClr>
              <a:buFont typeface="Wingdings" pitchFamily="2" charset="2"/>
              <a:buNone/>
              <a:defRPr sz="3528">
                <a:solidFill>
                  <a:schemeClr val="tx1"/>
                </a:solidFill>
              </a:defRPr>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6949218"/>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43636"/>
          </a:xfrm>
          <a:prstGeom prst="rect">
            <a:avLst/>
          </a:prstGeom>
        </p:spPr>
        <p:txBody>
          <a:bodyPr/>
          <a:lstStyle>
            <a:lvl1pPr marL="284163" indent="-284163">
              <a:buFont typeface="Wingdings" pitchFamily="2" charset="2"/>
              <a:buChar char=""/>
              <a:defRPr sz="4000"/>
            </a:lvl1pPr>
            <a:lvl2pPr marL="517525" indent="-233363">
              <a:buFont typeface="Wingdings" pitchFamily="2" charset="2"/>
              <a:buChar char=""/>
              <a:defRPr>
                <a:latin typeface="+mn-lt"/>
              </a:defRPr>
            </a:lvl2pPr>
            <a:lvl3pPr marL="741363" indent="-223838">
              <a:buFont typeface="Wingdings" pitchFamily="2" charset="2"/>
              <a:buChar char=""/>
              <a:tabLst/>
              <a:defRPr>
                <a:latin typeface="+mn-lt"/>
              </a:defRPr>
            </a:lvl3pPr>
            <a:lvl4pPr marL="914400" indent="-173038">
              <a:buFont typeface="Wingdings" pitchFamily="2" charset="2"/>
              <a:buChar char=""/>
              <a:defRPr>
                <a:latin typeface="+mn-lt"/>
              </a:defRPr>
            </a:lvl4pPr>
            <a:lvl5pPr marL="1087438" indent="-173038">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553196831"/>
      </p:ext>
    </p:extLst>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7"/>
            <a:ext cx="5377147" cy="2552967"/>
          </a:xfrm>
        </p:spPr>
        <p:txBody>
          <a:bodyPr wrap="square">
            <a:spAutoFit/>
          </a:bodyPr>
          <a:lstStyle>
            <a:lvl1pPr marL="281592" indent="-281592">
              <a:spcBef>
                <a:spcPts val="1200"/>
              </a:spcBef>
              <a:buClr>
                <a:schemeClr val="tx1"/>
              </a:buClr>
              <a:buFontTx/>
              <a:buBlip>
                <a:blip r:embed="rId2"/>
              </a:buBlip>
              <a:defRPr sz="3528"/>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7"/>
            <a:ext cx="5377147" cy="2552967"/>
          </a:xfrm>
        </p:spPr>
        <p:txBody>
          <a:bodyPr wrap="square">
            <a:spAutoFit/>
          </a:bodyPr>
          <a:lstStyle>
            <a:lvl1pPr marL="281592" indent="-281592">
              <a:spcBef>
                <a:spcPts val="1200"/>
              </a:spcBef>
              <a:buClr>
                <a:schemeClr val="tx1"/>
              </a:buClr>
              <a:buFontTx/>
              <a:buBlip>
                <a:blip r:embed="rId2"/>
              </a:buBlip>
              <a:defRPr sz="3528"/>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94850781"/>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7"/>
            <a:ext cx="5377147" cy="2552967"/>
          </a:xfrm>
        </p:spPr>
        <p:txBody>
          <a:bodyPr wrap="square">
            <a:spAutoFit/>
          </a:bodyPr>
          <a:lstStyle>
            <a:lvl1pPr marL="281592" indent="-281592">
              <a:spcBef>
                <a:spcPts val="1200"/>
              </a:spcBef>
              <a:buClr>
                <a:schemeClr val="tx2"/>
              </a:buClr>
              <a:buFontTx/>
              <a:buBlip>
                <a:blip r:embed="rId2"/>
              </a:buBlip>
              <a:defRPr sz="3528">
                <a:solidFill>
                  <a:schemeClr val="tx1"/>
                </a:solidFill>
              </a:defRPr>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7"/>
            <a:ext cx="5377147" cy="2552967"/>
          </a:xfrm>
        </p:spPr>
        <p:txBody>
          <a:bodyPr wrap="square">
            <a:spAutoFit/>
          </a:bodyPr>
          <a:lstStyle>
            <a:lvl1pPr marL="281592" indent="-281592">
              <a:spcBef>
                <a:spcPts val="1200"/>
              </a:spcBef>
              <a:buClr>
                <a:schemeClr val="tx2"/>
              </a:buClr>
              <a:buFontTx/>
              <a:buBlip>
                <a:blip r:embed="rId2"/>
              </a:buBlip>
              <a:defRPr sz="3528">
                <a:solidFill>
                  <a:schemeClr val="tx1"/>
                </a:solidFill>
              </a:defRPr>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88331275"/>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749319396"/>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ig Idea Layou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6949" y="1187622"/>
            <a:ext cx="11652805" cy="899665"/>
          </a:xfrm>
        </p:spPr>
        <p:txBody>
          <a:bodyPr/>
          <a:lstStyle>
            <a:lvl1pPr>
              <a:defRPr sz="7056" baseline="0"/>
            </a:lvl1pPr>
          </a:lstStyle>
          <a:p>
            <a:r>
              <a:rPr lang="en-US" smtClean="0"/>
              <a:t>Click to edit Master title style</a:t>
            </a:r>
            <a:endParaRPr lang="en-US" dirty="0"/>
          </a:p>
        </p:txBody>
      </p:sp>
    </p:spTree>
    <p:extLst>
      <p:ext uri="{BB962C8B-B14F-4D97-AF65-F5344CB8AC3E}">
        <p14:creationId xmlns:p14="http://schemas.microsoft.com/office/powerpoint/2010/main" val="1331568928"/>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Fact Layou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1" cy="1793104"/>
          </a:xfrm>
        </p:spPr>
        <p:txBody>
          <a:bodyPr/>
          <a:lstStyle>
            <a:lvl1pPr>
              <a:defRPr sz="5880" baseline="0"/>
            </a:lvl1pPr>
          </a:lstStyle>
          <a:p>
            <a:r>
              <a:rPr lang="en-US" smtClean="0"/>
              <a:t>Click to edit Master title style</a:t>
            </a:r>
            <a:endParaRPr lang="en-US" dirty="0"/>
          </a:p>
        </p:txBody>
      </p:sp>
    </p:spTree>
    <p:extLst>
      <p:ext uri="{BB962C8B-B14F-4D97-AF65-F5344CB8AC3E}">
        <p14:creationId xmlns:p14="http://schemas.microsoft.com/office/powerpoint/2010/main" val="4252579660"/>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1" cy="1793104"/>
          </a:xfrm>
        </p:spPr>
        <p:txBody>
          <a:bodyPr/>
          <a:lstStyle>
            <a:lvl1pPr>
              <a:defRPr sz="5880" baseline="0"/>
            </a:lvl1pPr>
          </a:lstStyle>
          <a:p>
            <a:r>
              <a:rPr lang="en-US" smtClean="0"/>
              <a:t>Click to edit Master title style</a:t>
            </a:r>
            <a:endParaRPr lang="en-US" dirty="0"/>
          </a:p>
        </p:txBody>
      </p:sp>
    </p:spTree>
    <p:extLst>
      <p:ext uri="{BB962C8B-B14F-4D97-AF65-F5344CB8AC3E}">
        <p14:creationId xmlns:p14="http://schemas.microsoft.com/office/powerpoint/2010/main" val="3732566973"/>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Quote Layout">
    <p:bg>
      <p:bgPr>
        <a:solidFill>
          <a:schemeClr val="tx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1178350"/>
            <a:ext cx="9858104" cy="899665"/>
          </a:xfrm>
        </p:spPr>
        <p:txBody>
          <a:bodyPr/>
          <a:lstStyle>
            <a:lvl1pPr marL="228697" indent="-228697">
              <a:defRPr sz="5880"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8" y="5025984"/>
            <a:ext cx="5377148" cy="1050156"/>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2121721284"/>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tx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2084174"/>
            <a:ext cx="9858104" cy="899665"/>
          </a:xfrm>
        </p:spPr>
        <p:txBody>
          <a:bodyPr/>
          <a:lstStyle>
            <a:lvl1pPr marL="276925" indent="-276925">
              <a:tabLst>
                <a:tab pos="276925" algn="l"/>
              </a:tabLst>
              <a:defRPr sz="5880"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8" y="4773813"/>
            <a:ext cx="5377148" cy="1050156"/>
          </a:xfrm>
        </p:spPr>
        <p:txBody>
          <a:bodyPr/>
          <a:lstStyle>
            <a:lvl1pPr marL="0" indent="0">
              <a:spcBef>
                <a:spcPts val="0"/>
              </a:spcBef>
              <a:buNone/>
              <a:defRPr sz="3136"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3667533142"/>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ig Idea &amp; 3 Points">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49" y="2383023"/>
            <a:ext cx="11650488" cy="914360"/>
          </a:xfrm>
        </p:spPr>
        <p:txBody>
          <a:bodyPr/>
          <a:lstStyle>
            <a:lvl1pPr marL="0" indent="0">
              <a:buNone/>
              <a:defRPr sz="5292">
                <a:gradFill>
                  <a:gsLst>
                    <a:gs pos="3333">
                      <a:schemeClr val="tx1"/>
                    </a:gs>
                    <a:gs pos="39000">
                      <a:schemeClr val="tx1"/>
                    </a:gs>
                  </a:gsLst>
                  <a:lin ang="5400000" scaled="0"/>
                </a:gradFill>
              </a:defRPr>
            </a:lvl1pPr>
            <a:lvl2pPr marL="0" indent="0">
              <a:buFontTx/>
              <a:buNone/>
              <a:defRPr sz="1960"/>
            </a:lvl2pPr>
            <a:lvl3pPr marL="224030" indent="0">
              <a:buNone/>
              <a:defRPr/>
            </a:lvl3pPr>
            <a:lvl4pPr marL="448059" indent="0">
              <a:buNone/>
              <a:defRPr/>
            </a:lvl4pPr>
            <a:lvl5pPr marL="672088" indent="0">
              <a:buNone/>
              <a:defRPr/>
            </a:lvl5pPr>
          </a:lstStyle>
          <a:p>
            <a:pPr lvl="0"/>
            <a:r>
              <a:rPr lang="en-US" smtClean="0"/>
              <a:t>Click to edit Master text styles</a:t>
            </a:r>
          </a:p>
        </p:txBody>
      </p:sp>
      <p:sp>
        <p:nvSpPr>
          <p:cNvPr id="4" name="Title 1"/>
          <p:cNvSpPr>
            <a:spLocks noGrp="1"/>
          </p:cNvSpPr>
          <p:nvPr>
            <p:ph type="title"/>
          </p:nvPr>
        </p:nvSpPr>
        <p:spPr>
          <a:xfrm>
            <a:off x="276949" y="1187622"/>
            <a:ext cx="11652805" cy="899665"/>
          </a:xfrm>
        </p:spPr>
        <p:txBody>
          <a:bodyPr/>
          <a:lstStyle>
            <a:lvl1pPr>
              <a:defRPr sz="7056"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67908131"/>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50-50 Right Photo Layout_02">
    <p:bg bwMode="auto">
      <p:bgPr>
        <a:solidFill>
          <a:schemeClr val="tx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bwMode="invGray">
          <a:xfrm>
            <a:off x="269171" y="2095971"/>
            <a:ext cx="5377148" cy="2677859"/>
          </a:xfrm>
          <a:noFill/>
        </p:spPr>
        <p:txBody>
          <a:bodyPr vert="horz" wrap="square" lIns="146304" tIns="91440" rIns="146304" bIns="91440" rtlCol="0" anchor="t" anchorCtr="0">
            <a:noAutofit/>
          </a:bodyPr>
          <a:lstStyle>
            <a:lvl1pPr>
              <a:defRPr lang="en-US" sz="5880" spc="-98" baseline="0" dirty="0">
                <a:solidFill>
                  <a:schemeClr val="bg1"/>
                </a:soli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0771" y="4773830"/>
            <a:ext cx="5375815" cy="896551"/>
          </a:xfrm>
        </p:spPr>
        <p:txBody>
          <a:bodyPr tIns="109728" bIns="109728">
            <a:noAutofit/>
          </a:bodyPr>
          <a:lstStyle>
            <a:lvl1pPr marL="0" indent="0">
              <a:spcBef>
                <a:spcPts val="0"/>
              </a:spcBef>
              <a:buNone/>
              <a:defRPr sz="3136">
                <a:solidFill>
                  <a:schemeClr val="bg1"/>
                </a:solidFill>
              </a:defRPr>
            </a:lvl1pPr>
          </a:lstStyle>
          <a:p>
            <a:pPr lvl="0"/>
            <a:r>
              <a:rPr lang="en-US" dirty="0" smtClean="0"/>
              <a:t>Speaker Name</a:t>
            </a:r>
            <a:endParaRPr lang="en-US" dirty="0"/>
          </a:p>
        </p:txBody>
      </p:sp>
      <p:pic>
        <p:nvPicPr>
          <p:cNvPr id="8" name="Picture Placeholder 4"/>
          <p:cNvPicPr>
            <a:picLocks noChangeAspect="1"/>
          </p:cNvPicPr>
          <p:nvPr userDrawn="1"/>
        </p:nvPicPr>
        <p:blipFill rotWithShape="1">
          <a:blip r:embed="rId2">
            <a:extLst>
              <a:ext uri="{28A0092B-C50C-407E-A947-70E740481C1C}">
                <a14:useLocalDpi xmlns:a14="http://schemas.microsoft.com/office/drawing/2010/main" val="0"/>
              </a:ext>
            </a:extLst>
          </a:blip>
          <a:srcRect l="23279" r="17893"/>
          <a:stretch/>
        </p:blipFill>
        <p:spPr>
          <a:xfrm>
            <a:off x="6169094" y="0"/>
            <a:ext cx="6049292" cy="6858000"/>
          </a:xfrm>
          <a:prstGeom prst="rect">
            <a:avLst/>
          </a:prstGeom>
        </p:spPr>
      </p:pic>
      <p:pic>
        <p:nvPicPr>
          <p:cNvPr id="9" name="Picture Placeholder 4"/>
          <p:cNvPicPr>
            <a:picLocks noChangeAspect="1"/>
          </p:cNvPicPr>
          <p:nvPr userDrawn="1"/>
        </p:nvPicPr>
        <p:blipFill rotWithShape="1">
          <a:blip r:embed="rId3">
            <a:extLst>
              <a:ext uri="{28A0092B-C50C-407E-A947-70E740481C1C}">
                <a14:useLocalDpi xmlns:a14="http://schemas.microsoft.com/office/drawing/2010/main" val="0"/>
              </a:ext>
            </a:extLst>
          </a:blip>
          <a:srcRect l="-503" t="26090" r="67" b="-1"/>
          <a:stretch/>
        </p:blipFill>
        <p:spPr>
          <a:xfrm>
            <a:off x="6145398" y="-7783"/>
            <a:ext cx="6072988" cy="6873565"/>
          </a:xfrm>
          <a:prstGeom prst="rect">
            <a:avLst/>
          </a:prstGeom>
        </p:spPr>
      </p:pic>
    </p:spTree>
    <p:extLst>
      <p:ext uri="{BB962C8B-B14F-4D97-AF65-F5344CB8AC3E}">
        <p14:creationId xmlns:p14="http://schemas.microsoft.com/office/powerpoint/2010/main" val="2547607587"/>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4000">
                <a:gradFill>
                  <a:gsLst>
                    <a:gs pos="100000">
                      <a:schemeClr val="tx2"/>
                    </a:gs>
                    <a:gs pos="0">
                      <a:schemeClr val="tx2"/>
                    </a:gs>
                  </a:gsLst>
                  <a:lin ang="5400000" scaled="0"/>
                </a:gra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7928" y="1447800"/>
            <a:ext cx="5394960" cy="2462213"/>
          </a:xfrm>
        </p:spPr>
        <p:txBody>
          <a:bodyPr/>
          <a:lstStyle>
            <a:lvl1pPr marL="0" indent="0">
              <a:spcBef>
                <a:spcPts val="1200"/>
              </a:spcBef>
              <a:buNone/>
              <a:defRPr lang="en-US" sz="4000" kern="1200" spc="-70" baseline="0" dirty="0" smtClean="0">
                <a:gradFill>
                  <a:gsLst>
                    <a:gs pos="100000">
                      <a:schemeClr val="tx2"/>
                    </a:gs>
                    <a:gs pos="0">
                      <a:schemeClr val="tx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250">
                      <a:schemeClr val="bg2"/>
                    </a:gs>
                    <a:gs pos="100000">
                      <a:schemeClr val="bg2"/>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
        <p:nvSpPr>
          <p:cNvPr id="7" name="Slide Number Placeholder 9"/>
          <p:cNvSpPr>
            <a:spLocks noGrp="1"/>
          </p:cNvSpPr>
          <p:nvPr>
            <p:ph type="sldNum" sz="quarter" idx="13"/>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1567823360"/>
      </p:ext>
    </p:extLst>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50-50 Right Photo Layout_03">
    <p:bg bwMode="auto">
      <p:bgPr>
        <a:solidFill>
          <a:schemeClr val="tx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bwMode="invGray">
          <a:xfrm>
            <a:off x="269171" y="2095971"/>
            <a:ext cx="5377148" cy="2677859"/>
          </a:xfrm>
          <a:noFill/>
        </p:spPr>
        <p:txBody>
          <a:bodyPr vert="horz" wrap="square" lIns="146304" tIns="91440" rIns="146304" bIns="91440" rtlCol="0" anchor="t" anchorCtr="0">
            <a:noAutofit/>
          </a:bodyPr>
          <a:lstStyle>
            <a:lvl1pPr>
              <a:defRPr lang="en-US" sz="5880" spc="-98" baseline="0" dirty="0">
                <a:solidFill>
                  <a:schemeClr val="bg1"/>
                </a:soli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0771" y="4773830"/>
            <a:ext cx="5375815" cy="896551"/>
          </a:xfrm>
        </p:spPr>
        <p:txBody>
          <a:bodyPr tIns="109728" bIns="109728">
            <a:noAutofit/>
          </a:bodyPr>
          <a:lstStyle>
            <a:lvl1pPr marL="0" indent="0">
              <a:spcBef>
                <a:spcPts val="0"/>
              </a:spcBef>
              <a:buNone/>
              <a:defRPr sz="3136">
                <a:solidFill>
                  <a:schemeClr val="bg1"/>
                </a:solidFill>
              </a:defRPr>
            </a:lvl1pPr>
          </a:lstStyle>
          <a:p>
            <a:pPr lvl="0"/>
            <a:r>
              <a:rPr lang="en-US" dirty="0" smtClean="0"/>
              <a:t>Speaker Name</a:t>
            </a:r>
            <a:endParaRPr lang="en-US" dirty="0"/>
          </a:p>
        </p:txBody>
      </p:sp>
      <p:pic>
        <p:nvPicPr>
          <p:cNvPr id="8" name="Picture Placeholder 4"/>
          <p:cNvPicPr>
            <a:picLocks noChangeAspect="1"/>
          </p:cNvPicPr>
          <p:nvPr userDrawn="1"/>
        </p:nvPicPr>
        <p:blipFill rotWithShape="1">
          <a:blip r:embed="rId2">
            <a:extLst>
              <a:ext uri="{28A0092B-C50C-407E-A947-70E740481C1C}">
                <a14:useLocalDpi xmlns:a14="http://schemas.microsoft.com/office/drawing/2010/main" val="0"/>
              </a:ext>
            </a:extLst>
          </a:blip>
          <a:srcRect l="1536" t="114" r="36245" b="-114"/>
          <a:stretch/>
        </p:blipFill>
        <p:spPr>
          <a:xfrm>
            <a:off x="6169094" y="2"/>
            <a:ext cx="6049292" cy="6857999"/>
          </a:xfrm>
          <a:prstGeom prst="rect">
            <a:avLst/>
          </a:prstGeom>
        </p:spPr>
      </p:pic>
    </p:spTree>
    <p:extLst>
      <p:ext uri="{BB962C8B-B14F-4D97-AF65-F5344CB8AC3E}">
        <p14:creationId xmlns:p14="http://schemas.microsoft.com/office/powerpoint/2010/main" val="2219675535"/>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4984590"/>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80301757"/>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809943"/>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6889256"/>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396047"/>
          </a:xfrm>
          <a:prstGeom prst="rect">
            <a:avLst/>
          </a:prstGeom>
        </p:spPr>
        <p:txBody>
          <a:bodyPr/>
          <a:lstStyle>
            <a:lvl1pPr marL="284705" indent="-284705">
              <a:buClr>
                <a:schemeClr val="tx1"/>
              </a:buClr>
              <a:buSzPct val="90000"/>
              <a:buFont typeface="Wingdings" panose="05000000000000000000" pitchFamily="2" charset="2"/>
              <a:buChar char="§"/>
              <a:defRPr sz="3528">
                <a:solidFill>
                  <a:schemeClr val="bg1"/>
                </a:solidFill>
                <a:latin typeface="Segoe UI" pitchFamily="34" charset="0"/>
                <a:ea typeface="Segoe UI" pitchFamily="34" charset="0"/>
                <a:cs typeface="Segoe UI" pitchFamily="34" charset="0"/>
              </a:defRPr>
            </a:lvl1pPr>
            <a:lvl2pPr marL="560073" indent="-275370">
              <a:buClr>
                <a:schemeClr val="tx1"/>
              </a:buClr>
              <a:buSzPct val="90000"/>
              <a:buFont typeface="Wingdings" panose="05000000000000000000" pitchFamily="2" charset="2"/>
              <a:buChar char="§"/>
              <a:defRPr sz="3136">
                <a:solidFill>
                  <a:schemeClr val="bg1"/>
                </a:solidFill>
                <a:latin typeface="Segoe UI" pitchFamily="34" charset="0"/>
                <a:ea typeface="Segoe UI" pitchFamily="34" charset="0"/>
                <a:cs typeface="Segoe UI" pitchFamily="34" charset="0"/>
              </a:defRPr>
            </a:lvl2pPr>
            <a:lvl3pPr marL="844777" indent="-284705">
              <a:buClr>
                <a:schemeClr val="tx1"/>
              </a:buClr>
              <a:buSzPct val="90000"/>
              <a:buFont typeface="Wingdings" panose="05000000000000000000" pitchFamily="2" charset="2"/>
              <a:buChar char="§"/>
              <a:defRPr sz="2744">
                <a:solidFill>
                  <a:schemeClr val="bg1"/>
                </a:solidFill>
                <a:latin typeface="Segoe UI" pitchFamily="34" charset="0"/>
                <a:ea typeface="Segoe UI" pitchFamily="34" charset="0"/>
                <a:cs typeface="Segoe UI" pitchFamily="34" charset="0"/>
              </a:defRPr>
            </a:lvl3pPr>
            <a:lvl4pPr marL="1068807" indent="-224030">
              <a:buClr>
                <a:schemeClr val="tx1"/>
              </a:buClr>
              <a:buSzPct val="90000"/>
              <a:buFont typeface="Wingdings" panose="05000000000000000000" pitchFamily="2" charset="2"/>
              <a:buChar char="§"/>
              <a:defRPr sz="2352">
                <a:solidFill>
                  <a:schemeClr val="bg1"/>
                </a:solidFill>
                <a:latin typeface="Segoe UI" pitchFamily="34" charset="0"/>
                <a:ea typeface="Segoe UI" pitchFamily="34" charset="0"/>
                <a:cs typeface="Segoe UI" pitchFamily="34" charset="0"/>
              </a:defRPr>
            </a:lvl4pPr>
            <a:lvl5pPr marL="1292837" indent="-224030">
              <a:buClr>
                <a:schemeClr val="tx1"/>
              </a:buClr>
              <a:buSzPct val="90000"/>
              <a:buFont typeface="Wingdings" panose="05000000000000000000" pitchFamily="2" charset="2"/>
              <a:buChar char="§"/>
              <a:defRPr sz="1960">
                <a:solidFill>
                  <a:schemeClr val="bg1"/>
                </a:soli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7"/>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solidFill>
                  <a:schemeClr val="bg1"/>
                </a:soli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7442186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396047"/>
          </a:xfrm>
          <a:prstGeom prst="rect">
            <a:avLst/>
          </a:prstGeom>
        </p:spPr>
        <p:txBody>
          <a:bodyPr/>
          <a:lstStyle>
            <a:lvl1pPr marL="284705" indent="-28470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73" indent="-275370">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77" indent="-284705">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807" indent="-224030">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837" indent="-224030">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8380333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True Blank">
    <p:spTree>
      <p:nvGrpSpPr>
        <p:cNvPr id="1" name=""/>
        <p:cNvGrpSpPr/>
        <p:nvPr/>
      </p:nvGrpSpPr>
      <p:grpSpPr>
        <a:xfrm>
          <a:off x="0" y="0"/>
          <a:ext cx="0" cy="0"/>
          <a:chOff x="0" y="0"/>
          <a:chExt cx="0" cy="0"/>
        </a:xfrm>
      </p:grpSpPr>
      <p:pic>
        <p:nvPicPr>
          <p:cNvPr id="15" name="Picture 2" descr="C:\Users\pwujcik.REDMOND\Desktop\Toolkit_Grid\trans-grid.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 y="0"/>
            <a:ext cx="12225021" cy="6858000"/>
          </a:xfrm>
          <a:prstGeom prst="rect">
            <a:avLst/>
          </a:prstGeom>
          <a:noFill/>
          <a:extLst>
            <a:ext uri="{909E8E84-426E-40DD-AFC4-6F175D3DCCD1}">
              <a14:hiddenFill xmlns:a14="http://schemas.microsoft.com/office/drawing/2010/main">
                <a:solidFill>
                  <a:srgbClr val="FFFFFF"/>
                </a:solidFill>
              </a14:hiddenFill>
            </a:ext>
          </a:extLst>
        </p:spPr>
      </p:pic>
      <p:sp>
        <p:nvSpPr>
          <p:cNvPr id="20" name="Rectangle 19"/>
          <p:cNvSpPr/>
          <p:nvPr userDrawn="1"/>
        </p:nvSpPr>
        <p:spPr>
          <a:xfrm>
            <a:off x="-796" y="0"/>
            <a:ext cx="1218882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0626" tIns="45312" rIns="90626" bIns="45312" rtlCol="0" anchor="ctr"/>
          <a:lstStyle/>
          <a:p>
            <a:pPr algn="ctr" defTabSz="913951"/>
            <a:endParaRPr lang="en-US" sz="1687">
              <a:solidFill>
                <a:prstClr val="white"/>
              </a:solidFill>
            </a:endParaRPr>
          </a:p>
        </p:txBody>
      </p:sp>
    </p:spTree>
    <p:extLst>
      <p:ext uri="{BB962C8B-B14F-4D97-AF65-F5344CB8AC3E}">
        <p14:creationId xmlns:p14="http://schemas.microsoft.com/office/powerpoint/2010/main" val="1556741133"/>
      </p:ext>
    </p:extLst>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858" y="291103"/>
            <a:ext cx="11650799" cy="896518"/>
          </a:xfrm>
        </p:spPr>
        <p:txBody>
          <a:bodyPr/>
          <a:lstStyle>
            <a:lvl1pPr>
              <a:defRPr sz="5684">
                <a:solidFill>
                  <a:schemeClr val="bg1"/>
                </a:soli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169" y="1663939"/>
            <a:ext cx="10754297" cy="1865319"/>
          </a:xfrm>
        </p:spPr>
        <p:txBody>
          <a:bodyPr/>
          <a:lstStyle>
            <a:lvl1pPr>
              <a:defRPr sz="2548">
                <a:solidFill>
                  <a:schemeClr val="bg1"/>
                </a:solidFill>
                <a:latin typeface="+mn-lt"/>
              </a:defRPr>
            </a:lvl1pPr>
            <a:lvl2pPr>
              <a:defRPr sz="2352">
                <a:solidFill>
                  <a:schemeClr val="bg1"/>
                </a:solidFill>
              </a:defRPr>
            </a:lvl2pPr>
            <a:lvl3pPr>
              <a:defRPr sz="1960">
                <a:solidFill>
                  <a:schemeClr val="bg1"/>
                </a:solidFill>
              </a:defRPr>
            </a:lvl3pPr>
            <a:lvl4pPr>
              <a:defRPr sz="1764">
                <a:solidFill>
                  <a:schemeClr val="bg1"/>
                </a:solidFill>
              </a:defRPr>
            </a:lvl4pPr>
            <a:lvl5pPr>
              <a:defRPr sz="1764">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9826185"/>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3"/>
            <a:ext cx="6271784" cy="1794661"/>
          </a:xfrm>
          <a:noFill/>
        </p:spPr>
        <p:txBody>
          <a:bodyPr lIns="146304" tIns="109728" rIns="146304" bIns="109728">
            <a:no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9858042" cy="1801436"/>
          </a:xfrm>
          <a:noFill/>
        </p:spPr>
        <p:txBody>
          <a:bodyPr lIns="146304" tIns="91440" rIns="146304" bIns="91440" anchor="t" anchorCtr="0"/>
          <a:lstStyle>
            <a:lvl1pPr>
              <a:defRPr sz="5879"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51521" y="6061768"/>
            <a:ext cx="1517373" cy="326167"/>
          </a:xfrm>
          <a:prstGeom prst="rect">
            <a:avLst/>
          </a:prstGeom>
        </p:spPr>
      </p:pic>
      <p:sp>
        <p:nvSpPr>
          <p:cNvPr id="4" name="Text Placeholder 3"/>
          <p:cNvSpPr>
            <a:spLocks noGrp="1"/>
          </p:cNvSpPr>
          <p:nvPr>
            <p:ph type="body" sz="quarter" idx="13" hasCustomPrompt="1"/>
          </p:nvPr>
        </p:nvSpPr>
        <p:spPr>
          <a:xfrm>
            <a:off x="269169" y="291069"/>
            <a:ext cx="3584765" cy="672414"/>
          </a:xfrm>
        </p:spPr>
        <p:txBody>
          <a:bodyPr lIns="182880" tIns="146304" rIns="182880" bIns="146304">
            <a:noAutofit/>
          </a:bodyPr>
          <a:lstStyle>
            <a:lvl1pPr marL="0" indent="0">
              <a:buNone/>
              <a:defRPr sz="1960">
                <a:latin typeface="+mn-lt"/>
              </a:defRPr>
            </a:lvl1pPr>
            <a:lvl2pPr marL="335979" indent="0">
              <a:buNone/>
              <a:defRPr sz="2352">
                <a:latin typeface="+mn-lt"/>
              </a:defRPr>
            </a:lvl2pPr>
            <a:lvl3pPr marL="559966" indent="0">
              <a:buNone/>
              <a:defRPr sz="2352">
                <a:latin typeface="+mn-lt"/>
              </a:defRPr>
            </a:lvl3pPr>
            <a:lvl4pPr marL="783952" indent="0">
              <a:buNone/>
              <a:defRPr sz="2352">
                <a:latin typeface="+mn-lt"/>
              </a:defRPr>
            </a:lvl4pPr>
            <a:lvl5pPr marL="1007939" indent="0">
              <a:buNone/>
              <a:defRPr sz="2352">
                <a:latin typeface="+mn-lt"/>
              </a:defRPr>
            </a:lvl5pPr>
          </a:lstStyle>
          <a:p>
            <a:pPr lvl="0"/>
            <a:r>
              <a:rPr lang="en-US" dirty="0" smtClean="0"/>
              <a:t>Session Code</a:t>
            </a:r>
          </a:p>
        </p:txBody>
      </p:sp>
    </p:spTree>
    <p:extLst>
      <p:ext uri="{BB962C8B-B14F-4D97-AF65-F5344CB8AC3E}">
        <p14:creationId xmlns:p14="http://schemas.microsoft.com/office/powerpoint/2010/main" val="30420318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4000">
                <a:gradFill>
                  <a:gsLst>
                    <a:gs pos="1000">
                      <a:schemeClr val="bg2"/>
                    </a:gs>
                    <a:gs pos="98000">
                      <a:schemeClr val="bg2"/>
                    </a:gs>
                  </a:gsLst>
                  <a:lin ang="5400000" scaled="0"/>
                </a:gradFill>
                <a:latin typeface="+mj-lt"/>
              </a:defRPr>
            </a:lvl1pPr>
            <a:lvl2pPr marL="0" indent="0">
              <a:buNone/>
              <a:defRPr sz="2000">
                <a:gradFill>
                  <a:gsLst>
                    <a:gs pos="1000">
                      <a:schemeClr val="bg2"/>
                    </a:gs>
                    <a:gs pos="98000">
                      <a:schemeClr val="bg2"/>
                    </a:gs>
                  </a:gsLst>
                  <a:lin ang="5400000" scaled="0"/>
                </a:gradFill>
              </a:defRPr>
            </a:lvl2pPr>
            <a:lvl3pPr marL="233363" indent="0">
              <a:buNone/>
              <a:defRPr sz="2000">
                <a:gradFill>
                  <a:gsLst>
                    <a:gs pos="1000">
                      <a:schemeClr val="bg2"/>
                    </a:gs>
                    <a:gs pos="98000">
                      <a:schemeClr val="bg2"/>
                    </a:gs>
                  </a:gsLst>
                  <a:lin ang="5400000" scaled="0"/>
                </a:gradFill>
              </a:defRPr>
            </a:lvl3pPr>
            <a:lvl4pPr marL="457200" indent="0">
              <a:buNone/>
              <a:defRPr sz="2000">
                <a:gradFill>
                  <a:gsLst>
                    <a:gs pos="1000">
                      <a:schemeClr val="bg2"/>
                    </a:gs>
                    <a:gs pos="98000">
                      <a:schemeClr val="bg2"/>
                    </a:gs>
                  </a:gsLst>
                  <a:lin ang="5400000" scaled="0"/>
                </a:gradFill>
              </a:defRPr>
            </a:lvl4pPr>
            <a:lvl5pPr marL="693738" indent="0">
              <a:buNone/>
              <a:defRPr sz="2000">
                <a:gradFill>
                  <a:gsLst>
                    <a:gs pos="1000">
                      <a:schemeClr val="bg2"/>
                    </a:gs>
                    <a:gs pos="98000">
                      <a:schemeClr val="bg2"/>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7928" y="1447800"/>
            <a:ext cx="5394960" cy="2462213"/>
          </a:xfrm>
        </p:spPr>
        <p:txBody>
          <a:bodyPr/>
          <a:lstStyle>
            <a:lvl1pPr marL="0" indent="0">
              <a:spcBef>
                <a:spcPts val="1200"/>
              </a:spcBef>
              <a:buNone/>
              <a:defRPr lang="en-US" sz="4000" kern="1200" spc="-70" baseline="0" dirty="0" smtClean="0">
                <a:gradFill>
                  <a:gsLst>
                    <a:gs pos="1000">
                      <a:schemeClr val="bg2"/>
                    </a:gs>
                    <a:gs pos="98000">
                      <a:schemeClr val="bg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000">
                      <a:schemeClr val="bg2"/>
                    </a:gs>
                    <a:gs pos="98000">
                      <a:schemeClr val="bg2"/>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
        <p:nvSpPr>
          <p:cNvPr id="7" name="Slide Number Placeholder 9"/>
          <p:cNvSpPr>
            <a:spLocks noGrp="1"/>
          </p:cNvSpPr>
          <p:nvPr>
            <p:ph type="sldNum" sz="quarter" idx="13"/>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2666843519"/>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3"/>
            <a:ext cx="6271784" cy="1794661"/>
          </a:xfrm>
          <a:noFill/>
        </p:spPr>
        <p:txBody>
          <a:bodyPr lIns="146304" tIns="109728" rIns="146304" bIns="109728">
            <a:no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9858042" cy="1801436"/>
          </a:xfrm>
          <a:noFill/>
        </p:spPr>
        <p:txBody>
          <a:bodyPr lIns="146304" tIns="91440" rIns="146304" bIns="91440" anchor="t" anchorCtr="0"/>
          <a:lstStyle>
            <a:lvl1pPr>
              <a:defRPr sz="5879"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49205" y="6061768"/>
            <a:ext cx="1522008" cy="326167"/>
          </a:xfrm>
          <a:prstGeom prst="rect">
            <a:avLst/>
          </a:prstGeom>
        </p:spPr>
      </p:pic>
      <p:sp>
        <p:nvSpPr>
          <p:cNvPr id="7" name="Text Placeholder 3"/>
          <p:cNvSpPr>
            <a:spLocks noGrp="1"/>
          </p:cNvSpPr>
          <p:nvPr>
            <p:ph type="body" sz="quarter" idx="13" hasCustomPrompt="1"/>
          </p:nvPr>
        </p:nvSpPr>
        <p:spPr>
          <a:xfrm>
            <a:off x="269169" y="291069"/>
            <a:ext cx="3584765" cy="672414"/>
          </a:xfrm>
        </p:spPr>
        <p:txBody>
          <a:bodyPr lIns="182880" tIns="146304" rIns="182880" bIns="146304">
            <a:noAutofit/>
          </a:bodyPr>
          <a:lstStyle>
            <a:lvl1pPr marL="0" indent="0">
              <a:buNone/>
              <a:defRPr sz="1960">
                <a:latin typeface="+mn-lt"/>
              </a:defRPr>
            </a:lvl1pPr>
            <a:lvl2pPr marL="335979" indent="0">
              <a:buNone/>
              <a:defRPr sz="2352">
                <a:latin typeface="+mn-lt"/>
              </a:defRPr>
            </a:lvl2pPr>
            <a:lvl3pPr marL="559966" indent="0">
              <a:buNone/>
              <a:defRPr sz="2352">
                <a:latin typeface="+mn-lt"/>
              </a:defRPr>
            </a:lvl3pPr>
            <a:lvl4pPr marL="783952" indent="0">
              <a:buNone/>
              <a:defRPr sz="2352">
                <a:latin typeface="+mn-lt"/>
              </a:defRPr>
            </a:lvl4pPr>
            <a:lvl5pPr marL="1007939" indent="0">
              <a:buNone/>
              <a:defRPr sz="2352">
                <a:latin typeface="+mn-lt"/>
              </a:defRPr>
            </a:lvl5pPr>
          </a:lstStyle>
          <a:p>
            <a:pPr lvl="0"/>
            <a:r>
              <a:rPr lang="en-US" dirty="0" smtClean="0"/>
              <a:t>Session Code</a:t>
            </a:r>
          </a:p>
        </p:txBody>
      </p:sp>
    </p:spTree>
    <p:extLst>
      <p:ext uri="{BB962C8B-B14F-4D97-AF65-F5344CB8AC3E}">
        <p14:creationId xmlns:p14="http://schemas.microsoft.com/office/powerpoint/2010/main" val="20730690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3" name="Rectangle 2"/>
          <p:cNvSpPr/>
          <p:nvPr userDrawn="1"/>
        </p:nvSpPr>
        <p:spPr bwMode="auto">
          <a:xfrm>
            <a:off x="269169" y="2084172"/>
            <a:ext cx="8961914"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232" y="2084187"/>
            <a:ext cx="8961851" cy="1793090"/>
          </a:xfrm>
          <a:noFill/>
        </p:spPr>
        <p:txBody>
          <a:bodyPr lIns="146304" tIns="91440" rIns="146304" bIns="91440" anchor="t" anchorCtr="0"/>
          <a:lstStyle>
            <a:lvl1pPr>
              <a:defRPr sz="5879"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233" y="3878574"/>
            <a:ext cx="8961852" cy="1792326"/>
          </a:xfrm>
          <a:noFill/>
        </p:spPr>
        <p:txBody>
          <a:bodyPr lIns="146304" tIns="109728" rIns="146304" bIns="109728">
            <a:noAutofit/>
          </a:bodyPr>
          <a:lstStyle>
            <a:lvl1pPr marL="0" indent="0">
              <a:spcBef>
                <a:spcPts val="0"/>
              </a:spcBef>
              <a:buNone/>
              <a:defRPr sz="3527" spc="0" baseline="0">
                <a:gradFill>
                  <a:gsLst>
                    <a:gs pos="2917">
                      <a:srgbClr val="FFFFFF"/>
                    </a:gs>
                    <a:gs pos="30000">
                      <a:srgbClr val="FFFFFF"/>
                    </a:gs>
                  </a:gsLst>
                  <a:lin ang="5400000" scaled="0"/>
                </a:gradFill>
                <a:latin typeface="+mj-lt"/>
              </a:defRPr>
            </a:lvl1pPr>
          </a:lstStyle>
          <a:p>
            <a:pPr lvl="0"/>
            <a:r>
              <a:rPr lang="en-US" dirty="0" smtClean="0"/>
              <a:t>Speaker Name</a:t>
            </a:r>
          </a:p>
        </p:txBody>
      </p:sp>
      <p:sp>
        <p:nvSpPr>
          <p:cNvPr id="7" name="Text Placeholder 3"/>
          <p:cNvSpPr>
            <a:spLocks noGrp="1"/>
          </p:cNvSpPr>
          <p:nvPr>
            <p:ph type="body" sz="quarter" idx="13" hasCustomPrompt="1"/>
          </p:nvPr>
        </p:nvSpPr>
        <p:spPr>
          <a:xfrm>
            <a:off x="269169" y="291069"/>
            <a:ext cx="3584765" cy="672414"/>
          </a:xfrm>
        </p:spPr>
        <p:txBody>
          <a:bodyPr lIns="182880" tIns="146304" rIns="182880" bIns="146304">
            <a:noAutofit/>
          </a:bodyPr>
          <a:lstStyle>
            <a:lvl1pPr marL="0" indent="0">
              <a:buNone/>
              <a:defRPr sz="1960">
                <a:latin typeface="+mn-lt"/>
              </a:defRPr>
            </a:lvl1pPr>
            <a:lvl2pPr marL="335979" indent="0">
              <a:buNone/>
              <a:defRPr sz="2352">
                <a:latin typeface="+mn-lt"/>
              </a:defRPr>
            </a:lvl2pPr>
            <a:lvl3pPr marL="559966" indent="0">
              <a:buNone/>
              <a:defRPr sz="2352">
                <a:latin typeface="+mn-lt"/>
              </a:defRPr>
            </a:lvl3pPr>
            <a:lvl4pPr marL="783952" indent="0">
              <a:buNone/>
              <a:defRPr sz="2352">
                <a:latin typeface="+mn-lt"/>
              </a:defRPr>
            </a:lvl4pPr>
            <a:lvl5pPr marL="1007939" indent="0">
              <a:buNone/>
              <a:defRPr sz="2352">
                <a:latin typeface="+mn-lt"/>
              </a:defRPr>
            </a:lvl5pPr>
          </a:lstStyle>
          <a:p>
            <a:pPr lvl="0"/>
            <a:r>
              <a:rPr lang="en-US" dirty="0" smtClean="0"/>
              <a:t>Session Code</a:t>
            </a:r>
          </a:p>
        </p:txBody>
      </p:sp>
    </p:spTree>
    <p:extLst>
      <p:ext uri="{BB962C8B-B14F-4D97-AF65-F5344CB8AC3E}">
        <p14:creationId xmlns:p14="http://schemas.microsoft.com/office/powerpoint/2010/main" val="21956759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6"/>
            <a:ext cx="9856549" cy="2697988"/>
          </a:xfrm>
          <a:noFill/>
        </p:spPr>
        <p:txBody>
          <a:bodyPr tIns="91440" bIns="91440" anchor="t" anchorCtr="0"/>
          <a:lstStyle>
            <a:lvl1pPr>
              <a:defRPr sz="7054" spc="-98" baseline="0">
                <a:gradFill>
                  <a:gsLst>
                    <a:gs pos="91241">
                      <a:schemeClr val="tx1"/>
                    </a:gs>
                    <a:gs pos="57000">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1" y="3877279"/>
            <a:ext cx="9858106" cy="1793881"/>
          </a:xfrm>
          <a:noFill/>
        </p:spPr>
        <p:txBody>
          <a:bodyPr lIns="182880" tIns="146304" rIns="182880" bIns="146304">
            <a:noAutofit/>
          </a:bodyPr>
          <a:lstStyle>
            <a:lvl1pPr marL="0" indent="0">
              <a:spcBef>
                <a:spcPts val="0"/>
              </a:spcBef>
              <a:buNone/>
              <a:defRPr sz="3527" spc="0" baseline="0">
                <a:gradFill>
                  <a:gsLst>
                    <a:gs pos="91241">
                      <a:schemeClr val="tx1"/>
                    </a:gs>
                    <a:gs pos="57000">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7892504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6"/>
            <a:ext cx="9856549" cy="2697988"/>
          </a:xfrm>
          <a:noFill/>
        </p:spPr>
        <p:txBody>
          <a:bodyPr tIns="91440" bIns="91440" anchor="t" anchorCtr="0"/>
          <a:lstStyle>
            <a:lvl1pPr>
              <a:defRPr sz="7054" spc="-98" baseline="0">
                <a:gradFill>
                  <a:gsLst>
                    <a:gs pos="91241">
                      <a:schemeClr val="tx1"/>
                    </a:gs>
                    <a:gs pos="57000">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7374030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74"/>
            <a:ext cx="11650488" cy="1796217"/>
          </a:xfrm>
          <a:noFill/>
        </p:spPr>
        <p:txBody>
          <a:bodyPr tIns="91440" bIns="91440" anchor="t" anchorCtr="0"/>
          <a:lstStyle>
            <a:lvl1pPr>
              <a:defRPr sz="8623"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60455112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74"/>
            <a:ext cx="11650488" cy="1796217"/>
          </a:xfrm>
          <a:noFill/>
        </p:spPr>
        <p:txBody>
          <a:bodyPr tIns="91440" bIns="91440" anchor="t" anchorCtr="0"/>
          <a:lstStyle>
            <a:lvl1pPr algn="l" defTabSz="913918" rtl="0" eaLnBrk="1" latinLnBrk="0" hangingPunct="1">
              <a:lnSpc>
                <a:spcPct val="90000"/>
              </a:lnSpc>
              <a:spcBef>
                <a:spcPct val="0"/>
              </a:spcBef>
              <a:buNone/>
              <a:defRPr lang="en-US" sz="8623"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57621766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74"/>
            <a:ext cx="11650488" cy="1796217"/>
          </a:xfrm>
          <a:noFill/>
        </p:spPr>
        <p:txBody>
          <a:bodyPr tIns="91440" bIns="91440" anchor="t" anchorCtr="0"/>
          <a:lstStyle>
            <a:lvl1pPr algn="l" defTabSz="913918" rtl="0" eaLnBrk="1" latinLnBrk="0" hangingPunct="1">
              <a:lnSpc>
                <a:spcPct val="90000"/>
              </a:lnSpc>
              <a:spcBef>
                <a:spcPct val="0"/>
              </a:spcBef>
              <a:buNone/>
              <a:defRPr lang="en-US" sz="8623"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451367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8"/>
            <a:ext cx="11652805" cy="2018835"/>
          </a:xfrm>
        </p:spPr>
        <p:txBody>
          <a:bodyPr/>
          <a:lstStyle>
            <a:lvl1pPr marL="0" indent="0">
              <a:buNone/>
              <a:defRPr/>
            </a:lvl1pPr>
            <a:lvl2pPr marL="27998" indent="0">
              <a:buNone/>
              <a:defRPr sz="1960"/>
            </a:lvl2pPr>
            <a:lvl3pPr marL="219320" indent="0">
              <a:buNone/>
              <a:defRPr sz="1960"/>
            </a:lvl3pPr>
            <a:lvl4pPr marL="466639" indent="0">
              <a:buNone/>
              <a:defRPr sz="1764"/>
            </a:lvl4pPr>
            <a:lvl5pPr marL="724843" indent="0">
              <a:buNone/>
              <a:defRPr sz="1764"/>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818977033"/>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8"/>
            <a:ext cx="11652805" cy="2018835"/>
          </a:xfrm>
        </p:spPr>
        <p:txBody>
          <a:bodyPr/>
          <a:lstStyle>
            <a:lvl1pPr marL="0" indent="0">
              <a:buNone/>
              <a:defRPr>
                <a:gradFill>
                  <a:gsLst>
                    <a:gs pos="2920">
                      <a:schemeClr val="tx2"/>
                    </a:gs>
                    <a:gs pos="39000">
                      <a:schemeClr val="tx2"/>
                    </a:gs>
                  </a:gsLst>
                  <a:lin ang="5400000" scaled="0"/>
                </a:gradFill>
              </a:defRPr>
            </a:lvl1pPr>
            <a:lvl2pPr marL="27998" indent="0">
              <a:buNone/>
              <a:defRPr sz="1960"/>
            </a:lvl2pPr>
            <a:lvl3pPr marL="219320" indent="0">
              <a:buNone/>
              <a:defRPr sz="1960"/>
            </a:lvl3pPr>
            <a:lvl4pPr marL="466639" indent="0">
              <a:buNone/>
              <a:defRPr sz="1764"/>
            </a:lvl4pPr>
            <a:lvl5pPr marL="724843" indent="0">
              <a:buNone/>
              <a:defRPr sz="1764"/>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37617584"/>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70" y="1189177"/>
            <a:ext cx="11650488" cy="2184808"/>
          </a:xfrm>
        </p:spPr>
        <p:txBody>
          <a:bodyPr>
            <a:spAutoFit/>
          </a:bodyPr>
          <a:lstStyle>
            <a:lvl3pPr>
              <a:defRPr sz="2352"/>
            </a:lvl3pPr>
            <a:lvl4pPr>
              <a:defRPr sz="1960"/>
            </a:lvl4pPr>
            <a:lvl5pPr>
              <a:defRPr sz="196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734918482"/>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700" y="1447800"/>
            <a:ext cx="5394960" cy="2351413"/>
          </a:xfrm>
        </p:spPr>
        <p:txBody>
          <a:bodyPr>
            <a:spAutoFit/>
          </a:bodyPr>
          <a:lstStyle>
            <a:lvl1pPr marL="292100" indent="-292100">
              <a:spcBef>
                <a:spcPts val="1200"/>
              </a:spcBef>
              <a:buClr>
                <a:schemeClr val="bg2"/>
              </a:buClr>
              <a:buSzPct val="100000"/>
              <a:buFont typeface="Wingdings" pitchFamily="2" charset="2"/>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7928" y="1447800"/>
            <a:ext cx="5394960" cy="2351413"/>
          </a:xfrm>
        </p:spPr>
        <p:txBody>
          <a:bodyPr>
            <a:spAutoFit/>
          </a:bodyPr>
          <a:lstStyle>
            <a:lvl1pPr marL="339725" indent="-339725">
              <a:spcBef>
                <a:spcPts val="1200"/>
              </a:spcBef>
              <a:buClr>
                <a:schemeClr val="bg2"/>
              </a:buClr>
              <a:buFont typeface="Arial" pitchFamily="34" charset="0"/>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635000" indent="-342900">
              <a:defRPr lang="en-US" sz="2000" kern="1200" spc="0" baseline="0" dirty="0" smtClean="0">
                <a:gradFill>
                  <a:gsLst>
                    <a:gs pos="1250">
                      <a:schemeClr val="bg2"/>
                    </a:gs>
                    <a:gs pos="100000">
                      <a:schemeClr val="bg2"/>
                    </a:gs>
                  </a:gsLst>
                  <a:lin ang="5400000" scaled="0"/>
                </a:gradFill>
                <a:latin typeface="+mn-lt"/>
                <a:ea typeface="+mn-ea"/>
                <a:cs typeface="+mn-cs"/>
              </a:defRPr>
            </a:lvl2pPr>
            <a:lvl3pPr marL="863600" indent="-342900">
              <a:defRPr lang="en-US" sz="2000" kern="1200" spc="0" baseline="0" dirty="0" smtClean="0">
                <a:gradFill>
                  <a:gsLst>
                    <a:gs pos="1250">
                      <a:schemeClr val="bg2"/>
                    </a:gs>
                    <a:gs pos="100000">
                      <a:schemeClr val="bg2"/>
                    </a:gs>
                  </a:gsLst>
                  <a:lin ang="5400000" scaled="0"/>
                </a:gradFill>
                <a:latin typeface="+mn-lt"/>
                <a:ea typeface="+mn-ea"/>
                <a:cs typeface="+mn-cs"/>
              </a:defRPr>
            </a:lvl3pPr>
            <a:lvl4pPr marL="1028700" indent="-342900">
              <a:defRPr lang="en-US" sz="2000" kern="1200" spc="0" baseline="0" dirty="0" smtClean="0">
                <a:gradFill>
                  <a:gsLst>
                    <a:gs pos="1250">
                      <a:schemeClr val="bg2"/>
                    </a:gs>
                    <a:gs pos="100000">
                      <a:schemeClr val="bg2"/>
                    </a:gs>
                  </a:gsLst>
                  <a:lin ang="5400000" scaled="0"/>
                </a:gradFill>
                <a:latin typeface="+mn-lt"/>
                <a:ea typeface="+mn-ea"/>
                <a:cs typeface="+mn-cs"/>
              </a:defRPr>
            </a:lvl4pPr>
            <a:lvl5pPr marL="1206500" indent="-342900">
              <a:defRPr lang="en-US" sz="2000" kern="1200" spc="0" baseline="0" dirty="0">
                <a:gradFill>
                  <a:gsLst>
                    <a:gs pos="1250">
                      <a:schemeClr val="bg2"/>
                    </a:gs>
                    <a:gs pos="100000">
                      <a:schemeClr val="bg2"/>
                    </a:gs>
                  </a:gsLst>
                  <a:lin ang="5400000" scaled="0"/>
                </a:gradFill>
                <a:latin typeface="+mn-lt"/>
                <a:ea typeface="+mn-ea"/>
                <a:cs typeface="+mn-cs"/>
              </a:defRPr>
            </a:lvl5pPr>
          </a:lstStyle>
          <a:p>
            <a:pPr marL="292100" marR="0" lvl="0"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smtClean="0"/>
              <a:t>Click to edit Master text styles</a:t>
            </a:r>
          </a:p>
          <a:p>
            <a:pPr marL="292100" marR="0" lvl="1"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smtClean="0"/>
              <a:t>Second level</a:t>
            </a:r>
          </a:p>
          <a:p>
            <a:pPr marL="292100" marR="0" lvl="2"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smtClean="0"/>
              <a:t>Third level</a:t>
            </a:r>
          </a:p>
          <a:p>
            <a:pPr marL="292100" marR="0" lvl="3"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smtClean="0"/>
              <a:t>Fourth level</a:t>
            </a:r>
          </a:p>
          <a:p>
            <a:pPr marL="292100" marR="0" lvl="4"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smtClean="0"/>
              <a:t>Fifth level</a:t>
            </a:r>
            <a:endParaRPr lang="en-US" dirty="0"/>
          </a:p>
        </p:txBody>
      </p:sp>
      <p:sp>
        <p:nvSpPr>
          <p:cNvPr id="6"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70" y="1189177"/>
            <a:ext cx="11650488"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2"/>
            </a:lvl3pPr>
            <a:lvl4pPr>
              <a:defRPr sz="1960"/>
            </a:lvl4pPr>
            <a:lvl5pPr>
              <a:defRPr sz="196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24183399"/>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6"/>
            <a:ext cx="5377147" cy="2489784"/>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0"/>
            </a:lvl2pPr>
            <a:lvl3pPr marL="227097" indent="0">
              <a:buNone/>
              <a:tabLst/>
              <a:defRPr sz="1960"/>
            </a:lvl3pPr>
            <a:lvl4pPr marL="451084" indent="0">
              <a:buNone/>
              <a:defRPr/>
            </a:lvl4pPr>
            <a:lvl5pPr marL="67195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9784"/>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0"/>
            </a:lvl2pPr>
            <a:lvl3pPr marL="227097" indent="0">
              <a:buNone/>
              <a:tabLst/>
              <a:defRPr sz="1960"/>
            </a:lvl3pPr>
            <a:lvl4pPr marL="451084" indent="0">
              <a:buNone/>
              <a:defRPr/>
            </a:lvl4pPr>
            <a:lvl5pPr marL="67195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42991232"/>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7"/>
            <a:ext cx="5377147" cy="2486578"/>
          </a:xfrm>
        </p:spPr>
        <p:txBody>
          <a:bodyPr wrap="square">
            <a:spAutoFit/>
          </a:bodyPr>
          <a:lstStyle>
            <a:lvl1pPr marL="0" indent="0">
              <a:spcBef>
                <a:spcPts val="1200"/>
              </a:spcBef>
              <a:buClr>
                <a:schemeClr val="tx1"/>
              </a:buClr>
              <a:buFont typeface="Wingdings" pitchFamily="2" charset="2"/>
              <a:buNone/>
              <a:defRPr sz="3527">
                <a:gradFill>
                  <a:gsLst>
                    <a:gs pos="5109">
                      <a:schemeClr val="tx2"/>
                    </a:gs>
                    <a:gs pos="25000">
                      <a:schemeClr val="tx2"/>
                    </a:gs>
                  </a:gsLst>
                  <a:lin ang="5400000" scaled="0"/>
                </a:gradFill>
              </a:defRPr>
            </a:lvl1pPr>
            <a:lvl2pPr marL="0" indent="0">
              <a:buNone/>
              <a:defRPr sz="1960"/>
            </a:lvl2pPr>
            <a:lvl3pPr marL="227097" indent="0">
              <a:buNone/>
              <a:tabLst/>
              <a:defRPr sz="1960"/>
            </a:lvl3pPr>
            <a:lvl4pPr marL="451084" indent="0">
              <a:buNone/>
              <a:defRPr/>
            </a:lvl4pPr>
            <a:lvl5pPr marL="671959"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2510" y="1189177"/>
            <a:ext cx="5377147" cy="2486578"/>
          </a:xfrm>
        </p:spPr>
        <p:txBody>
          <a:bodyPr wrap="square">
            <a:spAutoFit/>
          </a:bodyPr>
          <a:lstStyle>
            <a:lvl1pPr marL="0" indent="0">
              <a:spcBef>
                <a:spcPts val="1200"/>
              </a:spcBef>
              <a:buClr>
                <a:schemeClr val="tx1"/>
              </a:buClr>
              <a:buFont typeface="Wingdings" pitchFamily="2" charset="2"/>
              <a:buNone/>
              <a:defRPr sz="3527">
                <a:gradFill>
                  <a:gsLst>
                    <a:gs pos="100000">
                      <a:schemeClr val="tx2"/>
                    </a:gs>
                    <a:gs pos="0">
                      <a:schemeClr val="tx2"/>
                    </a:gs>
                  </a:gsLst>
                  <a:lin ang="5400000" scaled="0"/>
                </a:gradFill>
              </a:defRPr>
            </a:lvl1pPr>
            <a:lvl2pPr marL="0" indent="0">
              <a:buNone/>
              <a:defRPr sz="1960"/>
            </a:lvl2pPr>
            <a:lvl3pPr marL="227097" indent="0">
              <a:buNone/>
              <a:tabLst/>
              <a:defRPr sz="1960"/>
            </a:lvl3pPr>
            <a:lvl4pPr marL="451084" indent="0">
              <a:buNone/>
              <a:defRPr/>
            </a:lvl4pPr>
            <a:lvl5pPr marL="671959"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04668488"/>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8"/>
            <a:ext cx="5377147" cy="2556149"/>
          </a:xfrm>
        </p:spPr>
        <p:txBody>
          <a:bodyPr wrap="square">
            <a:spAutoFit/>
          </a:bodyPr>
          <a:lstStyle>
            <a:lvl1pPr marL="281539" indent="-281539">
              <a:spcBef>
                <a:spcPts val="1200"/>
              </a:spcBef>
              <a:buClr>
                <a:schemeClr val="tx1"/>
              </a:buClr>
              <a:buFont typeface="Wingdings" panose="05000000000000000000" pitchFamily="2" charset="2"/>
              <a:buChar char="§"/>
              <a:defRPr sz="3527"/>
            </a:lvl1pPr>
            <a:lvl2pPr marL="520446" indent="-228488">
              <a:defRPr sz="2352"/>
            </a:lvl2pPr>
            <a:lvl3pPr marL="685465" indent="-165020">
              <a:tabLst/>
              <a:defRPr sz="1960"/>
            </a:lvl3pPr>
            <a:lvl4pPr marL="863178" indent="-177714">
              <a:defRPr/>
            </a:lvl4pPr>
            <a:lvl5pPr marL="1028197" indent="-165020">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2510" y="1189178"/>
            <a:ext cx="5377147" cy="2556149"/>
          </a:xfrm>
        </p:spPr>
        <p:txBody>
          <a:bodyPr wrap="square">
            <a:spAutoFit/>
          </a:bodyPr>
          <a:lstStyle>
            <a:lvl1pPr marL="281539" indent="-281539">
              <a:spcBef>
                <a:spcPts val="1200"/>
              </a:spcBef>
              <a:buClr>
                <a:schemeClr val="tx1"/>
              </a:buClr>
              <a:buFont typeface="Wingdings" panose="05000000000000000000" pitchFamily="2" charset="2"/>
              <a:buChar char="§"/>
              <a:defRPr sz="3527"/>
            </a:lvl1pPr>
            <a:lvl2pPr marL="520446" indent="-228488">
              <a:defRPr sz="2352"/>
            </a:lvl2pPr>
            <a:lvl3pPr marL="685465" indent="-165020">
              <a:tabLst/>
              <a:defRPr sz="1960"/>
            </a:lvl3pPr>
            <a:lvl4pPr marL="863178" indent="-177714">
              <a:defRPr/>
            </a:lvl4pPr>
            <a:lvl5pPr marL="1028197" indent="-165020">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365797450"/>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8"/>
            <a:ext cx="5377147" cy="2552967"/>
          </a:xfrm>
        </p:spPr>
        <p:txBody>
          <a:bodyPr wrap="square">
            <a:spAutoFit/>
          </a:bodyPr>
          <a:lstStyle>
            <a:lvl1pPr marL="281539" indent="-281539">
              <a:spcBef>
                <a:spcPts val="1200"/>
              </a:spcBef>
              <a:buClr>
                <a:schemeClr val="tx2"/>
              </a:buClr>
              <a:buFont typeface="Wingdings" panose="05000000000000000000" pitchFamily="2" charset="2"/>
              <a:buChar char="§"/>
              <a:defRPr sz="3527">
                <a:gradFill>
                  <a:gsLst>
                    <a:gs pos="5109">
                      <a:schemeClr val="tx2"/>
                    </a:gs>
                    <a:gs pos="100000">
                      <a:schemeClr val="tx2"/>
                    </a:gs>
                  </a:gsLst>
                  <a:lin ang="5400000" scaled="0"/>
                </a:gradFill>
              </a:defRPr>
            </a:lvl1pPr>
            <a:lvl2pPr marL="520446" indent="-228488">
              <a:defRPr sz="2352"/>
            </a:lvl2pPr>
            <a:lvl3pPr marL="685465" indent="-165020">
              <a:tabLst/>
              <a:defRPr sz="1960"/>
            </a:lvl3pPr>
            <a:lvl4pPr marL="863178" indent="-177714">
              <a:defRPr/>
            </a:lvl4pPr>
            <a:lvl5pPr marL="1028197" indent="-165020">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2510" y="1189178"/>
            <a:ext cx="5377147" cy="2552967"/>
          </a:xfrm>
        </p:spPr>
        <p:txBody>
          <a:bodyPr wrap="square">
            <a:spAutoFit/>
          </a:bodyPr>
          <a:lstStyle>
            <a:lvl1pPr marL="281539" indent="-281539">
              <a:spcBef>
                <a:spcPts val="1200"/>
              </a:spcBef>
              <a:buClr>
                <a:schemeClr val="tx2"/>
              </a:buClr>
              <a:buFont typeface="Wingdings" panose="05000000000000000000" pitchFamily="2" charset="2"/>
              <a:buChar char="§"/>
              <a:defRPr sz="3527">
                <a:gradFill>
                  <a:gsLst>
                    <a:gs pos="5109">
                      <a:schemeClr val="tx2"/>
                    </a:gs>
                    <a:gs pos="100000">
                      <a:schemeClr val="tx2"/>
                    </a:gs>
                  </a:gsLst>
                  <a:lin ang="5400000" scaled="0"/>
                </a:gradFill>
              </a:defRPr>
            </a:lvl1pPr>
            <a:lvl2pPr marL="520446" indent="-228488">
              <a:defRPr sz="2352"/>
            </a:lvl2pPr>
            <a:lvl3pPr marL="685465" indent="-165020">
              <a:tabLst/>
              <a:defRPr sz="1960"/>
            </a:lvl3pPr>
            <a:lvl4pPr marL="863178" indent="-177714">
              <a:defRPr/>
            </a:lvl4pPr>
            <a:lvl5pPr marL="1028197" indent="-165020">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785894285"/>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049138242"/>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6949" y="1187623"/>
            <a:ext cx="11652805" cy="899665"/>
          </a:xfrm>
        </p:spPr>
        <p:txBody>
          <a:bodyPr/>
          <a:lstStyle>
            <a:lvl1pPr>
              <a:defRPr sz="7054" baseline="0"/>
            </a:lvl1pPr>
          </a:lstStyle>
          <a:p>
            <a:r>
              <a:rPr lang="en-US" dirty="0" smtClean="0"/>
              <a:t>Click to edit Master title style</a:t>
            </a:r>
            <a:endParaRPr lang="en-US" dirty="0"/>
          </a:p>
        </p:txBody>
      </p:sp>
    </p:spTree>
    <p:extLst>
      <p:ext uri="{BB962C8B-B14F-4D97-AF65-F5344CB8AC3E}">
        <p14:creationId xmlns:p14="http://schemas.microsoft.com/office/powerpoint/2010/main" val="865460532"/>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146" y="2084173"/>
            <a:ext cx="8056131" cy="1793104"/>
          </a:xfrm>
        </p:spPr>
        <p:txBody>
          <a:bodyPr/>
          <a:lstStyle>
            <a:lvl1pPr>
              <a:defRPr sz="5879" baseline="0"/>
            </a:lvl1pPr>
          </a:lstStyle>
          <a:p>
            <a:r>
              <a:rPr lang="en-US" dirty="0" smtClean="0"/>
              <a:t>Click to edit Master title style</a:t>
            </a:r>
            <a:endParaRPr lang="en-US" dirty="0"/>
          </a:p>
        </p:txBody>
      </p:sp>
    </p:spTree>
    <p:extLst>
      <p:ext uri="{BB962C8B-B14F-4D97-AF65-F5344CB8AC3E}">
        <p14:creationId xmlns:p14="http://schemas.microsoft.com/office/powerpoint/2010/main" val="1683257990"/>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Fact Layout_Accent Color 2">
    <p:spTree>
      <p:nvGrpSpPr>
        <p:cNvPr id="1" name=""/>
        <p:cNvGrpSpPr/>
        <p:nvPr/>
      </p:nvGrpSpPr>
      <p:grpSpPr>
        <a:xfrm>
          <a:off x="0" y="0"/>
          <a:ext cx="0" cy="0"/>
          <a:chOff x="0" y="0"/>
          <a:chExt cx="0" cy="0"/>
        </a:xfrm>
      </p:grpSpPr>
      <p:sp>
        <p:nvSpPr>
          <p:cNvPr id="2" name="Title 1"/>
          <p:cNvSpPr>
            <a:spLocks noGrp="1"/>
          </p:cNvSpPr>
          <p:nvPr>
            <p:ph type="title"/>
          </p:nvPr>
        </p:nvSpPr>
        <p:spPr>
          <a:xfrm>
            <a:off x="2071146" y="2084173"/>
            <a:ext cx="8056131" cy="1793104"/>
          </a:xfrm>
        </p:spPr>
        <p:txBody>
          <a:bodyPr/>
          <a:lstStyle>
            <a:lvl1pPr>
              <a:defRPr sz="5879" baseline="0"/>
            </a:lvl1pPr>
          </a:lstStyle>
          <a:p>
            <a:r>
              <a:rPr lang="en-US" dirty="0" smtClean="0"/>
              <a:t>Click to edit Master title style</a:t>
            </a:r>
            <a:endParaRPr lang="en-US" dirty="0"/>
          </a:p>
        </p:txBody>
      </p:sp>
    </p:spTree>
    <p:extLst>
      <p:ext uri="{BB962C8B-B14F-4D97-AF65-F5344CB8AC3E}">
        <p14:creationId xmlns:p14="http://schemas.microsoft.com/office/powerpoint/2010/main" val="132048344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1178351"/>
            <a:ext cx="9858104" cy="899665"/>
          </a:xfrm>
        </p:spPr>
        <p:txBody>
          <a:bodyPr/>
          <a:lstStyle>
            <a:lvl1pPr marL="228653" indent="-228653">
              <a:defRPr sz="5879"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8" y="5025984"/>
            <a:ext cx="5377148" cy="1050156"/>
          </a:xfrm>
        </p:spPr>
        <p:txBody>
          <a:bodyPr/>
          <a:lstStyle>
            <a:lvl1pPr marL="0" indent="0">
              <a:spcBef>
                <a:spcPts val="0"/>
              </a:spcBef>
              <a:buNone/>
              <a:defRPr sz="3135"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1228286425"/>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318.xml"/><Relationship Id="rId13" Type="http://schemas.openxmlformats.org/officeDocument/2006/relationships/slideLayout" Target="../slideLayouts/slideLayout323.xml"/><Relationship Id="rId18" Type="http://schemas.openxmlformats.org/officeDocument/2006/relationships/slideLayout" Target="../slideLayouts/slideLayout328.xml"/><Relationship Id="rId26" Type="http://schemas.openxmlformats.org/officeDocument/2006/relationships/slideLayout" Target="../slideLayouts/slideLayout336.xml"/><Relationship Id="rId3" Type="http://schemas.openxmlformats.org/officeDocument/2006/relationships/slideLayout" Target="../slideLayouts/slideLayout313.xml"/><Relationship Id="rId21" Type="http://schemas.openxmlformats.org/officeDocument/2006/relationships/slideLayout" Target="../slideLayouts/slideLayout331.xml"/><Relationship Id="rId34" Type="http://schemas.openxmlformats.org/officeDocument/2006/relationships/theme" Target="../theme/theme10.xml"/><Relationship Id="rId7" Type="http://schemas.openxmlformats.org/officeDocument/2006/relationships/slideLayout" Target="../slideLayouts/slideLayout317.xml"/><Relationship Id="rId12" Type="http://schemas.openxmlformats.org/officeDocument/2006/relationships/slideLayout" Target="../slideLayouts/slideLayout322.xml"/><Relationship Id="rId17" Type="http://schemas.openxmlformats.org/officeDocument/2006/relationships/slideLayout" Target="../slideLayouts/slideLayout327.xml"/><Relationship Id="rId25" Type="http://schemas.openxmlformats.org/officeDocument/2006/relationships/slideLayout" Target="../slideLayouts/slideLayout335.xml"/><Relationship Id="rId33" Type="http://schemas.openxmlformats.org/officeDocument/2006/relationships/slideLayout" Target="../slideLayouts/slideLayout343.xml"/><Relationship Id="rId2" Type="http://schemas.openxmlformats.org/officeDocument/2006/relationships/slideLayout" Target="../slideLayouts/slideLayout312.xml"/><Relationship Id="rId16" Type="http://schemas.openxmlformats.org/officeDocument/2006/relationships/slideLayout" Target="../slideLayouts/slideLayout326.xml"/><Relationship Id="rId20" Type="http://schemas.openxmlformats.org/officeDocument/2006/relationships/slideLayout" Target="../slideLayouts/slideLayout330.xml"/><Relationship Id="rId29" Type="http://schemas.openxmlformats.org/officeDocument/2006/relationships/slideLayout" Target="../slideLayouts/slideLayout339.xml"/><Relationship Id="rId1" Type="http://schemas.openxmlformats.org/officeDocument/2006/relationships/slideLayout" Target="../slideLayouts/slideLayout311.xml"/><Relationship Id="rId6" Type="http://schemas.openxmlformats.org/officeDocument/2006/relationships/slideLayout" Target="../slideLayouts/slideLayout316.xml"/><Relationship Id="rId11" Type="http://schemas.openxmlformats.org/officeDocument/2006/relationships/slideLayout" Target="../slideLayouts/slideLayout321.xml"/><Relationship Id="rId24" Type="http://schemas.openxmlformats.org/officeDocument/2006/relationships/slideLayout" Target="../slideLayouts/slideLayout334.xml"/><Relationship Id="rId32" Type="http://schemas.openxmlformats.org/officeDocument/2006/relationships/slideLayout" Target="../slideLayouts/slideLayout342.xml"/><Relationship Id="rId5" Type="http://schemas.openxmlformats.org/officeDocument/2006/relationships/slideLayout" Target="../slideLayouts/slideLayout315.xml"/><Relationship Id="rId15" Type="http://schemas.openxmlformats.org/officeDocument/2006/relationships/slideLayout" Target="../slideLayouts/slideLayout325.xml"/><Relationship Id="rId23" Type="http://schemas.openxmlformats.org/officeDocument/2006/relationships/slideLayout" Target="../slideLayouts/slideLayout333.xml"/><Relationship Id="rId28" Type="http://schemas.openxmlformats.org/officeDocument/2006/relationships/slideLayout" Target="../slideLayouts/slideLayout338.xml"/><Relationship Id="rId36" Type="http://schemas.openxmlformats.org/officeDocument/2006/relationships/image" Target="../media/image5.png"/><Relationship Id="rId10" Type="http://schemas.openxmlformats.org/officeDocument/2006/relationships/slideLayout" Target="../slideLayouts/slideLayout320.xml"/><Relationship Id="rId19" Type="http://schemas.openxmlformats.org/officeDocument/2006/relationships/slideLayout" Target="../slideLayouts/slideLayout329.xml"/><Relationship Id="rId31" Type="http://schemas.openxmlformats.org/officeDocument/2006/relationships/slideLayout" Target="../slideLayouts/slideLayout341.xml"/><Relationship Id="rId4" Type="http://schemas.openxmlformats.org/officeDocument/2006/relationships/slideLayout" Target="../slideLayouts/slideLayout314.xml"/><Relationship Id="rId9" Type="http://schemas.openxmlformats.org/officeDocument/2006/relationships/slideLayout" Target="../slideLayouts/slideLayout319.xml"/><Relationship Id="rId14" Type="http://schemas.openxmlformats.org/officeDocument/2006/relationships/slideLayout" Target="../slideLayouts/slideLayout324.xml"/><Relationship Id="rId22" Type="http://schemas.openxmlformats.org/officeDocument/2006/relationships/slideLayout" Target="../slideLayouts/slideLayout332.xml"/><Relationship Id="rId27" Type="http://schemas.openxmlformats.org/officeDocument/2006/relationships/slideLayout" Target="../slideLayouts/slideLayout337.xml"/><Relationship Id="rId30" Type="http://schemas.openxmlformats.org/officeDocument/2006/relationships/slideLayout" Target="../slideLayouts/slideLayout340.xml"/><Relationship Id="rId35" Type="http://schemas.openxmlformats.org/officeDocument/2006/relationships/image" Target="../media/image4.pn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351.xml"/><Relationship Id="rId13" Type="http://schemas.openxmlformats.org/officeDocument/2006/relationships/slideLayout" Target="../slideLayouts/slideLayout356.xml"/><Relationship Id="rId18" Type="http://schemas.openxmlformats.org/officeDocument/2006/relationships/slideLayout" Target="../slideLayouts/slideLayout361.xml"/><Relationship Id="rId26" Type="http://schemas.openxmlformats.org/officeDocument/2006/relationships/slideLayout" Target="../slideLayouts/slideLayout369.xml"/><Relationship Id="rId3" Type="http://schemas.openxmlformats.org/officeDocument/2006/relationships/slideLayout" Target="../slideLayouts/slideLayout346.xml"/><Relationship Id="rId21" Type="http://schemas.openxmlformats.org/officeDocument/2006/relationships/slideLayout" Target="../slideLayouts/slideLayout364.xml"/><Relationship Id="rId34" Type="http://schemas.openxmlformats.org/officeDocument/2006/relationships/slideLayout" Target="../slideLayouts/slideLayout377.xml"/><Relationship Id="rId7" Type="http://schemas.openxmlformats.org/officeDocument/2006/relationships/slideLayout" Target="../slideLayouts/slideLayout350.xml"/><Relationship Id="rId12" Type="http://schemas.openxmlformats.org/officeDocument/2006/relationships/slideLayout" Target="../slideLayouts/slideLayout355.xml"/><Relationship Id="rId17" Type="http://schemas.openxmlformats.org/officeDocument/2006/relationships/slideLayout" Target="../slideLayouts/slideLayout360.xml"/><Relationship Id="rId25" Type="http://schemas.openxmlformats.org/officeDocument/2006/relationships/slideLayout" Target="../slideLayouts/slideLayout368.xml"/><Relationship Id="rId33" Type="http://schemas.openxmlformats.org/officeDocument/2006/relationships/slideLayout" Target="../slideLayouts/slideLayout376.xml"/><Relationship Id="rId38" Type="http://schemas.openxmlformats.org/officeDocument/2006/relationships/image" Target="../media/image27.png"/><Relationship Id="rId2" Type="http://schemas.openxmlformats.org/officeDocument/2006/relationships/slideLayout" Target="../slideLayouts/slideLayout345.xml"/><Relationship Id="rId16" Type="http://schemas.openxmlformats.org/officeDocument/2006/relationships/slideLayout" Target="../slideLayouts/slideLayout359.xml"/><Relationship Id="rId20" Type="http://schemas.openxmlformats.org/officeDocument/2006/relationships/slideLayout" Target="../slideLayouts/slideLayout363.xml"/><Relationship Id="rId29" Type="http://schemas.openxmlformats.org/officeDocument/2006/relationships/slideLayout" Target="../slideLayouts/slideLayout372.xml"/><Relationship Id="rId1" Type="http://schemas.openxmlformats.org/officeDocument/2006/relationships/slideLayout" Target="../slideLayouts/slideLayout344.xml"/><Relationship Id="rId6" Type="http://schemas.openxmlformats.org/officeDocument/2006/relationships/slideLayout" Target="../slideLayouts/slideLayout349.xml"/><Relationship Id="rId11" Type="http://schemas.openxmlformats.org/officeDocument/2006/relationships/slideLayout" Target="../slideLayouts/slideLayout354.xml"/><Relationship Id="rId24" Type="http://schemas.openxmlformats.org/officeDocument/2006/relationships/slideLayout" Target="../slideLayouts/slideLayout367.xml"/><Relationship Id="rId32" Type="http://schemas.openxmlformats.org/officeDocument/2006/relationships/slideLayout" Target="../slideLayouts/slideLayout375.xml"/><Relationship Id="rId37" Type="http://schemas.openxmlformats.org/officeDocument/2006/relationships/theme" Target="../theme/theme11.xml"/><Relationship Id="rId5" Type="http://schemas.openxmlformats.org/officeDocument/2006/relationships/slideLayout" Target="../slideLayouts/slideLayout348.xml"/><Relationship Id="rId15" Type="http://schemas.openxmlformats.org/officeDocument/2006/relationships/slideLayout" Target="../slideLayouts/slideLayout358.xml"/><Relationship Id="rId23" Type="http://schemas.openxmlformats.org/officeDocument/2006/relationships/slideLayout" Target="../slideLayouts/slideLayout366.xml"/><Relationship Id="rId28" Type="http://schemas.openxmlformats.org/officeDocument/2006/relationships/slideLayout" Target="../slideLayouts/slideLayout371.xml"/><Relationship Id="rId36" Type="http://schemas.openxmlformats.org/officeDocument/2006/relationships/slideLayout" Target="../slideLayouts/slideLayout379.xml"/><Relationship Id="rId10" Type="http://schemas.openxmlformats.org/officeDocument/2006/relationships/slideLayout" Target="../slideLayouts/slideLayout353.xml"/><Relationship Id="rId19" Type="http://schemas.openxmlformats.org/officeDocument/2006/relationships/slideLayout" Target="../slideLayouts/slideLayout362.xml"/><Relationship Id="rId31" Type="http://schemas.openxmlformats.org/officeDocument/2006/relationships/slideLayout" Target="../slideLayouts/slideLayout374.xml"/><Relationship Id="rId4" Type="http://schemas.openxmlformats.org/officeDocument/2006/relationships/slideLayout" Target="../slideLayouts/slideLayout347.xml"/><Relationship Id="rId9" Type="http://schemas.openxmlformats.org/officeDocument/2006/relationships/slideLayout" Target="../slideLayouts/slideLayout352.xml"/><Relationship Id="rId14" Type="http://schemas.openxmlformats.org/officeDocument/2006/relationships/slideLayout" Target="../slideLayouts/slideLayout357.xml"/><Relationship Id="rId22" Type="http://schemas.openxmlformats.org/officeDocument/2006/relationships/slideLayout" Target="../slideLayouts/slideLayout365.xml"/><Relationship Id="rId27" Type="http://schemas.openxmlformats.org/officeDocument/2006/relationships/slideLayout" Target="../slideLayouts/slideLayout370.xml"/><Relationship Id="rId30" Type="http://schemas.openxmlformats.org/officeDocument/2006/relationships/slideLayout" Target="../slideLayouts/slideLayout373.xml"/><Relationship Id="rId35" Type="http://schemas.openxmlformats.org/officeDocument/2006/relationships/slideLayout" Target="../slideLayouts/slideLayout378.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387.xml"/><Relationship Id="rId13" Type="http://schemas.openxmlformats.org/officeDocument/2006/relationships/slideLayout" Target="../slideLayouts/slideLayout392.xml"/><Relationship Id="rId18" Type="http://schemas.openxmlformats.org/officeDocument/2006/relationships/slideLayout" Target="../slideLayouts/slideLayout397.xml"/><Relationship Id="rId26" Type="http://schemas.openxmlformats.org/officeDocument/2006/relationships/slideLayout" Target="../slideLayouts/slideLayout405.xml"/><Relationship Id="rId3" Type="http://schemas.openxmlformats.org/officeDocument/2006/relationships/slideLayout" Target="../slideLayouts/slideLayout382.xml"/><Relationship Id="rId21" Type="http://schemas.openxmlformats.org/officeDocument/2006/relationships/slideLayout" Target="../slideLayouts/slideLayout400.xml"/><Relationship Id="rId34" Type="http://schemas.openxmlformats.org/officeDocument/2006/relationships/slideLayout" Target="../slideLayouts/slideLayout413.xml"/><Relationship Id="rId7" Type="http://schemas.openxmlformats.org/officeDocument/2006/relationships/slideLayout" Target="../slideLayouts/slideLayout386.xml"/><Relationship Id="rId12" Type="http://schemas.openxmlformats.org/officeDocument/2006/relationships/slideLayout" Target="../slideLayouts/slideLayout391.xml"/><Relationship Id="rId17" Type="http://schemas.openxmlformats.org/officeDocument/2006/relationships/slideLayout" Target="../slideLayouts/slideLayout396.xml"/><Relationship Id="rId25" Type="http://schemas.openxmlformats.org/officeDocument/2006/relationships/slideLayout" Target="../slideLayouts/slideLayout404.xml"/><Relationship Id="rId33" Type="http://schemas.openxmlformats.org/officeDocument/2006/relationships/slideLayout" Target="../slideLayouts/slideLayout412.xml"/><Relationship Id="rId38" Type="http://schemas.openxmlformats.org/officeDocument/2006/relationships/image" Target="../media/image27.png"/><Relationship Id="rId2" Type="http://schemas.openxmlformats.org/officeDocument/2006/relationships/slideLayout" Target="../slideLayouts/slideLayout381.xml"/><Relationship Id="rId16" Type="http://schemas.openxmlformats.org/officeDocument/2006/relationships/slideLayout" Target="../slideLayouts/slideLayout395.xml"/><Relationship Id="rId20" Type="http://schemas.openxmlformats.org/officeDocument/2006/relationships/slideLayout" Target="../slideLayouts/slideLayout399.xml"/><Relationship Id="rId29" Type="http://schemas.openxmlformats.org/officeDocument/2006/relationships/slideLayout" Target="../slideLayouts/slideLayout408.xml"/><Relationship Id="rId1" Type="http://schemas.openxmlformats.org/officeDocument/2006/relationships/slideLayout" Target="../slideLayouts/slideLayout380.xml"/><Relationship Id="rId6" Type="http://schemas.openxmlformats.org/officeDocument/2006/relationships/slideLayout" Target="../slideLayouts/slideLayout385.xml"/><Relationship Id="rId11" Type="http://schemas.openxmlformats.org/officeDocument/2006/relationships/slideLayout" Target="../slideLayouts/slideLayout390.xml"/><Relationship Id="rId24" Type="http://schemas.openxmlformats.org/officeDocument/2006/relationships/slideLayout" Target="../slideLayouts/slideLayout403.xml"/><Relationship Id="rId32" Type="http://schemas.openxmlformats.org/officeDocument/2006/relationships/slideLayout" Target="../slideLayouts/slideLayout411.xml"/><Relationship Id="rId37" Type="http://schemas.openxmlformats.org/officeDocument/2006/relationships/theme" Target="../theme/theme12.xml"/><Relationship Id="rId5" Type="http://schemas.openxmlformats.org/officeDocument/2006/relationships/slideLayout" Target="../slideLayouts/slideLayout384.xml"/><Relationship Id="rId15" Type="http://schemas.openxmlformats.org/officeDocument/2006/relationships/slideLayout" Target="../slideLayouts/slideLayout394.xml"/><Relationship Id="rId23" Type="http://schemas.openxmlformats.org/officeDocument/2006/relationships/slideLayout" Target="../slideLayouts/slideLayout402.xml"/><Relationship Id="rId28" Type="http://schemas.openxmlformats.org/officeDocument/2006/relationships/slideLayout" Target="../slideLayouts/slideLayout407.xml"/><Relationship Id="rId36" Type="http://schemas.openxmlformats.org/officeDocument/2006/relationships/slideLayout" Target="../slideLayouts/slideLayout415.xml"/><Relationship Id="rId10" Type="http://schemas.openxmlformats.org/officeDocument/2006/relationships/slideLayout" Target="../slideLayouts/slideLayout389.xml"/><Relationship Id="rId19" Type="http://schemas.openxmlformats.org/officeDocument/2006/relationships/slideLayout" Target="../slideLayouts/slideLayout398.xml"/><Relationship Id="rId31" Type="http://schemas.openxmlformats.org/officeDocument/2006/relationships/slideLayout" Target="../slideLayouts/slideLayout410.xml"/><Relationship Id="rId4" Type="http://schemas.openxmlformats.org/officeDocument/2006/relationships/slideLayout" Target="../slideLayouts/slideLayout383.xml"/><Relationship Id="rId9" Type="http://schemas.openxmlformats.org/officeDocument/2006/relationships/slideLayout" Target="../slideLayouts/slideLayout388.xml"/><Relationship Id="rId14" Type="http://schemas.openxmlformats.org/officeDocument/2006/relationships/slideLayout" Target="../slideLayouts/slideLayout393.xml"/><Relationship Id="rId22" Type="http://schemas.openxmlformats.org/officeDocument/2006/relationships/slideLayout" Target="../slideLayouts/slideLayout401.xml"/><Relationship Id="rId27" Type="http://schemas.openxmlformats.org/officeDocument/2006/relationships/slideLayout" Target="../slideLayouts/slideLayout406.xml"/><Relationship Id="rId30" Type="http://schemas.openxmlformats.org/officeDocument/2006/relationships/slideLayout" Target="../slideLayouts/slideLayout409.xml"/><Relationship Id="rId35" Type="http://schemas.openxmlformats.org/officeDocument/2006/relationships/slideLayout" Target="../slideLayouts/slideLayout414.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423.xml"/><Relationship Id="rId13" Type="http://schemas.openxmlformats.org/officeDocument/2006/relationships/slideLayout" Target="../slideLayouts/slideLayout428.xml"/><Relationship Id="rId18" Type="http://schemas.openxmlformats.org/officeDocument/2006/relationships/slideLayout" Target="../slideLayouts/slideLayout433.xml"/><Relationship Id="rId26" Type="http://schemas.openxmlformats.org/officeDocument/2006/relationships/slideLayout" Target="../slideLayouts/slideLayout441.xml"/><Relationship Id="rId3" Type="http://schemas.openxmlformats.org/officeDocument/2006/relationships/slideLayout" Target="../slideLayouts/slideLayout418.xml"/><Relationship Id="rId21" Type="http://schemas.openxmlformats.org/officeDocument/2006/relationships/slideLayout" Target="../slideLayouts/slideLayout436.xml"/><Relationship Id="rId34" Type="http://schemas.openxmlformats.org/officeDocument/2006/relationships/slideLayout" Target="../slideLayouts/slideLayout449.xml"/><Relationship Id="rId7" Type="http://schemas.openxmlformats.org/officeDocument/2006/relationships/slideLayout" Target="../slideLayouts/slideLayout422.xml"/><Relationship Id="rId12" Type="http://schemas.openxmlformats.org/officeDocument/2006/relationships/slideLayout" Target="../slideLayouts/slideLayout427.xml"/><Relationship Id="rId17" Type="http://schemas.openxmlformats.org/officeDocument/2006/relationships/slideLayout" Target="../slideLayouts/slideLayout432.xml"/><Relationship Id="rId25" Type="http://schemas.openxmlformats.org/officeDocument/2006/relationships/slideLayout" Target="../slideLayouts/slideLayout440.xml"/><Relationship Id="rId33" Type="http://schemas.openxmlformats.org/officeDocument/2006/relationships/slideLayout" Target="../slideLayouts/slideLayout448.xml"/><Relationship Id="rId38" Type="http://schemas.openxmlformats.org/officeDocument/2006/relationships/image" Target="../media/image27.png"/><Relationship Id="rId2" Type="http://schemas.openxmlformats.org/officeDocument/2006/relationships/slideLayout" Target="../slideLayouts/slideLayout417.xml"/><Relationship Id="rId16" Type="http://schemas.openxmlformats.org/officeDocument/2006/relationships/slideLayout" Target="../slideLayouts/slideLayout431.xml"/><Relationship Id="rId20" Type="http://schemas.openxmlformats.org/officeDocument/2006/relationships/slideLayout" Target="../slideLayouts/slideLayout435.xml"/><Relationship Id="rId29" Type="http://schemas.openxmlformats.org/officeDocument/2006/relationships/slideLayout" Target="../slideLayouts/slideLayout444.xml"/><Relationship Id="rId1" Type="http://schemas.openxmlformats.org/officeDocument/2006/relationships/slideLayout" Target="../slideLayouts/slideLayout416.xml"/><Relationship Id="rId6" Type="http://schemas.openxmlformats.org/officeDocument/2006/relationships/slideLayout" Target="../slideLayouts/slideLayout421.xml"/><Relationship Id="rId11" Type="http://schemas.openxmlformats.org/officeDocument/2006/relationships/slideLayout" Target="../slideLayouts/slideLayout426.xml"/><Relationship Id="rId24" Type="http://schemas.openxmlformats.org/officeDocument/2006/relationships/slideLayout" Target="../slideLayouts/slideLayout439.xml"/><Relationship Id="rId32" Type="http://schemas.openxmlformats.org/officeDocument/2006/relationships/slideLayout" Target="../slideLayouts/slideLayout447.xml"/><Relationship Id="rId37" Type="http://schemas.openxmlformats.org/officeDocument/2006/relationships/theme" Target="../theme/theme13.xml"/><Relationship Id="rId5" Type="http://schemas.openxmlformats.org/officeDocument/2006/relationships/slideLayout" Target="../slideLayouts/slideLayout420.xml"/><Relationship Id="rId15" Type="http://schemas.openxmlformats.org/officeDocument/2006/relationships/slideLayout" Target="../slideLayouts/slideLayout430.xml"/><Relationship Id="rId23" Type="http://schemas.openxmlformats.org/officeDocument/2006/relationships/slideLayout" Target="../slideLayouts/slideLayout438.xml"/><Relationship Id="rId28" Type="http://schemas.openxmlformats.org/officeDocument/2006/relationships/slideLayout" Target="../slideLayouts/slideLayout443.xml"/><Relationship Id="rId36" Type="http://schemas.openxmlformats.org/officeDocument/2006/relationships/slideLayout" Target="../slideLayouts/slideLayout451.xml"/><Relationship Id="rId10" Type="http://schemas.openxmlformats.org/officeDocument/2006/relationships/slideLayout" Target="../slideLayouts/slideLayout425.xml"/><Relationship Id="rId19" Type="http://schemas.openxmlformats.org/officeDocument/2006/relationships/slideLayout" Target="../slideLayouts/slideLayout434.xml"/><Relationship Id="rId31" Type="http://schemas.openxmlformats.org/officeDocument/2006/relationships/slideLayout" Target="../slideLayouts/slideLayout446.xml"/><Relationship Id="rId4" Type="http://schemas.openxmlformats.org/officeDocument/2006/relationships/slideLayout" Target="../slideLayouts/slideLayout419.xml"/><Relationship Id="rId9" Type="http://schemas.openxmlformats.org/officeDocument/2006/relationships/slideLayout" Target="../slideLayouts/slideLayout424.xml"/><Relationship Id="rId14" Type="http://schemas.openxmlformats.org/officeDocument/2006/relationships/slideLayout" Target="../slideLayouts/slideLayout429.xml"/><Relationship Id="rId22" Type="http://schemas.openxmlformats.org/officeDocument/2006/relationships/slideLayout" Target="../slideLayouts/slideLayout437.xml"/><Relationship Id="rId27" Type="http://schemas.openxmlformats.org/officeDocument/2006/relationships/slideLayout" Target="../slideLayouts/slideLayout442.xml"/><Relationship Id="rId30" Type="http://schemas.openxmlformats.org/officeDocument/2006/relationships/slideLayout" Target="../slideLayouts/slideLayout445.xml"/><Relationship Id="rId35" Type="http://schemas.openxmlformats.org/officeDocument/2006/relationships/slideLayout" Target="../slideLayouts/slideLayout450.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459.xml"/><Relationship Id="rId13" Type="http://schemas.openxmlformats.org/officeDocument/2006/relationships/slideLayout" Target="../slideLayouts/slideLayout464.xml"/><Relationship Id="rId18" Type="http://schemas.openxmlformats.org/officeDocument/2006/relationships/slideLayout" Target="../slideLayouts/slideLayout469.xml"/><Relationship Id="rId26" Type="http://schemas.openxmlformats.org/officeDocument/2006/relationships/slideLayout" Target="../slideLayouts/slideLayout477.xml"/><Relationship Id="rId3" Type="http://schemas.openxmlformats.org/officeDocument/2006/relationships/slideLayout" Target="../slideLayouts/slideLayout454.xml"/><Relationship Id="rId21" Type="http://schemas.openxmlformats.org/officeDocument/2006/relationships/slideLayout" Target="../slideLayouts/slideLayout472.xml"/><Relationship Id="rId7" Type="http://schemas.openxmlformats.org/officeDocument/2006/relationships/slideLayout" Target="../slideLayouts/slideLayout458.xml"/><Relationship Id="rId12" Type="http://schemas.openxmlformats.org/officeDocument/2006/relationships/slideLayout" Target="../slideLayouts/slideLayout463.xml"/><Relationship Id="rId17" Type="http://schemas.openxmlformats.org/officeDocument/2006/relationships/slideLayout" Target="../slideLayouts/slideLayout468.xml"/><Relationship Id="rId25" Type="http://schemas.openxmlformats.org/officeDocument/2006/relationships/slideLayout" Target="../slideLayouts/slideLayout476.xml"/><Relationship Id="rId2" Type="http://schemas.openxmlformats.org/officeDocument/2006/relationships/slideLayout" Target="../slideLayouts/slideLayout453.xml"/><Relationship Id="rId16" Type="http://schemas.openxmlformats.org/officeDocument/2006/relationships/slideLayout" Target="../slideLayouts/slideLayout467.xml"/><Relationship Id="rId20" Type="http://schemas.openxmlformats.org/officeDocument/2006/relationships/slideLayout" Target="../slideLayouts/slideLayout471.xml"/><Relationship Id="rId29" Type="http://schemas.openxmlformats.org/officeDocument/2006/relationships/slideLayout" Target="../slideLayouts/slideLayout480.xml"/><Relationship Id="rId1" Type="http://schemas.openxmlformats.org/officeDocument/2006/relationships/slideLayout" Target="../slideLayouts/slideLayout452.xml"/><Relationship Id="rId6" Type="http://schemas.openxmlformats.org/officeDocument/2006/relationships/slideLayout" Target="../slideLayouts/slideLayout457.xml"/><Relationship Id="rId11" Type="http://schemas.openxmlformats.org/officeDocument/2006/relationships/slideLayout" Target="../slideLayouts/slideLayout462.xml"/><Relationship Id="rId24" Type="http://schemas.openxmlformats.org/officeDocument/2006/relationships/slideLayout" Target="../slideLayouts/slideLayout475.xml"/><Relationship Id="rId32" Type="http://schemas.openxmlformats.org/officeDocument/2006/relationships/image" Target="../media/image20.png"/><Relationship Id="rId5" Type="http://schemas.openxmlformats.org/officeDocument/2006/relationships/slideLayout" Target="../slideLayouts/slideLayout456.xml"/><Relationship Id="rId15" Type="http://schemas.openxmlformats.org/officeDocument/2006/relationships/slideLayout" Target="../slideLayouts/slideLayout466.xml"/><Relationship Id="rId23" Type="http://schemas.openxmlformats.org/officeDocument/2006/relationships/slideLayout" Target="../slideLayouts/slideLayout474.xml"/><Relationship Id="rId28" Type="http://schemas.openxmlformats.org/officeDocument/2006/relationships/slideLayout" Target="../slideLayouts/slideLayout479.xml"/><Relationship Id="rId10" Type="http://schemas.openxmlformats.org/officeDocument/2006/relationships/slideLayout" Target="../slideLayouts/slideLayout461.xml"/><Relationship Id="rId19" Type="http://schemas.openxmlformats.org/officeDocument/2006/relationships/slideLayout" Target="../slideLayouts/slideLayout470.xml"/><Relationship Id="rId31" Type="http://schemas.openxmlformats.org/officeDocument/2006/relationships/theme" Target="../theme/theme14.xml"/><Relationship Id="rId4" Type="http://schemas.openxmlformats.org/officeDocument/2006/relationships/slideLayout" Target="../slideLayouts/slideLayout455.xml"/><Relationship Id="rId9" Type="http://schemas.openxmlformats.org/officeDocument/2006/relationships/slideLayout" Target="../slideLayouts/slideLayout460.xml"/><Relationship Id="rId14" Type="http://schemas.openxmlformats.org/officeDocument/2006/relationships/slideLayout" Target="../slideLayouts/slideLayout465.xml"/><Relationship Id="rId22" Type="http://schemas.openxmlformats.org/officeDocument/2006/relationships/slideLayout" Target="../slideLayouts/slideLayout473.xml"/><Relationship Id="rId27" Type="http://schemas.openxmlformats.org/officeDocument/2006/relationships/slideLayout" Target="../slideLayouts/slideLayout478.xml"/><Relationship Id="rId30" Type="http://schemas.openxmlformats.org/officeDocument/2006/relationships/slideLayout" Target="../slideLayouts/slideLayout481.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489.xml"/><Relationship Id="rId13" Type="http://schemas.openxmlformats.org/officeDocument/2006/relationships/slideLayout" Target="../slideLayouts/slideLayout494.xml"/><Relationship Id="rId18" Type="http://schemas.openxmlformats.org/officeDocument/2006/relationships/slideLayout" Target="../slideLayouts/slideLayout499.xml"/><Relationship Id="rId26" Type="http://schemas.openxmlformats.org/officeDocument/2006/relationships/slideLayout" Target="../slideLayouts/slideLayout507.xml"/><Relationship Id="rId3" Type="http://schemas.openxmlformats.org/officeDocument/2006/relationships/slideLayout" Target="../slideLayouts/slideLayout484.xml"/><Relationship Id="rId21" Type="http://schemas.openxmlformats.org/officeDocument/2006/relationships/slideLayout" Target="../slideLayouts/slideLayout502.xml"/><Relationship Id="rId34" Type="http://schemas.openxmlformats.org/officeDocument/2006/relationships/slideLayout" Target="../slideLayouts/slideLayout515.xml"/><Relationship Id="rId7" Type="http://schemas.openxmlformats.org/officeDocument/2006/relationships/slideLayout" Target="../slideLayouts/slideLayout488.xml"/><Relationship Id="rId12" Type="http://schemas.openxmlformats.org/officeDocument/2006/relationships/slideLayout" Target="../slideLayouts/slideLayout493.xml"/><Relationship Id="rId17" Type="http://schemas.openxmlformats.org/officeDocument/2006/relationships/slideLayout" Target="../slideLayouts/slideLayout498.xml"/><Relationship Id="rId25" Type="http://schemas.openxmlformats.org/officeDocument/2006/relationships/slideLayout" Target="../slideLayouts/slideLayout506.xml"/><Relationship Id="rId33" Type="http://schemas.openxmlformats.org/officeDocument/2006/relationships/slideLayout" Target="../slideLayouts/slideLayout514.xml"/><Relationship Id="rId2" Type="http://schemas.openxmlformats.org/officeDocument/2006/relationships/slideLayout" Target="../slideLayouts/slideLayout483.xml"/><Relationship Id="rId16" Type="http://schemas.openxmlformats.org/officeDocument/2006/relationships/slideLayout" Target="../slideLayouts/slideLayout497.xml"/><Relationship Id="rId20" Type="http://schemas.openxmlformats.org/officeDocument/2006/relationships/slideLayout" Target="../slideLayouts/slideLayout501.xml"/><Relationship Id="rId29" Type="http://schemas.openxmlformats.org/officeDocument/2006/relationships/slideLayout" Target="../slideLayouts/slideLayout510.xml"/><Relationship Id="rId1" Type="http://schemas.openxmlformats.org/officeDocument/2006/relationships/slideLayout" Target="../slideLayouts/slideLayout482.xml"/><Relationship Id="rId6" Type="http://schemas.openxmlformats.org/officeDocument/2006/relationships/slideLayout" Target="../slideLayouts/slideLayout487.xml"/><Relationship Id="rId11" Type="http://schemas.openxmlformats.org/officeDocument/2006/relationships/slideLayout" Target="../slideLayouts/slideLayout492.xml"/><Relationship Id="rId24" Type="http://schemas.openxmlformats.org/officeDocument/2006/relationships/slideLayout" Target="../slideLayouts/slideLayout505.xml"/><Relationship Id="rId32" Type="http://schemas.openxmlformats.org/officeDocument/2006/relationships/slideLayout" Target="../slideLayouts/slideLayout513.xml"/><Relationship Id="rId5" Type="http://schemas.openxmlformats.org/officeDocument/2006/relationships/slideLayout" Target="../slideLayouts/slideLayout486.xml"/><Relationship Id="rId15" Type="http://schemas.openxmlformats.org/officeDocument/2006/relationships/slideLayout" Target="../slideLayouts/slideLayout496.xml"/><Relationship Id="rId23" Type="http://schemas.openxmlformats.org/officeDocument/2006/relationships/slideLayout" Target="../slideLayouts/slideLayout504.xml"/><Relationship Id="rId28" Type="http://schemas.openxmlformats.org/officeDocument/2006/relationships/slideLayout" Target="../slideLayouts/slideLayout509.xml"/><Relationship Id="rId36" Type="http://schemas.openxmlformats.org/officeDocument/2006/relationships/image" Target="../media/image13.png"/><Relationship Id="rId10" Type="http://schemas.openxmlformats.org/officeDocument/2006/relationships/slideLayout" Target="../slideLayouts/slideLayout491.xml"/><Relationship Id="rId19" Type="http://schemas.openxmlformats.org/officeDocument/2006/relationships/slideLayout" Target="../slideLayouts/slideLayout500.xml"/><Relationship Id="rId31" Type="http://schemas.openxmlformats.org/officeDocument/2006/relationships/slideLayout" Target="../slideLayouts/slideLayout512.xml"/><Relationship Id="rId4" Type="http://schemas.openxmlformats.org/officeDocument/2006/relationships/slideLayout" Target="../slideLayouts/slideLayout485.xml"/><Relationship Id="rId9" Type="http://schemas.openxmlformats.org/officeDocument/2006/relationships/slideLayout" Target="../slideLayouts/slideLayout490.xml"/><Relationship Id="rId14" Type="http://schemas.openxmlformats.org/officeDocument/2006/relationships/slideLayout" Target="../slideLayouts/slideLayout495.xml"/><Relationship Id="rId22" Type="http://schemas.openxmlformats.org/officeDocument/2006/relationships/slideLayout" Target="../slideLayouts/slideLayout503.xml"/><Relationship Id="rId27" Type="http://schemas.openxmlformats.org/officeDocument/2006/relationships/slideLayout" Target="../slideLayouts/slideLayout508.xml"/><Relationship Id="rId30" Type="http://schemas.openxmlformats.org/officeDocument/2006/relationships/slideLayout" Target="../slideLayouts/slideLayout511.xml"/><Relationship Id="rId35"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523.xml"/><Relationship Id="rId13" Type="http://schemas.openxmlformats.org/officeDocument/2006/relationships/slideLayout" Target="../slideLayouts/slideLayout528.xml"/><Relationship Id="rId18" Type="http://schemas.openxmlformats.org/officeDocument/2006/relationships/slideLayout" Target="../slideLayouts/slideLayout533.xml"/><Relationship Id="rId26" Type="http://schemas.openxmlformats.org/officeDocument/2006/relationships/slideLayout" Target="../slideLayouts/slideLayout541.xml"/><Relationship Id="rId3" Type="http://schemas.openxmlformats.org/officeDocument/2006/relationships/slideLayout" Target="../slideLayouts/slideLayout518.xml"/><Relationship Id="rId21" Type="http://schemas.openxmlformats.org/officeDocument/2006/relationships/slideLayout" Target="../slideLayouts/slideLayout536.xml"/><Relationship Id="rId34" Type="http://schemas.openxmlformats.org/officeDocument/2006/relationships/theme" Target="../theme/theme16.xml"/><Relationship Id="rId7" Type="http://schemas.openxmlformats.org/officeDocument/2006/relationships/slideLayout" Target="../slideLayouts/slideLayout522.xml"/><Relationship Id="rId12" Type="http://schemas.openxmlformats.org/officeDocument/2006/relationships/slideLayout" Target="../slideLayouts/slideLayout527.xml"/><Relationship Id="rId17" Type="http://schemas.openxmlformats.org/officeDocument/2006/relationships/slideLayout" Target="../slideLayouts/slideLayout532.xml"/><Relationship Id="rId25" Type="http://schemas.openxmlformats.org/officeDocument/2006/relationships/slideLayout" Target="../slideLayouts/slideLayout540.xml"/><Relationship Id="rId33" Type="http://schemas.openxmlformats.org/officeDocument/2006/relationships/slideLayout" Target="../slideLayouts/slideLayout548.xml"/><Relationship Id="rId2" Type="http://schemas.openxmlformats.org/officeDocument/2006/relationships/slideLayout" Target="../slideLayouts/slideLayout517.xml"/><Relationship Id="rId16" Type="http://schemas.openxmlformats.org/officeDocument/2006/relationships/slideLayout" Target="../slideLayouts/slideLayout531.xml"/><Relationship Id="rId20" Type="http://schemas.openxmlformats.org/officeDocument/2006/relationships/slideLayout" Target="../slideLayouts/slideLayout535.xml"/><Relationship Id="rId29" Type="http://schemas.openxmlformats.org/officeDocument/2006/relationships/slideLayout" Target="../slideLayouts/slideLayout544.xml"/><Relationship Id="rId1" Type="http://schemas.openxmlformats.org/officeDocument/2006/relationships/slideLayout" Target="../slideLayouts/slideLayout516.xml"/><Relationship Id="rId6" Type="http://schemas.openxmlformats.org/officeDocument/2006/relationships/slideLayout" Target="../slideLayouts/slideLayout521.xml"/><Relationship Id="rId11" Type="http://schemas.openxmlformats.org/officeDocument/2006/relationships/slideLayout" Target="../slideLayouts/slideLayout526.xml"/><Relationship Id="rId24" Type="http://schemas.openxmlformats.org/officeDocument/2006/relationships/slideLayout" Target="../slideLayouts/slideLayout539.xml"/><Relationship Id="rId32" Type="http://schemas.openxmlformats.org/officeDocument/2006/relationships/slideLayout" Target="../slideLayouts/slideLayout547.xml"/><Relationship Id="rId5" Type="http://schemas.openxmlformats.org/officeDocument/2006/relationships/slideLayout" Target="../slideLayouts/slideLayout520.xml"/><Relationship Id="rId15" Type="http://schemas.openxmlformats.org/officeDocument/2006/relationships/slideLayout" Target="../slideLayouts/slideLayout530.xml"/><Relationship Id="rId23" Type="http://schemas.openxmlformats.org/officeDocument/2006/relationships/slideLayout" Target="../slideLayouts/slideLayout538.xml"/><Relationship Id="rId28" Type="http://schemas.openxmlformats.org/officeDocument/2006/relationships/slideLayout" Target="../slideLayouts/slideLayout543.xml"/><Relationship Id="rId10" Type="http://schemas.openxmlformats.org/officeDocument/2006/relationships/slideLayout" Target="../slideLayouts/slideLayout525.xml"/><Relationship Id="rId19" Type="http://schemas.openxmlformats.org/officeDocument/2006/relationships/slideLayout" Target="../slideLayouts/slideLayout534.xml"/><Relationship Id="rId31" Type="http://schemas.openxmlformats.org/officeDocument/2006/relationships/slideLayout" Target="../slideLayouts/slideLayout546.xml"/><Relationship Id="rId4" Type="http://schemas.openxmlformats.org/officeDocument/2006/relationships/slideLayout" Target="../slideLayouts/slideLayout519.xml"/><Relationship Id="rId9" Type="http://schemas.openxmlformats.org/officeDocument/2006/relationships/slideLayout" Target="../slideLayouts/slideLayout524.xml"/><Relationship Id="rId14" Type="http://schemas.openxmlformats.org/officeDocument/2006/relationships/slideLayout" Target="../slideLayouts/slideLayout529.xml"/><Relationship Id="rId22" Type="http://schemas.openxmlformats.org/officeDocument/2006/relationships/slideLayout" Target="../slideLayouts/slideLayout537.xml"/><Relationship Id="rId27" Type="http://schemas.openxmlformats.org/officeDocument/2006/relationships/slideLayout" Target="../slideLayouts/slideLayout542.xml"/><Relationship Id="rId30" Type="http://schemas.openxmlformats.org/officeDocument/2006/relationships/slideLayout" Target="../slideLayouts/slideLayout545.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556.xml"/><Relationship Id="rId13" Type="http://schemas.openxmlformats.org/officeDocument/2006/relationships/slideLayout" Target="../slideLayouts/slideLayout561.xml"/><Relationship Id="rId18" Type="http://schemas.openxmlformats.org/officeDocument/2006/relationships/slideLayout" Target="../slideLayouts/slideLayout566.xml"/><Relationship Id="rId26" Type="http://schemas.openxmlformats.org/officeDocument/2006/relationships/slideLayout" Target="../slideLayouts/slideLayout574.xml"/><Relationship Id="rId3" Type="http://schemas.openxmlformats.org/officeDocument/2006/relationships/slideLayout" Target="../slideLayouts/slideLayout551.xml"/><Relationship Id="rId21" Type="http://schemas.openxmlformats.org/officeDocument/2006/relationships/slideLayout" Target="../slideLayouts/slideLayout569.xml"/><Relationship Id="rId34" Type="http://schemas.openxmlformats.org/officeDocument/2006/relationships/theme" Target="../theme/theme17.xml"/><Relationship Id="rId7" Type="http://schemas.openxmlformats.org/officeDocument/2006/relationships/slideLayout" Target="../slideLayouts/slideLayout555.xml"/><Relationship Id="rId12" Type="http://schemas.openxmlformats.org/officeDocument/2006/relationships/slideLayout" Target="../slideLayouts/slideLayout560.xml"/><Relationship Id="rId17" Type="http://schemas.openxmlformats.org/officeDocument/2006/relationships/slideLayout" Target="../slideLayouts/slideLayout565.xml"/><Relationship Id="rId25" Type="http://schemas.openxmlformats.org/officeDocument/2006/relationships/slideLayout" Target="../slideLayouts/slideLayout573.xml"/><Relationship Id="rId33" Type="http://schemas.openxmlformats.org/officeDocument/2006/relationships/slideLayout" Target="../slideLayouts/slideLayout581.xml"/><Relationship Id="rId2" Type="http://schemas.openxmlformats.org/officeDocument/2006/relationships/slideLayout" Target="../slideLayouts/slideLayout550.xml"/><Relationship Id="rId16" Type="http://schemas.openxmlformats.org/officeDocument/2006/relationships/slideLayout" Target="../slideLayouts/slideLayout564.xml"/><Relationship Id="rId20" Type="http://schemas.openxmlformats.org/officeDocument/2006/relationships/slideLayout" Target="../slideLayouts/slideLayout568.xml"/><Relationship Id="rId29" Type="http://schemas.openxmlformats.org/officeDocument/2006/relationships/slideLayout" Target="../slideLayouts/slideLayout577.xml"/><Relationship Id="rId1" Type="http://schemas.openxmlformats.org/officeDocument/2006/relationships/slideLayout" Target="../slideLayouts/slideLayout549.xml"/><Relationship Id="rId6" Type="http://schemas.openxmlformats.org/officeDocument/2006/relationships/slideLayout" Target="../slideLayouts/slideLayout554.xml"/><Relationship Id="rId11" Type="http://schemas.openxmlformats.org/officeDocument/2006/relationships/slideLayout" Target="../slideLayouts/slideLayout559.xml"/><Relationship Id="rId24" Type="http://schemas.openxmlformats.org/officeDocument/2006/relationships/slideLayout" Target="../slideLayouts/slideLayout572.xml"/><Relationship Id="rId32" Type="http://schemas.openxmlformats.org/officeDocument/2006/relationships/slideLayout" Target="../slideLayouts/slideLayout580.xml"/><Relationship Id="rId5" Type="http://schemas.openxmlformats.org/officeDocument/2006/relationships/slideLayout" Target="../slideLayouts/slideLayout553.xml"/><Relationship Id="rId15" Type="http://schemas.openxmlformats.org/officeDocument/2006/relationships/slideLayout" Target="../slideLayouts/slideLayout563.xml"/><Relationship Id="rId23" Type="http://schemas.openxmlformats.org/officeDocument/2006/relationships/slideLayout" Target="../slideLayouts/slideLayout571.xml"/><Relationship Id="rId28" Type="http://schemas.openxmlformats.org/officeDocument/2006/relationships/slideLayout" Target="../slideLayouts/slideLayout576.xml"/><Relationship Id="rId36" Type="http://schemas.openxmlformats.org/officeDocument/2006/relationships/image" Target="../media/image5.png"/><Relationship Id="rId10" Type="http://schemas.openxmlformats.org/officeDocument/2006/relationships/slideLayout" Target="../slideLayouts/slideLayout558.xml"/><Relationship Id="rId19" Type="http://schemas.openxmlformats.org/officeDocument/2006/relationships/slideLayout" Target="../slideLayouts/slideLayout567.xml"/><Relationship Id="rId31" Type="http://schemas.openxmlformats.org/officeDocument/2006/relationships/slideLayout" Target="../slideLayouts/slideLayout579.xml"/><Relationship Id="rId4" Type="http://schemas.openxmlformats.org/officeDocument/2006/relationships/slideLayout" Target="../slideLayouts/slideLayout552.xml"/><Relationship Id="rId9" Type="http://schemas.openxmlformats.org/officeDocument/2006/relationships/slideLayout" Target="../slideLayouts/slideLayout557.xml"/><Relationship Id="rId14" Type="http://schemas.openxmlformats.org/officeDocument/2006/relationships/slideLayout" Target="../slideLayouts/slideLayout562.xml"/><Relationship Id="rId22" Type="http://schemas.openxmlformats.org/officeDocument/2006/relationships/slideLayout" Target="../slideLayouts/slideLayout570.xml"/><Relationship Id="rId27" Type="http://schemas.openxmlformats.org/officeDocument/2006/relationships/slideLayout" Target="../slideLayouts/slideLayout575.xml"/><Relationship Id="rId30" Type="http://schemas.openxmlformats.org/officeDocument/2006/relationships/slideLayout" Target="../slideLayouts/slideLayout578.xml"/><Relationship Id="rId35" Type="http://schemas.openxmlformats.org/officeDocument/2006/relationships/image" Target="../media/image4.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0" Type="http://schemas.openxmlformats.org/officeDocument/2006/relationships/slideLayout" Target="../slideLayouts/slideLayout41.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slideLayout" Target="../slideLayouts/slideLayout70.xml"/><Relationship Id="rId3" Type="http://schemas.openxmlformats.org/officeDocument/2006/relationships/slideLayout" Target="../slideLayouts/slideLayout47.xml"/><Relationship Id="rId21" Type="http://schemas.openxmlformats.org/officeDocument/2006/relationships/slideLayout" Target="../slideLayouts/slideLayout65.xml"/><Relationship Id="rId34" Type="http://schemas.openxmlformats.org/officeDocument/2006/relationships/slideLayout" Target="../slideLayouts/slideLayout78.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33" Type="http://schemas.openxmlformats.org/officeDocument/2006/relationships/slideLayout" Target="../slideLayouts/slideLayout77.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29" Type="http://schemas.openxmlformats.org/officeDocument/2006/relationships/slideLayout" Target="../slideLayouts/slideLayout73.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32" Type="http://schemas.openxmlformats.org/officeDocument/2006/relationships/slideLayout" Target="../slideLayouts/slideLayout76.xml"/><Relationship Id="rId37" Type="http://schemas.openxmlformats.org/officeDocument/2006/relationships/image" Target="../media/image5.png"/><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slideLayout" Target="../slideLayouts/slideLayout72.xml"/><Relationship Id="rId36" Type="http://schemas.openxmlformats.org/officeDocument/2006/relationships/image" Target="../media/image4.png"/><Relationship Id="rId10" Type="http://schemas.openxmlformats.org/officeDocument/2006/relationships/slideLayout" Target="../slideLayouts/slideLayout54.xml"/><Relationship Id="rId19" Type="http://schemas.openxmlformats.org/officeDocument/2006/relationships/slideLayout" Target="../slideLayouts/slideLayout63.xml"/><Relationship Id="rId31" Type="http://schemas.openxmlformats.org/officeDocument/2006/relationships/slideLayout" Target="../slideLayouts/slideLayout75.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slideLayout" Target="../slideLayouts/slideLayout71.xml"/><Relationship Id="rId30" Type="http://schemas.openxmlformats.org/officeDocument/2006/relationships/slideLayout" Target="../slideLayouts/slideLayout74.xml"/><Relationship Id="rId35"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91.xml"/><Relationship Id="rId18" Type="http://schemas.openxmlformats.org/officeDocument/2006/relationships/slideLayout" Target="../slideLayouts/slideLayout96.xml"/><Relationship Id="rId26" Type="http://schemas.openxmlformats.org/officeDocument/2006/relationships/slideLayout" Target="../slideLayouts/slideLayout104.xml"/><Relationship Id="rId39" Type="http://schemas.openxmlformats.org/officeDocument/2006/relationships/slideLayout" Target="../slideLayouts/slideLayout117.xml"/><Relationship Id="rId3" Type="http://schemas.openxmlformats.org/officeDocument/2006/relationships/slideLayout" Target="../slideLayouts/slideLayout81.xml"/><Relationship Id="rId21" Type="http://schemas.openxmlformats.org/officeDocument/2006/relationships/slideLayout" Target="../slideLayouts/slideLayout99.xml"/><Relationship Id="rId34" Type="http://schemas.openxmlformats.org/officeDocument/2006/relationships/slideLayout" Target="../slideLayouts/slideLayout112.xml"/><Relationship Id="rId42" Type="http://schemas.openxmlformats.org/officeDocument/2006/relationships/slideLayout" Target="../slideLayouts/slideLayout120.xml"/><Relationship Id="rId47" Type="http://schemas.openxmlformats.org/officeDocument/2006/relationships/slideLayout" Target="../slideLayouts/slideLayout125.xml"/><Relationship Id="rId50" Type="http://schemas.openxmlformats.org/officeDocument/2006/relationships/slideLayout" Target="../slideLayouts/slideLayout128.xml"/><Relationship Id="rId7" Type="http://schemas.openxmlformats.org/officeDocument/2006/relationships/slideLayout" Target="../slideLayouts/slideLayout85.xml"/><Relationship Id="rId12" Type="http://schemas.openxmlformats.org/officeDocument/2006/relationships/slideLayout" Target="../slideLayouts/slideLayout90.xml"/><Relationship Id="rId17" Type="http://schemas.openxmlformats.org/officeDocument/2006/relationships/slideLayout" Target="../slideLayouts/slideLayout95.xml"/><Relationship Id="rId25" Type="http://schemas.openxmlformats.org/officeDocument/2006/relationships/slideLayout" Target="../slideLayouts/slideLayout103.xml"/><Relationship Id="rId33" Type="http://schemas.openxmlformats.org/officeDocument/2006/relationships/slideLayout" Target="../slideLayouts/slideLayout111.xml"/><Relationship Id="rId38" Type="http://schemas.openxmlformats.org/officeDocument/2006/relationships/slideLayout" Target="../slideLayouts/slideLayout116.xml"/><Relationship Id="rId46" Type="http://schemas.openxmlformats.org/officeDocument/2006/relationships/slideLayout" Target="../slideLayouts/slideLayout124.xml"/><Relationship Id="rId2" Type="http://schemas.openxmlformats.org/officeDocument/2006/relationships/slideLayout" Target="../slideLayouts/slideLayout80.xml"/><Relationship Id="rId16" Type="http://schemas.openxmlformats.org/officeDocument/2006/relationships/slideLayout" Target="../slideLayouts/slideLayout94.xml"/><Relationship Id="rId20" Type="http://schemas.openxmlformats.org/officeDocument/2006/relationships/slideLayout" Target="../slideLayouts/slideLayout98.xml"/><Relationship Id="rId29" Type="http://schemas.openxmlformats.org/officeDocument/2006/relationships/slideLayout" Target="../slideLayouts/slideLayout107.xml"/><Relationship Id="rId41" Type="http://schemas.openxmlformats.org/officeDocument/2006/relationships/slideLayout" Target="../slideLayouts/slideLayout119.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24" Type="http://schemas.openxmlformats.org/officeDocument/2006/relationships/slideLayout" Target="../slideLayouts/slideLayout102.xml"/><Relationship Id="rId32" Type="http://schemas.openxmlformats.org/officeDocument/2006/relationships/slideLayout" Target="../slideLayouts/slideLayout110.xml"/><Relationship Id="rId37" Type="http://schemas.openxmlformats.org/officeDocument/2006/relationships/slideLayout" Target="../slideLayouts/slideLayout115.xml"/><Relationship Id="rId40" Type="http://schemas.openxmlformats.org/officeDocument/2006/relationships/slideLayout" Target="../slideLayouts/slideLayout118.xml"/><Relationship Id="rId45" Type="http://schemas.openxmlformats.org/officeDocument/2006/relationships/slideLayout" Target="../slideLayouts/slideLayout123.xml"/><Relationship Id="rId53" Type="http://schemas.openxmlformats.org/officeDocument/2006/relationships/image" Target="../media/image13.png"/><Relationship Id="rId5" Type="http://schemas.openxmlformats.org/officeDocument/2006/relationships/slideLayout" Target="../slideLayouts/slideLayout83.xml"/><Relationship Id="rId15" Type="http://schemas.openxmlformats.org/officeDocument/2006/relationships/slideLayout" Target="../slideLayouts/slideLayout93.xml"/><Relationship Id="rId23" Type="http://schemas.openxmlformats.org/officeDocument/2006/relationships/slideLayout" Target="../slideLayouts/slideLayout101.xml"/><Relationship Id="rId28" Type="http://schemas.openxmlformats.org/officeDocument/2006/relationships/slideLayout" Target="../slideLayouts/slideLayout106.xml"/><Relationship Id="rId36" Type="http://schemas.openxmlformats.org/officeDocument/2006/relationships/slideLayout" Target="../slideLayouts/slideLayout114.xml"/><Relationship Id="rId49" Type="http://schemas.openxmlformats.org/officeDocument/2006/relationships/slideLayout" Target="../slideLayouts/slideLayout127.xml"/><Relationship Id="rId10" Type="http://schemas.openxmlformats.org/officeDocument/2006/relationships/slideLayout" Target="../slideLayouts/slideLayout88.xml"/><Relationship Id="rId19" Type="http://schemas.openxmlformats.org/officeDocument/2006/relationships/slideLayout" Target="../slideLayouts/slideLayout97.xml"/><Relationship Id="rId31" Type="http://schemas.openxmlformats.org/officeDocument/2006/relationships/slideLayout" Target="../slideLayouts/slideLayout109.xml"/><Relationship Id="rId44" Type="http://schemas.openxmlformats.org/officeDocument/2006/relationships/slideLayout" Target="../slideLayouts/slideLayout122.xml"/><Relationship Id="rId52" Type="http://schemas.openxmlformats.org/officeDocument/2006/relationships/theme" Target="../theme/theme4.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slideLayout" Target="../slideLayouts/slideLayout92.xml"/><Relationship Id="rId22" Type="http://schemas.openxmlformats.org/officeDocument/2006/relationships/slideLayout" Target="../slideLayouts/slideLayout100.xml"/><Relationship Id="rId27" Type="http://schemas.openxmlformats.org/officeDocument/2006/relationships/slideLayout" Target="../slideLayouts/slideLayout105.xml"/><Relationship Id="rId30" Type="http://schemas.openxmlformats.org/officeDocument/2006/relationships/slideLayout" Target="../slideLayouts/slideLayout108.xml"/><Relationship Id="rId35" Type="http://schemas.openxmlformats.org/officeDocument/2006/relationships/slideLayout" Target="../slideLayouts/slideLayout113.xml"/><Relationship Id="rId43" Type="http://schemas.openxmlformats.org/officeDocument/2006/relationships/slideLayout" Target="../slideLayouts/slideLayout121.xml"/><Relationship Id="rId48" Type="http://schemas.openxmlformats.org/officeDocument/2006/relationships/slideLayout" Target="../slideLayouts/slideLayout126.xml"/><Relationship Id="rId8" Type="http://schemas.openxmlformats.org/officeDocument/2006/relationships/slideLayout" Target="../slideLayouts/slideLayout86.xml"/><Relationship Id="rId51" Type="http://schemas.openxmlformats.org/officeDocument/2006/relationships/slideLayout" Target="../slideLayouts/slideLayout129.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42.xml"/><Relationship Id="rId18" Type="http://schemas.openxmlformats.org/officeDocument/2006/relationships/slideLayout" Target="../slideLayouts/slideLayout147.xml"/><Relationship Id="rId26" Type="http://schemas.openxmlformats.org/officeDocument/2006/relationships/slideLayout" Target="../slideLayouts/slideLayout155.xml"/><Relationship Id="rId39" Type="http://schemas.openxmlformats.org/officeDocument/2006/relationships/slideLayout" Target="../slideLayouts/slideLayout168.xml"/><Relationship Id="rId3" Type="http://schemas.openxmlformats.org/officeDocument/2006/relationships/slideLayout" Target="../slideLayouts/slideLayout132.xml"/><Relationship Id="rId21" Type="http://schemas.openxmlformats.org/officeDocument/2006/relationships/slideLayout" Target="../slideLayouts/slideLayout150.xml"/><Relationship Id="rId34" Type="http://schemas.openxmlformats.org/officeDocument/2006/relationships/slideLayout" Target="../slideLayouts/slideLayout163.xml"/><Relationship Id="rId42" Type="http://schemas.openxmlformats.org/officeDocument/2006/relationships/slideLayout" Target="../slideLayouts/slideLayout171.xml"/><Relationship Id="rId47" Type="http://schemas.openxmlformats.org/officeDocument/2006/relationships/slideLayout" Target="../slideLayouts/slideLayout176.xml"/><Relationship Id="rId50" Type="http://schemas.openxmlformats.org/officeDocument/2006/relationships/slideLayout" Target="../slideLayouts/slideLayout179.xml"/><Relationship Id="rId7" Type="http://schemas.openxmlformats.org/officeDocument/2006/relationships/slideLayout" Target="../slideLayouts/slideLayout136.xml"/><Relationship Id="rId12" Type="http://schemas.openxmlformats.org/officeDocument/2006/relationships/slideLayout" Target="../slideLayouts/slideLayout141.xml"/><Relationship Id="rId17" Type="http://schemas.openxmlformats.org/officeDocument/2006/relationships/slideLayout" Target="../slideLayouts/slideLayout146.xml"/><Relationship Id="rId25" Type="http://schemas.openxmlformats.org/officeDocument/2006/relationships/slideLayout" Target="../slideLayouts/slideLayout154.xml"/><Relationship Id="rId33" Type="http://schemas.openxmlformats.org/officeDocument/2006/relationships/slideLayout" Target="../slideLayouts/slideLayout162.xml"/><Relationship Id="rId38" Type="http://schemas.openxmlformats.org/officeDocument/2006/relationships/slideLayout" Target="../slideLayouts/slideLayout167.xml"/><Relationship Id="rId46" Type="http://schemas.openxmlformats.org/officeDocument/2006/relationships/slideLayout" Target="../slideLayouts/slideLayout175.xml"/><Relationship Id="rId2" Type="http://schemas.openxmlformats.org/officeDocument/2006/relationships/slideLayout" Target="../slideLayouts/slideLayout131.xml"/><Relationship Id="rId16" Type="http://schemas.openxmlformats.org/officeDocument/2006/relationships/slideLayout" Target="../slideLayouts/slideLayout145.xml"/><Relationship Id="rId20" Type="http://schemas.openxmlformats.org/officeDocument/2006/relationships/slideLayout" Target="../slideLayouts/slideLayout149.xml"/><Relationship Id="rId29" Type="http://schemas.openxmlformats.org/officeDocument/2006/relationships/slideLayout" Target="../slideLayouts/slideLayout158.xml"/><Relationship Id="rId41" Type="http://schemas.openxmlformats.org/officeDocument/2006/relationships/slideLayout" Target="../slideLayouts/slideLayout170.xml"/><Relationship Id="rId54" Type="http://schemas.openxmlformats.org/officeDocument/2006/relationships/image" Target="../media/image13.png"/><Relationship Id="rId1" Type="http://schemas.openxmlformats.org/officeDocument/2006/relationships/slideLayout" Target="../slideLayouts/slideLayout130.xml"/><Relationship Id="rId6" Type="http://schemas.openxmlformats.org/officeDocument/2006/relationships/slideLayout" Target="../slideLayouts/slideLayout135.xml"/><Relationship Id="rId11" Type="http://schemas.openxmlformats.org/officeDocument/2006/relationships/slideLayout" Target="../slideLayouts/slideLayout140.xml"/><Relationship Id="rId24" Type="http://schemas.openxmlformats.org/officeDocument/2006/relationships/slideLayout" Target="../slideLayouts/slideLayout153.xml"/><Relationship Id="rId32" Type="http://schemas.openxmlformats.org/officeDocument/2006/relationships/slideLayout" Target="../slideLayouts/slideLayout161.xml"/><Relationship Id="rId37" Type="http://schemas.openxmlformats.org/officeDocument/2006/relationships/slideLayout" Target="../slideLayouts/slideLayout166.xml"/><Relationship Id="rId40" Type="http://schemas.openxmlformats.org/officeDocument/2006/relationships/slideLayout" Target="../slideLayouts/slideLayout169.xml"/><Relationship Id="rId45" Type="http://schemas.openxmlformats.org/officeDocument/2006/relationships/slideLayout" Target="../slideLayouts/slideLayout174.xml"/><Relationship Id="rId53" Type="http://schemas.openxmlformats.org/officeDocument/2006/relationships/theme" Target="../theme/theme5.xml"/><Relationship Id="rId5" Type="http://schemas.openxmlformats.org/officeDocument/2006/relationships/slideLayout" Target="../slideLayouts/slideLayout134.xml"/><Relationship Id="rId15" Type="http://schemas.openxmlformats.org/officeDocument/2006/relationships/slideLayout" Target="../slideLayouts/slideLayout144.xml"/><Relationship Id="rId23" Type="http://schemas.openxmlformats.org/officeDocument/2006/relationships/slideLayout" Target="../slideLayouts/slideLayout152.xml"/><Relationship Id="rId28" Type="http://schemas.openxmlformats.org/officeDocument/2006/relationships/slideLayout" Target="../slideLayouts/slideLayout157.xml"/><Relationship Id="rId36" Type="http://schemas.openxmlformats.org/officeDocument/2006/relationships/slideLayout" Target="../slideLayouts/slideLayout165.xml"/><Relationship Id="rId49" Type="http://schemas.openxmlformats.org/officeDocument/2006/relationships/slideLayout" Target="../slideLayouts/slideLayout178.xml"/><Relationship Id="rId10" Type="http://schemas.openxmlformats.org/officeDocument/2006/relationships/slideLayout" Target="../slideLayouts/slideLayout139.xml"/><Relationship Id="rId19" Type="http://schemas.openxmlformats.org/officeDocument/2006/relationships/slideLayout" Target="../slideLayouts/slideLayout148.xml"/><Relationship Id="rId31" Type="http://schemas.openxmlformats.org/officeDocument/2006/relationships/slideLayout" Target="../slideLayouts/slideLayout160.xml"/><Relationship Id="rId44" Type="http://schemas.openxmlformats.org/officeDocument/2006/relationships/slideLayout" Target="../slideLayouts/slideLayout173.xml"/><Relationship Id="rId52" Type="http://schemas.openxmlformats.org/officeDocument/2006/relationships/slideLayout" Target="../slideLayouts/slideLayout181.xml"/><Relationship Id="rId4" Type="http://schemas.openxmlformats.org/officeDocument/2006/relationships/slideLayout" Target="../slideLayouts/slideLayout133.xml"/><Relationship Id="rId9" Type="http://schemas.openxmlformats.org/officeDocument/2006/relationships/slideLayout" Target="../slideLayouts/slideLayout138.xml"/><Relationship Id="rId14" Type="http://schemas.openxmlformats.org/officeDocument/2006/relationships/slideLayout" Target="../slideLayouts/slideLayout143.xml"/><Relationship Id="rId22" Type="http://schemas.openxmlformats.org/officeDocument/2006/relationships/slideLayout" Target="../slideLayouts/slideLayout151.xml"/><Relationship Id="rId27" Type="http://schemas.openxmlformats.org/officeDocument/2006/relationships/slideLayout" Target="../slideLayouts/slideLayout156.xml"/><Relationship Id="rId30" Type="http://schemas.openxmlformats.org/officeDocument/2006/relationships/slideLayout" Target="../slideLayouts/slideLayout159.xml"/><Relationship Id="rId35" Type="http://schemas.openxmlformats.org/officeDocument/2006/relationships/slideLayout" Target="../slideLayouts/slideLayout164.xml"/><Relationship Id="rId43" Type="http://schemas.openxmlformats.org/officeDocument/2006/relationships/slideLayout" Target="../slideLayouts/slideLayout172.xml"/><Relationship Id="rId48" Type="http://schemas.openxmlformats.org/officeDocument/2006/relationships/slideLayout" Target="../slideLayouts/slideLayout177.xml"/><Relationship Id="rId8" Type="http://schemas.openxmlformats.org/officeDocument/2006/relationships/slideLayout" Target="../slideLayouts/slideLayout137.xml"/><Relationship Id="rId51" Type="http://schemas.openxmlformats.org/officeDocument/2006/relationships/slideLayout" Target="../slideLayouts/slideLayout18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89.xml"/><Relationship Id="rId13" Type="http://schemas.openxmlformats.org/officeDocument/2006/relationships/slideLayout" Target="../slideLayouts/slideLayout194.xml"/><Relationship Id="rId18" Type="http://schemas.openxmlformats.org/officeDocument/2006/relationships/slideLayout" Target="../slideLayouts/slideLayout199.xml"/><Relationship Id="rId26" Type="http://schemas.openxmlformats.org/officeDocument/2006/relationships/slideLayout" Target="../slideLayouts/slideLayout207.xml"/><Relationship Id="rId3" Type="http://schemas.openxmlformats.org/officeDocument/2006/relationships/slideLayout" Target="../slideLayouts/slideLayout184.xml"/><Relationship Id="rId21" Type="http://schemas.openxmlformats.org/officeDocument/2006/relationships/slideLayout" Target="../slideLayouts/slideLayout202.xml"/><Relationship Id="rId34" Type="http://schemas.openxmlformats.org/officeDocument/2006/relationships/theme" Target="../theme/theme6.xml"/><Relationship Id="rId7" Type="http://schemas.openxmlformats.org/officeDocument/2006/relationships/slideLayout" Target="../slideLayouts/slideLayout188.xml"/><Relationship Id="rId12" Type="http://schemas.openxmlformats.org/officeDocument/2006/relationships/slideLayout" Target="../slideLayouts/slideLayout193.xml"/><Relationship Id="rId17" Type="http://schemas.openxmlformats.org/officeDocument/2006/relationships/slideLayout" Target="../slideLayouts/slideLayout198.xml"/><Relationship Id="rId25" Type="http://schemas.openxmlformats.org/officeDocument/2006/relationships/slideLayout" Target="../slideLayouts/slideLayout206.xml"/><Relationship Id="rId33" Type="http://schemas.openxmlformats.org/officeDocument/2006/relationships/slideLayout" Target="../slideLayouts/slideLayout214.xml"/><Relationship Id="rId2" Type="http://schemas.openxmlformats.org/officeDocument/2006/relationships/slideLayout" Target="../slideLayouts/slideLayout183.xml"/><Relationship Id="rId16" Type="http://schemas.openxmlformats.org/officeDocument/2006/relationships/slideLayout" Target="../slideLayouts/slideLayout197.xml"/><Relationship Id="rId20" Type="http://schemas.openxmlformats.org/officeDocument/2006/relationships/slideLayout" Target="../slideLayouts/slideLayout201.xml"/><Relationship Id="rId29" Type="http://schemas.openxmlformats.org/officeDocument/2006/relationships/slideLayout" Target="../slideLayouts/slideLayout210.xml"/><Relationship Id="rId1" Type="http://schemas.openxmlformats.org/officeDocument/2006/relationships/slideLayout" Target="../slideLayouts/slideLayout182.xml"/><Relationship Id="rId6" Type="http://schemas.openxmlformats.org/officeDocument/2006/relationships/slideLayout" Target="../slideLayouts/slideLayout187.xml"/><Relationship Id="rId11" Type="http://schemas.openxmlformats.org/officeDocument/2006/relationships/slideLayout" Target="../slideLayouts/slideLayout192.xml"/><Relationship Id="rId24" Type="http://schemas.openxmlformats.org/officeDocument/2006/relationships/slideLayout" Target="../slideLayouts/slideLayout205.xml"/><Relationship Id="rId32" Type="http://schemas.openxmlformats.org/officeDocument/2006/relationships/slideLayout" Target="../slideLayouts/slideLayout213.xml"/><Relationship Id="rId5" Type="http://schemas.openxmlformats.org/officeDocument/2006/relationships/slideLayout" Target="../slideLayouts/slideLayout186.xml"/><Relationship Id="rId15" Type="http://schemas.openxmlformats.org/officeDocument/2006/relationships/slideLayout" Target="../slideLayouts/slideLayout196.xml"/><Relationship Id="rId23" Type="http://schemas.openxmlformats.org/officeDocument/2006/relationships/slideLayout" Target="../slideLayouts/slideLayout204.xml"/><Relationship Id="rId28" Type="http://schemas.openxmlformats.org/officeDocument/2006/relationships/slideLayout" Target="../slideLayouts/slideLayout209.xml"/><Relationship Id="rId36" Type="http://schemas.openxmlformats.org/officeDocument/2006/relationships/image" Target="../media/image5.png"/><Relationship Id="rId10" Type="http://schemas.openxmlformats.org/officeDocument/2006/relationships/slideLayout" Target="../slideLayouts/slideLayout191.xml"/><Relationship Id="rId19" Type="http://schemas.openxmlformats.org/officeDocument/2006/relationships/slideLayout" Target="../slideLayouts/slideLayout200.xml"/><Relationship Id="rId31" Type="http://schemas.openxmlformats.org/officeDocument/2006/relationships/slideLayout" Target="../slideLayouts/slideLayout212.xml"/><Relationship Id="rId4" Type="http://schemas.openxmlformats.org/officeDocument/2006/relationships/slideLayout" Target="../slideLayouts/slideLayout185.xml"/><Relationship Id="rId9" Type="http://schemas.openxmlformats.org/officeDocument/2006/relationships/slideLayout" Target="../slideLayouts/slideLayout190.xml"/><Relationship Id="rId14" Type="http://schemas.openxmlformats.org/officeDocument/2006/relationships/slideLayout" Target="../slideLayouts/slideLayout195.xml"/><Relationship Id="rId22" Type="http://schemas.openxmlformats.org/officeDocument/2006/relationships/slideLayout" Target="../slideLayouts/slideLayout203.xml"/><Relationship Id="rId27" Type="http://schemas.openxmlformats.org/officeDocument/2006/relationships/slideLayout" Target="../slideLayouts/slideLayout208.xml"/><Relationship Id="rId30" Type="http://schemas.openxmlformats.org/officeDocument/2006/relationships/slideLayout" Target="../slideLayouts/slideLayout211.xml"/><Relationship Id="rId35" Type="http://schemas.openxmlformats.org/officeDocument/2006/relationships/image" Target="../media/image4.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222.xml"/><Relationship Id="rId13" Type="http://schemas.openxmlformats.org/officeDocument/2006/relationships/slideLayout" Target="../slideLayouts/slideLayout227.xml"/><Relationship Id="rId18" Type="http://schemas.openxmlformats.org/officeDocument/2006/relationships/slideLayout" Target="../slideLayouts/slideLayout232.xml"/><Relationship Id="rId26" Type="http://schemas.openxmlformats.org/officeDocument/2006/relationships/slideLayout" Target="../slideLayouts/slideLayout240.xml"/><Relationship Id="rId3" Type="http://schemas.openxmlformats.org/officeDocument/2006/relationships/slideLayout" Target="../slideLayouts/slideLayout217.xml"/><Relationship Id="rId21" Type="http://schemas.openxmlformats.org/officeDocument/2006/relationships/slideLayout" Target="../slideLayouts/slideLayout235.xml"/><Relationship Id="rId7" Type="http://schemas.openxmlformats.org/officeDocument/2006/relationships/slideLayout" Target="../slideLayouts/slideLayout221.xml"/><Relationship Id="rId12" Type="http://schemas.openxmlformats.org/officeDocument/2006/relationships/slideLayout" Target="../slideLayouts/slideLayout226.xml"/><Relationship Id="rId17" Type="http://schemas.openxmlformats.org/officeDocument/2006/relationships/slideLayout" Target="../slideLayouts/slideLayout231.xml"/><Relationship Id="rId25" Type="http://schemas.openxmlformats.org/officeDocument/2006/relationships/slideLayout" Target="../slideLayouts/slideLayout239.xml"/><Relationship Id="rId2" Type="http://schemas.openxmlformats.org/officeDocument/2006/relationships/slideLayout" Target="../slideLayouts/slideLayout216.xml"/><Relationship Id="rId16" Type="http://schemas.openxmlformats.org/officeDocument/2006/relationships/slideLayout" Target="../slideLayouts/slideLayout230.xml"/><Relationship Id="rId20" Type="http://schemas.openxmlformats.org/officeDocument/2006/relationships/slideLayout" Target="../slideLayouts/slideLayout234.xml"/><Relationship Id="rId29" Type="http://schemas.openxmlformats.org/officeDocument/2006/relationships/slideLayout" Target="../slideLayouts/slideLayout243.xml"/><Relationship Id="rId1" Type="http://schemas.openxmlformats.org/officeDocument/2006/relationships/slideLayout" Target="../slideLayouts/slideLayout215.xml"/><Relationship Id="rId6" Type="http://schemas.openxmlformats.org/officeDocument/2006/relationships/slideLayout" Target="../slideLayouts/slideLayout220.xml"/><Relationship Id="rId11" Type="http://schemas.openxmlformats.org/officeDocument/2006/relationships/slideLayout" Target="../slideLayouts/slideLayout225.xml"/><Relationship Id="rId24" Type="http://schemas.openxmlformats.org/officeDocument/2006/relationships/slideLayout" Target="../slideLayouts/slideLayout238.xml"/><Relationship Id="rId32" Type="http://schemas.openxmlformats.org/officeDocument/2006/relationships/image" Target="../media/image20.png"/><Relationship Id="rId5" Type="http://schemas.openxmlformats.org/officeDocument/2006/relationships/slideLayout" Target="../slideLayouts/slideLayout219.xml"/><Relationship Id="rId15" Type="http://schemas.openxmlformats.org/officeDocument/2006/relationships/slideLayout" Target="../slideLayouts/slideLayout229.xml"/><Relationship Id="rId23" Type="http://schemas.openxmlformats.org/officeDocument/2006/relationships/slideLayout" Target="../slideLayouts/slideLayout237.xml"/><Relationship Id="rId28" Type="http://schemas.openxmlformats.org/officeDocument/2006/relationships/slideLayout" Target="../slideLayouts/slideLayout242.xml"/><Relationship Id="rId10" Type="http://schemas.openxmlformats.org/officeDocument/2006/relationships/slideLayout" Target="../slideLayouts/slideLayout224.xml"/><Relationship Id="rId19" Type="http://schemas.openxmlformats.org/officeDocument/2006/relationships/slideLayout" Target="../slideLayouts/slideLayout233.xml"/><Relationship Id="rId31" Type="http://schemas.openxmlformats.org/officeDocument/2006/relationships/theme" Target="../theme/theme7.xml"/><Relationship Id="rId4" Type="http://schemas.openxmlformats.org/officeDocument/2006/relationships/slideLayout" Target="../slideLayouts/slideLayout218.xml"/><Relationship Id="rId9" Type="http://schemas.openxmlformats.org/officeDocument/2006/relationships/slideLayout" Target="../slideLayouts/slideLayout223.xml"/><Relationship Id="rId14" Type="http://schemas.openxmlformats.org/officeDocument/2006/relationships/slideLayout" Target="../slideLayouts/slideLayout228.xml"/><Relationship Id="rId22" Type="http://schemas.openxmlformats.org/officeDocument/2006/relationships/slideLayout" Target="../slideLayouts/slideLayout236.xml"/><Relationship Id="rId27" Type="http://schemas.openxmlformats.org/officeDocument/2006/relationships/slideLayout" Target="../slideLayouts/slideLayout241.xml"/><Relationship Id="rId30" Type="http://schemas.openxmlformats.org/officeDocument/2006/relationships/slideLayout" Target="../slideLayouts/slideLayout244.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52.xml"/><Relationship Id="rId13" Type="http://schemas.openxmlformats.org/officeDocument/2006/relationships/slideLayout" Target="../slideLayouts/slideLayout257.xml"/><Relationship Id="rId18" Type="http://schemas.openxmlformats.org/officeDocument/2006/relationships/slideLayout" Target="../slideLayouts/slideLayout262.xml"/><Relationship Id="rId26" Type="http://schemas.openxmlformats.org/officeDocument/2006/relationships/slideLayout" Target="../slideLayouts/slideLayout270.xml"/><Relationship Id="rId3" Type="http://schemas.openxmlformats.org/officeDocument/2006/relationships/slideLayout" Target="../slideLayouts/slideLayout247.xml"/><Relationship Id="rId21" Type="http://schemas.openxmlformats.org/officeDocument/2006/relationships/slideLayout" Target="../slideLayouts/slideLayout265.xml"/><Relationship Id="rId34" Type="http://schemas.openxmlformats.org/officeDocument/2006/relationships/theme" Target="../theme/theme8.xml"/><Relationship Id="rId7" Type="http://schemas.openxmlformats.org/officeDocument/2006/relationships/slideLayout" Target="../slideLayouts/slideLayout251.xml"/><Relationship Id="rId12" Type="http://schemas.openxmlformats.org/officeDocument/2006/relationships/slideLayout" Target="../slideLayouts/slideLayout256.xml"/><Relationship Id="rId17" Type="http://schemas.openxmlformats.org/officeDocument/2006/relationships/slideLayout" Target="../slideLayouts/slideLayout261.xml"/><Relationship Id="rId25" Type="http://schemas.openxmlformats.org/officeDocument/2006/relationships/slideLayout" Target="../slideLayouts/slideLayout269.xml"/><Relationship Id="rId33" Type="http://schemas.openxmlformats.org/officeDocument/2006/relationships/slideLayout" Target="../slideLayouts/slideLayout277.xml"/><Relationship Id="rId2" Type="http://schemas.openxmlformats.org/officeDocument/2006/relationships/slideLayout" Target="../slideLayouts/slideLayout246.xml"/><Relationship Id="rId16" Type="http://schemas.openxmlformats.org/officeDocument/2006/relationships/slideLayout" Target="../slideLayouts/slideLayout260.xml"/><Relationship Id="rId20" Type="http://schemas.openxmlformats.org/officeDocument/2006/relationships/slideLayout" Target="../slideLayouts/slideLayout264.xml"/><Relationship Id="rId29" Type="http://schemas.openxmlformats.org/officeDocument/2006/relationships/slideLayout" Target="../slideLayouts/slideLayout273.xml"/><Relationship Id="rId1" Type="http://schemas.openxmlformats.org/officeDocument/2006/relationships/slideLayout" Target="../slideLayouts/slideLayout245.xml"/><Relationship Id="rId6" Type="http://schemas.openxmlformats.org/officeDocument/2006/relationships/slideLayout" Target="../slideLayouts/slideLayout250.xml"/><Relationship Id="rId11" Type="http://schemas.openxmlformats.org/officeDocument/2006/relationships/slideLayout" Target="../slideLayouts/slideLayout255.xml"/><Relationship Id="rId24" Type="http://schemas.openxmlformats.org/officeDocument/2006/relationships/slideLayout" Target="../slideLayouts/slideLayout268.xml"/><Relationship Id="rId32" Type="http://schemas.openxmlformats.org/officeDocument/2006/relationships/slideLayout" Target="../slideLayouts/slideLayout276.xml"/><Relationship Id="rId5" Type="http://schemas.openxmlformats.org/officeDocument/2006/relationships/slideLayout" Target="../slideLayouts/slideLayout249.xml"/><Relationship Id="rId15" Type="http://schemas.openxmlformats.org/officeDocument/2006/relationships/slideLayout" Target="../slideLayouts/slideLayout259.xml"/><Relationship Id="rId23" Type="http://schemas.openxmlformats.org/officeDocument/2006/relationships/slideLayout" Target="../slideLayouts/slideLayout267.xml"/><Relationship Id="rId28" Type="http://schemas.openxmlformats.org/officeDocument/2006/relationships/slideLayout" Target="../slideLayouts/slideLayout272.xml"/><Relationship Id="rId36" Type="http://schemas.openxmlformats.org/officeDocument/2006/relationships/image" Target="../media/image5.png"/><Relationship Id="rId10" Type="http://schemas.openxmlformats.org/officeDocument/2006/relationships/slideLayout" Target="../slideLayouts/slideLayout254.xml"/><Relationship Id="rId19" Type="http://schemas.openxmlformats.org/officeDocument/2006/relationships/slideLayout" Target="../slideLayouts/slideLayout263.xml"/><Relationship Id="rId31" Type="http://schemas.openxmlformats.org/officeDocument/2006/relationships/slideLayout" Target="../slideLayouts/slideLayout275.xml"/><Relationship Id="rId4" Type="http://schemas.openxmlformats.org/officeDocument/2006/relationships/slideLayout" Target="../slideLayouts/slideLayout248.xml"/><Relationship Id="rId9" Type="http://schemas.openxmlformats.org/officeDocument/2006/relationships/slideLayout" Target="../slideLayouts/slideLayout253.xml"/><Relationship Id="rId14" Type="http://schemas.openxmlformats.org/officeDocument/2006/relationships/slideLayout" Target="../slideLayouts/slideLayout258.xml"/><Relationship Id="rId22" Type="http://schemas.openxmlformats.org/officeDocument/2006/relationships/slideLayout" Target="../slideLayouts/slideLayout266.xml"/><Relationship Id="rId27" Type="http://schemas.openxmlformats.org/officeDocument/2006/relationships/slideLayout" Target="../slideLayouts/slideLayout271.xml"/><Relationship Id="rId30" Type="http://schemas.openxmlformats.org/officeDocument/2006/relationships/slideLayout" Target="../slideLayouts/slideLayout274.xml"/><Relationship Id="rId35" Type="http://schemas.openxmlformats.org/officeDocument/2006/relationships/image" Target="../media/image4.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85.xml"/><Relationship Id="rId13" Type="http://schemas.openxmlformats.org/officeDocument/2006/relationships/slideLayout" Target="../slideLayouts/slideLayout290.xml"/><Relationship Id="rId18" Type="http://schemas.openxmlformats.org/officeDocument/2006/relationships/slideLayout" Target="../slideLayouts/slideLayout295.xml"/><Relationship Id="rId26" Type="http://schemas.openxmlformats.org/officeDocument/2006/relationships/slideLayout" Target="../slideLayouts/slideLayout303.xml"/><Relationship Id="rId3" Type="http://schemas.openxmlformats.org/officeDocument/2006/relationships/slideLayout" Target="../slideLayouts/slideLayout280.xml"/><Relationship Id="rId21" Type="http://schemas.openxmlformats.org/officeDocument/2006/relationships/slideLayout" Target="../slideLayouts/slideLayout298.xml"/><Relationship Id="rId34" Type="http://schemas.openxmlformats.org/officeDocument/2006/relationships/theme" Target="../theme/theme9.xml"/><Relationship Id="rId7" Type="http://schemas.openxmlformats.org/officeDocument/2006/relationships/slideLayout" Target="../slideLayouts/slideLayout284.xml"/><Relationship Id="rId12" Type="http://schemas.openxmlformats.org/officeDocument/2006/relationships/slideLayout" Target="../slideLayouts/slideLayout289.xml"/><Relationship Id="rId17" Type="http://schemas.openxmlformats.org/officeDocument/2006/relationships/slideLayout" Target="../slideLayouts/slideLayout294.xml"/><Relationship Id="rId25" Type="http://schemas.openxmlformats.org/officeDocument/2006/relationships/slideLayout" Target="../slideLayouts/slideLayout302.xml"/><Relationship Id="rId33" Type="http://schemas.openxmlformats.org/officeDocument/2006/relationships/slideLayout" Target="../slideLayouts/slideLayout310.xml"/><Relationship Id="rId2" Type="http://schemas.openxmlformats.org/officeDocument/2006/relationships/slideLayout" Target="../slideLayouts/slideLayout279.xml"/><Relationship Id="rId16" Type="http://schemas.openxmlformats.org/officeDocument/2006/relationships/slideLayout" Target="../slideLayouts/slideLayout293.xml"/><Relationship Id="rId20" Type="http://schemas.openxmlformats.org/officeDocument/2006/relationships/slideLayout" Target="../slideLayouts/slideLayout297.xml"/><Relationship Id="rId29" Type="http://schemas.openxmlformats.org/officeDocument/2006/relationships/slideLayout" Target="../slideLayouts/slideLayout306.xml"/><Relationship Id="rId1" Type="http://schemas.openxmlformats.org/officeDocument/2006/relationships/slideLayout" Target="../slideLayouts/slideLayout278.xml"/><Relationship Id="rId6" Type="http://schemas.openxmlformats.org/officeDocument/2006/relationships/slideLayout" Target="../slideLayouts/slideLayout283.xml"/><Relationship Id="rId11" Type="http://schemas.openxmlformats.org/officeDocument/2006/relationships/slideLayout" Target="../slideLayouts/slideLayout288.xml"/><Relationship Id="rId24" Type="http://schemas.openxmlformats.org/officeDocument/2006/relationships/slideLayout" Target="../slideLayouts/slideLayout301.xml"/><Relationship Id="rId32" Type="http://schemas.openxmlformats.org/officeDocument/2006/relationships/slideLayout" Target="../slideLayouts/slideLayout309.xml"/><Relationship Id="rId5" Type="http://schemas.openxmlformats.org/officeDocument/2006/relationships/slideLayout" Target="../slideLayouts/slideLayout282.xml"/><Relationship Id="rId15" Type="http://schemas.openxmlformats.org/officeDocument/2006/relationships/slideLayout" Target="../slideLayouts/slideLayout292.xml"/><Relationship Id="rId23" Type="http://schemas.openxmlformats.org/officeDocument/2006/relationships/slideLayout" Target="../slideLayouts/slideLayout300.xml"/><Relationship Id="rId28" Type="http://schemas.openxmlformats.org/officeDocument/2006/relationships/slideLayout" Target="../slideLayouts/slideLayout305.xml"/><Relationship Id="rId36" Type="http://schemas.openxmlformats.org/officeDocument/2006/relationships/image" Target="../media/image5.png"/><Relationship Id="rId10" Type="http://schemas.openxmlformats.org/officeDocument/2006/relationships/slideLayout" Target="../slideLayouts/slideLayout287.xml"/><Relationship Id="rId19" Type="http://schemas.openxmlformats.org/officeDocument/2006/relationships/slideLayout" Target="../slideLayouts/slideLayout296.xml"/><Relationship Id="rId31" Type="http://schemas.openxmlformats.org/officeDocument/2006/relationships/slideLayout" Target="../slideLayouts/slideLayout308.xml"/><Relationship Id="rId4" Type="http://schemas.openxmlformats.org/officeDocument/2006/relationships/slideLayout" Target="../slideLayouts/slideLayout281.xml"/><Relationship Id="rId9" Type="http://schemas.openxmlformats.org/officeDocument/2006/relationships/slideLayout" Target="../slideLayouts/slideLayout286.xml"/><Relationship Id="rId14" Type="http://schemas.openxmlformats.org/officeDocument/2006/relationships/slideLayout" Target="../slideLayouts/slideLayout291.xml"/><Relationship Id="rId22" Type="http://schemas.openxmlformats.org/officeDocument/2006/relationships/slideLayout" Target="../slideLayouts/slideLayout299.xml"/><Relationship Id="rId27" Type="http://schemas.openxmlformats.org/officeDocument/2006/relationships/slideLayout" Target="../slideLayouts/slideLayout304.xml"/><Relationship Id="rId30" Type="http://schemas.openxmlformats.org/officeDocument/2006/relationships/slideLayout" Target="../slideLayouts/slideLayout307.xml"/><Relationship Id="rId35"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520700" y="1447800"/>
            <a:ext cx="11152188" cy="2055947"/>
          </a:xfrm>
          <a:prstGeom prst="rect">
            <a:avLst/>
          </a:prstGeom>
        </p:spPr>
        <p:txBody>
          <a:bodyPr vert="horz" lIns="0" tIns="0" rIns="0" bIns="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083" r:id="rId1"/>
    <p:sldLayoutId id="2147484084" r:id="rId2"/>
    <p:sldLayoutId id="2147484085" r:id="rId3"/>
    <p:sldLayoutId id="2147484087" r:id="rId4"/>
    <p:sldLayoutId id="2147484088" r:id="rId5"/>
    <p:sldLayoutId id="2147484086" r:id="rId6"/>
    <p:sldLayoutId id="2147484090" r:id="rId7"/>
    <p:sldLayoutId id="2147484091" r:id="rId8"/>
    <p:sldLayoutId id="2147484089" r:id="rId9"/>
    <p:sldLayoutId id="2147484119" r:id="rId10"/>
    <p:sldLayoutId id="2147484116" r:id="rId11"/>
    <p:sldLayoutId id="2147484117" r:id="rId12"/>
    <p:sldLayoutId id="2147484140" r:id="rId13"/>
    <p:sldLayoutId id="2147484141" r:id="rId14"/>
    <p:sldLayoutId id="2147484142" r:id="rId15"/>
    <p:sldLayoutId id="2147484143" r:id="rId16"/>
    <p:sldLayoutId id="2147484092" r:id="rId17"/>
    <p:sldLayoutId id="2147484093" r:id="rId18"/>
    <p:sldLayoutId id="2147484094" r:id="rId19"/>
    <p:sldLayoutId id="2147484096" r:id="rId20"/>
    <p:sldLayoutId id="2147484148" r:id="rId21"/>
    <p:sldLayoutId id="2147484151" r:id="rId22"/>
    <p:sldLayoutId id="2147484152" r:id="rId23"/>
    <p:sldLayoutId id="2147484154" r:id="rId24"/>
    <p:sldLayoutId id="2147484156" r:id="rId25"/>
    <p:sldLayoutId id="2147484157" r:id="rId26"/>
    <p:sldLayoutId id="2147484158" r:id="rId27"/>
    <p:sldLayoutId id="2147484159" r:id="rId28"/>
    <p:sldLayoutId id="2147484160" r:id="rId29"/>
    <p:sldLayoutId id="2147484197" r:id="rId30"/>
    <p:sldLayoutId id="2147484198" r:id="rId31"/>
  </p:sldLayoutIdLst>
  <p:transition>
    <p:fade/>
  </p:transition>
  <p:timing>
    <p:tnLst>
      <p:par>
        <p:cTn id="1" dur="indefinite" restart="never" nodeType="tmRoot"/>
      </p:par>
    </p:tnLst>
  </p:timing>
  <p:hf hdr="0" ftr="0" dt="0"/>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80000"/>
        <a:buFont typeface="Arial" pitchFamily="34" charset="0"/>
        <a:buChar char="•"/>
        <a:tabLst/>
        <a:defRPr sz="3600" kern="1200" spc="-70" baseline="0">
          <a:gradFill>
            <a:gsLst>
              <a:gs pos="1250">
                <a:schemeClr val="bg2"/>
              </a:gs>
              <a:gs pos="100000">
                <a:schemeClr val="bg2"/>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bg2"/>
              </a:gs>
              <a:gs pos="100000">
                <a:schemeClr val="bg2"/>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bg2"/>
              </a:gs>
              <a:gs pos="100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p:nvPicPr>
        <p:blipFill>
          <a:blip r:embed="rId35" cstate="email">
            <a:extLst>
              <a:ext uri="{28A0092B-C50C-407E-A947-70E740481C1C}">
                <a14:useLocalDpi xmlns:a14="http://schemas.microsoft.com/office/drawing/2010/main" val="0"/>
              </a:ext>
            </a:extLst>
          </a:blip>
          <a:stretch>
            <a:fillRect/>
          </a:stretch>
        </p:blipFill>
        <p:spPr>
          <a:xfrm rot="5400000">
            <a:off x="10321814" y="1906466"/>
            <a:ext cx="4214127" cy="401199"/>
          </a:xfrm>
          <a:prstGeom prst="rect">
            <a:avLst/>
          </a:prstGeom>
        </p:spPr>
      </p:pic>
    </p:spTree>
    <p:extLst>
      <p:ext uri="{BB962C8B-B14F-4D97-AF65-F5344CB8AC3E}">
        <p14:creationId xmlns:p14="http://schemas.microsoft.com/office/powerpoint/2010/main" val="83180234"/>
      </p:ext>
    </p:extLst>
  </p:cSld>
  <p:clrMap bg1="dk1" tx1="lt1" bg2="dk2" tx2="lt2" accent1="accent1" accent2="accent2" accent3="accent3" accent4="accent4" accent5="accent5" accent6="accent6" hlink="hlink" folHlink="folHlink"/>
  <p:sldLayoutIdLst>
    <p:sldLayoutId id="2147484439" r:id="rId1"/>
    <p:sldLayoutId id="2147484440" r:id="rId2"/>
    <p:sldLayoutId id="2147484441" r:id="rId3"/>
    <p:sldLayoutId id="2147484442" r:id="rId4"/>
    <p:sldLayoutId id="2147484443" r:id="rId5"/>
    <p:sldLayoutId id="2147484444" r:id="rId6"/>
    <p:sldLayoutId id="2147484445" r:id="rId7"/>
    <p:sldLayoutId id="2147484446" r:id="rId8"/>
    <p:sldLayoutId id="2147484447" r:id="rId9"/>
    <p:sldLayoutId id="2147484448" r:id="rId10"/>
    <p:sldLayoutId id="2147484449" r:id="rId11"/>
    <p:sldLayoutId id="2147484450" r:id="rId12"/>
    <p:sldLayoutId id="2147484451" r:id="rId13"/>
    <p:sldLayoutId id="2147484452" r:id="rId14"/>
    <p:sldLayoutId id="2147484453" r:id="rId15"/>
    <p:sldLayoutId id="2147484454" r:id="rId16"/>
    <p:sldLayoutId id="2147484455" r:id="rId17"/>
    <p:sldLayoutId id="2147484456" r:id="rId18"/>
    <p:sldLayoutId id="2147484457" r:id="rId19"/>
    <p:sldLayoutId id="2147484458" r:id="rId20"/>
    <p:sldLayoutId id="2147484459" r:id="rId21"/>
    <p:sldLayoutId id="2147484460" r:id="rId22"/>
    <p:sldLayoutId id="2147484461" r:id="rId23"/>
    <p:sldLayoutId id="2147484462" r:id="rId24"/>
    <p:sldLayoutId id="2147484463" r:id="rId25"/>
    <p:sldLayoutId id="2147484464" r:id="rId26"/>
    <p:sldLayoutId id="2147484465" r:id="rId27"/>
    <p:sldLayoutId id="2147484466" r:id="rId28"/>
    <p:sldLayoutId id="2147484467" r:id="rId29"/>
    <p:sldLayoutId id="2147484468" r:id="rId30"/>
    <p:sldLayoutId id="2147484469" r:id="rId31"/>
    <p:sldLayoutId id="2147484470" r:id="rId32"/>
    <p:sldLayoutId id="2147484471" r:id="rId33"/>
  </p:sldLayoutIdLst>
  <p:transition>
    <p:fade/>
  </p:transition>
  <p:timing>
    <p:tnLst>
      <p:par>
        <p:cTn id="1" dur="indefinite" restart="never" nodeType="tmRoot"/>
      </p:par>
    </p:tnLst>
  </p:timing>
  <p:txStyles>
    <p:titleStyle>
      <a:lvl1pPr algn="l" defTabSz="914093" rtl="0" eaLnBrk="1" latinLnBrk="0" hangingPunct="1">
        <a:lnSpc>
          <a:spcPct val="90000"/>
        </a:lnSpc>
        <a:spcBef>
          <a:spcPct val="0"/>
        </a:spcBef>
        <a:buNone/>
        <a:defRPr lang="en-US" sz="5292" b="0" kern="1200" cap="none" spc="-100" baseline="0" dirty="0" smtClean="0">
          <a:ln w="3175">
            <a:noFill/>
          </a:ln>
          <a:solidFill>
            <a:schemeClr val="bg1">
              <a:lumMod val="75000"/>
            </a:schemeClr>
          </a:solidFill>
          <a:effectLst/>
          <a:latin typeface="+mj-lt"/>
          <a:ea typeface="+mn-ea"/>
          <a:cs typeface="Segoe UI" pitchFamily="34" charset="0"/>
        </a:defRPr>
      </a:lvl1pPr>
    </p:titleStyle>
    <p:bodyStyle>
      <a:lvl1pPr marL="336044" marR="0" indent="-336044" algn="l" defTabSz="914093" rtl="0" eaLnBrk="1" fontAlgn="auto" latinLnBrk="0" hangingPunct="1">
        <a:lnSpc>
          <a:spcPct val="90000"/>
        </a:lnSpc>
        <a:spcBef>
          <a:spcPct val="20000"/>
        </a:spcBef>
        <a:spcAft>
          <a:spcPts val="0"/>
        </a:spcAft>
        <a:buClr>
          <a:schemeClr val="tx1"/>
        </a:buClr>
        <a:buSzPct val="100000"/>
        <a:buFontTx/>
        <a:buBlip>
          <a:blip r:embed="rId36"/>
        </a:buBlip>
        <a:tabLst/>
        <a:defRPr sz="3920" kern="1200" spc="0" baseline="0">
          <a:solidFill>
            <a:schemeClr val="bg1">
              <a:lumMod val="75000"/>
            </a:schemeClr>
          </a:solidFill>
          <a:latin typeface="+mj-lt"/>
          <a:ea typeface="+mn-ea"/>
          <a:cs typeface="+mn-cs"/>
        </a:defRPr>
      </a:lvl1pPr>
      <a:lvl2pPr marL="572519" marR="0" indent="-236475" algn="l" defTabSz="914093" rtl="0" eaLnBrk="1" fontAlgn="auto" latinLnBrk="0" hangingPunct="1">
        <a:lnSpc>
          <a:spcPct val="90000"/>
        </a:lnSpc>
        <a:spcBef>
          <a:spcPct val="20000"/>
        </a:spcBef>
        <a:spcAft>
          <a:spcPts val="0"/>
        </a:spcAft>
        <a:buClr>
          <a:schemeClr val="tx1"/>
        </a:buClr>
        <a:buSzPct val="100000"/>
        <a:buFontTx/>
        <a:buBlip>
          <a:blip r:embed="rId36"/>
        </a:buBlip>
        <a:tabLst/>
        <a:defRPr sz="2352" kern="1200" spc="0" baseline="0">
          <a:solidFill>
            <a:schemeClr val="bg1">
              <a:lumMod val="75000"/>
            </a:schemeClr>
          </a:solidFill>
          <a:latin typeface="+mn-lt"/>
          <a:ea typeface="+mn-ea"/>
          <a:cs typeface="+mn-cs"/>
        </a:defRPr>
      </a:lvl2pPr>
      <a:lvl3pPr marL="784103" marR="0" indent="-224030" algn="l" defTabSz="914093" rtl="0" eaLnBrk="1" fontAlgn="auto" latinLnBrk="0" hangingPunct="1">
        <a:lnSpc>
          <a:spcPct val="90000"/>
        </a:lnSpc>
        <a:spcBef>
          <a:spcPct val="20000"/>
        </a:spcBef>
        <a:spcAft>
          <a:spcPts val="0"/>
        </a:spcAft>
        <a:buClr>
          <a:schemeClr val="tx1"/>
        </a:buClr>
        <a:buSzPct val="100000"/>
        <a:buFontTx/>
        <a:buBlip>
          <a:blip r:embed="rId36"/>
        </a:buBlip>
        <a:tabLst/>
        <a:defRPr sz="2352" kern="1200" spc="0" baseline="0">
          <a:solidFill>
            <a:schemeClr val="bg1">
              <a:lumMod val="75000"/>
            </a:schemeClr>
          </a:solidFill>
          <a:latin typeface="+mn-lt"/>
          <a:ea typeface="+mn-ea"/>
          <a:cs typeface="+mn-cs"/>
        </a:defRPr>
      </a:lvl3pPr>
      <a:lvl4pPr marL="1008132" marR="0" indent="-224030" algn="l" defTabSz="914093" rtl="0" eaLnBrk="1" fontAlgn="auto" latinLnBrk="0" hangingPunct="1">
        <a:lnSpc>
          <a:spcPct val="90000"/>
        </a:lnSpc>
        <a:spcBef>
          <a:spcPct val="20000"/>
        </a:spcBef>
        <a:spcAft>
          <a:spcPts val="0"/>
        </a:spcAft>
        <a:buClr>
          <a:schemeClr val="tx1"/>
        </a:buClr>
        <a:buSzPct val="100000"/>
        <a:buFontTx/>
        <a:buBlip>
          <a:blip r:embed="rId36"/>
        </a:buBlip>
        <a:tabLst/>
        <a:defRPr sz="1960" kern="1200" spc="0" baseline="0">
          <a:solidFill>
            <a:schemeClr val="bg1">
              <a:lumMod val="75000"/>
            </a:schemeClr>
          </a:solidFill>
          <a:latin typeface="+mn-lt"/>
          <a:ea typeface="+mn-ea"/>
          <a:cs typeface="+mn-cs"/>
        </a:defRPr>
      </a:lvl4pPr>
      <a:lvl5pPr marL="1232161" marR="0" indent="-224030" algn="l" defTabSz="914093" rtl="0" eaLnBrk="1" fontAlgn="auto" latinLnBrk="0" hangingPunct="1">
        <a:lnSpc>
          <a:spcPct val="90000"/>
        </a:lnSpc>
        <a:spcBef>
          <a:spcPct val="20000"/>
        </a:spcBef>
        <a:spcAft>
          <a:spcPts val="0"/>
        </a:spcAft>
        <a:buClr>
          <a:schemeClr val="tx1"/>
        </a:buClr>
        <a:buSzPct val="100000"/>
        <a:buFontTx/>
        <a:buBlip>
          <a:blip r:embed="rId36"/>
        </a:buBlip>
        <a:tabLst/>
        <a:defRPr sz="1960" kern="1200" spc="0" baseline="0">
          <a:solidFill>
            <a:schemeClr val="bg1">
              <a:lumMod val="75000"/>
            </a:schemeClr>
          </a:solidFill>
          <a:latin typeface="+mn-lt"/>
          <a:ea typeface="+mn-ea"/>
          <a:cs typeface="+mn-cs"/>
        </a:defRPr>
      </a:lvl5pPr>
      <a:lvl6pPr marL="251375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801"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848"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89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93" rtl="0" eaLnBrk="1" latinLnBrk="0" hangingPunct="1">
        <a:defRPr sz="1764" kern="1200">
          <a:solidFill>
            <a:schemeClr val="tx1"/>
          </a:solidFill>
          <a:latin typeface="+mn-lt"/>
          <a:ea typeface="+mn-ea"/>
          <a:cs typeface="+mn-cs"/>
        </a:defRPr>
      </a:lvl1pPr>
      <a:lvl2pPr marL="457046" algn="l" defTabSz="914093" rtl="0" eaLnBrk="1" latinLnBrk="0" hangingPunct="1">
        <a:defRPr sz="1764" kern="1200">
          <a:solidFill>
            <a:schemeClr val="tx1"/>
          </a:solidFill>
          <a:latin typeface="+mn-lt"/>
          <a:ea typeface="+mn-ea"/>
          <a:cs typeface="+mn-cs"/>
        </a:defRPr>
      </a:lvl2pPr>
      <a:lvl3pPr marL="914093" algn="l" defTabSz="914093" rtl="0" eaLnBrk="1" latinLnBrk="0" hangingPunct="1">
        <a:defRPr sz="1764" kern="1200">
          <a:solidFill>
            <a:schemeClr val="tx1"/>
          </a:solidFill>
          <a:latin typeface="+mn-lt"/>
          <a:ea typeface="+mn-ea"/>
          <a:cs typeface="+mn-cs"/>
        </a:defRPr>
      </a:lvl3pPr>
      <a:lvl4pPr marL="1371139" algn="l" defTabSz="914093" rtl="0" eaLnBrk="1" latinLnBrk="0" hangingPunct="1">
        <a:defRPr sz="1764" kern="1200">
          <a:solidFill>
            <a:schemeClr val="tx1"/>
          </a:solidFill>
          <a:latin typeface="+mn-lt"/>
          <a:ea typeface="+mn-ea"/>
          <a:cs typeface="+mn-cs"/>
        </a:defRPr>
      </a:lvl4pPr>
      <a:lvl5pPr marL="1828185" algn="l" defTabSz="914093" rtl="0" eaLnBrk="1" latinLnBrk="0" hangingPunct="1">
        <a:defRPr sz="1764" kern="1200">
          <a:solidFill>
            <a:schemeClr val="tx1"/>
          </a:solidFill>
          <a:latin typeface="+mn-lt"/>
          <a:ea typeface="+mn-ea"/>
          <a:cs typeface="+mn-cs"/>
        </a:defRPr>
      </a:lvl5pPr>
      <a:lvl6pPr marL="2285232" algn="l" defTabSz="914093" rtl="0" eaLnBrk="1" latinLnBrk="0" hangingPunct="1">
        <a:defRPr sz="1764" kern="1200">
          <a:solidFill>
            <a:schemeClr val="tx1"/>
          </a:solidFill>
          <a:latin typeface="+mn-lt"/>
          <a:ea typeface="+mn-ea"/>
          <a:cs typeface="+mn-cs"/>
        </a:defRPr>
      </a:lvl6pPr>
      <a:lvl7pPr marL="2742278" algn="l" defTabSz="914093" rtl="0" eaLnBrk="1" latinLnBrk="0" hangingPunct="1">
        <a:defRPr sz="1764" kern="1200">
          <a:solidFill>
            <a:schemeClr val="tx1"/>
          </a:solidFill>
          <a:latin typeface="+mn-lt"/>
          <a:ea typeface="+mn-ea"/>
          <a:cs typeface="+mn-cs"/>
        </a:defRPr>
      </a:lvl7pPr>
      <a:lvl8pPr marL="3199324" algn="l" defTabSz="914093" rtl="0" eaLnBrk="1" latinLnBrk="0" hangingPunct="1">
        <a:defRPr sz="1764" kern="1200">
          <a:solidFill>
            <a:schemeClr val="tx1"/>
          </a:solidFill>
          <a:latin typeface="+mn-lt"/>
          <a:ea typeface="+mn-ea"/>
          <a:cs typeface="+mn-cs"/>
        </a:defRPr>
      </a:lvl8pPr>
      <a:lvl9pPr marL="3656372" algn="l" defTabSz="914093"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8">
            <a:extLst>
              <a:ext uri="{28A0092B-C50C-407E-A947-70E740481C1C}">
                <a14:useLocalDpi xmlns:a14="http://schemas.microsoft.com/office/drawing/2010/main" val="0"/>
              </a:ext>
            </a:extLst>
          </a:blip>
          <a:stretch>
            <a:fillRect/>
          </a:stretch>
        </p:blipFill>
        <p:spPr>
          <a:xfrm rot="5400000">
            <a:off x="10321813" y="1906465"/>
            <a:ext cx="4214127" cy="401200"/>
          </a:xfrm>
          <a:prstGeom prst="rect">
            <a:avLst/>
          </a:prstGeom>
        </p:spPr>
      </p:pic>
    </p:spTree>
    <p:extLst>
      <p:ext uri="{BB962C8B-B14F-4D97-AF65-F5344CB8AC3E}">
        <p14:creationId xmlns:p14="http://schemas.microsoft.com/office/powerpoint/2010/main" val="1314255916"/>
      </p:ext>
    </p:extLst>
  </p:cSld>
  <p:clrMap bg1="lt1" tx1="dk1" bg2="lt2" tx2="dk2" accent1="accent1" accent2="accent2" accent3="accent3" accent4="accent4" accent5="accent5" accent6="accent6" hlink="hlink" folHlink="folHlink"/>
  <p:sldLayoutIdLst>
    <p:sldLayoutId id="2147484473" r:id="rId1"/>
    <p:sldLayoutId id="2147484474" r:id="rId2"/>
    <p:sldLayoutId id="2147484475" r:id="rId3"/>
    <p:sldLayoutId id="2147484476" r:id="rId4"/>
    <p:sldLayoutId id="2147484477" r:id="rId5"/>
    <p:sldLayoutId id="2147484478" r:id="rId6"/>
    <p:sldLayoutId id="2147484479" r:id="rId7"/>
    <p:sldLayoutId id="2147484480" r:id="rId8"/>
    <p:sldLayoutId id="2147484481" r:id="rId9"/>
    <p:sldLayoutId id="2147484482" r:id="rId10"/>
    <p:sldLayoutId id="2147484483" r:id="rId11"/>
    <p:sldLayoutId id="2147484484" r:id="rId12"/>
    <p:sldLayoutId id="2147484485" r:id="rId13"/>
    <p:sldLayoutId id="2147484486" r:id="rId14"/>
    <p:sldLayoutId id="2147484487" r:id="rId15"/>
    <p:sldLayoutId id="2147484488" r:id="rId16"/>
    <p:sldLayoutId id="2147484489" r:id="rId17"/>
    <p:sldLayoutId id="2147484490" r:id="rId18"/>
    <p:sldLayoutId id="2147484491" r:id="rId19"/>
    <p:sldLayoutId id="2147484492" r:id="rId20"/>
    <p:sldLayoutId id="2147484493" r:id="rId21"/>
    <p:sldLayoutId id="2147484494" r:id="rId22"/>
    <p:sldLayoutId id="2147484495" r:id="rId23"/>
    <p:sldLayoutId id="2147484496" r:id="rId24"/>
    <p:sldLayoutId id="2147484497" r:id="rId25"/>
    <p:sldLayoutId id="2147484498" r:id="rId26"/>
    <p:sldLayoutId id="2147484499" r:id="rId27"/>
    <p:sldLayoutId id="2147484500" r:id="rId28"/>
    <p:sldLayoutId id="2147484501" r:id="rId29"/>
    <p:sldLayoutId id="2147484502" r:id="rId30"/>
    <p:sldLayoutId id="2147484503" r:id="rId31"/>
    <p:sldLayoutId id="2147484504" r:id="rId32"/>
    <p:sldLayoutId id="2147484505" r:id="rId33"/>
    <p:sldLayoutId id="2147484506" r:id="rId34"/>
    <p:sldLayoutId id="2147484507" r:id="rId35"/>
    <p:sldLayoutId id="2147484508" r:id="rId36"/>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8">
            <a:extLst>
              <a:ext uri="{28A0092B-C50C-407E-A947-70E740481C1C}">
                <a14:useLocalDpi xmlns:a14="http://schemas.microsoft.com/office/drawing/2010/main" val="0"/>
              </a:ext>
            </a:extLst>
          </a:blip>
          <a:stretch>
            <a:fillRect/>
          </a:stretch>
        </p:blipFill>
        <p:spPr>
          <a:xfrm rot="5400000">
            <a:off x="10321813" y="1906465"/>
            <a:ext cx="4214127" cy="401200"/>
          </a:xfrm>
          <a:prstGeom prst="rect">
            <a:avLst/>
          </a:prstGeom>
        </p:spPr>
      </p:pic>
    </p:spTree>
    <p:extLst>
      <p:ext uri="{BB962C8B-B14F-4D97-AF65-F5344CB8AC3E}">
        <p14:creationId xmlns:p14="http://schemas.microsoft.com/office/powerpoint/2010/main" val="4152178375"/>
      </p:ext>
    </p:extLst>
  </p:cSld>
  <p:clrMap bg1="lt1" tx1="dk1" bg2="lt2" tx2="dk2" accent1="accent1" accent2="accent2" accent3="accent3" accent4="accent4" accent5="accent5" accent6="accent6" hlink="hlink" folHlink="folHlink"/>
  <p:sldLayoutIdLst>
    <p:sldLayoutId id="2147484510" r:id="rId1"/>
    <p:sldLayoutId id="2147484511" r:id="rId2"/>
    <p:sldLayoutId id="2147484512" r:id="rId3"/>
    <p:sldLayoutId id="2147484513" r:id="rId4"/>
    <p:sldLayoutId id="2147484514" r:id="rId5"/>
    <p:sldLayoutId id="2147484515" r:id="rId6"/>
    <p:sldLayoutId id="2147484516" r:id="rId7"/>
    <p:sldLayoutId id="2147484517" r:id="rId8"/>
    <p:sldLayoutId id="2147484518" r:id="rId9"/>
    <p:sldLayoutId id="2147484519" r:id="rId10"/>
    <p:sldLayoutId id="2147484520" r:id="rId11"/>
    <p:sldLayoutId id="2147484521" r:id="rId12"/>
    <p:sldLayoutId id="2147484522" r:id="rId13"/>
    <p:sldLayoutId id="2147484523" r:id="rId14"/>
    <p:sldLayoutId id="2147484524" r:id="rId15"/>
    <p:sldLayoutId id="2147484525" r:id="rId16"/>
    <p:sldLayoutId id="2147484526" r:id="rId17"/>
    <p:sldLayoutId id="2147484527" r:id="rId18"/>
    <p:sldLayoutId id="2147484528" r:id="rId19"/>
    <p:sldLayoutId id="2147484529" r:id="rId20"/>
    <p:sldLayoutId id="2147484530" r:id="rId21"/>
    <p:sldLayoutId id="2147484531" r:id="rId22"/>
    <p:sldLayoutId id="2147484532" r:id="rId23"/>
    <p:sldLayoutId id="2147484533" r:id="rId24"/>
    <p:sldLayoutId id="2147484534" r:id="rId25"/>
    <p:sldLayoutId id="2147484535" r:id="rId26"/>
    <p:sldLayoutId id="2147484536" r:id="rId27"/>
    <p:sldLayoutId id="2147484537" r:id="rId28"/>
    <p:sldLayoutId id="2147484538" r:id="rId29"/>
    <p:sldLayoutId id="2147484539" r:id="rId30"/>
    <p:sldLayoutId id="2147484540" r:id="rId31"/>
    <p:sldLayoutId id="2147484541" r:id="rId32"/>
    <p:sldLayoutId id="2147484542" r:id="rId33"/>
    <p:sldLayoutId id="2147484543" r:id="rId34"/>
    <p:sldLayoutId id="2147484544" r:id="rId35"/>
    <p:sldLayoutId id="2147484545" r:id="rId36"/>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8">
            <a:extLst>
              <a:ext uri="{28A0092B-C50C-407E-A947-70E740481C1C}">
                <a14:useLocalDpi xmlns:a14="http://schemas.microsoft.com/office/drawing/2010/main" val="0"/>
              </a:ext>
            </a:extLst>
          </a:blip>
          <a:stretch>
            <a:fillRect/>
          </a:stretch>
        </p:blipFill>
        <p:spPr>
          <a:xfrm rot="5400000">
            <a:off x="10321813" y="1906465"/>
            <a:ext cx="4214127" cy="401200"/>
          </a:xfrm>
          <a:prstGeom prst="rect">
            <a:avLst/>
          </a:prstGeom>
        </p:spPr>
      </p:pic>
    </p:spTree>
    <p:extLst>
      <p:ext uri="{BB962C8B-B14F-4D97-AF65-F5344CB8AC3E}">
        <p14:creationId xmlns:p14="http://schemas.microsoft.com/office/powerpoint/2010/main" val="1409969050"/>
      </p:ext>
    </p:extLst>
  </p:cSld>
  <p:clrMap bg1="lt1" tx1="dk1" bg2="lt2" tx2="dk2" accent1="accent1" accent2="accent2" accent3="accent3" accent4="accent4" accent5="accent5" accent6="accent6" hlink="hlink" folHlink="folHlink"/>
  <p:sldLayoutIdLst>
    <p:sldLayoutId id="2147484547" r:id="rId1"/>
    <p:sldLayoutId id="2147484548" r:id="rId2"/>
    <p:sldLayoutId id="2147484549" r:id="rId3"/>
    <p:sldLayoutId id="2147484550" r:id="rId4"/>
    <p:sldLayoutId id="2147484551" r:id="rId5"/>
    <p:sldLayoutId id="2147484552" r:id="rId6"/>
    <p:sldLayoutId id="2147484553" r:id="rId7"/>
    <p:sldLayoutId id="2147484554" r:id="rId8"/>
    <p:sldLayoutId id="2147484555" r:id="rId9"/>
    <p:sldLayoutId id="2147484556" r:id="rId10"/>
    <p:sldLayoutId id="2147484557" r:id="rId11"/>
    <p:sldLayoutId id="2147484558" r:id="rId12"/>
    <p:sldLayoutId id="2147484559" r:id="rId13"/>
    <p:sldLayoutId id="2147484560" r:id="rId14"/>
    <p:sldLayoutId id="2147484561" r:id="rId15"/>
    <p:sldLayoutId id="2147484562" r:id="rId16"/>
    <p:sldLayoutId id="2147484563" r:id="rId17"/>
    <p:sldLayoutId id="2147484564" r:id="rId18"/>
    <p:sldLayoutId id="2147484565" r:id="rId19"/>
    <p:sldLayoutId id="2147484566" r:id="rId20"/>
    <p:sldLayoutId id="2147484567" r:id="rId21"/>
    <p:sldLayoutId id="2147484568" r:id="rId22"/>
    <p:sldLayoutId id="2147484569" r:id="rId23"/>
    <p:sldLayoutId id="2147484570" r:id="rId24"/>
    <p:sldLayoutId id="2147484571" r:id="rId25"/>
    <p:sldLayoutId id="2147484572" r:id="rId26"/>
    <p:sldLayoutId id="2147484573" r:id="rId27"/>
    <p:sldLayoutId id="2147484574" r:id="rId28"/>
    <p:sldLayoutId id="2147484575" r:id="rId29"/>
    <p:sldLayoutId id="2147484576" r:id="rId30"/>
    <p:sldLayoutId id="2147484577" r:id="rId31"/>
    <p:sldLayoutId id="2147484578" r:id="rId32"/>
    <p:sldLayoutId id="2147484579" r:id="rId33"/>
    <p:sldLayoutId id="2147484580" r:id="rId34"/>
    <p:sldLayoutId id="2147484581" r:id="rId35"/>
    <p:sldLayoutId id="2147484582" r:id="rId36"/>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2" cstate="screen">
            <a:extLst>
              <a:ext uri="{28A0092B-C50C-407E-A947-70E740481C1C}">
                <a14:useLocalDpi xmlns:a14="http://schemas.microsoft.com/office/drawing/2010/main"/>
              </a:ext>
            </a:extLst>
          </a:blip>
          <a:stretch>
            <a:fillRect/>
          </a:stretch>
        </p:blipFill>
        <p:spPr>
          <a:xfrm rot="5400000">
            <a:off x="10321813" y="1906465"/>
            <a:ext cx="4214127" cy="401200"/>
          </a:xfrm>
          <a:prstGeom prst="rect">
            <a:avLst/>
          </a:prstGeom>
        </p:spPr>
      </p:pic>
    </p:spTree>
    <p:extLst>
      <p:ext uri="{BB962C8B-B14F-4D97-AF65-F5344CB8AC3E}">
        <p14:creationId xmlns:p14="http://schemas.microsoft.com/office/powerpoint/2010/main" val="281850600"/>
      </p:ext>
    </p:extLst>
  </p:cSld>
  <p:clrMap bg1="lt1" tx1="dk1" bg2="lt2" tx2="dk2" accent1="accent1" accent2="accent2" accent3="accent3" accent4="accent4" accent5="accent5" accent6="accent6" hlink="hlink" folHlink="folHlink"/>
  <p:sldLayoutIdLst>
    <p:sldLayoutId id="2147484584" r:id="rId1"/>
    <p:sldLayoutId id="2147484585" r:id="rId2"/>
    <p:sldLayoutId id="2147484586" r:id="rId3"/>
    <p:sldLayoutId id="2147484587" r:id="rId4"/>
    <p:sldLayoutId id="2147484588" r:id="rId5"/>
    <p:sldLayoutId id="2147484589" r:id="rId6"/>
    <p:sldLayoutId id="2147484590" r:id="rId7"/>
    <p:sldLayoutId id="2147484591" r:id="rId8"/>
    <p:sldLayoutId id="2147484592" r:id="rId9"/>
    <p:sldLayoutId id="2147484593" r:id="rId10"/>
    <p:sldLayoutId id="2147484594" r:id="rId11"/>
    <p:sldLayoutId id="2147484595" r:id="rId12"/>
    <p:sldLayoutId id="2147484596" r:id="rId13"/>
    <p:sldLayoutId id="2147484597" r:id="rId14"/>
    <p:sldLayoutId id="2147484598" r:id="rId15"/>
    <p:sldLayoutId id="2147484599" r:id="rId16"/>
    <p:sldLayoutId id="2147484600" r:id="rId17"/>
    <p:sldLayoutId id="2147484601" r:id="rId18"/>
    <p:sldLayoutId id="2147484602" r:id="rId19"/>
    <p:sldLayoutId id="2147484603" r:id="rId20"/>
    <p:sldLayoutId id="2147484604" r:id="rId21"/>
    <p:sldLayoutId id="2147484605" r:id="rId22"/>
    <p:sldLayoutId id="2147484606" r:id="rId23"/>
    <p:sldLayoutId id="2147484607" r:id="rId24"/>
    <p:sldLayoutId id="2147484608" r:id="rId25"/>
    <p:sldLayoutId id="2147484609" r:id="rId26"/>
    <p:sldLayoutId id="2147484610" r:id="rId27"/>
    <p:sldLayoutId id="2147484611" r:id="rId28"/>
    <p:sldLayoutId id="2147484612" r:id="rId29"/>
    <p:sldLayoutId id="2147484613" r:id="rId30"/>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6" cstate="print">
            <a:extLst>
              <a:ext uri="{28A0092B-C50C-407E-A947-70E740481C1C}">
                <a14:useLocalDpi xmlns:a14="http://schemas.microsoft.com/office/drawing/2010/main" val="0"/>
              </a:ext>
            </a:extLst>
          </a:blip>
          <a:stretch>
            <a:fillRect/>
          </a:stretch>
        </p:blipFill>
        <p:spPr>
          <a:xfrm rot="5400000">
            <a:off x="10321814" y="1906466"/>
            <a:ext cx="4214127" cy="401199"/>
          </a:xfrm>
          <a:prstGeom prst="rect">
            <a:avLst/>
          </a:prstGeom>
        </p:spPr>
      </p:pic>
    </p:spTree>
    <p:extLst>
      <p:ext uri="{BB962C8B-B14F-4D97-AF65-F5344CB8AC3E}">
        <p14:creationId xmlns:p14="http://schemas.microsoft.com/office/powerpoint/2010/main" val="1924148665"/>
      </p:ext>
    </p:extLst>
  </p:cSld>
  <p:clrMap bg1="dk1" tx1="lt1" bg2="dk2" tx2="lt2" accent1="accent1" accent2="accent2" accent3="accent3" accent4="accent4" accent5="accent5" accent6="accent6" hlink="hlink" folHlink="folHlink"/>
  <p:sldLayoutIdLst>
    <p:sldLayoutId id="2147484615" r:id="rId1"/>
    <p:sldLayoutId id="2147484616" r:id="rId2"/>
    <p:sldLayoutId id="2147484617" r:id="rId3"/>
    <p:sldLayoutId id="2147484618" r:id="rId4"/>
    <p:sldLayoutId id="2147484619" r:id="rId5"/>
    <p:sldLayoutId id="2147484620" r:id="rId6"/>
    <p:sldLayoutId id="2147484621" r:id="rId7"/>
    <p:sldLayoutId id="2147484622" r:id="rId8"/>
    <p:sldLayoutId id="2147484623" r:id="rId9"/>
    <p:sldLayoutId id="2147484624" r:id="rId10"/>
    <p:sldLayoutId id="2147484625" r:id="rId11"/>
    <p:sldLayoutId id="2147484626" r:id="rId12"/>
    <p:sldLayoutId id="2147484627" r:id="rId13"/>
    <p:sldLayoutId id="2147484628" r:id="rId14"/>
    <p:sldLayoutId id="2147484629" r:id="rId15"/>
    <p:sldLayoutId id="2147484630" r:id="rId16"/>
    <p:sldLayoutId id="2147484631" r:id="rId17"/>
    <p:sldLayoutId id="2147484632" r:id="rId18"/>
    <p:sldLayoutId id="2147484633" r:id="rId19"/>
    <p:sldLayoutId id="2147484634" r:id="rId20"/>
    <p:sldLayoutId id="2147484635" r:id="rId21"/>
    <p:sldLayoutId id="2147484636" r:id="rId22"/>
    <p:sldLayoutId id="2147484637" r:id="rId23"/>
    <p:sldLayoutId id="2147484638" r:id="rId24"/>
    <p:sldLayoutId id="2147484639" r:id="rId25"/>
    <p:sldLayoutId id="2147484640" r:id="rId26"/>
    <p:sldLayoutId id="2147484641" r:id="rId27"/>
    <p:sldLayoutId id="2147484642" r:id="rId28"/>
    <p:sldLayoutId id="2147484643" r:id="rId29"/>
    <p:sldLayoutId id="2147484644" r:id="rId30"/>
    <p:sldLayoutId id="2147484645" r:id="rId31"/>
    <p:sldLayoutId id="2147484646" r:id="rId32"/>
    <p:sldLayoutId id="2147484647" r:id="rId33"/>
    <p:sldLayoutId id="2147484648" r:id="rId34"/>
  </p:sldLayoutIdLst>
  <p:transition>
    <p:fade/>
  </p:transition>
  <p:timing>
    <p:tnLst>
      <p:par>
        <p:cTn id="1" dur="indefinite" restart="never" nodeType="tmRoot"/>
      </p:par>
    </p:tnLst>
  </p:timing>
  <p:txStyles>
    <p:titleStyle>
      <a:lvl1pPr algn="l" defTabSz="914093" rtl="0" eaLnBrk="1" latinLnBrk="0" hangingPunct="1">
        <a:lnSpc>
          <a:spcPct val="90000"/>
        </a:lnSpc>
        <a:spcBef>
          <a:spcPct val="0"/>
        </a:spcBef>
        <a:buNone/>
        <a:defRPr lang="en-US" sz="529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44" marR="0" indent="-336044" algn="l" defTabSz="9140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19" marR="0" indent="-236475" algn="l" defTabSz="9140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2pPr>
      <a:lvl3pPr marL="784103" marR="0" indent="-224030" algn="l" defTabSz="9140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3pPr>
      <a:lvl4pPr marL="1008132" marR="0" indent="-224030" algn="l" defTabSz="9140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4pPr>
      <a:lvl5pPr marL="1232161" marR="0" indent="-224030" algn="l" defTabSz="9140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5pPr>
      <a:lvl6pPr marL="251375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801"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848"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89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93" rtl="0" eaLnBrk="1" latinLnBrk="0" hangingPunct="1">
        <a:defRPr sz="1764" kern="1200">
          <a:solidFill>
            <a:schemeClr val="tx1"/>
          </a:solidFill>
          <a:latin typeface="+mn-lt"/>
          <a:ea typeface="+mn-ea"/>
          <a:cs typeface="+mn-cs"/>
        </a:defRPr>
      </a:lvl1pPr>
      <a:lvl2pPr marL="457046" algn="l" defTabSz="914093" rtl="0" eaLnBrk="1" latinLnBrk="0" hangingPunct="1">
        <a:defRPr sz="1764" kern="1200">
          <a:solidFill>
            <a:schemeClr val="tx1"/>
          </a:solidFill>
          <a:latin typeface="+mn-lt"/>
          <a:ea typeface="+mn-ea"/>
          <a:cs typeface="+mn-cs"/>
        </a:defRPr>
      </a:lvl2pPr>
      <a:lvl3pPr marL="914093" algn="l" defTabSz="914093" rtl="0" eaLnBrk="1" latinLnBrk="0" hangingPunct="1">
        <a:defRPr sz="1764" kern="1200">
          <a:solidFill>
            <a:schemeClr val="tx1"/>
          </a:solidFill>
          <a:latin typeface="+mn-lt"/>
          <a:ea typeface="+mn-ea"/>
          <a:cs typeface="+mn-cs"/>
        </a:defRPr>
      </a:lvl3pPr>
      <a:lvl4pPr marL="1371139" algn="l" defTabSz="914093" rtl="0" eaLnBrk="1" latinLnBrk="0" hangingPunct="1">
        <a:defRPr sz="1764" kern="1200">
          <a:solidFill>
            <a:schemeClr val="tx1"/>
          </a:solidFill>
          <a:latin typeface="+mn-lt"/>
          <a:ea typeface="+mn-ea"/>
          <a:cs typeface="+mn-cs"/>
        </a:defRPr>
      </a:lvl4pPr>
      <a:lvl5pPr marL="1828185" algn="l" defTabSz="914093" rtl="0" eaLnBrk="1" latinLnBrk="0" hangingPunct="1">
        <a:defRPr sz="1764" kern="1200">
          <a:solidFill>
            <a:schemeClr val="tx1"/>
          </a:solidFill>
          <a:latin typeface="+mn-lt"/>
          <a:ea typeface="+mn-ea"/>
          <a:cs typeface="+mn-cs"/>
        </a:defRPr>
      </a:lvl5pPr>
      <a:lvl6pPr marL="2285232" algn="l" defTabSz="914093" rtl="0" eaLnBrk="1" latinLnBrk="0" hangingPunct="1">
        <a:defRPr sz="1764" kern="1200">
          <a:solidFill>
            <a:schemeClr val="tx1"/>
          </a:solidFill>
          <a:latin typeface="+mn-lt"/>
          <a:ea typeface="+mn-ea"/>
          <a:cs typeface="+mn-cs"/>
        </a:defRPr>
      </a:lvl6pPr>
      <a:lvl7pPr marL="2742278" algn="l" defTabSz="914093" rtl="0" eaLnBrk="1" latinLnBrk="0" hangingPunct="1">
        <a:defRPr sz="1764" kern="1200">
          <a:solidFill>
            <a:schemeClr val="tx1"/>
          </a:solidFill>
          <a:latin typeface="+mn-lt"/>
          <a:ea typeface="+mn-ea"/>
          <a:cs typeface="+mn-cs"/>
        </a:defRPr>
      </a:lvl7pPr>
      <a:lvl8pPr marL="3199324" algn="l" defTabSz="914093" rtl="0" eaLnBrk="1" latinLnBrk="0" hangingPunct="1">
        <a:defRPr sz="1764" kern="1200">
          <a:solidFill>
            <a:schemeClr val="tx1"/>
          </a:solidFill>
          <a:latin typeface="+mn-lt"/>
          <a:ea typeface="+mn-ea"/>
          <a:cs typeface="+mn-cs"/>
        </a:defRPr>
      </a:lvl8pPr>
      <a:lvl9pPr marL="3656372" algn="l" defTabSz="914093"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0"/>
            <a:ext cx="11149013" cy="747897"/>
          </a:xfrm>
          <a:prstGeom prst="rect">
            <a:avLst/>
          </a:prstGeom>
        </p:spPr>
        <p:txBody>
          <a:bodyPr vert="horz" wrap="square" lIns="0" tIns="0" rIns="0" bIns="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520700" y="1447800"/>
            <a:ext cx="11152188" cy="2055947"/>
          </a:xfrm>
          <a:prstGeom prst="rect">
            <a:avLst/>
          </a:prstGeom>
        </p:spPr>
        <p:txBody>
          <a:bodyPr vert="horz" lIns="0" tIns="0" rIns="0" bIns="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27509413"/>
      </p:ext>
    </p:extLst>
  </p:cSld>
  <p:clrMap bg1="lt1" tx1="dk1" bg2="lt2" tx2="dk2" accent1="accent1" accent2="accent2" accent3="accent3" accent4="accent4" accent5="accent5" accent6="accent6" hlink="hlink" folHlink="folHlink"/>
  <p:sldLayoutIdLst>
    <p:sldLayoutId id="2147484650" r:id="rId1"/>
    <p:sldLayoutId id="2147484651" r:id="rId2"/>
    <p:sldLayoutId id="2147484652" r:id="rId3"/>
    <p:sldLayoutId id="2147484653" r:id="rId4"/>
    <p:sldLayoutId id="2147484654" r:id="rId5"/>
    <p:sldLayoutId id="2147484655" r:id="rId6"/>
    <p:sldLayoutId id="2147484656" r:id="rId7"/>
    <p:sldLayoutId id="2147484657" r:id="rId8"/>
    <p:sldLayoutId id="2147484658" r:id="rId9"/>
    <p:sldLayoutId id="2147484659" r:id="rId10"/>
    <p:sldLayoutId id="2147484660" r:id="rId11"/>
    <p:sldLayoutId id="2147484661" r:id="rId12"/>
    <p:sldLayoutId id="2147484662" r:id="rId13"/>
    <p:sldLayoutId id="2147484663" r:id="rId14"/>
    <p:sldLayoutId id="2147484664" r:id="rId15"/>
    <p:sldLayoutId id="2147484665" r:id="rId16"/>
    <p:sldLayoutId id="2147484666" r:id="rId17"/>
    <p:sldLayoutId id="2147484667" r:id="rId18"/>
    <p:sldLayoutId id="2147484668" r:id="rId19"/>
    <p:sldLayoutId id="2147484669" r:id="rId20"/>
    <p:sldLayoutId id="2147484670" r:id="rId21"/>
    <p:sldLayoutId id="2147484671" r:id="rId22"/>
    <p:sldLayoutId id="2147484672" r:id="rId23"/>
    <p:sldLayoutId id="2147484673" r:id="rId24"/>
    <p:sldLayoutId id="2147484674" r:id="rId25"/>
    <p:sldLayoutId id="2147484675" r:id="rId26"/>
    <p:sldLayoutId id="2147484676" r:id="rId27"/>
    <p:sldLayoutId id="2147484677" r:id="rId28"/>
    <p:sldLayoutId id="2147484678" r:id="rId29"/>
    <p:sldLayoutId id="2147484679" r:id="rId30"/>
    <p:sldLayoutId id="2147484680" r:id="rId31"/>
    <p:sldLayoutId id="2147484681" r:id="rId32"/>
    <p:sldLayoutId id="2147484682" r:id="rId33"/>
  </p:sldLayoutIdLst>
  <p:transition>
    <p:fade/>
  </p:transition>
  <p:timing>
    <p:tnLst>
      <p:par>
        <p:cTn id="1" dur="indefinite" restart="never" nodeType="tmRoot"/>
      </p:par>
    </p:tnLst>
  </p:timing>
  <p:hf hdr="0" ftr="0" dt="0"/>
  <p:txStyles>
    <p:titleStyle>
      <a:lvl1pPr algn="l" defTabSz="914001" rtl="0" eaLnBrk="1" latinLnBrk="0" hangingPunct="1">
        <a:lnSpc>
          <a:spcPct val="90000"/>
        </a:lnSpc>
        <a:spcBef>
          <a:spcPct val="0"/>
        </a:spcBef>
        <a:buNone/>
        <a:defRPr lang="en-US" sz="5397"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591" marR="0" indent="-339591" algn="l" defTabSz="914001" rtl="0" eaLnBrk="1" fontAlgn="auto" latinLnBrk="0" hangingPunct="1">
        <a:lnSpc>
          <a:spcPct val="90000"/>
        </a:lnSpc>
        <a:spcBef>
          <a:spcPct val="20000"/>
        </a:spcBef>
        <a:spcAft>
          <a:spcPts val="0"/>
        </a:spcAft>
        <a:buClrTx/>
        <a:buSzPct val="80000"/>
        <a:buFont typeface="Arial" pitchFamily="34" charset="0"/>
        <a:buChar char="•"/>
        <a:tabLst/>
        <a:defRPr sz="3599" kern="1200" spc="-70" baseline="0">
          <a:gradFill>
            <a:gsLst>
              <a:gs pos="1250">
                <a:schemeClr val="bg2"/>
              </a:gs>
              <a:gs pos="100000">
                <a:schemeClr val="bg2"/>
              </a:gs>
            </a:gsLst>
            <a:lin ang="5400000" scaled="0"/>
          </a:gradFill>
          <a:latin typeface="+mj-lt"/>
          <a:ea typeface="+mn-ea"/>
          <a:cs typeface="+mn-cs"/>
        </a:defRPr>
      </a:lvl1pPr>
      <a:lvl2pPr marL="572861" marR="0" indent="-233271" algn="l" defTabSz="914001" rtl="0" eaLnBrk="1" fontAlgn="auto" latinLnBrk="0" hangingPunct="1">
        <a:lnSpc>
          <a:spcPct val="90000"/>
        </a:lnSpc>
        <a:spcBef>
          <a:spcPct val="20000"/>
        </a:spcBef>
        <a:spcAft>
          <a:spcPts val="0"/>
        </a:spcAft>
        <a:buClrTx/>
        <a:buSzPct val="90000"/>
        <a:buFont typeface="Wingdings" pitchFamily="2" charset="2"/>
        <a:buChar char=""/>
        <a:tabLst/>
        <a:defRPr sz="2399" kern="1200" spc="0" baseline="0">
          <a:gradFill>
            <a:gsLst>
              <a:gs pos="1250">
                <a:schemeClr val="bg2"/>
              </a:gs>
              <a:gs pos="100000">
                <a:schemeClr val="bg2"/>
              </a:gs>
            </a:gsLst>
            <a:lin ang="5400000" scaled="0"/>
          </a:gradFill>
          <a:latin typeface="+mn-lt"/>
          <a:ea typeface="+mn-ea"/>
          <a:cs typeface="+mn-cs"/>
        </a:defRPr>
      </a:lvl2pPr>
      <a:lvl3pPr marL="798196" marR="0" indent="-225336" algn="l" defTabSz="914001" rtl="0" eaLnBrk="1" fontAlgn="auto" latinLnBrk="0" hangingPunct="1">
        <a:lnSpc>
          <a:spcPct val="90000"/>
        </a:lnSpc>
        <a:spcBef>
          <a:spcPct val="20000"/>
        </a:spcBef>
        <a:spcAft>
          <a:spcPts val="0"/>
        </a:spcAft>
        <a:buClrTx/>
        <a:buSzPct val="90000"/>
        <a:buFont typeface="Wingdings" pitchFamily="2" charset="2"/>
        <a:buChar char=""/>
        <a:tabLst>
          <a:tab pos="798196" algn="l"/>
        </a:tabLst>
        <a:defRPr sz="2399" kern="1200" spc="0" baseline="0">
          <a:gradFill>
            <a:gsLst>
              <a:gs pos="1250">
                <a:schemeClr val="bg2"/>
              </a:gs>
              <a:gs pos="100000">
                <a:schemeClr val="bg2"/>
              </a:gs>
            </a:gsLst>
            <a:lin ang="5400000" scaled="0"/>
          </a:gradFill>
          <a:latin typeface="+mn-lt"/>
          <a:ea typeface="+mn-ea"/>
          <a:cs typeface="+mn-cs"/>
        </a:defRPr>
      </a:lvl3pPr>
      <a:lvl4pPr marL="1029880" marR="0" indent="-231683" algn="l" defTabSz="914001" rtl="0" eaLnBrk="1" fontAlgn="auto" latinLnBrk="0" hangingPunct="1">
        <a:lnSpc>
          <a:spcPct val="90000"/>
        </a:lnSpc>
        <a:spcBef>
          <a:spcPct val="20000"/>
        </a:spcBef>
        <a:spcAft>
          <a:spcPts val="0"/>
        </a:spcAft>
        <a:buClrTx/>
        <a:buSzPct val="90000"/>
        <a:buFont typeface="Wingdings" pitchFamily="2" charset="2"/>
        <a:buChar char=""/>
        <a:tabLst/>
        <a:defRPr sz="1999" kern="1200" spc="0" baseline="0">
          <a:gradFill>
            <a:gsLst>
              <a:gs pos="1250">
                <a:schemeClr val="bg2"/>
              </a:gs>
              <a:gs pos="100000">
                <a:schemeClr val="bg2"/>
              </a:gs>
            </a:gsLst>
            <a:lin ang="5400000" scaled="0"/>
          </a:gradFill>
          <a:latin typeface="+mn-lt"/>
          <a:ea typeface="+mn-ea"/>
          <a:cs typeface="+mn-cs"/>
        </a:defRPr>
      </a:lvl4pPr>
      <a:lvl5pPr marL="1255216" marR="0" indent="-225336" algn="l" defTabSz="914001" rtl="0" eaLnBrk="1" fontAlgn="auto" latinLnBrk="0" hangingPunct="1">
        <a:lnSpc>
          <a:spcPct val="90000"/>
        </a:lnSpc>
        <a:spcBef>
          <a:spcPct val="20000"/>
        </a:spcBef>
        <a:spcAft>
          <a:spcPts val="0"/>
        </a:spcAft>
        <a:buClrTx/>
        <a:buSzPct val="90000"/>
        <a:buFont typeface="Wingdings" pitchFamily="2" charset="2"/>
        <a:buChar char=""/>
        <a:tabLst>
          <a:tab pos="1255216" algn="l"/>
        </a:tabLst>
        <a:defRPr sz="1999" kern="1200" spc="0" baseline="0">
          <a:gradFill>
            <a:gsLst>
              <a:gs pos="1250">
                <a:schemeClr val="bg2"/>
              </a:gs>
              <a:gs pos="100000">
                <a:schemeClr val="bg2"/>
              </a:gs>
            </a:gsLst>
            <a:lin ang="5400000" scaled="0"/>
          </a:gradFill>
          <a:latin typeface="+mn-lt"/>
          <a:ea typeface="+mn-ea"/>
          <a:cs typeface="+mn-cs"/>
        </a:defRPr>
      </a:lvl5pPr>
      <a:lvl6pPr marL="2513504" indent="-228501" algn="l" defTabSz="914001"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504" indent="-228501" algn="l" defTabSz="914001"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505" indent="-228501" algn="l" defTabSz="914001"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506" indent="-228501" algn="l" defTabSz="914001"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4001" rtl="0" eaLnBrk="1" latinLnBrk="0" hangingPunct="1">
        <a:defRPr sz="1799" kern="1200">
          <a:solidFill>
            <a:schemeClr val="tx1"/>
          </a:solidFill>
          <a:latin typeface="+mn-lt"/>
          <a:ea typeface="+mn-ea"/>
          <a:cs typeface="+mn-cs"/>
        </a:defRPr>
      </a:lvl1pPr>
      <a:lvl2pPr marL="457001" algn="l" defTabSz="914001" rtl="0" eaLnBrk="1" latinLnBrk="0" hangingPunct="1">
        <a:defRPr sz="1799" kern="1200">
          <a:solidFill>
            <a:schemeClr val="tx1"/>
          </a:solidFill>
          <a:latin typeface="+mn-lt"/>
          <a:ea typeface="+mn-ea"/>
          <a:cs typeface="+mn-cs"/>
        </a:defRPr>
      </a:lvl2pPr>
      <a:lvl3pPr marL="914001" algn="l" defTabSz="914001" rtl="0" eaLnBrk="1" latinLnBrk="0" hangingPunct="1">
        <a:defRPr sz="1799" kern="1200">
          <a:solidFill>
            <a:schemeClr val="tx1"/>
          </a:solidFill>
          <a:latin typeface="+mn-lt"/>
          <a:ea typeface="+mn-ea"/>
          <a:cs typeface="+mn-cs"/>
        </a:defRPr>
      </a:lvl3pPr>
      <a:lvl4pPr marL="1371002" algn="l" defTabSz="914001" rtl="0" eaLnBrk="1" latinLnBrk="0" hangingPunct="1">
        <a:defRPr sz="1799" kern="1200">
          <a:solidFill>
            <a:schemeClr val="tx1"/>
          </a:solidFill>
          <a:latin typeface="+mn-lt"/>
          <a:ea typeface="+mn-ea"/>
          <a:cs typeface="+mn-cs"/>
        </a:defRPr>
      </a:lvl4pPr>
      <a:lvl5pPr marL="1828003" algn="l" defTabSz="914001" rtl="0" eaLnBrk="1" latinLnBrk="0" hangingPunct="1">
        <a:defRPr sz="1799" kern="1200">
          <a:solidFill>
            <a:schemeClr val="tx1"/>
          </a:solidFill>
          <a:latin typeface="+mn-lt"/>
          <a:ea typeface="+mn-ea"/>
          <a:cs typeface="+mn-cs"/>
        </a:defRPr>
      </a:lvl5pPr>
      <a:lvl6pPr marL="2285004" algn="l" defTabSz="914001" rtl="0" eaLnBrk="1" latinLnBrk="0" hangingPunct="1">
        <a:defRPr sz="1799" kern="1200">
          <a:solidFill>
            <a:schemeClr val="tx1"/>
          </a:solidFill>
          <a:latin typeface="+mn-lt"/>
          <a:ea typeface="+mn-ea"/>
          <a:cs typeface="+mn-cs"/>
        </a:defRPr>
      </a:lvl6pPr>
      <a:lvl7pPr marL="2742003" algn="l" defTabSz="914001" rtl="0" eaLnBrk="1" latinLnBrk="0" hangingPunct="1">
        <a:defRPr sz="1799" kern="1200">
          <a:solidFill>
            <a:schemeClr val="tx1"/>
          </a:solidFill>
          <a:latin typeface="+mn-lt"/>
          <a:ea typeface="+mn-ea"/>
          <a:cs typeface="+mn-cs"/>
        </a:defRPr>
      </a:lvl7pPr>
      <a:lvl8pPr marL="3199004" algn="l" defTabSz="914001" rtl="0" eaLnBrk="1" latinLnBrk="0" hangingPunct="1">
        <a:defRPr sz="1799" kern="1200">
          <a:solidFill>
            <a:schemeClr val="tx1"/>
          </a:solidFill>
          <a:latin typeface="+mn-lt"/>
          <a:ea typeface="+mn-ea"/>
          <a:cs typeface="+mn-cs"/>
        </a:defRPr>
      </a:lvl8pPr>
      <a:lvl9pPr marL="3656005" algn="l" defTabSz="914001" rtl="0" eaLnBrk="1" latinLnBrk="0" hangingPunct="1">
        <a:defRPr sz="1799"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1" y="289512"/>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p:nvPicPr>
        <p:blipFill>
          <a:blip r:embed="rId35" cstate="email">
            <a:extLst>
              <a:ext uri="{28A0092B-C50C-407E-A947-70E740481C1C}">
                <a14:useLocalDpi xmlns:a14="http://schemas.microsoft.com/office/drawing/2010/main" val="0"/>
              </a:ext>
            </a:extLst>
          </a:blip>
          <a:stretch>
            <a:fillRect/>
          </a:stretch>
        </p:blipFill>
        <p:spPr>
          <a:xfrm rot="5400000">
            <a:off x="10321814" y="1906466"/>
            <a:ext cx="4214127" cy="401200"/>
          </a:xfrm>
          <a:prstGeom prst="rect">
            <a:avLst/>
          </a:prstGeom>
        </p:spPr>
      </p:pic>
    </p:spTree>
    <p:extLst>
      <p:ext uri="{BB962C8B-B14F-4D97-AF65-F5344CB8AC3E}">
        <p14:creationId xmlns:p14="http://schemas.microsoft.com/office/powerpoint/2010/main" val="2962866409"/>
      </p:ext>
    </p:extLst>
  </p:cSld>
  <p:clrMap bg1="dk1" tx1="lt1" bg2="dk2" tx2="lt2" accent1="accent1" accent2="accent2" accent3="accent3" accent4="accent4" accent5="accent5" accent6="accent6" hlink="hlink" folHlink="folHlink"/>
  <p:sldLayoutIdLst>
    <p:sldLayoutId id="2147484684" r:id="rId1"/>
    <p:sldLayoutId id="2147484685" r:id="rId2"/>
    <p:sldLayoutId id="2147484686" r:id="rId3"/>
    <p:sldLayoutId id="2147484687" r:id="rId4"/>
    <p:sldLayoutId id="2147484688" r:id="rId5"/>
    <p:sldLayoutId id="2147484689" r:id="rId6"/>
    <p:sldLayoutId id="2147484690" r:id="rId7"/>
    <p:sldLayoutId id="2147484691" r:id="rId8"/>
    <p:sldLayoutId id="2147484692" r:id="rId9"/>
    <p:sldLayoutId id="2147484693" r:id="rId10"/>
    <p:sldLayoutId id="2147484694" r:id="rId11"/>
    <p:sldLayoutId id="2147484695" r:id="rId12"/>
    <p:sldLayoutId id="2147484696" r:id="rId13"/>
    <p:sldLayoutId id="2147484697" r:id="rId14"/>
    <p:sldLayoutId id="2147484698" r:id="rId15"/>
    <p:sldLayoutId id="2147484699" r:id="rId16"/>
    <p:sldLayoutId id="2147484700" r:id="rId17"/>
    <p:sldLayoutId id="2147484701" r:id="rId18"/>
    <p:sldLayoutId id="2147484702" r:id="rId19"/>
    <p:sldLayoutId id="2147484703" r:id="rId20"/>
    <p:sldLayoutId id="2147484704" r:id="rId21"/>
    <p:sldLayoutId id="2147484705" r:id="rId22"/>
    <p:sldLayoutId id="2147484706" r:id="rId23"/>
    <p:sldLayoutId id="2147484707" r:id="rId24"/>
    <p:sldLayoutId id="2147484708" r:id="rId25"/>
    <p:sldLayoutId id="2147484709" r:id="rId26"/>
    <p:sldLayoutId id="2147484710" r:id="rId27"/>
    <p:sldLayoutId id="2147484711" r:id="rId28"/>
    <p:sldLayoutId id="2147484712" r:id="rId29"/>
    <p:sldLayoutId id="2147484713" r:id="rId30"/>
    <p:sldLayoutId id="2147484714" r:id="rId31"/>
    <p:sldLayoutId id="2147484715" r:id="rId32"/>
    <p:sldLayoutId id="2147484716" r:id="rId33"/>
  </p:sldLayoutIdLst>
  <p:transition>
    <p:fade/>
  </p:transition>
  <p:timing>
    <p:tnLst>
      <p:par>
        <p:cTn id="1" dur="indefinite" restart="never" nodeType="tmRoot"/>
      </p:par>
    </p:tnLst>
  </p:timing>
  <p:txStyles>
    <p:titleStyle>
      <a:lvl1pPr algn="l" defTabSz="913818" rtl="0" eaLnBrk="1" latinLnBrk="0" hangingPunct="1">
        <a:lnSpc>
          <a:spcPct val="90000"/>
        </a:lnSpc>
        <a:spcBef>
          <a:spcPct val="0"/>
        </a:spcBef>
        <a:buNone/>
        <a:defRPr lang="en-US" sz="5291"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943" marR="0" indent="-335943" algn="l" defTabSz="913818" rtl="0" eaLnBrk="1" fontAlgn="auto" latinLnBrk="0" hangingPunct="1">
        <a:lnSpc>
          <a:spcPct val="90000"/>
        </a:lnSpc>
        <a:spcBef>
          <a:spcPct val="20000"/>
        </a:spcBef>
        <a:spcAft>
          <a:spcPts val="0"/>
        </a:spcAft>
        <a:buClr>
          <a:schemeClr val="tx1"/>
        </a:buClr>
        <a:buSzPct val="100000"/>
        <a:buFontTx/>
        <a:buBlip>
          <a:blip r:embed="rId36"/>
        </a:buBlip>
        <a:tabLst/>
        <a:defRPr sz="3918" kern="1200" spc="0" baseline="0">
          <a:gradFill>
            <a:gsLst>
              <a:gs pos="1250">
                <a:schemeClr val="tx1"/>
              </a:gs>
              <a:gs pos="100000">
                <a:schemeClr val="tx1"/>
              </a:gs>
            </a:gsLst>
            <a:lin ang="5400000" scaled="0"/>
          </a:gradFill>
          <a:latin typeface="+mj-lt"/>
          <a:ea typeface="+mn-ea"/>
          <a:cs typeface="+mn-cs"/>
        </a:defRPr>
      </a:lvl1pPr>
      <a:lvl2pPr marL="572347" marR="0" indent="-236404" algn="l" defTabSz="913818" rtl="0" eaLnBrk="1" fontAlgn="auto" latinLnBrk="0" hangingPunct="1">
        <a:lnSpc>
          <a:spcPct val="90000"/>
        </a:lnSpc>
        <a:spcBef>
          <a:spcPct val="20000"/>
        </a:spcBef>
        <a:spcAft>
          <a:spcPts val="0"/>
        </a:spcAft>
        <a:buClr>
          <a:schemeClr val="tx1"/>
        </a:buClr>
        <a:buSzPct val="100000"/>
        <a:buFontTx/>
        <a:buBlip>
          <a:blip r:embed="rId36"/>
        </a:buBlip>
        <a:tabLst/>
        <a:defRPr sz="2351" kern="1200" spc="0" baseline="0">
          <a:gradFill>
            <a:gsLst>
              <a:gs pos="1250">
                <a:schemeClr val="tx1"/>
              </a:gs>
              <a:gs pos="100000">
                <a:schemeClr val="tx1"/>
              </a:gs>
            </a:gsLst>
            <a:lin ang="5400000" scaled="0"/>
          </a:gradFill>
          <a:latin typeface="+mn-lt"/>
          <a:ea typeface="+mn-ea"/>
          <a:cs typeface="+mn-cs"/>
        </a:defRPr>
      </a:lvl2pPr>
      <a:lvl3pPr marL="783867" marR="0" indent="-223963" algn="l" defTabSz="913818" rtl="0" eaLnBrk="1" fontAlgn="auto" latinLnBrk="0" hangingPunct="1">
        <a:lnSpc>
          <a:spcPct val="90000"/>
        </a:lnSpc>
        <a:spcBef>
          <a:spcPct val="20000"/>
        </a:spcBef>
        <a:spcAft>
          <a:spcPts val="0"/>
        </a:spcAft>
        <a:buClr>
          <a:schemeClr val="tx1"/>
        </a:buClr>
        <a:buSzPct val="100000"/>
        <a:buFontTx/>
        <a:buBlip>
          <a:blip r:embed="rId36"/>
        </a:buBlip>
        <a:tabLst/>
        <a:defRPr sz="2351" kern="1200" spc="0" baseline="0">
          <a:gradFill>
            <a:gsLst>
              <a:gs pos="1250">
                <a:schemeClr val="tx1"/>
              </a:gs>
              <a:gs pos="100000">
                <a:schemeClr val="tx1"/>
              </a:gs>
            </a:gsLst>
            <a:lin ang="5400000" scaled="0"/>
          </a:gradFill>
          <a:latin typeface="+mn-lt"/>
          <a:ea typeface="+mn-ea"/>
          <a:cs typeface="+mn-cs"/>
        </a:defRPr>
      </a:lvl3pPr>
      <a:lvl4pPr marL="1007830" marR="0" indent="-223963" algn="l" defTabSz="913818" rtl="0" eaLnBrk="1" fontAlgn="auto" latinLnBrk="0" hangingPunct="1">
        <a:lnSpc>
          <a:spcPct val="90000"/>
        </a:lnSpc>
        <a:spcBef>
          <a:spcPct val="20000"/>
        </a:spcBef>
        <a:spcAft>
          <a:spcPts val="0"/>
        </a:spcAft>
        <a:buClr>
          <a:schemeClr val="tx1"/>
        </a:buClr>
        <a:buSzPct val="100000"/>
        <a:buFontTx/>
        <a:buBlip>
          <a:blip r:embed="rId36"/>
        </a:buBlip>
        <a:tabLst/>
        <a:defRPr sz="1959" kern="1200" spc="0" baseline="0">
          <a:gradFill>
            <a:gsLst>
              <a:gs pos="1250">
                <a:schemeClr val="tx1"/>
              </a:gs>
              <a:gs pos="100000">
                <a:schemeClr val="tx1"/>
              </a:gs>
            </a:gsLst>
            <a:lin ang="5400000" scaled="0"/>
          </a:gradFill>
          <a:latin typeface="+mn-lt"/>
          <a:ea typeface="+mn-ea"/>
          <a:cs typeface="+mn-cs"/>
        </a:defRPr>
      </a:lvl4pPr>
      <a:lvl5pPr marL="1231792" marR="0" indent="-223963" algn="l" defTabSz="913818" rtl="0" eaLnBrk="1" fontAlgn="auto" latinLnBrk="0" hangingPunct="1">
        <a:lnSpc>
          <a:spcPct val="90000"/>
        </a:lnSpc>
        <a:spcBef>
          <a:spcPct val="20000"/>
        </a:spcBef>
        <a:spcAft>
          <a:spcPts val="0"/>
        </a:spcAft>
        <a:buClr>
          <a:schemeClr val="tx1"/>
        </a:buClr>
        <a:buSzPct val="100000"/>
        <a:buFontTx/>
        <a:buBlip>
          <a:blip r:embed="rId36"/>
        </a:buBlip>
        <a:tabLst/>
        <a:defRPr sz="1959" kern="1200" spc="0" baseline="0">
          <a:gradFill>
            <a:gsLst>
              <a:gs pos="1250">
                <a:schemeClr val="tx1"/>
              </a:gs>
              <a:gs pos="100000">
                <a:schemeClr val="tx1"/>
              </a:gs>
            </a:gsLst>
            <a:lin ang="5400000" scaled="0"/>
          </a:gradFill>
          <a:latin typeface="+mn-lt"/>
          <a:ea typeface="+mn-ea"/>
          <a:cs typeface="+mn-cs"/>
        </a:defRPr>
      </a:lvl5pPr>
      <a:lvl6pPr marL="2513001" indent="-228455" algn="l" defTabSz="913818" rtl="0" eaLnBrk="1" latinLnBrk="0" hangingPunct="1">
        <a:spcBef>
          <a:spcPct val="20000"/>
        </a:spcBef>
        <a:buFont typeface="Arial" pitchFamily="34" charset="0"/>
        <a:buChar char="•"/>
        <a:defRPr sz="1959" kern="1200">
          <a:solidFill>
            <a:schemeClr val="tx1"/>
          </a:solidFill>
          <a:latin typeface="+mn-lt"/>
          <a:ea typeface="+mn-ea"/>
          <a:cs typeface="+mn-cs"/>
        </a:defRPr>
      </a:lvl6pPr>
      <a:lvl7pPr marL="2969911" indent="-228455" algn="l" defTabSz="913818" rtl="0" eaLnBrk="1" latinLnBrk="0" hangingPunct="1">
        <a:spcBef>
          <a:spcPct val="20000"/>
        </a:spcBef>
        <a:buFont typeface="Arial" pitchFamily="34" charset="0"/>
        <a:buChar char="•"/>
        <a:defRPr sz="1959" kern="1200">
          <a:solidFill>
            <a:schemeClr val="tx1"/>
          </a:solidFill>
          <a:latin typeface="+mn-lt"/>
          <a:ea typeface="+mn-ea"/>
          <a:cs typeface="+mn-cs"/>
        </a:defRPr>
      </a:lvl7pPr>
      <a:lvl8pPr marL="3426820" indent="-228455" algn="l" defTabSz="913818" rtl="0" eaLnBrk="1" latinLnBrk="0" hangingPunct="1">
        <a:spcBef>
          <a:spcPct val="20000"/>
        </a:spcBef>
        <a:buFont typeface="Arial" pitchFamily="34" charset="0"/>
        <a:buChar char="•"/>
        <a:defRPr sz="1959" kern="1200">
          <a:solidFill>
            <a:schemeClr val="tx1"/>
          </a:solidFill>
          <a:latin typeface="+mn-lt"/>
          <a:ea typeface="+mn-ea"/>
          <a:cs typeface="+mn-cs"/>
        </a:defRPr>
      </a:lvl8pPr>
      <a:lvl9pPr marL="3883730" indent="-228455" algn="l" defTabSz="913818" rtl="0" eaLnBrk="1" latinLnBrk="0" hangingPunct="1">
        <a:spcBef>
          <a:spcPct val="20000"/>
        </a:spcBef>
        <a:buFont typeface="Arial" pitchFamily="34" charset="0"/>
        <a:buChar char="•"/>
        <a:defRPr sz="1959" kern="1200">
          <a:solidFill>
            <a:schemeClr val="tx1"/>
          </a:solidFill>
          <a:latin typeface="+mn-lt"/>
          <a:ea typeface="+mn-ea"/>
          <a:cs typeface="+mn-cs"/>
        </a:defRPr>
      </a:lvl9pPr>
    </p:bodyStyle>
    <p:otherStyle>
      <a:defPPr>
        <a:defRPr lang="en-US"/>
      </a:defPPr>
      <a:lvl1pPr marL="0" algn="l" defTabSz="913818" rtl="0" eaLnBrk="1" latinLnBrk="0" hangingPunct="1">
        <a:defRPr sz="1763" kern="1200">
          <a:solidFill>
            <a:schemeClr val="tx1"/>
          </a:solidFill>
          <a:latin typeface="+mn-lt"/>
          <a:ea typeface="+mn-ea"/>
          <a:cs typeface="+mn-cs"/>
        </a:defRPr>
      </a:lvl1pPr>
      <a:lvl2pPr marL="456909" algn="l" defTabSz="913818" rtl="0" eaLnBrk="1" latinLnBrk="0" hangingPunct="1">
        <a:defRPr sz="1763" kern="1200">
          <a:solidFill>
            <a:schemeClr val="tx1"/>
          </a:solidFill>
          <a:latin typeface="+mn-lt"/>
          <a:ea typeface="+mn-ea"/>
          <a:cs typeface="+mn-cs"/>
        </a:defRPr>
      </a:lvl2pPr>
      <a:lvl3pPr marL="913818" algn="l" defTabSz="913818" rtl="0" eaLnBrk="1" latinLnBrk="0" hangingPunct="1">
        <a:defRPr sz="1763" kern="1200">
          <a:solidFill>
            <a:schemeClr val="tx1"/>
          </a:solidFill>
          <a:latin typeface="+mn-lt"/>
          <a:ea typeface="+mn-ea"/>
          <a:cs typeface="+mn-cs"/>
        </a:defRPr>
      </a:lvl3pPr>
      <a:lvl4pPr marL="1370728" algn="l" defTabSz="913818" rtl="0" eaLnBrk="1" latinLnBrk="0" hangingPunct="1">
        <a:defRPr sz="1763" kern="1200">
          <a:solidFill>
            <a:schemeClr val="tx1"/>
          </a:solidFill>
          <a:latin typeface="+mn-lt"/>
          <a:ea typeface="+mn-ea"/>
          <a:cs typeface="+mn-cs"/>
        </a:defRPr>
      </a:lvl4pPr>
      <a:lvl5pPr marL="1827637" algn="l" defTabSz="913818" rtl="0" eaLnBrk="1" latinLnBrk="0" hangingPunct="1">
        <a:defRPr sz="1763" kern="1200">
          <a:solidFill>
            <a:schemeClr val="tx1"/>
          </a:solidFill>
          <a:latin typeface="+mn-lt"/>
          <a:ea typeface="+mn-ea"/>
          <a:cs typeface="+mn-cs"/>
        </a:defRPr>
      </a:lvl5pPr>
      <a:lvl6pPr marL="2284546" algn="l" defTabSz="913818" rtl="0" eaLnBrk="1" latinLnBrk="0" hangingPunct="1">
        <a:defRPr sz="1763" kern="1200">
          <a:solidFill>
            <a:schemeClr val="tx1"/>
          </a:solidFill>
          <a:latin typeface="+mn-lt"/>
          <a:ea typeface="+mn-ea"/>
          <a:cs typeface="+mn-cs"/>
        </a:defRPr>
      </a:lvl6pPr>
      <a:lvl7pPr marL="2741455" algn="l" defTabSz="913818" rtl="0" eaLnBrk="1" latinLnBrk="0" hangingPunct="1">
        <a:defRPr sz="1763" kern="1200">
          <a:solidFill>
            <a:schemeClr val="tx1"/>
          </a:solidFill>
          <a:latin typeface="+mn-lt"/>
          <a:ea typeface="+mn-ea"/>
          <a:cs typeface="+mn-cs"/>
        </a:defRPr>
      </a:lvl7pPr>
      <a:lvl8pPr marL="3198365" algn="l" defTabSz="913818" rtl="0" eaLnBrk="1" latinLnBrk="0" hangingPunct="1">
        <a:defRPr sz="1763" kern="1200">
          <a:solidFill>
            <a:schemeClr val="tx1"/>
          </a:solidFill>
          <a:latin typeface="+mn-lt"/>
          <a:ea typeface="+mn-ea"/>
          <a:cs typeface="+mn-cs"/>
        </a:defRPr>
      </a:lvl8pPr>
      <a:lvl9pPr marL="3655275" algn="l" defTabSz="913818" rtl="0" eaLnBrk="1" latinLnBrk="0" hangingPunct="1">
        <a:defRPr sz="17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0702324"/>
      </p:ext>
    </p:extLst>
  </p:cSld>
  <p:clrMap bg1="dk1" tx1="lt1" bg2="dk2" tx2="lt2" accent1="accent1" accent2="accent2" accent3="accent3" accent4="accent4" accent5="accent5" accent6="accent6" hlink="hlink" folHlink="folHlink"/>
  <p:sldLayoutIdLst>
    <p:sldLayoutId id="2147484058" r:id="rId1"/>
    <p:sldLayoutId id="2147484099" r:id="rId2"/>
    <p:sldLayoutId id="2147484100" r:id="rId3"/>
    <p:sldLayoutId id="2147484101" r:id="rId4"/>
    <p:sldLayoutId id="2147484048" r:id="rId5"/>
    <p:sldLayoutId id="2147484061" r:id="rId6"/>
    <p:sldLayoutId id="2147484062" r:id="rId7"/>
    <p:sldLayoutId id="2147484097" r:id="rId8"/>
    <p:sldLayoutId id="2147484057" r:id="rId9"/>
    <p:sldLayoutId id="2147484065" r:id="rId10"/>
    <p:sldLayoutId id="2147484066" r:id="rId11"/>
    <p:sldLayoutId id="2147484098" r:id="rId12"/>
    <p:sldLayoutId id="2147484717" r:id="rId13"/>
  </p:sldLayoutIdLst>
  <p:transition>
    <p:fade/>
  </p:transition>
  <p:timing>
    <p:tnLst>
      <p:par>
        <p:cTn id="1" dur="indefinite" restart="never" nodeType="tmRoot"/>
      </p:par>
    </p:tnLst>
  </p:timing>
  <p:hf hdr="0" ftr="0" dt="0"/>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gradFill>
            <a:gsLst>
              <a:gs pos="125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p:nvPicPr>
        <p:blipFill>
          <a:blip r:embed="rId36" cstate="email">
            <a:extLst>
              <a:ext uri="{28A0092B-C50C-407E-A947-70E740481C1C}">
                <a14:useLocalDpi xmlns:a14="http://schemas.microsoft.com/office/drawing/2010/main" val="0"/>
              </a:ext>
            </a:extLst>
          </a:blip>
          <a:stretch>
            <a:fillRect/>
          </a:stretch>
        </p:blipFill>
        <p:spPr>
          <a:xfrm rot="5400000">
            <a:off x="10321814" y="1906466"/>
            <a:ext cx="4214127" cy="401199"/>
          </a:xfrm>
          <a:prstGeom prst="rect">
            <a:avLst/>
          </a:prstGeom>
        </p:spPr>
      </p:pic>
    </p:spTree>
    <p:extLst>
      <p:ext uri="{BB962C8B-B14F-4D97-AF65-F5344CB8AC3E}">
        <p14:creationId xmlns:p14="http://schemas.microsoft.com/office/powerpoint/2010/main" val="4062194233"/>
      </p:ext>
    </p:extLst>
  </p:cSld>
  <p:clrMap bg1="dk1" tx1="lt1" bg2="dk2" tx2="lt2" accent1="accent1" accent2="accent2" accent3="accent3" accent4="accent4" accent5="accent5" accent6="accent6" hlink="hlink" folHlink="folHlink"/>
  <p:sldLayoutIdLst>
    <p:sldLayoutId id="2147484162" r:id="rId1"/>
    <p:sldLayoutId id="2147484163" r:id="rId2"/>
    <p:sldLayoutId id="2147484164" r:id="rId3"/>
    <p:sldLayoutId id="2147484165" r:id="rId4"/>
    <p:sldLayoutId id="2147484166" r:id="rId5"/>
    <p:sldLayoutId id="2147484167" r:id="rId6"/>
    <p:sldLayoutId id="2147484168" r:id="rId7"/>
    <p:sldLayoutId id="2147484169" r:id="rId8"/>
    <p:sldLayoutId id="2147484170" r:id="rId9"/>
    <p:sldLayoutId id="2147484171" r:id="rId10"/>
    <p:sldLayoutId id="2147484172" r:id="rId11"/>
    <p:sldLayoutId id="2147484173" r:id="rId12"/>
    <p:sldLayoutId id="2147484174" r:id="rId13"/>
    <p:sldLayoutId id="2147484175" r:id="rId14"/>
    <p:sldLayoutId id="2147484176" r:id="rId15"/>
    <p:sldLayoutId id="2147484177" r:id="rId16"/>
    <p:sldLayoutId id="2147484178" r:id="rId17"/>
    <p:sldLayoutId id="2147484179" r:id="rId18"/>
    <p:sldLayoutId id="2147484180" r:id="rId19"/>
    <p:sldLayoutId id="2147484181" r:id="rId20"/>
    <p:sldLayoutId id="2147484182" r:id="rId21"/>
    <p:sldLayoutId id="2147484183" r:id="rId22"/>
    <p:sldLayoutId id="2147484184" r:id="rId23"/>
    <p:sldLayoutId id="2147484185" r:id="rId24"/>
    <p:sldLayoutId id="2147484186" r:id="rId25"/>
    <p:sldLayoutId id="2147484187" r:id="rId26"/>
    <p:sldLayoutId id="2147484188" r:id="rId27"/>
    <p:sldLayoutId id="2147484189" r:id="rId28"/>
    <p:sldLayoutId id="2147484190" r:id="rId29"/>
    <p:sldLayoutId id="2147484191" r:id="rId30"/>
    <p:sldLayoutId id="2147484192" r:id="rId31"/>
    <p:sldLayoutId id="2147484193" r:id="rId32"/>
    <p:sldLayoutId id="2147484194" r:id="rId33"/>
    <p:sldLayoutId id="2147484195" r:id="rId34"/>
  </p:sldLayoutIdLst>
  <p:transition>
    <p:fade/>
  </p:transition>
  <p:timing>
    <p:tnLst>
      <p:par>
        <p:cTn id="1" dur="indefinite" restart="never" nodeType="tmRoot"/>
      </p:par>
    </p:tnLst>
  </p:timing>
  <p:txStyles>
    <p:titleStyle>
      <a:lvl1pPr algn="l" defTabSz="914093" rtl="0" eaLnBrk="1" latinLnBrk="0" hangingPunct="1">
        <a:lnSpc>
          <a:spcPct val="90000"/>
        </a:lnSpc>
        <a:spcBef>
          <a:spcPct val="0"/>
        </a:spcBef>
        <a:buNone/>
        <a:defRPr lang="en-US" sz="5292" b="0" kern="1200" cap="none" spc="-100" baseline="0" dirty="0" smtClean="0">
          <a:ln w="3175">
            <a:noFill/>
          </a:ln>
          <a:solidFill>
            <a:schemeClr val="bg1">
              <a:lumMod val="75000"/>
            </a:schemeClr>
          </a:solidFill>
          <a:effectLst/>
          <a:latin typeface="+mj-lt"/>
          <a:ea typeface="+mn-ea"/>
          <a:cs typeface="Segoe UI" pitchFamily="34" charset="0"/>
        </a:defRPr>
      </a:lvl1pPr>
    </p:titleStyle>
    <p:bodyStyle>
      <a:lvl1pPr marL="336044" marR="0" indent="-336044" algn="l" defTabSz="914093" rtl="0" eaLnBrk="1" fontAlgn="auto" latinLnBrk="0" hangingPunct="1">
        <a:lnSpc>
          <a:spcPct val="90000"/>
        </a:lnSpc>
        <a:spcBef>
          <a:spcPct val="20000"/>
        </a:spcBef>
        <a:spcAft>
          <a:spcPts val="0"/>
        </a:spcAft>
        <a:buClr>
          <a:schemeClr val="tx1"/>
        </a:buClr>
        <a:buSzPct val="100000"/>
        <a:buFontTx/>
        <a:buBlip>
          <a:blip r:embed="rId37"/>
        </a:buBlip>
        <a:tabLst/>
        <a:defRPr sz="3920" kern="1200" spc="0" baseline="0">
          <a:solidFill>
            <a:schemeClr val="bg1">
              <a:lumMod val="75000"/>
            </a:schemeClr>
          </a:solidFill>
          <a:latin typeface="+mj-lt"/>
          <a:ea typeface="+mn-ea"/>
          <a:cs typeface="+mn-cs"/>
        </a:defRPr>
      </a:lvl1pPr>
      <a:lvl2pPr marL="572519" marR="0" indent="-236475" algn="l" defTabSz="914093" rtl="0" eaLnBrk="1" fontAlgn="auto" latinLnBrk="0" hangingPunct="1">
        <a:lnSpc>
          <a:spcPct val="90000"/>
        </a:lnSpc>
        <a:spcBef>
          <a:spcPct val="20000"/>
        </a:spcBef>
        <a:spcAft>
          <a:spcPts val="0"/>
        </a:spcAft>
        <a:buClr>
          <a:schemeClr val="tx1"/>
        </a:buClr>
        <a:buSzPct val="100000"/>
        <a:buFontTx/>
        <a:buBlip>
          <a:blip r:embed="rId37"/>
        </a:buBlip>
        <a:tabLst/>
        <a:defRPr sz="2352" kern="1200" spc="0" baseline="0">
          <a:solidFill>
            <a:schemeClr val="bg1">
              <a:lumMod val="75000"/>
            </a:schemeClr>
          </a:solidFill>
          <a:latin typeface="+mn-lt"/>
          <a:ea typeface="+mn-ea"/>
          <a:cs typeface="+mn-cs"/>
        </a:defRPr>
      </a:lvl2pPr>
      <a:lvl3pPr marL="784103" marR="0" indent="-224030" algn="l" defTabSz="914093" rtl="0" eaLnBrk="1" fontAlgn="auto" latinLnBrk="0" hangingPunct="1">
        <a:lnSpc>
          <a:spcPct val="90000"/>
        </a:lnSpc>
        <a:spcBef>
          <a:spcPct val="20000"/>
        </a:spcBef>
        <a:spcAft>
          <a:spcPts val="0"/>
        </a:spcAft>
        <a:buClr>
          <a:schemeClr val="tx1"/>
        </a:buClr>
        <a:buSzPct val="100000"/>
        <a:buFontTx/>
        <a:buBlip>
          <a:blip r:embed="rId37"/>
        </a:buBlip>
        <a:tabLst/>
        <a:defRPr sz="2352" kern="1200" spc="0" baseline="0">
          <a:solidFill>
            <a:schemeClr val="bg1">
              <a:lumMod val="75000"/>
            </a:schemeClr>
          </a:solidFill>
          <a:latin typeface="+mn-lt"/>
          <a:ea typeface="+mn-ea"/>
          <a:cs typeface="+mn-cs"/>
        </a:defRPr>
      </a:lvl3pPr>
      <a:lvl4pPr marL="1008132" marR="0" indent="-224030" algn="l" defTabSz="914093" rtl="0" eaLnBrk="1" fontAlgn="auto" latinLnBrk="0" hangingPunct="1">
        <a:lnSpc>
          <a:spcPct val="90000"/>
        </a:lnSpc>
        <a:spcBef>
          <a:spcPct val="20000"/>
        </a:spcBef>
        <a:spcAft>
          <a:spcPts val="0"/>
        </a:spcAft>
        <a:buClr>
          <a:schemeClr val="tx1"/>
        </a:buClr>
        <a:buSzPct val="100000"/>
        <a:buFontTx/>
        <a:buBlip>
          <a:blip r:embed="rId37"/>
        </a:buBlip>
        <a:tabLst/>
        <a:defRPr sz="1960" kern="1200" spc="0" baseline="0">
          <a:solidFill>
            <a:schemeClr val="bg1">
              <a:lumMod val="75000"/>
            </a:schemeClr>
          </a:solidFill>
          <a:latin typeface="+mn-lt"/>
          <a:ea typeface="+mn-ea"/>
          <a:cs typeface="+mn-cs"/>
        </a:defRPr>
      </a:lvl4pPr>
      <a:lvl5pPr marL="1232161" marR="0" indent="-224030" algn="l" defTabSz="914093" rtl="0" eaLnBrk="1" fontAlgn="auto" latinLnBrk="0" hangingPunct="1">
        <a:lnSpc>
          <a:spcPct val="90000"/>
        </a:lnSpc>
        <a:spcBef>
          <a:spcPct val="20000"/>
        </a:spcBef>
        <a:spcAft>
          <a:spcPts val="0"/>
        </a:spcAft>
        <a:buClr>
          <a:schemeClr val="tx1"/>
        </a:buClr>
        <a:buSzPct val="100000"/>
        <a:buFontTx/>
        <a:buBlip>
          <a:blip r:embed="rId37"/>
        </a:buBlip>
        <a:tabLst/>
        <a:defRPr sz="1960" kern="1200" spc="0" baseline="0">
          <a:solidFill>
            <a:schemeClr val="bg1">
              <a:lumMod val="75000"/>
            </a:schemeClr>
          </a:solidFill>
          <a:latin typeface="+mn-lt"/>
          <a:ea typeface="+mn-ea"/>
          <a:cs typeface="+mn-cs"/>
        </a:defRPr>
      </a:lvl5pPr>
      <a:lvl6pPr marL="251375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801"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848"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89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93" rtl="0" eaLnBrk="1" latinLnBrk="0" hangingPunct="1">
        <a:defRPr sz="1764" kern="1200">
          <a:solidFill>
            <a:schemeClr val="tx1"/>
          </a:solidFill>
          <a:latin typeface="+mn-lt"/>
          <a:ea typeface="+mn-ea"/>
          <a:cs typeface="+mn-cs"/>
        </a:defRPr>
      </a:lvl1pPr>
      <a:lvl2pPr marL="457046" algn="l" defTabSz="914093" rtl="0" eaLnBrk="1" latinLnBrk="0" hangingPunct="1">
        <a:defRPr sz="1764" kern="1200">
          <a:solidFill>
            <a:schemeClr val="tx1"/>
          </a:solidFill>
          <a:latin typeface="+mn-lt"/>
          <a:ea typeface="+mn-ea"/>
          <a:cs typeface="+mn-cs"/>
        </a:defRPr>
      </a:lvl2pPr>
      <a:lvl3pPr marL="914093" algn="l" defTabSz="914093" rtl="0" eaLnBrk="1" latinLnBrk="0" hangingPunct="1">
        <a:defRPr sz="1764" kern="1200">
          <a:solidFill>
            <a:schemeClr val="tx1"/>
          </a:solidFill>
          <a:latin typeface="+mn-lt"/>
          <a:ea typeface="+mn-ea"/>
          <a:cs typeface="+mn-cs"/>
        </a:defRPr>
      </a:lvl3pPr>
      <a:lvl4pPr marL="1371139" algn="l" defTabSz="914093" rtl="0" eaLnBrk="1" latinLnBrk="0" hangingPunct="1">
        <a:defRPr sz="1764" kern="1200">
          <a:solidFill>
            <a:schemeClr val="tx1"/>
          </a:solidFill>
          <a:latin typeface="+mn-lt"/>
          <a:ea typeface="+mn-ea"/>
          <a:cs typeface="+mn-cs"/>
        </a:defRPr>
      </a:lvl4pPr>
      <a:lvl5pPr marL="1828185" algn="l" defTabSz="914093" rtl="0" eaLnBrk="1" latinLnBrk="0" hangingPunct="1">
        <a:defRPr sz="1764" kern="1200">
          <a:solidFill>
            <a:schemeClr val="tx1"/>
          </a:solidFill>
          <a:latin typeface="+mn-lt"/>
          <a:ea typeface="+mn-ea"/>
          <a:cs typeface="+mn-cs"/>
        </a:defRPr>
      </a:lvl5pPr>
      <a:lvl6pPr marL="2285232" algn="l" defTabSz="914093" rtl="0" eaLnBrk="1" latinLnBrk="0" hangingPunct="1">
        <a:defRPr sz="1764" kern="1200">
          <a:solidFill>
            <a:schemeClr val="tx1"/>
          </a:solidFill>
          <a:latin typeface="+mn-lt"/>
          <a:ea typeface="+mn-ea"/>
          <a:cs typeface="+mn-cs"/>
        </a:defRPr>
      </a:lvl6pPr>
      <a:lvl7pPr marL="2742278" algn="l" defTabSz="914093" rtl="0" eaLnBrk="1" latinLnBrk="0" hangingPunct="1">
        <a:defRPr sz="1764" kern="1200">
          <a:solidFill>
            <a:schemeClr val="tx1"/>
          </a:solidFill>
          <a:latin typeface="+mn-lt"/>
          <a:ea typeface="+mn-ea"/>
          <a:cs typeface="+mn-cs"/>
        </a:defRPr>
      </a:lvl7pPr>
      <a:lvl8pPr marL="3199324" algn="l" defTabSz="914093" rtl="0" eaLnBrk="1" latinLnBrk="0" hangingPunct="1">
        <a:defRPr sz="1764" kern="1200">
          <a:solidFill>
            <a:schemeClr val="tx1"/>
          </a:solidFill>
          <a:latin typeface="+mn-lt"/>
          <a:ea typeface="+mn-ea"/>
          <a:cs typeface="+mn-cs"/>
        </a:defRPr>
      </a:lvl8pPr>
      <a:lvl9pPr marL="3656372" algn="l" defTabSz="914093"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3"/>
            <a:ext cx="11652805" cy="89966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172" y="1189178"/>
            <a:ext cx="11650486" cy="2184808"/>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5" name="Picture 4"/>
          <p:cNvPicPr>
            <a:picLocks noChangeAspect="1"/>
          </p:cNvPicPr>
          <p:nvPr userDrawn="1"/>
        </p:nvPicPr>
        <p:blipFill>
          <a:blip r:embed="rId53" cstate="print">
            <a:extLst>
              <a:ext uri="{28A0092B-C50C-407E-A947-70E740481C1C}">
                <a14:useLocalDpi xmlns:a14="http://schemas.microsoft.com/office/drawing/2010/main" val="0"/>
              </a:ext>
            </a:extLst>
          </a:blip>
          <a:stretch>
            <a:fillRect/>
          </a:stretch>
        </p:blipFill>
        <p:spPr>
          <a:xfrm rot="5400000">
            <a:off x="10321815" y="1906467"/>
            <a:ext cx="4214127" cy="401199"/>
          </a:xfrm>
          <a:prstGeom prst="rect">
            <a:avLst/>
          </a:prstGeom>
        </p:spPr>
      </p:pic>
    </p:spTree>
    <p:extLst>
      <p:ext uri="{BB962C8B-B14F-4D97-AF65-F5344CB8AC3E}">
        <p14:creationId xmlns:p14="http://schemas.microsoft.com/office/powerpoint/2010/main" val="2677768147"/>
      </p:ext>
    </p:extLst>
  </p:cSld>
  <p:clrMap bg1="lt1" tx1="dk1" bg2="lt2" tx2="dk2" accent1="accent1" accent2="accent2" accent3="accent3" accent4="accent4" accent5="accent5" accent6="accent6" hlink="hlink" folHlink="folHlink"/>
  <p:sldLayoutIdLst>
    <p:sldLayoutId id="2147484200" r:id="rId1"/>
    <p:sldLayoutId id="2147484201" r:id="rId2"/>
    <p:sldLayoutId id="2147484202" r:id="rId3"/>
    <p:sldLayoutId id="2147484203" r:id="rId4"/>
    <p:sldLayoutId id="2147484204" r:id="rId5"/>
    <p:sldLayoutId id="2147484205" r:id="rId6"/>
    <p:sldLayoutId id="2147484206" r:id="rId7"/>
    <p:sldLayoutId id="2147484207" r:id="rId8"/>
    <p:sldLayoutId id="2147484208" r:id="rId9"/>
    <p:sldLayoutId id="2147484209" r:id="rId10"/>
    <p:sldLayoutId id="2147484210" r:id="rId11"/>
    <p:sldLayoutId id="2147484211" r:id="rId12"/>
    <p:sldLayoutId id="2147484212" r:id="rId13"/>
    <p:sldLayoutId id="2147484213" r:id="rId14"/>
    <p:sldLayoutId id="2147484214" r:id="rId15"/>
    <p:sldLayoutId id="2147484215" r:id="rId16"/>
    <p:sldLayoutId id="2147484216" r:id="rId17"/>
    <p:sldLayoutId id="2147484217" r:id="rId18"/>
    <p:sldLayoutId id="2147484218" r:id="rId19"/>
    <p:sldLayoutId id="2147484219" r:id="rId20"/>
    <p:sldLayoutId id="2147484220" r:id="rId21"/>
    <p:sldLayoutId id="2147484221" r:id="rId22"/>
    <p:sldLayoutId id="2147484222" r:id="rId23"/>
    <p:sldLayoutId id="2147484223" r:id="rId24"/>
    <p:sldLayoutId id="2147484224" r:id="rId25"/>
    <p:sldLayoutId id="2147484225" r:id="rId26"/>
    <p:sldLayoutId id="2147484226" r:id="rId27"/>
    <p:sldLayoutId id="2147484227" r:id="rId28"/>
    <p:sldLayoutId id="2147484228" r:id="rId29"/>
    <p:sldLayoutId id="2147484229" r:id="rId30"/>
    <p:sldLayoutId id="2147484230" r:id="rId31"/>
    <p:sldLayoutId id="2147484231" r:id="rId32"/>
    <p:sldLayoutId id="2147484232" r:id="rId33"/>
    <p:sldLayoutId id="2147484233" r:id="rId34"/>
    <p:sldLayoutId id="2147484234" r:id="rId35"/>
    <p:sldLayoutId id="2147484236" r:id="rId36"/>
    <p:sldLayoutId id="2147484237" r:id="rId37"/>
    <p:sldLayoutId id="2147484238" r:id="rId38"/>
    <p:sldLayoutId id="2147484239" r:id="rId39"/>
    <p:sldLayoutId id="2147484240" r:id="rId40"/>
    <p:sldLayoutId id="2147484241" r:id="rId41"/>
    <p:sldLayoutId id="2147484242" r:id="rId42"/>
    <p:sldLayoutId id="2147484243" r:id="rId43"/>
    <p:sldLayoutId id="2147484244" r:id="rId44"/>
    <p:sldLayoutId id="2147484245" r:id="rId45"/>
    <p:sldLayoutId id="2147484246" r:id="rId46"/>
    <p:sldLayoutId id="2147484247" r:id="rId47"/>
    <p:sldLayoutId id="2147484248" r:id="rId48"/>
    <p:sldLayoutId id="2147484249" r:id="rId49"/>
    <p:sldLayoutId id="2147484250" r:id="rId50"/>
    <p:sldLayoutId id="2147484251" r:id="rId51"/>
  </p:sldLayoutIdLst>
  <p:transition>
    <p:fade/>
  </p:transition>
  <p:timing>
    <p:tnLst>
      <p:par>
        <p:cTn id="1" dur="indefinite" restart="never" nodeType="tmRoot"/>
      </p:par>
    </p:tnLst>
  </p:timing>
  <p:txStyles>
    <p:titleStyle>
      <a:lvl1pPr algn="l" defTabSz="913918" rtl="0" eaLnBrk="1" latinLnBrk="0" hangingPunct="1">
        <a:lnSpc>
          <a:spcPct val="90000"/>
        </a:lnSpc>
        <a:spcBef>
          <a:spcPct val="0"/>
        </a:spcBef>
        <a:buNone/>
        <a:defRPr lang="en-US" sz="5291"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979" marR="0" indent="-335979" algn="l" defTabSz="913918"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19" kern="1200" spc="0" baseline="0">
          <a:gradFill>
            <a:gsLst>
              <a:gs pos="1250">
                <a:schemeClr val="tx1"/>
              </a:gs>
              <a:gs pos="100000">
                <a:schemeClr val="tx1"/>
              </a:gs>
            </a:gsLst>
            <a:lin ang="5400000" scaled="0"/>
          </a:gradFill>
          <a:latin typeface="+mj-lt"/>
          <a:ea typeface="+mn-ea"/>
          <a:cs typeface="+mn-cs"/>
        </a:defRPr>
      </a:lvl1pPr>
      <a:lvl2pPr marL="572409" marR="0" indent="-236429" algn="l" defTabSz="913918"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2pPr>
      <a:lvl3pPr marL="783952" marR="0" indent="-223987" algn="l" defTabSz="913918"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3pPr>
      <a:lvl4pPr marL="1007939" marR="0" indent="-223987" algn="l" defTabSz="913918"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4pPr>
      <a:lvl5pPr marL="1231924" marR="0" indent="-223987" algn="l" defTabSz="913918"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5pPr>
      <a:lvl6pPr marL="2513272" indent="-228479" algn="l" defTabSz="913918"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232" indent="-228479" algn="l" defTabSz="913918"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191" indent="-228479" algn="l" defTabSz="913918"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149" indent="-228479" algn="l" defTabSz="913918"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3918" rtl="0" eaLnBrk="1" latinLnBrk="0" hangingPunct="1">
        <a:defRPr sz="1764" kern="1200">
          <a:solidFill>
            <a:schemeClr val="tx1"/>
          </a:solidFill>
          <a:latin typeface="+mn-lt"/>
          <a:ea typeface="+mn-ea"/>
          <a:cs typeface="+mn-cs"/>
        </a:defRPr>
      </a:lvl1pPr>
      <a:lvl2pPr marL="456958" algn="l" defTabSz="913918" rtl="0" eaLnBrk="1" latinLnBrk="0" hangingPunct="1">
        <a:defRPr sz="1764" kern="1200">
          <a:solidFill>
            <a:schemeClr val="tx1"/>
          </a:solidFill>
          <a:latin typeface="+mn-lt"/>
          <a:ea typeface="+mn-ea"/>
          <a:cs typeface="+mn-cs"/>
        </a:defRPr>
      </a:lvl2pPr>
      <a:lvl3pPr marL="913918" algn="l" defTabSz="913918" rtl="0" eaLnBrk="1" latinLnBrk="0" hangingPunct="1">
        <a:defRPr sz="1764" kern="1200">
          <a:solidFill>
            <a:schemeClr val="tx1"/>
          </a:solidFill>
          <a:latin typeface="+mn-lt"/>
          <a:ea typeface="+mn-ea"/>
          <a:cs typeface="+mn-cs"/>
        </a:defRPr>
      </a:lvl3pPr>
      <a:lvl4pPr marL="1370876" algn="l" defTabSz="913918" rtl="0" eaLnBrk="1" latinLnBrk="0" hangingPunct="1">
        <a:defRPr sz="1764" kern="1200">
          <a:solidFill>
            <a:schemeClr val="tx1"/>
          </a:solidFill>
          <a:latin typeface="+mn-lt"/>
          <a:ea typeface="+mn-ea"/>
          <a:cs typeface="+mn-cs"/>
        </a:defRPr>
      </a:lvl4pPr>
      <a:lvl5pPr marL="1827834" algn="l" defTabSz="913918" rtl="0" eaLnBrk="1" latinLnBrk="0" hangingPunct="1">
        <a:defRPr sz="1764" kern="1200">
          <a:solidFill>
            <a:schemeClr val="tx1"/>
          </a:solidFill>
          <a:latin typeface="+mn-lt"/>
          <a:ea typeface="+mn-ea"/>
          <a:cs typeface="+mn-cs"/>
        </a:defRPr>
      </a:lvl5pPr>
      <a:lvl6pPr marL="2284793" algn="l" defTabSz="913918" rtl="0" eaLnBrk="1" latinLnBrk="0" hangingPunct="1">
        <a:defRPr sz="1764" kern="1200">
          <a:solidFill>
            <a:schemeClr val="tx1"/>
          </a:solidFill>
          <a:latin typeface="+mn-lt"/>
          <a:ea typeface="+mn-ea"/>
          <a:cs typeface="+mn-cs"/>
        </a:defRPr>
      </a:lvl6pPr>
      <a:lvl7pPr marL="2741752" algn="l" defTabSz="913918" rtl="0" eaLnBrk="1" latinLnBrk="0" hangingPunct="1">
        <a:defRPr sz="1764" kern="1200">
          <a:solidFill>
            <a:schemeClr val="tx1"/>
          </a:solidFill>
          <a:latin typeface="+mn-lt"/>
          <a:ea typeface="+mn-ea"/>
          <a:cs typeface="+mn-cs"/>
        </a:defRPr>
      </a:lvl7pPr>
      <a:lvl8pPr marL="3198710" algn="l" defTabSz="913918" rtl="0" eaLnBrk="1" latinLnBrk="0" hangingPunct="1">
        <a:defRPr sz="1764" kern="1200">
          <a:solidFill>
            <a:schemeClr val="tx1"/>
          </a:solidFill>
          <a:latin typeface="+mn-lt"/>
          <a:ea typeface="+mn-ea"/>
          <a:cs typeface="+mn-cs"/>
        </a:defRPr>
      </a:lvl8pPr>
      <a:lvl9pPr marL="3655670" algn="l" defTabSz="913918"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3"/>
            <a:ext cx="11652805" cy="89966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172" y="1189178"/>
            <a:ext cx="11650486" cy="2184808"/>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5" name="Picture 4"/>
          <p:cNvPicPr>
            <a:picLocks noChangeAspect="1"/>
          </p:cNvPicPr>
          <p:nvPr userDrawn="1"/>
        </p:nvPicPr>
        <p:blipFill>
          <a:blip r:embed="rId54" cstate="print">
            <a:extLst>
              <a:ext uri="{28A0092B-C50C-407E-A947-70E740481C1C}">
                <a14:useLocalDpi xmlns:a14="http://schemas.microsoft.com/office/drawing/2010/main" val="0"/>
              </a:ext>
            </a:extLst>
          </a:blip>
          <a:stretch>
            <a:fillRect/>
          </a:stretch>
        </p:blipFill>
        <p:spPr>
          <a:xfrm rot="5400000">
            <a:off x="10321815" y="1906467"/>
            <a:ext cx="4214127" cy="401199"/>
          </a:xfrm>
          <a:prstGeom prst="rect">
            <a:avLst/>
          </a:prstGeom>
        </p:spPr>
      </p:pic>
    </p:spTree>
    <p:extLst>
      <p:ext uri="{BB962C8B-B14F-4D97-AF65-F5344CB8AC3E}">
        <p14:creationId xmlns:p14="http://schemas.microsoft.com/office/powerpoint/2010/main" val="3207835344"/>
      </p:ext>
    </p:extLst>
  </p:cSld>
  <p:clrMap bg1="lt1" tx1="dk1" bg2="lt2" tx2="dk2" accent1="accent1" accent2="accent2" accent3="accent3" accent4="accent4" accent5="accent5" accent6="accent6" hlink="hlink" folHlink="folHlink"/>
  <p:sldLayoutIdLst>
    <p:sldLayoutId id="2147484253" r:id="rId1"/>
    <p:sldLayoutId id="2147484254" r:id="rId2"/>
    <p:sldLayoutId id="2147484255" r:id="rId3"/>
    <p:sldLayoutId id="2147484256" r:id="rId4"/>
    <p:sldLayoutId id="2147484257" r:id="rId5"/>
    <p:sldLayoutId id="2147484258" r:id="rId6"/>
    <p:sldLayoutId id="2147484259" r:id="rId7"/>
    <p:sldLayoutId id="2147484260" r:id="rId8"/>
    <p:sldLayoutId id="2147484261" r:id="rId9"/>
    <p:sldLayoutId id="2147484262" r:id="rId10"/>
    <p:sldLayoutId id="2147484263" r:id="rId11"/>
    <p:sldLayoutId id="2147484264" r:id="rId12"/>
    <p:sldLayoutId id="2147484265" r:id="rId13"/>
    <p:sldLayoutId id="2147484266" r:id="rId14"/>
    <p:sldLayoutId id="2147484267" r:id="rId15"/>
    <p:sldLayoutId id="2147484268" r:id="rId16"/>
    <p:sldLayoutId id="2147484269" r:id="rId17"/>
    <p:sldLayoutId id="2147484270" r:id="rId18"/>
    <p:sldLayoutId id="2147484271" r:id="rId19"/>
    <p:sldLayoutId id="2147484272" r:id="rId20"/>
    <p:sldLayoutId id="2147484273" r:id="rId21"/>
    <p:sldLayoutId id="2147484274" r:id="rId22"/>
    <p:sldLayoutId id="2147484275" r:id="rId23"/>
    <p:sldLayoutId id="2147484276" r:id="rId24"/>
    <p:sldLayoutId id="2147484277" r:id="rId25"/>
    <p:sldLayoutId id="2147484278" r:id="rId26"/>
    <p:sldLayoutId id="2147484279" r:id="rId27"/>
    <p:sldLayoutId id="2147484280" r:id="rId28"/>
    <p:sldLayoutId id="2147484281" r:id="rId29"/>
    <p:sldLayoutId id="2147484282" r:id="rId30"/>
    <p:sldLayoutId id="2147484283" r:id="rId31"/>
    <p:sldLayoutId id="2147484284" r:id="rId32"/>
    <p:sldLayoutId id="2147484285" r:id="rId33"/>
    <p:sldLayoutId id="2147484286" r:id="rId34"/>
    <p:sldLayoutId id="2147484287" r:id="rId35"/>
    <p:sldLayoutId id="2147484288" r:id="rId36"/>
    <p:sldLayoutId id="2147484289" r:id="rId37"/>
    <p:sldLayoutId id="2147484290" r:id="rId38"/>
    <p:sldLayoutId id="2147484291" r:id="rId39"/>
    <p:sldLayoutId id="2147484292" r:id="rId40"/>
    <p:sldLayoutId id="2147484293" r:id="rId41"/>
    <p:sldLayoutId id="2147484294" r:id="rId42"/>
    <p:sldLayoutId id="2147484295" r:id="rId43"/>
    <p:sldLayoutId id="2147484296" r:id="rId44"/>
    <p:sldLayoutId id="2147484297" r:id="rId45"/>
    <p:sldLayoutId id="2147484298" r:id="rId46"/>
    <p:sldLayoutId id="2147484299" r:id="rId47"/>
    <p:sldLayoutId id="2147484300" r:id="rId48"/>
    <p:sldLayoutId id="2147484301" r:id="rId49"/>
    <p:sldLayoutId id="2147484302" r:id="rId50"/>
    <p:sldLayoutId id="2147484303" r:id="rId51"/>
    <p:sldLayoutId id="2147484304" r:id="rId52"/>
  </p:sldLayoutIdLst>
  <p:transition>
    <p:fade/>
  </p:transition>
  <p:timing>
    <p:tnLst>
      <p:par>
        <p:cTn id="1" dur="indefinite" restart="never" nodeType="tmRoot"/>
      </p:par>
    </p:tnLst>
  </p:timing>
  <p:txStyles>
    <p:titleStyle>
      <a:lvl1pPr algn="l" defTabSz="913918" rtl="0" eaLnBrk="1" latinLnBrk="0" hangingPunct="1">
        <a:lnSpc>
          <a:spcPct val="90000"/>
        </a:lnSpc>
        <a:spcBef>
          <a:spcPct val="0"/>
        </a:spcBef>
        <a:buNone/>
        <a:defRPr lang="en-US" sz="5291"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979" marR="0" indent="-335979" algn="l" defTabSz="913918"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19" kern="1200" spc="0" baseline="0">
          <a:gradFill>
            <a:gsLst>
              <a:gs pos="1250">
                <a:schemeClr val="tx1"/>
              </a:gs>
              <a:gs pos="100000">
                <a:schemeClr val="tx1"/>
              </a:gs>
            </a:gsLst>
            <a:lin ang="5400000" scaled="0"/>
          </a:gradFill>
          <a:latin typeface="+mj-lt"/>
          <a:ea typeface="+mn-ea"/>
          <a:cs typeface="+mn-cs"/>
        </a:defRPr>
      </a:lvl1pPr>
      <a:lvl2pPr marL="572409" marR="0" indent="-236429" algn="l" defTabSz="913918"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2pPr>
      <a:lvl3pPr marL="783952" marR="0" indent="-223987" algn="l" defTabSz="913918"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3pPr>
      <a:lvl4pPr marL="1007939" marR="0" indent="-223987" algn="l" defTabSz="913918"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4pPr>
      <a:lvl5pPr marL="1231924" marR="0" indent="-223987" algn="l" defTabSz="913918"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5pPr>
      <a:lvl6pPr marL="2513272" indent="-228479" algn="l" defTabSz="913918"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232" indent="-228479" algn="l" defTabSz="913918"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191" indent="-228479" algn="l" defTabSz="913918"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149" indent="-228479" algn="l" defTabSz="913918"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3918" rtl="0" eaLnBrk="1" latinLnBrk="0" hangingPunct="1">
        <a:defRPr sz="1764" kern="1200">
          <a:solidFill>
            <a:schemeClr val="tx1"/>
          </a:solidFill>
          <a:latin typeface="+mn-lt"/>
          <a:ea typeface="+mn-ea"/>
          <a:cs typeface="+mn-cs"/>
        </a:defRPr>
      </a:lvl1pPr>
      <a:lvl2pPr marL="456958" algn="l" defTabSz="913918" rtl="0" eaLnBrk="1" latinLnBrk="0" hangingPunct="1">
        <a:defRPr sz="1764" kern="1200">
          <a:solidFill>
            <a:schemeClr val="tx1"/>
          </a:solidFill>
          <a:latin typeface="+mn-lt"/>
          <a:ea typeface="+mn-ea"/>
          <a:cs typeface="+mn-cs"/>
        </a:defRPr>
      </a:lvl2pPr>
      <a:lvl3pPr marL="913918" algn="l" defTabSz="913918" rtl="0" eaLnBrk="1" latinLnBrk="0" hangingPunct="1">
        <a:defRPr sz="1764" kern="1200">
          <a:solidFill>
            <a:schemeClr val="tx1"/>
          </a:solidFill>
          <a:latin typeface="+mn-lt"/>
          <a:ea typeface="+mn-ea"/>
          <a:cs typeface="+mn-cs"/>
        </a:defRPr>
      </a:lvl3pPr>
      <a:lvl4pPr marL="1370876" algn="l" defTabSz="913918" rtl="0" eaLnBrk="1" latinLnBrk="0" hangingPunct="1">
        <a:defRPr sz="1764" kern="1200">
          <a:solidFill>
            <a:schemeClr val="tx1"/>
          </a:solidFill>
          <a:latin typeface="+mn-lt"/>
          <a:ea typeface="+mn-ea"/>
          <a:cs typeface="+mn-cs"/>
        </a:defRPr>
      </a:lvl4pPr>
      <a:lvl5pPr marL="1827834" algn="l" defTabSz="913918" rtl="0" eaLnBrk="1" latinLnBrk="0" hangingPunct="1">
        <a:defRPr sz="1764" kern="1200">
          <a:solidFill>
            <a:schemeClr val="tx1"/>
          </a:solidFill>
          <a:latin typeface="+mn-lt"/>
          <a:ea typeface="+mn-ea"/>
          <a:cs typeface="+mn-cs"/>
        </a:defRPr>
      </a:lvl5pPr>
      <a:lvl6pPr marL="2284793" algn="l" defTabSz="913918" rtl="0" eaLnBrk="1" latinLnBrk="0" hangingPunct="1">
        <a:defRPr sz="1764" kern="1200">
          <a:solidFill>
            <a:schemeClr val="tx1"/>
          </a:solidFill>
          <a:latin typeface="+mn-lt"/>
          <a:ea typeface="+mn-ea"/>
          <a:cs typeface="+mn-cs"/>
        </a:defRPr>
      </a:lvl6pPr>
      <a:lvl7pPr marL="2741752" algn="l" defTabSz="913918" rtl="0" eaLnBrk="1" latinLnBrk="0" hangingPunct="1">
        <a:defRPr sz="1764" kern="1200">
          <a:solidFill>
            <a:schemeClr val="tx1"/>
          </a:solidFill>
          <a:latin typeface="+mn-lt"/>
          <a:ea typeface="+mn-ea"/>
          <a:cs typeface="+mn-cs"/>
        </a:defRPr>
      </a:lvl7pPr>
      <a:lvl8pPr marL="3198710" algn="l" defTabSz="913918" rtl="0" eaLnBrk="1" latinLnBrk="0" hangingPunct="1">
        <a:defRPr sz="1764" kern="1200">
          <a:solidFill>
            <a:schemeClr val="tx1"/>
          </a:solidFill>
          <a:latin typeface="+mn-lt"/>
          <a:ea typeface="+mn-ea"/>
          <a:cs typeface="+mn-cs"/>
        </a:defRPr>
      </a:lvl8pPr>
      <a:lvl9pPr marL="3655670" algn="l" defTabSz="913918"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p:nvPicPr>
        <p:blipFill>
          <a:blip r:embed="rId35" cstate="email">
            <a:extLst>
              <a:ext uri="{28A0092B-C50C-407E-A947-70E740481C1C}">
                <a14:useLocalDpi xmlns:a14="http://schemas.microsoft.com/office/drawing/2010/main" val="0"/>
              </a:ext>
            </a:extLst>
          </a:blip>
          <a:stretch>
            <a:fillRect/>
          </a:stretch>
        </p:blipFill>
        <p:spPr>
          <a:xfrm rot="5400000">
            <a:off x="10321814" y="1906466"/>
            <a:ext cx="4214127" cy="401199"/>
          </a:xfrm>
          <a:prstGeom prst="rect">
            <a:avLst/>
          </a:prstGeom>
        </p:spPr>
      </p:pic>
    </p:spTree>
    <p:extLst>
      <p:ext uri="{BB962C8B-B14F-4D97-AF65-F5344CB8AC3E}">
        <p14:creationId xmlns:p14="http://schemas.microsoft.com/office/powerpoint/2010/main" val="1208738228"/>
      </p:ext>
    </p:extLst>
  </p:cSld>
  <p:clrMap bg1="dk1" tx1="lt1" bg2="dk2" tx2="lt2" accent1="accent1" accent2="accent2" accent3="accent3" accent4="accent4" accent5="accent5" accent6="accent6" hlink="hlink" folHlink="folHlink"/>
  <p:sldLayoutIdLst>
    <p:sldLayoutId id="2147484306" r:id="rId1"/>
    <p:sldLayoutId id="2147484307" r:id="rId2"/>
    <p:sldLayoutId id="2147484308" r:id="rId3"/>
    <p:sldLayoutId id="2147484309" r:id="rId4"/>
    <p:sldLayoutId id="2147484310" r:id="rId5"/>
    <p:sldLayoutId id="2147484311" r:id="rId6"/>
    <p:sldLayoutId id="2147484312" r:id="rId7"/>
    <p:sldLayoutId id="2147484313" r:id="rId8"/>
    <p:sldLayoutId id="2147484314" r:id="rId9"/>
    <p:sldLayoutId id="2147484315" r:id="rId10"/>
    <p:sldLayoutId id="2147484316" r:id="rId11"/>
    <p:sldLayoutId id="2147484317" r:id="rId12"/>
    <p:sldLayoutId id="2147484318" r:id="rId13"/>
    <p:sldLayoutId id="2147484319" r:id="rId14"/>
    <p:sldLayoutId id="2147484320" r:id="rId15"/>
    <p:sldLayoutId id="2147484321" r:id="rId16"/>
    <p:sldLayoutId id="2147484322" r:id="rId17"/>
    <p:sldLayoutId id="2147484323" r:id="rId18"/>
    <p:sldLayoutId id="2147484324" r:id="rId19"/>
    <p:sldLayoutId id="2147484325" r:id="rId20"/>
    <p:sldLayoutId id="2147484326" r:id="rId21"/>
    <p:sldLayoutId id="2147484327" r:id="rId22"/>
    <p:sldLayoutId id="2147484328" r:id="rId23"/>
    <p:sldLayoutId id="2147484329" r:id="rId24"/>
    <p:sldLayoutId id="2147484330" r:id="rId25"/>
    <p:sldLayoutId id="2147484331" r:id="rId26"/>
    <p:sldLayoutId id="2147484332" r:id="rId27"/>
    <p:sldLayoutId id="2147484333" r:id="rId28"/>
    <p:sldLayoutId id="2147484334" r:id="rId29"/>
    <p:sldLayoutId id="2147484335" r:id="rId30"/>
    <p:sldLayoutId id="2147484336" r:id="rId31"/>
    <p:sldLayoutId id="2147484337" r:id="rId32"/>
    <p:sldLayoutId id="2147484338" r:id="rId33"/>
  </p:sldLayoutIdLst>
  <p:transition>
    <p:fade/>
  </p:transition>
  <p:timing>
    <p:tnLst>
      <p:par>
        <p:cTn id="1" dur="indefinite" restart="never" nodeType="tmRoot"/>
      </p:par>
    </p:tnLst>
  </p:timing>
  <p:txStyles>
    <p:titleStyle>
      <a:lvl1pPr algn="l" defTabSz="914093" rtl="0" eaLnBrk="1" latinLnBrk="0" hangingPunct="1">
        <a:lnSpc>
          <a:spcPct val="90000"/>
        </a:lnSpc>
        <a:spcBef>
          <a:spcPct val="0"/>
        </a:spcBef>
        <a:buNone/>
        <a:defRPr lang="en-US" sz="5292" b="0" kern="1200" cap="none" spc="-100" baseline="0" dirty="0" smtClean="0">
          <a:ln w="3175">
            <a:noFill/>
          </a:ln>
          <a:solidFill>
            <a:schemeClr val="bg1">
              <a:lumMod val="75000"/>
            </a:schemeClr>
          </a:solidFill>
          <a:effectLst/>
          <a:latin typeface="+mj-lt"/>
          <a:ea typeface="+mn-ea"/>
          <a:cs typeface="Segoe UI" pitchFamily="34" charset="0"/>
        </a:defRPr>
      </a:lvl1pPr>
    </p:titleStyle>
    <p:bodyStyle>
      <a:lvl1pPr marL="336044" marR="0" indent="-336044" algn="l" defTabSz="914093" rtl="0" eaLnBrk="1" fontAlgn="auto" latinLnBrk="0" hangingPunct="1">
        <a:lnSpc>
          <a:spcPct val="90000"/>
        </a:lnSpc>
        <a:spcBef>
          <a:spcPct val="20000"/>
        </a:spcBef>
        <a:spcAft>
          <a:spcPts val="0"/>
        </a:spcAft>
        <a:buClr>
          <a:schemeClr val="tx1"/>
        </a:buClr>
        <a:buSzPct val="100000"/>
        <a:buFontTx/>
        <a:buBlip>
          <a:blip r:embed="rId36"/>
        </a:buBlip>
        <a:tabLst/>
        <a:defRPr sz="3920" kern="1200" spc="0" baseline="0">
          <a:solidFill>
            <a:schemeClr val="bg1">
              <a:lumMod val="75000"/>
            </a:schemeClr>
          </a:solidFill>
          <a:latin typeface="+mj-lt"/>
          <a:ea typeface="+mn-ea"/>
          <a:cs typeface="+mn-cs"/>
        </a:defRPr>
      </a:lvl1pPr>
      <a:lvl2pPr marL="572519" marR="0" indent="-236475" algn="l" defTabSz="914093" rtl="0" eaLnBrk="1" fontAlgn="auto" latinLnBrk="0" hangingPunct="1">
        <a:lnSpc>
          <a:spcPct val="90000"/>
        </a:lnSpc>
        <a:spcBef>
          <a:spcPct val="20000"/>
        </a:spcBef>
        <a:spcAft>
          <a:spcPts val="0"/>
        </a:spcAft>
        <a:buClr>
          <a:schemeClr val="tx1"/>
        </a:buClr>
        <a:buSzPct val="100000"/>
        <a:buFontTx/>
        <a:buBlip>
          <a:blip r:embed="rId36"/>
        </a:buBlip>
        <a:tabLst/>
        <a:defRPr sz="2352" kern="1200" spc="0" baseline="0">
          <a:solidFill>
            <a:schemeClr val="bg1">
              <a:lumMod val="75000"/>
            </a:schemeClr>
          </a:solidFill>
          <a:latin typeface="+mn-lt"/>
          <a:ea typeface="+mn-ea"/>
          <a:cs typeface="+mn-cs"/>
        </a:defRPr>
      </a:lvl2pPr>
      <a:lvl3pPr marL="784103" marR="0" indent="-224030" algn="l" defTabSz="914093" rtl="0" eaLnBrk="1" fontAlgn="auto" latinLnBrk="0" hangingPunct="1">
        <a:lnSpc>
          <a:spcPct val="90000"/>
        </a:lnSpc>
        <a:spcBef>
          <a:spcPct val="20000"/>
        </a:spcBef>
        <a:spcAft>
          <a:spcPts val="0"/>
        </a:spcAft>
        <a:buClr>
          <a:schemeClr val="tx1"/>
        </a:buClr>
        <a:buSzPct val="100000"/>
        <a:buFontTx/>
        <a:buBlip>
          <a:blip r:embed="rId36"/>
        </a:buBlip>
        <a:tabLst/>
        <a:defRPr sz="2352" kern="1200" spc="0" baseline="0">
          <a:solidFill>
            <a:schemeClr val="bg1">
              <a:lumMod val="75000"/>
            </a:schemeClr>
          </a:solidFill>
          <a:latin typeface="+mn-lt"/>
          <a:ea typeface="+mn-ea"/>
          <a:cs typeface="+mn-cs"/>
        </a:defRPr>
      </a:lvl3pPr>
      <a:lvl4pPr marL="1008132" marR="0" indent="-224030" algn="l" defTabSz="914093" rtl="0" eaLnBrk="1" fontAlgn="auto" latinLnBrk="0" hangingPunct="1">
        <a:lnSpc>
          <a:spcPct val="90000"/>
        </a:lnSpc>
        <a:spcBef>
          <a:spcPct val="20000"/>
        </a:spcBef>
        <a:spcAft>
          <a:spcPts val="0"/>
        </a:spcAft>
        <a:buClr>
          <a:schemeClr val="tx1"/>
        </a:buClr>
        <a:buSzPct val="100000"/>
        <a:buFontTx/>
        <a:buBlip>
          <a:blip r:embed="rId36"/>
        </a:buBlip>
        <a:tabLst/>
        <a:defRPr sz="1960" kern="1200" spc="0" baseline="0">
          <a:solidFill>
            <a:schemeClr val="bg1">
              <a:lumMod val="75000"/>
            </a:schemeClr>
          </a:solidFill>
          <a:latin typeface="+mn-lt"/>
          <a:ea typeface="+mn-ea"/>
          <a:cs typeface="+mn-cs"/>
        </a:defRPr>
      </a:lvl4pPr>
      <a:lvl5pPr marL="1232161" marR="0" indent="-224030" algn="l" defTabSz="914093" rtl="0" eaLnBrk="1" fontAlgn="auto" latinLnBrk="0" hangingPunct="1">
        <a:lnSpc>
          <a:spcPct val="90000"/>
        </a:lnSpc>
        <a:spcBef>
          <a:spcPct val="20000"/>
        </a:spcBef>
        <a:spcAft>
          <a:spcPts val="0"/>
        </a:spcAft>
        <a:buClr>
          <a:schemeClr val="tx1"/>
        </a:buClr>
        <a:buSzPct val="100000"/>
        <a:buFontTx/>
        <a:buBlip>
          <a:blip r:embed="rId36"/>
        </a:buBlip>
        <a:tabLst/>
        <a:defRPr sz="1960" kern="1200" spc="0" baseline="0">
          <a:solidFill>
            <a:schemeClr val="bg1">
              <a:lumMod val="75000"/>
            </a:schemeClr>
          </a:solidFill>
          <a:latin typeface="+mn-lt"/>
          <a:ea typeface="+mn-ea"/>
          <a:cs typeface="+mn-cs"/>
        </a:defRPr>
      </a:lvl5pPr>
      <a:lvl6pPr marL="251375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801"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848"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89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93" rtl="0" eaLnBrk="1" latinLnBrk="0" hangingPunct="1">
        <a:defRPr sz="1764" kern="1200">
          <a:solidFill>
            <a:schemeClr val="tx1"/>
          </a:solidFill>
          <a:latin typeface="+mn-lt"/>
          <a:ea typeface="+mn-ea"/>
          <a:cs typeface="+mn-cs"/>
        </a:defRPr>
      </a:lvl1pPr>
      <a:lvl2pPr marL="457046" algn="l" defTabSz="914093" rtl="0" eaLnBrk="1" latinLnBrk="0" hangingPunct="1">
        <a:defRPr sz="1764" kern="1200">
          <a:solidFill>
            <a:schemeClr val="tx1"/>
          </a:solidFill>
          <a:latin typeface="+mn-lt"/>
          <a:ea typeface="+mn-ea"/>
          <a:cs typeface="+mn-cs"/>
        </a:defRPr>
      </a:lvl2pPr>
      <a:lvl3pPr marL="914093" algn="l" defTabSz="914093" rtl="0" eaLnBrk="1" latinLnBrk="0" hangingPunct="1">
        <a:defRPr sz="1764" kern="1200">
          <a:solidFill>
            <a:schemeClr val="tx1"/>
          </a:solidFill>
          <a:latin typeface="+mn-lt"/>
          <a:ea typeface="+mn-ea"/>
          <a:cs typeface="+mn-cs"/>
        </a:defRPr>
      </a:lvl3pPr>
      <a:lvl4pPr marL="1371139" algn="l" defTabSz="914093" rtl="0" eaLnBrk="1" latinLnBrk="0" hangingPunct="1">
        <a:defRPr sz="1764" kern="1200">
          <a:solidFill>
            <a:schemeClr val="tx1"/>
          </a:solidFill>
          <a:latin typeface="+mn-lt"/>
          <a:ea typeface="+mn-ea"/>
          <a:cs typeface="+mn-cs"/>
        </a:defRPr>
      </a:lvl4pPr>
      <a:lvl5pPr marL="1828185" algn="l" defTabSz="914093" rtl="0" eaLnBrk="1" latinLnBrk="0" hangingPunct="1">
        <a:defRPr sz="1764" kern="1200">
          <a:solidFill>
            <a:schemeClr val="tx1"/>
          </a:solidFill>
          <a:latin typeface="+mn-lt"/>
          <a:ea typeface="+mn-ea"/>
          <a:cs typeface="+mn-cs"/>
        </a:defRPr>
      </a:lvl5pPr>
      <a:lvl6pPr marL="2285232" algn="l" defTabSz="914093" rtl="0" eaLnBrk="1" latinLnBrk="0" hangingPunct="1">
        <a:defRPr sz="1764" kern="1200">
          <a:solidFill>
            <a:schemeClr val="tx1"/>
          </a:solidFill>
          <a:latin typeface="+mn-lt"/>
          <a:ea typeface="+mn-ea"/>
          <a:cs typeface="+mn-cs"/>
        </a:defRPr>
      </a:lvl6pPr>
      <a:lvl7pPr marL="2742278" algn="l" defTabSz="914093" rtl="0" eaLnBrk="1" latinLnBrk="0" hangingPunct="1">
        <a:defRPr sz="1764" kern="1200">
          <a:solidFill>
            <a:schemeClr val="tx1"/>
          </a:solidFill>
          <a:latin typeface="+mn-lt"/>
          <a:ea typeface="+mn-ea"/>
          <a:cs typeface="+mn-cs"/>
        </a:defRPr>
      </a:lvl7pPr>
      <a:lvl8pPr marL="3199324" algn="l" defTabSz="914093" rtl="0" eaLnBrk="1" latinLnBrk="0" hangingPunct="1">
        <a:defRPr sz="1764" kern="1200">
          <a:solidFill>
            <a:schemeClr val="tx1"/>
          </a:solidFill>
          <a:latin typeface="+mn-lt"/>
          <a:ea typeface="+mn-ea"/>
          <a:cs typeface="+mn-cs"/>
        </a:defRPr>
      </a:lvl8pPr>
      <a:lvl9pPr marL="3656372" algn="l" defTabSz="914093"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2" cstate="screen">
            <a:extLst>
              <a:ext uri="{28A0092B-C50C-407E-A947-70E740481C1C}">
                <a14:useLocalDpi xmlns:a14="http://schemas.microsoft.com/office/drawing/2010/main"/>
              </a:ext>
            </a:extLst>
          </a:blip>
          <a:stretch>
            <a:fillRect/>
          </a:stretch>
        </p:blipFill>
        <p:spPr>
          <a:xfrm rot="5400000">
            <a:off x="10321813" y="1906465"/>
            <a:ext cx="4214127" cy="401200"/>
          </a:xfrm>
          <a:prstGeom prst="rect">
            <a:avLst/>
          </a:prstGeom>
        </p:spPr>
      </p:pic>
    </p:spTree>
    <p:extLst>
      <p:ext uri="{BB962C8B-B14F-4D97-AF65-F5344CB8AC3E}">
        <p14:creationId xmlns:p14="http://schemas.microsoft.com/office/powerpoint/2010/main" val="146774169"/>
      </p:ext>
    </p:extLst>
  </p:cSld>
  <p:clrMap bg1="lt1" tx1="dk1" bg2="lt2" tx2="dk2" accent1="accent1" accent2="accent2" accent3="accent3" accent4="accent4" accent5="accent5" accent6="accent6" hlink="hlink" folHlink="folHlink"/>
  <p:sldLayoutIdLst>
    <p:sldLayoutId id="2147484340" r:id="rId1"/>
    <p:sldLayoutId id="2147484341" r:id="rId2"/>
    <p:sldLayoutId id="2147484342" r:id="rId3"/>
    <p:sldLayoutId id="2147484343" r:id="rId4"/>
    <p:sldLayoutId id="2147484344" r:id="rId5"/>
    <p:sldLayoutId id="2147484345" r:id="rId6"/>
    <p:sldLayoutId id="2147484346" r:id="rId7"/>
    <p:sldLayoutId id="2147484347" r:id="rId8"/>
    <p:sldLayoutId id="2147484348" r:id="rId9"/>
    <p:sldLayoutId id="2147484349" r:id="rId10"/>
    <p:sldLayoutId id="2147484350" r:id="rId11"/>
    <p:sldLayoutId id="2147484351" r:id="rId12"/>
    <p:sldLayoutId id="2147484352" r:id="rId13"/>
    <p:sldLayoutId id="2147484353" r:id="rId14"/>
    <p:sldLayoutId id="2147484354" r:id="rId15"/>
    <p:sldLayoutId id="2147484355" r:id="rId16"/>
    <p:sldLayoutId id="2147484356" r:id="rId17"/>
    <p:sldLayoutId id="2147484357" r:id="rId18"/>
    <p:sldLayoutId id="2147484358" r:id="rId19"/>
    <p:sldLayoutId id="2147484359" r:id="rId20"/>
    <p:sldLayoutId id="2147484360" r:id="rId21"/>
    <p:sldLayoutId id="2147484361" r:id="rId22"/>
    <p:sldLayoutId id="2147484362" r:id="rId23"/>
    <p:sldLayoutId id="2147484363" r:id="rId24"/>
    <p:sldLayoutId id="2147484364" r:id="rId25"/>
    <p:sldLayoutId id="2147484365" r:id="rId26"/>
    <p:sldLayoutId id="2147484366" r:id="rId27"/>
    <p:sldLayoutId id="2147484367" r:id="rId28"/>
    <p:sldLayoutId id="2147484368" r:id="rId29"/>
    <p:sldLayoutId id="2147484369" r:id="rId30"/>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p:nvPicPr>
        <p:blipFill>
          <a:blip r:embed="rId35" cstate="email">
            <a:extLst>
              <a:ext uri="{28A0092B-C50C-407E-A947-70E740481C1C}">
                <a14:useLocalDpi xmlns:a14="http://schemas.microsoft.com/office/drawing/2010/main" val="0"/>
              </a:ext>
            </a:extLst>
          </a:blip>
          <a:stretch>
            <a:fillRect/>
          </a:stretch>
        </p:blipFill>
        <p:spPr>
          <a:xfrm rot="5400000">
            <a:off x="10321814" y="1906466"/>
            <a:ext cx="4214127" cy="401199"/>
          </a:xfrm>
          <a:prstGeom prst="rect">
            <a:avLst/>
          </a:prstGeom>
        </p:spPr>
      </p:pic>
    </p:spTree>
    <p:extLst>
      <p:ext uri="{BB962C8B-B14F-4D97-AF65-F5344CB8AC3E}">
        <p14:creationId xmlns:p14="http://schemas.microsoft.com/office/powerpoint/2010/main" val="218987065"/>
      </p:ext>
    </p:extLst>
  </p:cSld>
  <p:clrMap bg1="dk1" tx1="lt1" bg2="dk2" tx2="lt2" accent1="accent1" accent2="accent2" accent3="accent3" accent4="accent4" accent5="accent5" accent6="accent6" hlink="hlink" folHlink="folHlink"/>
  <p:sldLayoutIdLst>
    <p:sldLayoutId id="2147484371" r:id="rId1"/>
    <p:sldLayoutId id="2147484372" r:id="rId2"/>
    <p:sldLayoutId id="2147484373" r:id="rId3"/>
    <p:sldLayoutId id="2147484374" r:id="rId4"/>
    <p:sldLayoutId id="2147484375" r:id="rId5"/>
    <p:sldLayoutId id="2147484376" r:id="rId6"/>
    <p:sldLayoutId id="2147484377" r:id="rId7"/>
    <p:sldLayoutId id="2147484378" r:id="rId8"/>
    <p:sldLayoutId id="2147484379" r:id="rId9"/>
    <p:sldLayoutId id="2147484380" r:id="rId10"/>
    <p:sldLayoutId id="2147484381" r:id="rId11"/>
    <p:sldLayoutId id="2147484382" r:id="rId12"/>
    <p:sldLayoutId id="2147484383" r:id="rId13"/>
    <p:sldLayoutId id="2147484384" r:id="rId14"/>
    <p:sldLayoutId id="2147484385" r:id="rId15"/>
    <p:sldLayoutId id="2147484386" r:id="rId16"/>
    <p:sldLayoutId id="2147484387" r:id="rId17"/>
    <p:sldLayoutId id="2147484388" r:id="rId18"/>
    <p:sldLayoutId id="2147484389" r:id="rId19"/>
    <p:sldLayoutId id="2147484390" r:id="rId20"/>
    <p:sldLayoutId id="2147484391" r:id="rId21"/>
    <p:sldLayoutId id="2147484392" r:id="rId22"/>
    <p:sldLayoutId id="2147484393" r:id="rId23"/>
    <p:sldLayoutId id="2147484394" r:id="rId24"/>
    <p:sldLayoutId id="2147484395" r:id="rId25"/>
    <p:sldLayoutId id="2147484396" r:id="rId26"/>
    <p:sldLayoutId id="2147484397" r:id="rId27"/>
    <p:sldLayoutId id="2147484398" r:id="rId28"/>
    <p:sldLayoutId id="2147484399" r:id="rId29"/>
    <p:sldLayoutId id="2147484400" r:id="rId30"/>
    <p:sldLayoutId id="2147484401" r:id="rId31"/>
    <p:sldLayoutId id="2147484402" r:id="rId32"/>
    <p:sldLayoutId id="2147484403" r:id="rId33"/>
  </p:sldLayoutIdLst>
  <p:transition>
    <p:fade/>
  </p:transition>
  <p:timing>
    <p:tnLst>
      <p:par>
        <p:cTn id="1" dur="indefinite" restart="never" nodeType="tmRoot"/>
      </p:par>
    </p:tnLst>
  </p:timing>
  <p:txStyles>
    <p:titleStyle>
      <a:lvl1pPr algn="l" defTabSz="914093" rtl="0" eaLnBrk="1" latinLnBrk="0" hangingPunct="1">
        <a:lnSpc>
          <a:spcPct val="90000"/>
        </a:lnSpc>
        <a:spcBef>
          <a:spcPct val="0"/>
        </a:spcBef>
        <a:buNone/>
        <a:defRPr lang="en-US" sz="5292" b="0" kern="1200" cap="none" spc="-100" baseline="0" dirty="0" smtClean="0">
          <a:ln w="3175">
            <a:noFill/>
          </a:ln>
          <a:solidFill>
            <a:schemeClr val="bg1">
              <a:lumMod val="75000"/>
            </a:schemeClr>
          </a:solidFill>
          <a:effectLst/>
          <a:latin typeface="+mj-lt"/>
          <a:ea typeface="+mn-ea"/>
          <a:cs typeface="Segoe UI" pitchFamily="34" charset="0"/>
        </a:defRPr>
      </a:lvl1pPr>
    </p:titleStyle>
    <p:bodyStyle>
      <a:lvl1pPr marL="336044" marR="0" indent="-336044" algn="l" defTabSz="914093" rtl="0" eaLnBrk="1" fontAlgn="auto" latinLnBrk="0" hangingPunct="1">
        <a:lnSpc>
          <a:spcPct val="90000"/>
        </a:lnSpc>
        <a:spcBef>
          <a:spcPct val="20000"/>
        </a:spcBef>
        <a:spcAft>
          <a:spcPts val="0"/>
        </a:spcAft>
        <a:buClr>
          <a:schemeClr val="tx1"/>
        </a:buClr>
        <a:buSzPct val="100000"/>
        <a:buFontTx/>
        <a:buBlip>
          <a:blip r:embed="rId36"/>
        </a:buBlip>
        <a:tabLst/>
        <a:defRPr sz="3920" kern="1200" spc="0" baseline="0">
          <a:solidFill>
            <a:schemeClr val="bg1">
              <a:lumMod val="75000"/>
            </a:schemeClr>
          </a:solidFill>
          <a:latin typeface="+mj-lt"/>
          <a:ea typeface="+mn-ea"/>
          <a:cs typeface="+mn-cs"/>
        </a:defRPr>
      </a:lvl1pPr>
      <a:lvl2pPr marL="572519" marR="0" indent="-236475" algn="l" defTabSz="914093" rtl="0" eaLnBrk="1" fontAlgn="auto" latinLnBrk="0" hangingPunct="1">
        <a:lnSpc>
          <a:spcPct val="90000"/>
        </a:lnSpc>
        <a:spcBef>
          <a:spcPct val="20000"/>
        </a:spcBef>
        <a:spcAft>
          <a:spcPts val="0"/>
        </a:spcAft>
        <a:buClr>
          <a:schemeClr val="tx1"/>
        </a:buClr>
        <a:buSzPct val="100000"/>
        <a:buFontTx/>
        <a:buBlip>
          <a:blip r:embed="rId36"/>
        </a:buBlip>
        <a:tabLst/>
        <a:defRPr sz="2352" kern="1200" spc="0" baseline="0">
          <a:solidFill>
            <a:schemeClr val="bg1">
              <a:lumMod val="75000"/>
            </a:schemeClr>
          </a:solidFill>
          <a:latin typeface="+mn-lt"/>
          <a:ea typeface="+mn-ea"/>
          <a:cs typeface="+mn-cs"/>
        </a:defRPr>
      </a:lvl2pPr>
      <a:lvl3pPr marL="784103" marR="0" indent="-224030" algn="l" defTabSz="914093" rtl="0" eaLnBrk="1" fontAlgn="auto" latinLnBrk="0" hangingPunct="1">
        <a:lnSpc>
          <a:spcPct val="90000"/>
        </a:lnSpc>
        <a:spcBef>
          <a:spcPct val="20000"/>
        </a:spcBef>
        <a:spcAft>
          <a:spcPts val="0"/>
        </a:spcAft>
        <a:buClr>
          <a:schemeClr val="tx1"/>
        </a:buClr>
        <a:buSzPct val="100000"/>
        <a:buFontTx/>
        <a:buBlip>
          <a:blip r:embed="rId36"/>
        </a:buBlip>
        <a:tabLst/>
        <a:defRPr sz="2352" kern="1200" spc="0" baseline="0">
          <a:solidFill>
            <a:schemeClr val="bg1">
              <a:lumMod val="75000"/>
            </a:schemeClr>
          </a:solidFill>
          <a:latin typeface="+mn-lt"/>
          <a:ea typeface="+mn-ea"/>
          <a:cs typeface="+mn-cs"/>
        </a:defRPr>
      </a:lvl3pPr>
      <a:lvl4pPr marL="1008132" marR="0" indent="-224030" algn="l" defTabSz="914093" rtl="0" eaLnBrk="1" fontAlgn="auto" latinLnBrk="0" hangingPunct="1">
        <a:lnSpc>
          <a:spcPct val="90000"/>
        </a:lnSpc>
        <a:spcBef>
          <a:spcPct val="20000"/>
        </a:spcBef>
        <a:spcAft>
          <a:spcPts val="0"/>
        </a:spcAft>
        <a:buClr>
          <a:schemeClr val="tx1"/>
        </a:buClr>
        <a:buSzPct val="100000"/>
        <a:buFontTx/>
        <a:buBlip>
          <a:blip r:embed="rId36"/>
        </a:buBlip>
        <a:tabLst/>
        <a:defRPr sz="1960" kern="1200" spc="0" baseline="0">
          <a:solidFill>
            <a:schemeClr val="bg1">
              <a:lumMod val="75000"/>
            </a:schemeClr>
          </a:solidFill>
          <a:latin typeface="+mn-lt"/>
          <a:ea typeface="+mn-ea"/>
          <a:cs typeface="+mn-cs"/>
        </a:defRPr>
      </a:lvl4pPr>
      <a:lvl5pPr marL="1232161" marR="0" indent="-224030" algn="l" defTabSz="914093" rtl="0" eaLnBrk="1" fontAlgn="auto" latinLnBrk="0" hangingPunct="1">
        <a:lnSpc>
          <a:spcPct val="90000"/>
        </a:lnSpc>
        <a:spcBef>
          <a:spcPct val="20000"/>
        </a:spcBef>
        <a:spcAft>
          <a:spcPts val="0"/>
        </a:spcAft>
        <a:buClr>
          <a:schemeClr val="tx1"/>
        </a:buClr>
        <a:buSzPct val="100000"/>
        <a:buFontTx/>
        <a:buBlip>
          <a:blip r:embed="rId36"/>
        </a:buBlip>
        <a:tabLst/>
        <a:defRPr sz="1960" kern="1200" spc="0" baseline="0">
          <a:solidFill>
            <a:schemeClr val="bg1">
              <a:lumMod val="75000"/>
            </a:schemeClr>
          </a:solidFill>
          <a:latin typeface="+mn-lt"/>
          <a:ea typeface="+mn-ea"/>
          <a:cs typeface="+mn-cs"/>
        </a:defRPr>
      </a:lvl5pPr>
      <a:lvl6pPr marL="251375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801"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848"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89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93" rtl="0" eaLnBrk="1" latinLnBrk="0" hangingPunct="1">
        <a:defRPr sz="1764" kern="1200">
          <a:solidFill>
            <a:schemeClr val="tx1"/>
          </a:solidFill>
          <a:latin typeface="+mn-lt"/>
          <a:ea typeface="+mn-ea"/>
          <a:cs typeface="+mn-cs"/>
        </a:defRPr>
      </a:lvl1pPr>
      <a:lvl2pPr marL="457046" algn="l" defTabSz="914093" rtl="0" eaLnBrk="1" latinLnBrk="0" hangingPunct="1">
        <a:defRPr sz="1764" kern="1200">
          <a:solidFill>
            <a:schemeClr val="tx1"/>
          </a:solidFill>
          <a:latin typeface="+mn-lt"/>
          <a:ea typeface="+mn-ea"/>
          <a:cs typeface="+mn-cs"/>
        </a:defRPr>
      </a:lvl2pPr>
      <a:lvl3pPr marL="914093" algn="l" defTabSz="914093" rtl="0" eaLnBrk="1" latinLnBrk="0" hangingPunct="1">
        <a:defRPr sz="1764" kern="1200">
          <a:solidFill>
            <a:schemeClr val="tx1"/>
          </a:solidFill>
          <a:latin typeface="+mn-lt"/>
          <a:ea typeface="+mn-ea"/>
          <a:cs typeface="+mn-cs"/>
        </a:defRPr>
      </a:lvl3pPr>
      <a:lvl4pPr marL="1371139" algn="l" defTabSz="914093" rtl="0" eaLnBrk="1" latinLnBrk="0" hangingPunct="1">
        <a:defRPr sz="1764" kern="1200">
          <a:solidFill>
            <a:schemeClr val="tx1"/>
          </a:solidFill>
          <a:latin typeface="+mn-lt"/>
          <a:ea typeface="+mn-ea"/>
          <a:cs typeface="+mn-cs"/>
        </a:defRPr>
      </a:lvl4pPr>
      <a:lvl5pPr marL="1828185" algn="l" defTabSz="914093" rtl="0" eaLnBrk="1" latinLnBrk="0" hangingPunct="1">
        <a:defRPr sz="1764" kern="1200">
          <a:solidFill>
            <a:schemeClr val="tx1"/>
          </a:solidFill>
          <a:latin typeface="+mn-lt"/>
          <a:ea typeface="+mn-ea"/>
          <a:cs typeface="+mn-cs"/>
        </a:defRPr>
      </a:lvl5pPr>
      <a:lvl6pPr marL="2285232" algn="l" defTabSz="914093" rtl="0" eaLnBrk="1" latinLnBrk="0" hangingPunct="1">
        <a:defRPr sz="1764" kern="1200">
          <a:solidFill>
            <a:schemeClr val="tx1"/>
          </a:solidFill>
          <a:latin typeface="+mn-lt"/>
          <a:ea typeface="+mn-ea"/>
          <a:cs typeface="+mn-cs"/>
        </a:defRPr>
      </a:lvl6pPr>
      <a:lvl7pPr marL="2742278" algn="l" defTabSz="914093" rtl="0" eaLnBrk="1" latinLnBrk="0" hangingPunct="1">
        <a:defRPr sz="1764" kern="1200">
          <a:solidFill>
            <a:schemeClr val="tx1"/>
          </a:solidFill>
          <a:latin typeface="+mn-lt"/>
          <a:ea typeface="+mn-ea"/>
          <a:cs typeface="+mn-cs"/>
        </a:defRPr>
      </a:lvl7pPr>
      <a:lvl8pPr marL="3199324" algn="l" defTabSz="914093" rtl="0" eaLnBrk="1" latinLnBrk="0" hangingPunct="1">
        <a:defRPr sz="1764" kern="1200">
          <a:solidFill>
            <a:schemeClr val="tx1"/>
          </a:solidFill>
          <a:latin typeface="+mn-lt"/>
          <a:ea typeface="+mn-ea"/>
          <a:cs typeface="+mn-cs"/>
        </a:defRPr>
      </a:lvl8pPr>
      <a:lvl9pPr marL="3656372" algn="l" defTabSz="914093"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p:nvPicPr>
        <p:blipFill>
          <a:blip r:embed="rId35" cstate="email">
            <a:extLst>
              <a:ext uri="{28A0092B-C50C-407E-A947-70E740481C1C}">
                <a14:useLocalDpi xmlns:a14="http://schemas.microsoft.com/office/drawing/2010/main" val="0"/>
              </a:ext>
            </a:extLst>
          </a:blip>
          <a:stretch>
            <a:fillRect/>
          </a:stretch>
        </p:blipFill>
        <p:spPr>
          <a:xfrm rot="5400000">
            <a:off x="10321814" y="1906466"/>
            <a:ext cx="4214127" cy="401199"/>
          </a:xfrm>
          <a:prstGeom prst="rect">
            <a:avLst/>
          </a:prstGeom>
        </p:spPr>
      </p:pic>
    </p:spTree>
    <p:extLst>
      <p:ext uri="{BB962C8B-B14F-4D97-AF65-F5344CB8AC3E}">
        <p14:creationId xmlns:p14="http://schemas.microsoft.com/office/powerpoint/2010/main" val="4028865946"/>
      </p:ext>
    </p:extLst>
  </p:cSld>
  <p:clrMap bg1="dk1" tx1="lt1" bg2="dk2" tx2="lt2" accent1="accent1" accent2="accent2" accent3="accent3" accent4="accent4" accent5="accent5" accent6="accent6" hlink="hlink" folHlink="folHlink"/>
  <p:sldLayoutIdLst>
    <p:sldLayoutId id="2147484405" r:id="rId1"/>
    <p:sldLayoutId id="2147484406" r:id="rId2"/>
    <p:sldLayoutId id="2147484407" r:id="rId3"/>
    <p:sldLayoutId id="2147484408" r:id="rId4"/>
    <p:sldLayoutId id="2147484409" r:id="rId5"/>
    <p:sldLayoutId id="2147484410" r:id="rId6"/>
    <p:sldLayoutId id="2147484411" r:id="rId7"/>
    <p:sldLayoutId id="2147484412" r:id="rId8"/>
    <p:sldLayoutId id="2147484413" r:id="rId9"/>
    <p:sldLayoutId id="2147484414" r:id="rId10"/>
    <p:sldLayoutId id="2147484415" r:id="rId11"/>
    <p:sldLayoutId id="2147484416" r:id="rId12"/>
    <p:sldLayoutId id="2147484417" r:id="rId13"/>
    <p:sldLayoutId id="2147484418" r:id="rId14"/>
    <p:sldLayoutId id="2147484419" r:id="rId15"/>
    <p:sldLayoutId id="2147484420" r:id="rId16"/>
    <p:sldLayoutId id="2147484421" r:id="rId17"/>
    <p:sldLayoutId id="2147484422" r:id="rId18"/>
    <p:sldLayoutId id="2147484423" r:id="rId19"/>
    <p:sldLayoutId id="2147484424" r:id="rId20"/>
    <p:sldLayoutId id="2147484425" r:id="rId21"/>
    <p:sldLayoutId id="2147484426" r:id="rId22"/>
    <p:sldLayoutId id="2147484427" r:id="rId23"/>
    <p:sldLayoutId id="2147484428" r:id="rId24"/>
    <p:sldLayoutId id="2147484429" r:id="rId25"/>
    <p:sldLayoutId id="2147484430" r:id="rId26"/>
    <p:sldLayoutId id="2147484431" r:id="rId27"/>
    <p:sldLayoutId id="2147484432" r:id="rId28"/>
    <p:sldLayoutId id="2147484433" r:id="rId29"/>
    <p:sldLayoutId id="2147484434" r:id="rId30"/>
    <p:sldLayoutId id="2147484435" r:id="rId31"/>
    <p:sldLayoutId id="2147484436" r:id="rId32"/>
    <p:sldLayoutId id="2147484437" r:id="rId33"/>
  </p:sldLayoutIdLst>
  <p:transition>
    <p:fade/>
  </p:transition>
  <p:timing>
    <p:tnLst>
      <p:par>
        <p:cTn id="1" dur="indefinite" restart="never" nodeType="tmRoot"/>
      </p:par>
    </p:tnLst>
  </p:timing>
  <p:txStyles>
    <p:titleStyle>
      <a:lvl1pPr algn="l" defTabSz="914093" rtl="0" eaLnBrk="1" latinLnBrk="0" hangingPunct="1">
        <a:lnSpc>
          <a:spcPct val="90000"/>
        </a:lnSpc>
        <a:spcBef>
          <a:spcPct val="0"/>
        </a:spcBef>
        <a:buNone/>
        <a:defRPr lang="en-US" sz="5292" b="0" kern="1200" cap="none" spc="-100" baseline="0" dirty="0" smtClean="0">
          <a:ln w="3175">
            <a:noFill/>
          </a:ln>
          <a:solidFill>
            <a:schemeClr val="bg1">
              <a:lumMod val="75000"/>
            </a:schemeClr>
          </a:solidFill>
          <a:effectLst/>
          <a:latin typeface="+mj-lt"/>
          <a:ea typeface="+mn-ea"/>
          <a:cs typeface="Segoe UI" pitchFamily="34" charset="0"/>
        </a:defRPr>
      </a:lvl1pPr>
    </p:titleStyle>
    <p:bodyStyle>
      <a:lvl1pPr marL="336044" marR="0" indent="-336044" algn="l" defTabSz="914093" rtl="0" eaLnBrk="1" fontAlgn="auto" latinLnBrk="0" hangingPunct="1">
        <a:lnSpc>
          <a:spcPct val="90000"/>
        </a:lnSpc>
        <a:spcBef>
          <a:spcPct val="20000"/>
        </a:spcBef>
        <a:spcAft>
          <a:spcPts val="0"/>
        </a:spcAft>
        <a:buClr>
          <a:schemeClr val="tx1"/>
        </a:buClr>
        <a:buSzPct val="100000"/>
        <a:buFontTx/>
        <a:buBlip>
          <a:blip r:embed="rId36"/>
        </a:buBlip>
        <a:tabLst/>
        <a:defRPr sz="3920" kern="1200" spc="0" baseline="0">
          <a:solidFill>
            <a:schemeClr val="bg1">
              <a:lumMod val="75000"/>
            </a:schemeClr>
          </a:solidFill>
          <a:latin typeface="+mj-lt"/>
          <a:ea typeface="+mn-ea"/>
          <a:cs typeface="+mn-cs"/>
        </a:defRPr>
      </a:lvl1pPr>
      <a:lvl2pPr marL="572519" marR="0" indent="-236475" algn="l" defTabSz="914093" rtl="0" eaLnBrk="1" fontAlgn="auto" latinLnBrk="0" hangingPunct="1">
        <a:lnSpc>
          <a:spcPct val="90000"/>
        </a:lnSpc>
        <a:spcBef>
          <a:spcPct val="20000"/>
        </a:spcBef>
        <a:spcAft>
          <a:spcPts val="0"/>
        </a:spcAft>
        <a:buClr>
          <a:schemeClr val="tx1"/>
        </a:buClr>
        <a:buSzPct val="100000"/>
        <a:buFontTx/>
        <a:buBlip>
          <a:blip r:embed="rId36"/>
        </a:buBlip>
        <a:tabLst/>
        <a:defRPr sz="2352" kern="1200" spc="0" baseline="0">
          <a:solidFill>
            <a:schemeClr val="bg1">
              <a:lumMod val="75000"/>
            </a:schemeClr>
          </a:solidFill>
          <a:latin typeface="+mn-lt"/>
          <a:ea typeface="+mn-ea"/>
          <a:cs typeface="+mn-cs"/>
        </a:defRPr>
      </a:lvl2pPr>
      <a:lvl3pPr marL="784103" marR="0" indent="-224030" algn="l" defTabSz="914093" rtl="0" eaLnBrk="1" fontAlgn="auto" latinLnBrk="0" hangingPunct="1">
        <a:lnSpc>
          <a:spcPct val="90000"/>
        </a:lnSpc>
        <a:spcBef>
          <a:spcPct val="20000"/>
        </a:spcBef>
        <a:spcAft>
          <a:spcPts val="0"/>
        </a:spcAft>
        <a:buClr>
          <a:schemeClr val="tx1"/>
        </a:buClr>
        <a:buSzPct val="100000"/>
        <a:buFontTx/>
        <a:buBlip>
          <a:blip r:embed="rId36"/>
        </a:buBlip>
        <a:tabLst/>
        <a:defRPr sz="2352" kern="1200" spc="0" baseline="0">
          <a:solidFill>
            <a:schemeClr val="bg1">
              <a:lumMod val="75000"/>
            </a:schemeClr>
          </a:solidFill>
          <a:latin typeface="+mn-lt"/>
          <a:ea typeface="+mn-ea"/>
          <a:cs typeface="+mn-cs"/>
        </a:defRPr>
      </a:lvl3pPr>
      <a:lvl4pPr marL="1008132" marR="0" indent="-224030" algn="l" defTabSz="914093" rtl="0" eaLnBrk="1" fontAlgn="auto" latinLnBrk="0" hangingPunct="1">
        <a:lnSpc>
          <a:spcPct val="90000"/>
        </a:lnSpc>
        <a:spcBef>
          <a:spcPct val="20000"/>
        </a:spcBef>
        <a:spcAft>
          <a:spcPts val="0"/>
        </a:spcAft>
        <a:buClr>
          <a:schemeClr val="tx1"/>
        </a:buClr>
        <a:buSzPct val="100000"/>
        <a:buFontTx/>
        <a:buBlip>
          <a:blip r:embed="rId36"/>
        </a:buBlip>
        <a:tabLst/>
        <a:defRPr sz="1960" kern="1200" spc="0" baseline="0">
          <a:solidFill>
            <a:schemeClr val="bg1">
              <a:lumMod val="75000"/>
            </a:schemeClr>
          </a:solidFill>
          <a:latin typeface="+mn-lt"/>
          <a:ea typeface="+mn-ea"/>
          <a:cs typeface="+mn-cs"/>
        </a:defRPr>
      </a:lvl4pPr>
      <a:lvl5pPr marL="1232161" marR="0" indent="-224030" algn="l" defTabSz="914093" rtl="0" eaLnBrk="1" fontAlgn="auto" latinLnBrk="0" hangingPunct="1">
        <a:lnSpc>
          <a:spcPct val="90000"/>
        </a:lnSpc>
        <a:spcBef>
          <a:spcPct val="20000"/>
        </a:spcBef>
        <a:spcAft>
          <a:spcPts val="0"/>
        </a:spcAft>
        <a:buClr>
          <a:schemeClr val="tx1"/>
        </a:buClr>
        <a:buSzPct val="100000"/>
        <a:buFontTx/>
        <a:buBlip>
          <a:blip r:embed="rId36"/>
        </a:buBlip>
        <a:tabLst/>
        <a:defRPr sz="1960" kern="1200" spc="0" baseline="0">
          <a:solidFill>
            <a:schemeClr val="bg1">
              <a:lumMod val="75000"/>
            </a:schemeClr>
          </a:solidFill>
          <a:latin typeface="+mn-lt"/>
          <a:ea typeface="+mn-ea"/>
          <a:cs typeface="+mn-cs"/>
        </a:defRPr>
      </a:lvl5pPr>
      <a:lvl6pPr marL="251375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801"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848"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89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93" rtl="0" eaLnBrk="1" latinLnBrk="0" hangingPunct="1">
        <a:defRPr sz="1764" kern="1200">
          <a:solidFill>
            <a:schemeClr val="tx1"/>
          </a:solidFill>
          <a:latin typeface="+mn-lt"/>
          <a:ea typeface="+mn-ea"/>
          <a:cs typeface="+mn-cs"/>
        </a:defRPr>
      </a:lvl1pPr>
      <a:lvl2pPr marL="457046" algn="l" defTabSz="914093" rtl="0" eaLnBrk="1" latinLnBrk="0" hangingPunct="1">
        <a:defRPr sz="1764" kern="1200">
          <a:solidFill>
            <a:schemeClr val="tx1"/>
          </a:solidFill>
          <a:latin typeface="+mn-lt"/>
          <a:ea typeface="+mn-ea"/>
          <a:cs typeface="+mn-cs"/>
        </a:defRPr>
      </a:lvl2pPr>
      <a:lvl3pPr marL="914093" algn="l" defTabSz="914093" rtl="0" eaLnBrk="1" latinLnBrk="0" hangingPunct="1">
        <a:defRPr sz="1764" kern="1200">
          <a:solidFill>
            <a:schemeClr val="tx1"/>
          </a:solidFill>
          <a:latin typeface="+mn-lt"/>
          <a:ea typeface="+mn-ea"/>
          <a:cs typeface="+mn-cs"/>
        </a:defRPr>
      </a:lvl3pPr>
      <a:lvl4pPr marL="1371139" algn="l" defTabSz="914093" rtl="0" eaLnBrk="1" latinLnBrk="0" hangingPunct="1">
        <a:defRPr sz="1764" kern="1200">
          <a:solidFill>
            <a:schemeClr val="tx1"/>
          </a:solidFill>
          <a:latin typeface="+mn-lt"/>
          <a:ea typeface="+mn-ea"/>
          <a:cs typeface="+mn-cs"/>
        </a:defRPr>
      </a:lvl4pPr>
      <a:lvl5pPr marL="1828185" algn="l" defTabSz="914093" rtl="0" eaLnBrk="1" latinLnBrk="0" hangingPunct="1">
        <a:defRPr sz="1764" kern="1200">
          <a:solidFill>
            <a:schemeClr val="tx1"/>
          </a:solidFill>
          <a:latin typeface="+mn-lt"/>
          <a:ea typeface="+mn-ea"/>
          <a:cs typeface="+mn-cs"/>
        </a:defRPr>
      </a:lvl5pPr>
      <a:lvl6pPr marL="2285232" algn="l" defTabSz="914093" rtl="0" eaLnBrk="1" latinLnBrk="0" hangingPunct="1">
        <a:defRPr sz="1764" kern="1200">
          <a:solidFill>
            <a:schemeClr val="tx1"/>
          </a:solidFill>
          <a:latin typeface="+mn-lt"/>
          <a:ea typeface="+mn-ea"/>
          <a:cs typeface="+mn-cs"/>
        </a:defRPr>
      </a:lvl6pPr>
      <a:lvl7pPr marL="2742278" algn="l" defTabSz="914093" rtl="0" eaLnBrk="1" latinLnBrk="0" hangingPunct="1">
        <a:defRPr sz="1764" kern="1200">
          <a:solidFill>
            <a:schemeClr val="tx1"/>
          </a:solidFill>
          <a:latin typeface="+mn-lt"/>
          <a:ea typeface="+mn-ea"/>
          <a:cs typeface="+mn-cs"/>
        </a:defRPr>
      </a:lvl7pPr>
      <a:lvl8pPr marL="3199324" algn="l" defTabSz="914093" rtl="0" eaLnBrk="1" latinLnBrk="0" hangingPunct="1">
        <a:defRPr sz="1764" kern="1200">
          <a:solidFill>
            <a:schemeClr val="tx1"/>
          </a:solidFill>
          <a:latin typeface="+mn-lt"/>
          <a:ea typeface="+mn-ea"/>
          <a:cs typeface="+mn-cs"/>
        </a:defRPr>
      </a:lvl8pPr>
      <a:lvl9pPr marL="3656372" algn="l" defTabSz="914093"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68.png"/><Relationship Id="rId13" Type="http://schemas.openxmlformats.org/officeDocument/2006/relationships/image" Target="../media/image72.png"/><Relationship Id="rId18" Type="http://schemas.openxmlformats.org/officeDocument/2006/relationships/image" Target="../media/image76.png"/><Relationship Id="rId3" Type="http://schemas.openxmlformats.org/officeDocument/2006/relationships/image" Target="../media/image47.emf"/><Relationship Id="rId7" Type="http://schemas.openxmlformats.org/officeDocument/2006/relationships/image" Target="../media/image67.png"/><Relationship Id="rId12" Type="http://schemas.openxmlformats.org/officeDocument/2006/relationships/image" Target="../media/image71.png"/><Relationship Id="rId17" Type="http://schemas.microsoft.com/office/2007/relationships/hdphoto" Target="../media/hdphoto3.wdp"/><Relationship Id="rId2" Type="http://schemas.openxmlformats.org/officeDocument/2006/relationships/image" Target="../media/image65.png"/><Relationship Id="rId16" Type="http://schemas.openxmlformats.org/officeDocument/2006/relationships/image" Target="../media/image75.png"/><Relationship Id="rId20" Type="http://schemas.openxmlformats.org/officeDocument/2006/relationships/image" Target="../media/image78.png"/><Relationship Id="rId1" Type="http://schemas.openxmlformats.org/officeDocument/2006/relationships/slideLayout" Target="../slideLayouts/slideLayout62.xml"/><Relationship Id="rId6" Type="http://schemas.openxmlformats.org/officeDocument/2006/relationships/image" Target="../media/image66.png"/><Relationship Id="rId11" Type="http://schemas.openxmlformats.org/officeDocument/2006/relationships/image" Target="../media/image70.png"/><Relationship Id="rId5" Type="http://schemas.openxmlformats.org/officeDocument/2006/relationships/image" Target="../media/image63.emf"/><Relationship Id="rId15" Type="http://schemas.openxmlformats.org/officeDocument/2006/relationships/image" Target="../media/image74.png"/><Relationship Id="rId10" Type="http://schemas.microsoft.com/office/2007/relationships/hdphoto" Target="../media/hdphoto2.wdp"/><Relationship Id="rId19" Type="http://schemas.openxmlformats.org/officeDocument/2006/relationships/image" Target="../media/image77.png"/><Relationship Id="rId4" Type="http://schemas.openxmlformats.org/officeDocument/2006/relationships/image" Target="../media/image64.png"/><Relationship Id="rId9" Type="http://schemas.openxmlformats.org/officeDocument/2006/relationships/image" Target="../media/image69.png"/><Relationship Id="rId14" Type="http://schemas.openxmlformats.org/officeDocument/2006/relationships/image" Target="../media/image73.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2.xml.rels><?xml version="1.0" encoding="UTF-8" standalone="yes"?>
<Relationships xmlns="http://schemas.openxmlformats.org/package/2006/relationships"><Relationship Id="rId3" Type="http://schemas.openxmlformats.org/officeDocument/2006/relationships/image" Target="../media/image79.emf"/><Relationship Id="rId2" Type="http://schemas.openxmlformats.org/officeDocument/2006/relationships/notesSlide" Target="../notesSlides/notesSlide9.xml"/><Relationship Id="rId1" Type="http://schemas.openxmlformats.org/officeDocument/2006/relationships/slideLayout" Target="../slideLayouts/slideLayout231.xml"/></Relationships>
</file>

<file path=ppt/slides/_rels/slide13.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image" Target="../media/image65.png"/><Relationship Id="rId1" Type="http://schemas.openxmlformats.org/officeDocument/2006/relationships/slideLayout" Target="../slideLayouts/slideLayout231.xml"/><Relationship Id="rId6" Type="http://schemas.openxmlformats.org/officeDocument/2006/relationships/image" Target="../media/image78.png"/><Relationship Id="rId5" Type="http://schemas.openxmlformats.org/officeDocument/2006/relationships/image" Target="../media/image63.emf"/><Relationship Id="rId4" Type="http://schemas.openxmlformats.org/officeDocument/2006/relationships/image" Target="../media/image64.png"/></Relationships>
</file>

<file path=ppt/slides/_rels/slide14.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png"/><Relationship Id="rId1" Type="http://schemas.openxmlformats.org/officeDocument/2006/relationships/slideLayout" Target="../slideLayouts/slideLayout431.xml"/><Relationship Id="rId4" Type="http://schemas.openxmlformats.org/officeDocument/2006/relationships/image" Target="../media/image82.png"/></Relationships>
</file>

<file path=ppt/slides/_rels/slide15.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83.png"/><Relationship Id="rId1" Type="http://schemas.openxmlformats.org/officeDocument/2006/relationships/slideLayout" Target="../slideLayouts/slideLayout431.xml"/><Relationship Id="rId4" Type="http://schemas.openxmlformats.org/officeDocument/2006/relationships/image" Target="../media/image85.png"/></Relationships>
</file>

<file path=ppt/slides/_rels/slide16.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440.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22.xml"/></Relationships>
</file>

<file path=ppt/slides/_rels/slide18.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11.xml"/><Relationship Id="rId1" Type="http://schemas.openxmlformats.org/officeDocument/2006/relationships/slideLayout" Target="../slideLayouts/slideLayout2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24.xml"/></Relationships>
</file>

<file path=ppt/slides/_rels/slide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xml"/><Relationship Id="rId1" Type="http://schemas.openxmlformats.org/officeDocument/2006/relationships/slideLayout" Target="../slideLayouts/slideLayout3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51.xml"/></Relationships>
</file>

<file path=ppt/slides/_rels/slide21.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14.xml"/><Relationship Id="rId1" Type="http://schemas.openxmlformats.org/officeDocument/2006/relationships/slideLayout" Target="../slideLayouts/slideLayout438.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22.xml"/></Relationships>
</file>

<file path=ppt/slides/_rels/slide23.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16.xml"/><Relationship Id="rId1" Type="http://schemas.openxmlformats.org/officeDocument/2006/relationships/slideLayout" Target="../slideLayouts/slideLayout17.xml"/><Relationship Id="rId4" Type="http://schemas.openxmlformats.org/officeDocument/2006/relationships/image" Target="../media/image90.png"/></Relationships>
</file>

<file path=ppt/slides/_rels/slide24.xml.rels><?xml version="1.0" encoding="UTF-8" standalone="yes"?>
<Relationships xmlns="http://schemas.openxmlformats.org/package/2006/relationships"><Relationship Id="rId3" Type="http://schemas.openxmlformats.org/officeDocument/2006/relationships/image" Target="../media/image91.emf"/><Relationship Id="rId2" Type="http://schemas.openxmlformats.org/officeDocument/2006/relationships/notesSlide" Target="../notesSlides/notesSlide17.xml"/><Relationship Id="rId1" Type="http://schemas.openxmlformats.org/officeDocument/2006/relationships/slideLayout" Target="../slideLayouts/slideLayout395.xml"/><Relationship Id="rId4" Type="http://schemas.openxmlformats.org/officeDocument/2006/relationships/image" Target="../media/image92.emf"/></Relationships>
</file>

<file path=ppt/slides/_rels/slide25.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18.xml"/><Relationship Id="rId1" Type="http://schemas.openxmlformats.org/officeDocument/2006/relationships/slideLayout" Target="../slideLayouts/slideLayout431.xml"/><Relationship Id="rId4" Type="http://schemas.openxmlformats.org/officeDocument/2006/relationships/image" Target="../media/image94.emf"/></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62.xml"/></Relationships>
</file>

<file path=ppt/slides/_rels/slide27.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20.xml"/><Relationship Id="rId1" Type="http://schemas.openxmlformats.org/officeDocument/2006/relationships/slideLayout" Target="../slideLayouts/slideLayout277.xml"/></Relationships>
</file>

<file path=ppt/slides/_rels/slide28.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468.xml"/></Relationships>
</file>

<file path=ppt/slides/_rels/slide29.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hyperlink" Target="https://zapier.com/zapbook/office-365/" TargetMode="External"/><Relationship Id="rId1" Type="http://schemas.openxmlformats.org/officeDocument/2006/relationships/slideLayout" Target="../slideLayouts/slideLayout424.xml"/><Relationship Id="rId4" Type="http://schemas.openxmlformats.org/officeDocument/2006/relationships/image" Target="../media/image97.png"/></Relationships>
</file>

<file path=ppt/slides/_rels/slide3.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3.xml"/><Relationship Id="rId1" Type="http://schemas.openxmlformats.org/officeDocument/2006/relationships/slideLayout" Target="../slideLayouts/slideLayout139.xml"/></Relationships>
</file>

<file path=ppt/slides/_rels/slide30.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21.xml"/><Relationship Id="rId1" Type="http://schemas.openxmlformats.org/officeDocument/2006/relationships/slideLayout" Target="../slideLayouts/slideLayout22.xml"/><Relationship Id="rId6" Type="http://schemas.openxmlformats.org/officeDocument/2006/relationships/image" Target="../media/image101.png"/><Relationship Id="rId5" Type="http://schemas.openxmlformats.org/officeDocument/2006/relationships/image" Target="../media/image100.png"/><Relationship Id="rId4" Type="http://schemas.openxmlformats.org/officeDocument/2006/relationships/image" Target="../media/image99.png"/></Relationships>
</file>

<file path=ppt/slides/_rels/slide31.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2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8.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4.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Layout" Target="../slideLayouts/slideLayout25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69.xml"/></Relationships>
</file>

<file path=ppt/slides/_rels/slide36.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24.xml"/><Relationship Id="rId1" Type="http://schemas.openxmlformats.org/officeDocument/2006/relationships/slideLayout" Target="../slideLayouts/slideLayout328.xml"/></Relationships>
</file>

<file path=ppt/slides/_rels/slide37.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25.xml"/><Relationship Id="rId1" Type="http://schemas.openxmlformats.org/officeDocument/2006/relationships/slideLayout" Target="../slideLayouts/slideLayout328.xml"/><Relationship Id="rId5" Type="http://schemas.openxmlformats.org/officeDocument/2006/relationships/image" Target="../media/image104.png"/><Relationship Id="rId4" Type="http://schemas.openxmlformats.org/officeDocument/2006/relationships/image" Target="../media/image76.png"/></Relationships>
</file>

<file path=ppt/slides/_rels/slide38.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26.xml"/><Relationship Id="rId1" Type="http://schemas.openxmlformats.org/officeDocument/2006/relationships/slideLayout" Target="../slideLayouts/slideLayout328.xml"/><Relationship Id="rId6" Type="http://schemas.openxmlformats.org/officeDocument/2006/relationships/image" Target="../media/image47.emf"/><Relationship Id="rId5" Type="http://schemas.openxmlformats.org/officeDocument/2006/relationships/image" Target="../media/image104.png"/><Relationship Id="rId4" Type="http://schemas.openxmlformats.org/officeDocument/2006/relationships/image" Target="../media/image76.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4.xml"/><Relationship Id="rId1" Type="http://schemas.openxmlformats.org/officeDocument/2006/relationships/slideLayout" Target="../slideLayouts/slideLayout148.xml"/></Relationships>
</file>

<file path=ppt/slides/_rels/slide40.xml.rels><?xml version="1.0" encoding="UTF-8" standalone="yes"?>
<Relationships xmlns="http://schemas.openxmlformats.org/package/2006/relationships"><Relationship Id="rId3" Type="http://schemas.openxmlformats.org/officeDocument/2006/relationships/image" Target="../media/image105.emf"/><Relationship Id="rId2" Type="http://schemas.openxmlformats.org/officeDocument/2006/relationships/notesSlide" Target="../notesSlides/notesSlide28.xml"/><Relationship Id="rId1" Type="http://schemas.openxmlformats.org/officeDocument/2006/relationships/slideLayout" Target="../slideLayouts/slideLayout17.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42.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29.xml"/><Relationship Id="rId1" Type="http://schemas.openxmlformats.org/officeDocument/2006/relationships/slideLayout" Target="../slideLayouts/slideLayout520.xml"/></Relationships>
</file>

<file path=ppt/slides/_rels/slide43.xml.rels><?xml version="1.0" encoding="UTF-8" standalone="yes"?>
<Relationships xmlns="http://schemas.openxmlformats.org/package/2006/relationships"><Relationship Id="rId3" Type="http://schemas.openxmlformats.org/officeDocument/2006/relationships/hyperlink" Target="http://dev.office.com/patterns-and-practices" TargetMode="External"/><Relationship Id="rId2" Type="http://schemas.openxmlformats.org/officeDocument/2006/relationships/notesSlide" Target="../notesSlides/notesSlide30.xml"/><Relationship Id="rId1" Type="http://schemas.openxmlformats.org/officeDocument/2006/relationships/slideLayout" Target="../slideLayouts/slideLayout5.xml"/><Relationship Id="rId4" Type="http://schemas.openxmlformats.org/officeDocument/2006/relationships/image" Target="../media/image107.png"/></Relationships>
</file>

<file path=ppt/slides/_rels/slide44.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31.xml"/><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46.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32.xml"/><Relationship Id="rId1" Type="http://schemas.openxmlformats.org/officeDocument/2006/relationships/slideLayout" Target="../slideLayouts/slideLayout519.xml"/></Relationships>
</file>

<file path=ppt/slides/_rels/slide47.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Layout" Target="../slideLayouts/slideLayout519.xml"/></Relationships>
</file>

<file path=ppt/slides/_rels/slide48.xml.rels><?xml version="1.0" encoding="UTF-8" standalone="yes"?>
<Relationships xmlns="http://schemas.openxmlformats.org/package/2006/relationships"><Relationship Id="rId8" Type="http://schemas.openxmlformats.org/officeDocument/2006/relationships/hyperlink" Target="http://officespdev.uservoice.com/" TargetMode="External"/><Relationship Id="rId3" Type="http://schemas.openxmlformats.org/officeDocument/2006/relationships/hyperlink" Target="http://stackoverflow.com/questions/tagged/ms-office" TargetMode="External"/><Relationship Id="rId7" Type="http://schemas.openxmlformats.org/officeDocument/2006/relationships/hyperlink" Target="http://aka.ms/OfficeDevFeedback" TargetMode="External"/><Relationship Id="rId2" Type="http://schemas.openxmlformats.org/officeDocument/2006/relationships/hyperlink" Target="https://www.yammer.com/itpronetwork" TargetMode="External"/><Relationship Id="rId1" Type="http://schemas.openxmlformats.org/officeDocument/2006/relationships/slideLayout" Target="../slideLayouts/slideLayout30.xml"/><Relationship Id="rId6" Type="http://schemas.openxmlformats.org/officeDocument/2006/relationships/image" Target="../media/image113.png"/><Relationship Id="rId11" Type="http://schemas.openxmlformats.org/officeDocument/2006/relationships/image" Target="../media/image114.png"/><Relationship Id="rId5" Type="http://schemas.openxmlformats.org/officeDocument/2006/relationships/image" Target="../media/image112.emf"/><Relationship Id="rId10" Type="http://schemas.openxmlformats.org/officeDocument/2006/relationships/hyperlink" Target="http://dev.office.com/podcsats" TargetMode="External"/><Relationship Id="rId4" Type="http://schemas.openxmlformats.org/officeDocument/2006/relationships/image" Target="../media/image111.emf"/><Relationship Id="rId9" Type="http://schemas.openxmlformats.org/officeDocument/2006/relationships/hyperlink" Target="http://www.twitter.com/OfficeDev" TargetMode="External"/></Relationships>
</file>

<file path=ppt/slides/_rels/slide49.xml.rels><?xml version="1.0" encoding="UTF-8" standalone="yes"?>
<Relationships xmlns="http://schemas.openxmlformats.org/package/2006/relationships"><Relationship Id="rId3" Type="http://schemas.openxmlformats.org/officeDocument/2006/relationships/image" Target="../media/image94.emf"/><Relationship Id="rId2" Type="http://schemas.openxmlformats.org/officeDocument/2006/relationships/notesSlide" Target="../notesSlides/notesSlide33.xml"/><Relationship Id="rId1" Type="http://schemas.openxmlformats.org/officeDocument/2006/relationships/slideLayout" Target="../slideLayouts/slideLayout489.xml"/><Relationship Id="rId6" Type="http://schemas.openxmlformats.org/officeDocument/2006/relationships/image" Target="../media/image117.png"/><Relationship Id="rId5" Type="http://schemas.openxmlformats.org/officeDocument/2006/relationships/image" Target="../media/image116.png"/><Relationship Id="rId4" Type="http://schemas.openxmlformats.org/officeDocument/2006/relationships/image" Target="../media/image115.png"/></Relationships>
</file>

<file path=ppt/slides/_rels/slide5.xml.rels><?xml version="1.0" encoding="UTF-8" standalone="yes"?>
<Relationships xmlns="http://schemas.openxmlformats.org/package/2006/relationships"><Relationship Id="rId8" Type="http://schemas.openxmlformats.org/officeDocument/2006/relationships/notesSlide" Target="../notesSlides/notesSlide5.xml"/><Relationship Id="rId13" Type="http://schemas.openxmlformats.org/officeDocument/2006/relationships/image" Target="../media/image51.emf"/><Relationship Id="rId3" Type="http://schemas.openxmlformats.org/officeDocument/2006/relationships/tags" Target="../tags/tag3.xml"/><Relationship Id="rId7" Type="http://schemas.openxmlformats.org/officeDocument/2006/relationships/slideLayout" Target="../slideLayouts/slideLayout193.xml"/><Relationship Id="rId12" Type="http://schemas.openxmlformats.org/officeDocument/2006/relationships/image" Target="../media/image50.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49.png"/><Relationship Id="rId5" Type="http://schemas.openxmlformats.org/officeDocument/2006/relationships/tags" Target="../tags/tag5.xml"/><Relationship Id="rId10" Type="http://schemas.openxmlformats.org/officeDocument/2006/relationships/image" Target="../media/image48.png"/><Relationship Id="rId4" Type="http://schemas.openxmlformats.org/officeDocument/2006/relationships/tags" Target="../tags/tag4.xml"/><Relationship Id="rId9" Type="http://schemas.openxmlformats.org/officeDocument/2006/relationships/image" Target="../media/image47.emf"/><Relationship Id="rId14" Type="http://schemas.openxmlformats.org/officeDocument/2006/relationships/image" Target="../media/image52.emf"/></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6.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image" Target="../media/image53.png"/><Relationship Id="rId7" Type="http://schemas.openxmlformats.org/officeDocument/2006/relationships/image" Target="../media/image57.png"/><Relationship Id="rId12" Type="http://schemas.openxmlformats.org/officeDocument/2006/relationships/image" Target="../media/image62.png"/><Relationship Id="rId2" Type="http://schemas.openxmlformats.org/officeDocument/2006/relationships/notesSlide" Target="../notesSlides/notesSlide6.xml"/><Relationship Id="rId1" Type="http://schemas.openxmlformats.org/officeDocument/2006/relationships/slideLayout" Target="../slideLayouts/slideLayout17.xml"/><Relationship Id="rId6" Type="http://schemas.openxmlformats.org/officeDocument/2006/relationships/image" Target="../media/image56.png"/><Relationship Id="rId11" Type="http://schemas.openxmlformats.org/officeDocument/2006/relationships/image" Target="../media/image61.png"/><Relationship Id="rId5" Type="http://schemas.openxmlformats.org/officeDocument/2006/relationships/image" Target="../media/image55.png"/><Relationship Id="rId10" Type="http://schemas.openxmlformats.org/officeDocument/2006/relationships/image" Target="../media/image60.png"/><Relationship Id="rId4" Type="http://schemas.openxmlformats.org/officeDocument/2006/relationships/image" Target="../media/image54.png"/><Relationship Id="rId9" Type="http://schemas.openxmlformats.org/officeDocument/2006/relationships/image" Target="../media/image59.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6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0.xml"/></Relationships>
</file>

<file path=ppt/slides/_rels/slide9.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image" Target="../media/image63.emf"/><Relationship Id="rId1" Type="http://schemas.openxmlformats.org/officeDocument/2006/relationships/slideLayout" Target="../slideLayouts/slideLayout44.xml"/><Relationship Id="rId5" Type="http://schemas.openxmlformats.org/officeDocument/2006/relationships/image" Target="../media/image65.png"/><Relationship Id="rId4" Type="http://schemas.openxmlformats.org/officeDocument/2006/relationships/image" Target="../media/image6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6595" dirty="0"/>
              <a:t>Office 365 Development</a:t>
            </a:r>
          </a:p>
        </p:txBody>
      </p:sp>
      <p:sp>
        <p:nvSpPr>
          <p:cNvPr id="3" name="Text Placeholder 2"/>
          <p:cNvSpPr>
            <a:spLocks noGrp="1"/>
          </p:cNvSpPr>
          <p:nvPr>
            <p:ph type="body" sz="quarter" idx="12"/>
          </p:nvPr>
        </p:nvSpPr>
        <p:spPr/>
        <p:txBody>
          <a:bodyPr/>
          <a:lstStyle/>
          <a:p>
            <a:endParaRPr lang="en-US" dirty="0"/>
          </a:p>
        </p:txBody>
      </p:sp>
    </p:spTree>
    <p:extLst>
      <p:ext uri="{BB962C8B-B14F-4D97-AF65-F5344CB8AC3E}">
        <p14:creationId xmlns:p14="http://schemas.microsoft.com/office/powerpoint/2010/main" val="16700119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4" name="Rectangle 283"/>
          <p:cNvSpPr/>
          <p:nvPr/>
        </p:nvSpPr>
        <p:spPr bwMode="auto">
          <a:xfrm>
            <a:off x="463282" y="894279"/>
            <a:ext cx="11307607" cy="2002349"/>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650" fontAlgn="base">
              <a:spcBef>
                <a:spcPct val="0"/>
              </a:spcBef>
              <a:spcAft>
                <a:spcPct val="0"/>
              </a:spcAft>
            </a:pPr>
            <a:endParaRPr lang="en-US" sz="1764" dirty="0">
              <a:gradFill>
                <a:gsLst>
                  <a:gs pos="10619">
                    <a:srgbClr val="505050"/>
                  </a:gs>
                  <a:gs pos="28000">
                    <a:srgbClr val="505050"/>
                  </a:gs>
                </a:gsLst>
                <a:lin ang="5400000" scaled="0"/>
              </a:gradFill>
            </a:endParaRPr>
          </a:p>
        </p:txBody>
      </p:sp>
      <p:pic>
        <p:nvPicPr>
          <p:cNvPr id="547" name="Picture 54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981703" y="1276109"/>
            <a:ext cx="3789186" cy="1554271"/>
          </a:xfrm>
          <a:prstGeom prst="rect">
            <a:avLst/>
          </a:prstGeom>
        </p:spPr>
      </p:pic>
      <p:sp>
        <p:nvSpPr>
          <p:cNvPr id="9" name="Title 8"/>
          <p:cNvSpPr>
            <a:spLocks noGrp="1"/>
          </p:cNvSpPr>
          <p:nvPr>
            <p:ph type="title"/>
          </p:nvPr>
        </p:nvSpPr>
        <p:spPr>
          <a:xfrm>
            <a:off x="292512" y="-1501"/>
            <a:ext cx="11652805" cy="899431"/>
          </a:xfrm>
        </p:spPr>
        <p:txBody>
          <a:bodyPr/>
          <a:lstStyle/>
          <a:p>
            <a:r>
              <a:rPr lang="en-US" dirty="0" smtClean="0"/>
              <a:t>Vision</a:t>
            </a:r>
            <a:endParaRPr lang="en-US" dirty="0"/>
          </a:p>
        </p:txBody>
      </p:sp>
      <p:grpSp>
        <p:nvGrpSpPr>
          <p:cNvPr id="357" name="Group 356"/>
          <p:cNvGrpSpPr/>
          <p:nvPr/>
        </p:nvGrpSpPr>
        <p:grpSpPr>
          <a:xfrm>
            <a:off x="286285" y="1172695"/>
            <a:ext cx="3695234" cy="1487429"/>
            <a:chOff x="292100" y="1016000"/>
            <a:chExt cx="3770313" cy="1517650"/>
          </a:xfrm>
        </p:grpSpPr>
        <p:sp>
          <p:nvSpPr>
            <p:cNvPr id="363" name="Rectangle 362"/>
            <p:cNvSpPr/>
            <p:nvPr/>
          </p:nvSpPr>
          <p:spPr bwMode="auto">
            <a:xfrm>
              <a:off x="1203489" y="1050925"/>
              <a:ext cx="1896947" cy="111330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64" name="Group 363"/>
            <p:cNvGrpSpPr/>
            <p:nvPr/>
          </p:nvGrpSpPr>
          <p:grpSpPr>
            <a:xfrm>
              <a:off x="1160464" y="1016000"/>
              <a:ext cx="1978025" cy="1500188"/>
              <a:chOff x="1363663" y="914400"/>
              <a:chExt cx="1978025" cy="1500188"/>
            </a:xfrm>
          </p:grpSpPr>
          <p:sp>
            <p:nvSpPr>
              <p:cNvPr id="405" name="Rectangle 5"/>
              <p:cNvSpPr>
                <a:spLocks noChangeArrowheads="1"/>
              </p:cNvSpPr>
              <p:nvPr/>
            </p:nvSpPr>
            <p:spPr bwMode="auto">
              <a:xfrm>
                <a:off x="1858963" y="2382838"/>
                <a:ext cx="982663" cy="317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06" name="Freeform 405"/>
              <p:cNvSpPr>
                <a:spLocks/>
              </p:cNvSpPr>
              <p:nvPr/>
            </p:nvSpPr>
            <p:spPr bwMode="auto">
              <a:xfrm>
                <a:off x="1363663" y="914400"/>
                <a:ext cx="1978025" cy="1179513"/>
              </a:xfrm>
              <a:custGeom>
                <a:avLst/>
                <a:gdLst>
                  <a:gd name="connsiteX0" fmla="*/ 82097 w 1978025"/>
                  <a:gd name="connsiteY0" fmla="*/ 50800 h 1179513"/>
                  <a:gd name="connsiteX1" fmla="*/ 50800 w 1978025"/>
                  <a:gd name="connsiteY1" fmla="*/ 82163 h 1179513"/>
                  <a:gd name="connsiteX2" fmla="*/ 50800 w 1978025"/>
                  <a:gd name="connsiteY2" fmla="*/ 1054410 h 1179513"/>
                  <a:gd name="connsiteX3" fmla="*/ 82097 w 1978025"/>
                  <a:gd name="connsiteY3" fmla="*/ 1079500 h 1179513"/>
                  <a:gd name="connsiteX4" fmla="*/ 1891075 w 1978025"/>
                  <a:gd name="connsiteY4" fmla="*/ 1079500 h 1179513"/>
                  <a:gd name="connsiteX5" fmla="*/ 1916113 w 1978025"/>
                  <a:gd name="connsiteY5" fmla="*/ 1054410 h 1179513"/>
                  <a:gd name="connsiteX6" fmla="*/ 1916113 w 1978025"/>
                  <a:gd name="connsiteY6" fmla="*/ 82163 h 1179513"/>
                  <a:gd name="connsiteX7" fmla="*/ 1891075 w 1978025"/>
                  <a:gd name="connsiteY7" fmla="*/ 50800 h 1179513"/>
                  <a:gd name="connsiteX8" fmla="*/ 82097 w 1978025"/>
                  <a:gd name="connsiteY8" fmla="*/ 50800 h 1179513"/>
                  <a:gd name="connsiteX9" fmla="*/ 62596 w 1978025"/>
                  <a:gd name="connsiteY9" fmla="*/ 0 h 1179513"/>
                  <a:gd name="connsiteX10" fmla="*/ 1915429 w 1978025"/>
                  <a:gd name="connsiteY10" fmla="*/ 0 h 1179513"/>
                  <a:gd name="connsiteX11" fmla="*/ 1978025 w 1978025"/>
                  <a:gd name="connsiteY11" fmla="*/ 62740 h 1179513"/>
                  <a:gd name="connsiteX12" fmla="*/ 1978025 w 1978025"/>
                  <a:gd name="connsiteY12" fmla="*/ 1116773 h 1179513"/>
                  <a:gd name="connsiteX13" fmla="*/ 1915429 w 1978025"/>
                  <a:gd name="connsiteY13" fmla="*/ 1179513 h 1179513"/>
                  <a:gd name="connsiteX14" fmla="*/ 62596 w 1978025"/>
                  <a:gd name="connsiteY14" fmla="*/ 1179513 h 1179513"/>
                  <a:gd name="connsiteX15" fmla="*/ 0 w 1978025"/>
                  <a:gd name="connsiteY15" fmla="*/ 1116773 h 1179513"/>
                  <a:gd name="connsiteX16" fmla="*/ 0 w 1978025"/>
                  <a:gd name="connsiteY16" fmla="*/ 62740 h 1179513"/>
                  <a:gd name="connsiteX17" fmla="*/ 62596 w 1978025"/>
                  <a:gd name="connsiteY17" fmla="*/ 0 h 1179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8025" h="1179513">
                    <a:moveTo>
                      <a:pt x="82097" y="50800"/>
                    </a:moveTo>
                    <a:cubicBezTo>
                      <a:pt x="63319" y="50800"/>
                      <a:pt x="50800" y="63345"/>
                      <a:pt x="50800" y="82163"/>
                    </a:cubicBezTo>
                    <a:cubicBezTo>
                      <a:pt x="50800" y="82163"/>
                      <a:pt x="50800" y="82163"/>
                      <a:pt x="50800" y="1054410"/>
                    </a:cubicBezTo>
                    <a:cubicBezTo>
                      <a:pt x="50800" y="1066955"/>
                      <a:pt x="63319" y="1079500"/>
                      <a:pt x="82097" y="1079500"/>
                    </a:cubicBezTo>
                    <a:cubicBezTo>
                      <a:pt x="82097" y="1079500"/>
                      <a:pt x="82097" y="1079500"/>
                      <a:pt x="1891075" y="1079500"/>
                    </a:cubicBezTo>
                    <a:cubicBezTo>
                      <a:pt x="1903594" y="1079500"/>
                      <a:pt x="1916113" y="1066955"/>
                      <a:pt x="1916113" y="1054410"/>
                    </a:cubicBezTo>
                    <a:lnTo>
                      <a:pt x="1916113" y="82163"/>
                    </a:lnTo>
                    <a:cubicBezTo>
                      <a:pt x="1916113" y="63345"/>
                      <a:pt x="1903594" y="50800"/>
                      <a:pt x="1891075" y="50800"/>
                    </a:cubicBezTo>
                    <a:cubicBezTo>
                      <a:pt x="1891075" y="50800"/>
                      <a:pt x="1891075" y="50800"/>
                      <a:pt x="82097" y="50800"/>
                    </a:cubicBezTo>
                    <a:close/>
                    <a:moveTo>
                      <a:pt x="62596" y="0"/>
                    </a:moveTo>
                    <a:cubicBezTo>
                      <a:pt x="1915429" y="0"/>
                      <a:pt x="1915429" y="0"/>
                      <a:pt x="1915429" y="0"/>
                    </a:cubicBezTo>
                    <a:cubicBezTo>
                      <a:pt x="1946727" y="0"/>
                      <a:pt x="1978025" y="25096"/>
                      <a:pt x="1978025" y="62740"/>
                    </a:cubicBezTo>
                    <a:lnTo>
                      <a:pt x="1978025" y="1116773"/>
                    </a:lnTo>
                    <a:cubicBezTo>
                      <a:pt x="1978025" y="1154417"/>
                      <a:pt x="1946727" y="1179513"/>
                      <a:pt x="1915429" y="1179513"/>
                    </a:cubicBezTo>
                    <a:cubicBezTo>
                      <a:pt x="62596" y="1179513"/>
                      <a:pt x="62596" y="1179513"/>
                      <a:pt x="62596" y="1179513"/>
                    </a:cubicBezTo>
                    <a:cubicBezTo>
                      <a:pt x="25038" y="1179513"/>
                      <a:pt x="0" y="1154417"/>
                      <a:pt x="0" y="1116773"/>
                    </a:cubicBezTo>
                    <a:cubicBezTo>
                      <a:pt x="0" y="62740"/>
                      <a:pt x="0" y="62740"/>
                      <a:pt x="0" y="62740"/>
                    </a:cubicBezTo>
                    <a:cubicBezTo>
                      <a:pt x="0" y="25096"/>
                      <a:pt x="25038" y="0"/>
                      <a:pt x="62596" y="0"/>
                    </a:cubicBezTo>
                    <a:close/>
                  </a:path>
                </a:pathLst>
              </a:custGeom>
              <a:solidFill>
                <a:srgbClr val="000000"/>
              </a:solidFill>
              <a:ln>
                <a:noFill/>
              </a:ln>
              <a:extLst/>
            </p:spPr>
            <p:txBody>
              <a:bodyPr vert="horz" wrap="square" lIns="89619" tIns="44809" rIns="89619" bIns="44809" numCol="1" anchor="t" anchorCtr="0" compatLnSpc="1">
                <a:prstTxWarp prst="textNoShape">
                  <a:avLst/>
                </a:prstTxWarp>
                <a:noAutofit/>
              </a:bodyPr>
              <a:lstStyle/>
              <a:p>
                <a:pPr defTabSz="914093"/>
                <a:endParaRPr lang="en-US" sz="1764">
                  <a:solidFill>
                    <a:srgbClr val="FFFFFF"/>
                  </a:solidFill>
                </a:endParaRPr>
              </a:p>
            </p:txBody>
          </p:sp>
          <p:sp>
            <p:nvSpPr>
              <p:cNvPr id="407" name="Rectangle 33"/>
              <p:cNvSpPr>
                <a:spLocks noChangeArrowheads="1"/>
              </p:cNvSpPr>
              <p:nvPr/>
            </p:nvSpPr>
            <p:spPr bwMode="auto">
              <a:xfrm>
                <a:off x="2309813" y="2081213"/>
                <a:ext cx="80963" cy="3206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sp>
          <p:nvSpPr>
            <p:cNvPr id="365" name="Oval 115"/>
            <p:cNvSpPr>
              <a:spLocks noChangeArrowheads="1"/>
            </p:cNvSpPr>
            <p:nvPr/>
          </p:nvSpPr>
          <p:spPr bwMode="auto">
            <a:xfrm>
              <a:off x="1422401" y="1611312"/>
              <a:ext cx="20638" cy="190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nvGrpSpPr>
            <p:cNvPr id="366" name="Group 365"/>
            <p:cNvGrpSpPr/>
            <p:nvPr/>
          </p:nvGrpSpPr>
          <p:grpSpPr>
            <a:xfrm>
              <a:off x="1264391" y="1121515"/>
              <a:ext cx="1751120" cy="977160"/>
              <a:chOff x="3305410" y="464807"/>
              <a:chExt cx="993287" cy="554274"/>
            </a:xfrm>
          </p:grpSpPr>
          <p:sp>
            <p:nvSpPr>
              <p:cNvPr id="393" name="Rectangle 392"/>
              <p:cNvSpPr/>
              <p:nvPr/>
            </p:nvSpPr>
            <p:spPr bwMode="auto">
              <a:xfrm>
                <a:off x="3305410" y="464807"/>
                <a:ext cx="74317" cy="743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94" name="Rectangle 393"/>
              <p:cNvSpPr/>
              <p:nvPr/>
            </p:nvSpPr>
            <p:spPr bwMode="auto">
              <a:xfrm>
                <a:off x="3392488" y="464807"/>
                <a:ext cx="906209" cy="74317"/>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95" name="Rectangle 394"/>
              <p:cNvSpPr/>
              <p:nvPr/>
            </p:nvSpPr>
            <p:spPr bwMode="auto">
              <a:xfrm>
                <a:off x="3305410" y="558053"/>
                <a:ext cx="993287" cy="461028"/>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96" name="Freeform 303"/>
              <p:cNvSpPr>
                <a:spLocks noEditPoints="1"/>
              </p:cNvSpPr>
              <p:nvPr/>
            </p:nvSpPr>
            <p:spPr bwMode="auto">
              <a:xfrm>
                <a:off x="3315378" y="477061"/>
                <a:ext cx="51918" cy="49841"/>
              </a:xfrm>
              <a:custGeom>
                <a:avLst/>
                <a:gdLst>
                  <a:gd name="T0" fmla="*/ 528 w 1440"/>
                  <a:gd name="T1" fmla="*/ 191 h 1371"/>
                  <a:gd name="T2" fmla="*/ 864 w 1440"/>
                  <a:gd name="T3" fmla="*/ 526 h 1371"/>
                  <a:gd name="T4" fmla="*/ 528 w 1440"/>
                  <a:gd name="T5" fmla="*/ 861 h 1371"/>
                  <a:gd name="T6" fmla="*/ 208 w 1440"/>
                  <a:gd name="T7" fmla="*/ 526 h 1371"/>
                  <a:gd name="T8" fmla="*/ 528 w 1440"/>
                  <a:gd name="T9" fmla="*/ 191 h 1371"/>
                  <a:gd name="T10" fmla="*/ 528 w 1440"/>
                  <a:gd name="T11" fmla="*/ 0 h 1371"/>
                  <a:gd name="T12" fmla="*/ 0 w 1440"/>
                  <a:gd name="T13" fmla="*/ 526 h 1371"/>
                  <a:gd name="T14" fmla="*/ 528 w 1440"/>
                  <a:gd name="T15" fmla="*/ 1052 h 1371"/>
                  <a:gd name="T16" fmla="*/ 880 w 1440"/>
                  <a:gd name="T17" fmla="*/ 924 h 1371"/>
                  <a:gd name="T18" fmla="*/ 1280 w 1440"/>
                  <a:gd name="T19" fmla="*/ 1339 h 1371"/>
                  <a:gd name="T20" fmla="*/ 1408 w 1440"/>
                  <a:gd name="T21" fmla="*/ 1339 h 1371"/>
                  <a:gd name="T22" fmla="*/ 1408 w 1440"/>
                  <a:gd name="T23" fmla="*/ 1339 h 1371"/>
                  <a:gd name="T24" fmla="*/ 1408 w 1440"/>
                  <a:gd name="T25" fmla="*/ 1211 h 1371"/>
                  <a:gd name="T26" fmla="*/ 976 w 1440"/>
                  <a:gd name="T27" fmla="*/ 797 h 1371"/>
                  <a:gd name="T28" fmla="*/ 1056 w 1440"/>
                  <a:gd name="T29" fmla="*/ 526 h 1371"/>
                  <a:gd name="T30" fmla="*/ 528 w 1440"/>
                  <a:gd name="T31" fmla="*/ 0 h 1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40" h="1371">
                    <a:moveTo>
                      <a:pt x="528" y="191"/>
                    </a:moveTo>
                    <a:cubicBezTo>
                      <a:pt x="704" y="191"/>
                      <a:pt x="864" y="350"/>
                      <a:pt x="864" y="526"/>
                    </a:cubicBezTo>
                    <a:cubicBezTo>
                      <a:pt x="864" y="701"/>
                      <a:pt x="704" y="861"/>
                      <a:pt x="528" y="861"/>
                    </a:cubicBezTo>
                    <a:cubicBezTo>
                      <a:pt x="352" y="861"/>
                      <a:pt x="208" y="701"/>
                      <a:pt x="208" y="526"/>
                    </a:cubicBezTo>
                    <a:cubicBezTo>
                      <a:pt x="208" y="350"/>
                      <a:pt x="352" y="191"/>
                      <a:pt x="528" y="191"/>
                    </a:cubicBezTo>
                    <a:close/>
                    <a:moveTo>
                      <a:pt x="528" y="0"/>
                    </a:moveTo>
                    <a:cubicBezTo>
                      <a:pt x="240" y="0"/>
                      <a:pt x="0" y="239"/>
                      <a:pt x="0" y="526"/>
                    </a:cubicBezTo>
                    <a:cubicBezTo>
                      <a:pt x="0" y="813"/>
                      <a:pt x="240" y="1052"/>
                      <a:pt x="528" y="1052"/>
                    </a:cubicBezTo>
                    <a:cubicBezTo>
                      <a:pt x="656" y="1052"/>
                      <a:pt x="784" y="1004"/>
                      <a:pt x="880" y="924"/>
                    </a:cubicBezTo>
                    <a:cubicBezTo>
                      <a:pt x="1280" y="1339"/>
                      <a:pt x="1280" y="1339"/>
                      <a:pt x="1280" y="1339"/>
                    </a:cubicBezTo>
                    <a:cubicBezTo>
                      <a:pt x="1312" y="1371"/>
                      <a:pt x="1376" y="1371"/>
                      <a:pt x="1408" y="1339"/>
                    </a:cubicBezTo>
                    <a:cubicBezTo>
                      <a:pt x="1408" y="1339"/>
                      <a:pt x="1408" y="1339"/>
                      <a:pt x="1408" y="1339"/>
                    </a:cubicBezTo>
                    <a:cubicBezTo>
                      <a:pt x="1440" y="1307"/>
                      <a:pt x="1440" y="1243"/>
                      <a:pt x="1408" y="1211"/>
                    </a:cubicBezTo>
                    <a:cubicBezTo>
                      <a:pt x="976" y="797"/>
                      <a:pt x="976" y="797"/>
                      <a:pt x="976" y="797"/>
                    </a:cubicBezTo>
                    <a:cubicBezTo>
                      <a:pt x="1040" y="717"/>
                      <a:pt x="1056" y="621"/>
                      <a:pt x="1056" y="526"/>
                    </a:cubicBezTo>
                    <a:cubicBezTo>
                      <a:pt x="1056" y="239"/>
                      <a:pt x="816" y="0"/>
                      <a:pt x="528"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7" tIns="44802" rIns="89607" bIns="44802" numCol="1" anchor="t" anchorCtr="0" compatLnSpc="1">
                <a:prstTxWarp prst="textNoShape">
                  <a:avLst/>
                </a:prstTxWarp>
              </a:bodyPr>
              <a:lstStyle/>
              <a:p>
                <a:pPr defTabSz="913918"/>
                <a:endParaRPr lang="en-US" sz="1764">
                  <a:solidFill>
                    <a:srgbClr val="FFFFFF"/>
                  </a:solidFill>
                </a:endParaRPr>
              </a:p>
            </p:txBody>
          </p:sp>
          <p:cxnSp>
            <p:nvCxnSpPr>
              <p:cNvPr id="397" name="Straight Connector 396"/>
              <p:cNvCxnSpPr/>
              <p:nvPr/>
            </p:nvCxnSpPr>
            <p:spPr>
              <a:xfrm>
                <a:off x="3366983" y="625545"/>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8" name="Straight Connector 397"/>
              <p:cNvCxnSpPr/>
              <p:nvPr/>
            </p:nvCxnSpPr>
            <p:spPr>
              <a:xfrm>
                <a:off x="3366983" y="672832"/>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9" name="Straight Connector 398"/>
              <p:cNvCxnSpPr/>
              <p:nvPr/>
            </p:nvCxnSpPr>
            <p:spPr>
              <a:xfrm>
                <a:off x="3366983" y="720120"/>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0" name="Straight Connector 399"/>
              <p:cNvCxnSpPr/>
              <p:nvPr/>
            </p:nvCxnSpPr>
            <p:spPr>
              <a:xfrm>
                <a:off x="3366983" y="767407"/>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1" name="Straight Connector 400"/>
              <p:cNvCxnSpPr/>
              <p:nvPr/>
            </p:nvCxnSpPr>
            <p:spPr>
              <a:xfrm>
                <a:off x="3366983" y="814694"/>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2" name="Straight Connector 401"/>
              <p:cNvCxnSpPr/>
              <p:nvPr/>
            </p:nvCxnSpPr>
            <p:spPr>
              <a:xfrm>
                <a:off x="3366983" y="861982"/>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3" name="Straight Connector 402"/>
              <p:cNvCxnSpPr/>
              <p:nvPr/>
            </p:nvCxnSpPr>
            <p:spPr>
              <a:xfrm>
                <a:off x="3366983" y="909269"/>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4" name="Straight Connector 403"/>
              <p:cNvCxnSpPr/>
              <p:nvPr/>
            </p:nvCxnSpPr>
            <p:spPr>
              <a:xfrm>
                <a:off x="3366983" y="956558"/>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67" name="Group 366"/>
            <p:cNvGrpSpPr/>
            <p:nvPr/>
          </p:nvGrpSpPr>
          <p:grpSpPr>
            <a:xfrm>
              <a:off x="2838450" y="1767176"/>
              <a:ext cx="1223963" cy="766474"/>
              <a:chOff x="2838450" y="1767176"/>
              <a:chExt cx="1223963" cy="766474"/>
            </a:xfrm>
          </p:grpSpPr>
          <p:grpSp>
            <p:nvGrpSpPr>
              <p:cNvPr id="387" name="Group 386"/>
              <p:cNvGrpSpPr/>
              <p:nvPr/>
            </p:nvGrpSpPr>
            <p:grpSpPr>
              <a:xfrm>
                <a:off x="2838450" y="1767176"/>
                <a:ext cx="1223963" cy="766474"/>
                <a:chOff x="2439988" y="1517650"/>
                <a:chExt cx="1622425" cy="1016000"/>
              </a:xfrm>
            </p:grpSpPr>
            <p:sp>
              <p:nvSpPr>
                <p:cNvPr id="389" name="Rectangle 388"/>
                <p:cNvSpPr/>
                <p:nvPr/>
              </p:nvSpPr>
              <p:spPr bwMode="auto">
                <a:xfrm>
                  <a:off x="2501924" y="1605756"/>
                  <a:ext cx="1508101" cy="830475"/>
                </a:xfrm>
                <a:prstGeom prst="rect">
                  <a:avLst/>
                </a:prstGeom>
                <a:solidFill>
                  <a:srgbClr val="EB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90" name="Group 158"/>
                <p:cNvGrpSpPr>
                  <a:grpSpLocks noChangeAspect="1"/>
                </p:cNvGrpSpPr>
                <p:nvPr/>
              </p:nvGrpSpPr>
              <p:grpSpPr bwMode="auto">
                <a:xfrm>
                  <a:off x="2439988" y="1517650"/>
                  <a:ext cx="1622425" cy="1016000"/>
                  <a:chOff x="1537" y="956"/>
                  <a:chExt cx="1022" cy="640"/>
                </a:xfrm>
              </p:grpSpPr>
              <p:sp>
                <p:nvSpPr>
                  <p:cNvPr id="391" name="Freeform 159"/>
                  <p:cNvSpPr>
                    <a:spLocks noEditPoints="1"/>
                  </p:cNvSpPr>
                  <p:nvPr/>
                </p:nvSpPr>
                <p:spPr bwMode="auto">
                  <a:xfrm>
                    <a:off x="1537" y="956"/>
                    <a:ext cx="1022" cy="640"/>
                  </a:xfrm>
                  <a:custGeom>
                    <a:avLst/>
                    <a:gdLst>
                      <a:gd name="T0" fmla="*/ 284 w 289"/>
                      <a:gd name="T1" fmla="*/ 0 h 180"/>
                      <a:gd name="T2" fmla="*/ 4 w 289"/>
                      <a:gd name="T3" fmla="*/ 0 h 180"/>
                      <a:gd name="T4" fmla="*/ 0 w 289"/>
                      <a:gd name="T5" fmla="*/ 5 h 180"/>
                      <a:gd name="T6" fmla="*/ 0 w 289"/>
                      <a:gd name="T7" fmla="*/ 175 h 180"/>
                      <a:gd name="T8" fmla="*/ 4 w 289"/>
                      <a:gd name="T9" fmla="*/ 180 h 180"/>
                      <a:gd name="T10" fmla="*/ 284 w 289"/>
                      <a:gd name="T11" fmla="*/ 180 h 180"/>
                      <a:gd name="T12" fmla="*/ 289 w 289"/>
                      <a:gd name="T13" fmla="*/ 175 h 180"/>
                      <a:gd name="T14" fmla="*/ 289 w 289"/>
                      <a:gd name="T15" fmla="*/ 5 h 180"/>
                      <a:gd name="T16" fmla="*/ 284 w 289"/>
                      <a:gd name="T17" fmla="*/ 0 h 180"/>
                      <a:gd name="T18" fmla="*/ 275 w 289"/>
                      <a:gd name="T19" fmla="*/ 157 h 180"/>
                      <a:gd name="T20" fmla="*/ 271 w 289"/>
                      <a:gd name="T21" fmla="*/ 161 h 180"/>
                      <a:gd name="T22" fmla="*/ 18 w 289"/>
                      <a:gd name="T23" fmla="*/ 161 h 180"/>
                      <a:gd name="T24" fmla="*/ 14 w 289"/>
                      <a:gd name="T25" fmla="*/ 157 h 180"/>
                      <a:gd name="T26" fmla="*/ 14 w 289"/>
                      <a:gd name="T27" fmla="*/ 21 h 180"/>
                      <a:gd name="T28" fmla="*/ 18 w 289"/>
                      <a:gd name="T29" fmla="*/ 17 h 180"/>
                      <a:gd name="T30" fmla="*/ 271 w 289"/>
                      <a:gd name="T31" fmla="*/ 17 h 180"/>
                      <a:gd name="T32" fmla="*/ 275 w 289"/>
                      <a:gd name="T33" fmla="*/ 21 h 180"/>
                      <a:gd name="T34" fmla="*/ 275 w 289"/>
                      <a:gd name="T35" fmla="*/ 157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9" h="180">
                        <a:moveTo>
                          <a:pt x="284" y="0"/>
                        </a:moveTo>
                        <a:cubicBezTo>
                          <a:pt x="4" y="0"/>
                          <a:pt x="4" y="0"/>
                          <a:pt x="4" y="0"/>
                        </a:cubicBezTo>
                        <a:cubicBezTo>
                          <a:pt x="2" y="0"/>
                          <a:pt x="0" y="2"/>
                          <a:pt x="0" y="5"/>
                        </a:cubicBezTo>
                        <a:cubicBezTo>
                          <a:pt x="0" y="175"/>
                          <a:pt x="0" y="175"/>
                          <a:pt x="0" y="175"/>
                        </a:cubicBezTo>
                        <a:cubicBezTo>
                          <a:pt x="0" y="178"/>
                          <a:pt x="2" y="180"/>
                          <a:pt x="4" y="180"/>
                        </a:cubicBezTo>
                        <a:cubicBezTo>
                          <a:pt x="284" y="180"/>
                          <a:pt x="284" y="180"/>
                          <a:pt x="284" y="180"/>
                        </a:cubicBezTo>
                        <a:cubicBezTo>
                          <a:pt x="287" y="180"/>
                          <a:pt x="289" y="178"/>
                          <a:pt x="289" y="175"/>
                        </a:cubicBezTo>
                        <a:cubicBezTo>
                          <a:pt x="289" y="5"/>
                          <a:pt x="289" y="5"/>
                          <a:pt x="289" y="5"/>
                        </a:cubicBezTo>
                        <a:cubicBezTo>
                          <a:pt x="289" y="2"/>
                          <a:pt x="287" y="0"/>
                          <a:pt x="284" y="0"/>
                        </a:cubicBezTo>
                        <a:close/>
                        <a:moveTo>
                          <a:pt x="275" y="157"/>
                        </a:moveTo>
                        <a:cubicBezTo>
                          <a:pt x="275" y="160"/>
                          <a:pt x="273" y="161"/>
                          <a:pt x="271" y="161"/>
                        </a:cubicBezTo>
                        <a:cubicBezTo>
                          <a:pt x="18" y="161"/>
                          <a:pt x="18" y="161"/>
                          <a:pt x="18" y="161"/>
                        </a:cubicBezTo>
                        <a:cubicBezTo>
                          <a:pt x="16" y="161"/>
                          <a:pt x="14" y="160"/>
                          <a:pt x="14" y="157"/>
                        </a:cubicBezTo>
                        <a:cubicBezTo>
                          <a:pt x="14" y="21"/>
                          <a:pt x="14" y="21"/>
                          <a:pt x="14" y="21"/>
                        </a:cubicBezTo>
                        <a:cubicBezTo>
                          <a:pt x="14" y="19"/>
                          <a:pt x="16" y="17"/>
                          <a:pt x="18" y="17"/>
                        </a:cubicBezTo>
                        <a:cubicBezTo>
                          <a:pt x="271" y="17"/>
                          <a:pt x="271" y="17"/>
                          <a:pt x="271" y="17"/>
                        </a:cubicBezTo>
                        <a:cubicBezTo>
                          <a:pt x="273" y="17"/>
                          <a:pt x="275" y="19"/>
                          <a:pt x="275" y="21"/>
                        </a:cubicBezTo>
                        <a:lnTo>
                          <a:pt x="275"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92" name="Oval 160"/>
                  <p:cNvSpPr>
                    <a:spLocks noChangeArrowheads="1"/>
                  </p:cNvSpPr>
                  <p:nvPr/>
                </p:nvSpPr>
                <p:spPr bwMode="auto">
                  <a:xfrm>
                    <a:off x="2036" y="1550"/>
                    <a:ext cx="25" cy="2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sp>
            <p:nvSpPr>
              <p:cNvPr id="388" name="Freeform 23"/>
              <p:cNvSpPr>
                <a:spLocks noChangeAspect="1" noEditPoints="1"/>
              </p:cNvSpPr>
              <p:nvPr/>
            </p:nvSpPr>
            <p:spPr bwMode="auto">
              <a:xfrm>
                <a:off x="3098093" y="2038982"/>
                <a:ext cx="704677" cy="222862"/>
              </a:xfrm>
              <a:custGeom>
                <a:avLst/>
                <a:gdLst>
                  <a:gd name="T0" fmla="*/ 1442 w 2741"/>
                  <a:gd name="T1" fmla="*/ 572 h 865"/>
                  <a:gd name="T2" fmla="*/ 1224 w 2741"/>
                  <a:gd name="T3" fmla="*/ 701 h 865"/>
                  <a:gd name="T4" fmla="*/ 1012 w 2741"/>
                  <a:gd name="T5" fmla="*/ 576 h 865"/>
                  <a:gd name="T6" fmla="*/ 1012 w 2741"/>
                  <a:gd name="T7" fmla="*/ 295 h 865"/>
                  <a:gd name="T8" fmla="*/ 1233 w 2741"/>
                  <a:gd name="T9" fmla="*/ 165 h 865"/>
                  <a:gd name="T10" fmla="*/ 1442 w 2741"/>
                  <a:gd name="T11" fmla="*/ 291 h 865"/>
                  <a:gd name="T12" fmla="*/ 1408 w 2741"/>
                  <a:gd name="T13" fmla="*/ 435 h 865"/>
                  <a:gd name="T14" fmla="*/ 1229 w 2741"/>
                  <a:gd name="T15" fmla="*/ 220 h 865"/>
                  <a:gd name="T16" fmla="*/ 1068 w 2741"/>
                  <a:gd name="T17" fmla="*/ 323 h 865"/>
                  <a:gd name="T18" fmla="*/ 1067 w 2741"/>
                  <a:gd name="T19" fmla="*/ 545 h 865"/>
                  <a:gd name="T20" fmla="*/ 1224 w 2741"/>
                  <a:gd name="T21" fmla="*/ 646 h 865"/>
                  <a:gd name="T22" fmla="*/ 1408 w 2741"/>
                  <a:gd name="T23" fmla="*/ 435 h 865"/>
                  <a:gd name="T24" fmla="*/ 1695 w 2741"/>
                  <a:gd name="T25" fmla="*/ 186 h 865"/>
                  <a:gd name="T26" fmla="*/ 1632 w 2741"/>
                  <a:gd name="T27" fmla="*/ 322 h 865"/>
                  <a:gd name="T28" fmla="*/ 1719 w 2741"/>
                  <a:gd name="T29" fmla="*/ 372 h 865"/>
                  <a:gd name="T30" fmla="*/ 1632 w 2741"/>
                  <a:gd name="T31" fmla="*/ 692 h 865"/>
                  <a:gd name="T32" fmla="*/ 1573 w 2741"/>
                  <a:gd name="T33" fmla="*/ 372 h 865"/>
                  <a:gd name="T34" fmla="*/ 1510 w 2741"/>
                  <a:gd name="T35" fmla="*/ 322 h 865"/>
                  <a:gd name="T36" fmla="*/ 1573 w 2741"/>
                  <a:gd name="T37" fmla="*/ 262 h 865"/>
                  <a:gd name="T38" fmla="*/ 1691 w 2741"/>
                  <a:gd name="T39" fmla="*/ 136 h 865"/>
                  <a:gd name="T40" fmla="*/ 1734 w 2741"/>
                  <a:gd name="T41" fmla="*/ 196 h 865"/>
                  <a:gd name="T42" fmla="*/ 1898 w 2741"/>
                  <a:gd name="T43" fmla="*/ 186 h 865"/>
                  <a:gd name="T44" fmla="*/ 1836 w 2741"/>
                  <a:gd name="T45" fmla="*/ 322 h 865"/>
                  <a:gd name="T46" fmla="*/ 1923 w 2741"/>
                  <a:gd name="T47" fmla="*/ 372 h 865"/>
                  <a:gd name="T48" fmla="*/ 1836 w 2741"/>
                  <a:gd name="T49" fmla="*/ 692 h 865"/>
                  <a:gd name="T50" fmla="*/ 1777 w 2741"/>
                  <a:gd name="T51" fmla="*/ 372 h 865"/>
                  <a:gd name="T52" fmla="*/ 1714 w 2741"/>
                  <a:gd name="T53" fmla="*/ 322 h 865"/>
                  <a:gd name="T54" fmla="*/ 1777 w 2741"/>
                  <a:gd name="T55" fmla="*/ 262 h 865"/>
                  <a:gd name="T56" fmla="*/ 1895 w 2741"/>
                  <a:gd name="T57" fmla="*/ 136 h 865"/>
                  <a:gd name="T58" fmla="*/ 1938 w 2741"/>
                  <a:gd name="T59" fmla="*/ 196 h 865"/>
                  <a:gd name="T60" fmla="*/ 2036 w 2741"/>
                  <a:gd name="T61" fmla="*/ 217 h 865"/>
                  <a:gd name="T62" fmla="*/ 1981 w 2741"/>
                  <a:gd name="T63" fmla="*/ 217 h 865"/>
                  <a:gd name="T64" fmla="*/ 1981 w 2741"/>
                  <a:gd name="T65" fmla="*/ 162 h 865"/>
                  <a:gd name="T66" fmla="*/ 2036 w 2741"/>
                  <a:gd name="T67" fmla="*/ 162 h 865"/>
                  <a:gd name="T68" fmla="*/ 2037 w 2741"/>
                  <a:gd name="T69" fmla="*/ 692 h 865"/>
                  <a:gd name="T70" fmla="*/ 1978 w 2741"/>
                  <a:gd name="T71" fmla="*/ 322 h 865"/>
                  <a:gd name="T72" fmla="*/ 2037 w 2741"/>
                  <a:gd name="T73" fmla="*/ 692 h 865"/>
                  <a:gd name="T74" fmla="*/ 2274 w 2741"/>
                  <a:gd name="T75" fmla="*/ 701 h 865"/>
                  <a:gd name="T76" fmla="*/ 2120 w 2741"/>
                  <a:gd name="T77" fmla="*/ 612 h 865"/>
                  <a:gd name="T78" fmla="*/ 2151 w 2741"/>
                  <a:gd name="T79" fmla="*/ 369 h 865"/>
                  <a:gd name="T80" fmla="*/ 2376 w 2741"/>
                  <a:gd name="T81" fmla="*/ 332 h 865"/>
                  <a:gd name="T82" fmla="*/ 2288 w 2741"/>
                  <a:gd name="T83" fmla="*/ 364 h 865"/>
                  <a:gd name="T84" fmla="*/ 2159 w 2741"/>
                  <a:gd name="T85" fmla="*/ 511 h 865"/>
                  <a:gd name="T86" fmla="*/ 2285 w 2741"/>
                  <a:gd name="T87" fmla="*/ 651 h 865"/>
                  <a:gd name="T88" fmla="*/ 2376 w 2741"/>
                  <a:gd name="T89" fmla="*/ 675 h 865"/>
                  <a:gd name="T90" fmla="*/ 2480 w 2741"/>
                  <a:gd name="T91" fmla="*/ 522 h 865"/>
                  <a:gd name="T92" fmla="*/ 2600 w 2741"/>
                  <a:gd name="T93" fmla="*/ 651 h 865"/>
                  <a:gd name="T94" fmla="*/ 2715 w 2741"/>
                  <a:gd name="T95" fmla="*/ 666 h 865"/>
                  <a:gd name="T96" fmla="*/ 2463 w 2741"/>
                  <a:gd name="T97" fmla="*/ 650 h 865"/>
                  <a:gd name="T98" fmla="*/ 2440 w 2741"/>
                  <a:gd name="T99" fmla="*/ 408 h 865"/>
                  <a:gd name="T100" fmla="*/ 2588 w 2741"/>
                  <a:gd name="T101" fmla="*/ 313 h 865"/>
                  <a:gd name="T102" fmla="*/ 2741 w 2741"/>
                  <a:gd name="T103" fmla="*/ 491 h 865"/>
                  <a:gd name="T104" fmla="*/ 2680 w 2741"/>
                  <a:gd name="T105" fmla="*/ 472 h 865"/>
                  <a:gd name="T106" fmla="*/ 2588 w 2741"/>
                  <a:gd name="T107" fmla="*/ 364 h 865"/>
                  <a:gd name="T108" fmla="*/ 2480 w 2741"/>
                  <a:gd name="T109" fmla="*/ 472 h 865"/>
                  <a:gd name="T110" fmla="*/ 721 w 2741"/>
                  <a:gd name="T111" fmla="*/ 793 h 865"/>
                  <a:gd name="T112" fmla="*/ 721 w 2741"/>
                  <a:gd name="T113" fmla="*/ 74 h 865"/>
                  <a:gd name="T114" fmla="*/ 1 w 2741"/>
                  <a:gd name="T115" fmla="*/ 174 h 865"/>
                  <a:gd name="T116" fmla="*/ 0 w 2741"/>
                  <a:gd name="T117" fmla="*/ 694 h 865"/>
                  <a:gd name="T118" fmla="*/ 158 w 2741"/>
                  <a:gd name="T119" fmla="*/ 209 h 865"/>
                  <a:gd name="T120" fmla="*/ 464 w 2741"/>
                  <a:gd name="T121" fmla="*/ 758 h 865"/>
                  <a:gd name="T122" fmla="*/ 464 w 2741"/>
                  <a:gd name="T123" fmla="*/ 865 h 865"/>
                  <a:gd name="T124" fmla="*/ 721 w 2741"/>
                  <a:gd name="T125" fmla="*/ 794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41" h="865">
                    <a:moveTo>
                      <a:pt x="1472" y="427"/>
                    </a:moveTo>
                    <a:cubicBezTo>
                      <a:pt x="1472" y="482"/>
                      <a:pt x="1462" y="530"/>
                      <a:pt x="1442" y="572"/>
                    </a:cubicBezTo>
                    <a:cubicBezTo>
                      <a:pt x="1421" y="613"/>
                      <a:pt x="1392" y="645"/>
                      <a:pt x="1355" y="668"/>
                    </a:cubicBezTo>
                    <a:cubicBezTo>
                      <a:pt x="1317" y="690"/>
                      <a:pt x="1274" y="701"/>
                      <a:pt x="1224" y="701"/>
                    </a:cubicBezTo>
                    <a:cubicBezTo>
                      <a:pt x="1177" y="701"/>
                      <a:pt x="1135" y="691"/>
                      <a:pt x="1098" y="669"/>
                    </a:cubicBezTo>
                    <a:cubicBezTo>
                      <a:pt x="1061" y="647"/>
                      <a:pt x="1032" y="616"/>
                      <a:pt x="1012" y="576"/>
                    </a:cubicBezTo>
                    <a:cubicBezTo>
                      <a:pt x="991" y="536"/>
                      <a:pt x="981" y="490"/>
                      <a:pt x="981" y="439"/>
                    </a:cubicBezTo>
                    <a:cubicBezTo>
                      <a:pt x="981" y="384"/>
                      <a:pt x="992" y="336"/>
                      <a:pt x="1012" y="295"/>
                    </a:cubicBezTo>
                    <a:cubicBezTo>
                      <a:pt x="1033" y="253"/>
                      <a:pt x="1062" y="221"/>
                      <a:pt x="1100" y="199"/>
                    </a:cubicBezTo>
                    <a:cubicBezTo>
                      <a:pt x="1139" y="176"/>
                      <a:pt x="1183" y="165"/>
                      <a:pt x="1233" y="165"/>
                    </a:cubicBezTo>
                    <a:cubicBezTo>
                      <a:pt x="1279" y="165"/>
                      <a:pt x="1321" y="176"/>
                      <a:pt x="1357" y="198"/>
                    </a:cubicBezTo>
                    <a:cubicBezTo>
                      <a:pt x="1394" y="220"/>
                      <a:pt x="1422" y="251"/>
                      <a:pt x="1442" y="291"/>
                    </a:cubicBezTo>
                    <a:cubicBezTo>
                      <a:pt x="1462" y="330"/>
                      <a:pt x="1472" y="376"/>
                      <a:pt x="1472" y="427"/>
                    </a:cubicBezTo>
                    <a:close/>
                    <a:moveTo>
                      <a:pt x="1408" y="435"/>
                    </a:moveTo>
                    <a:cubicBezTo>
                      <a:pt x="1408" y="367"/>
                      <a:pt x="1392" y="314"/>
                      <a:pt x="1361" y="276"/>
                    </a:cubicBezTo>
                    <a:cubicBezTo>
                      <a:pt x="1329" y="239"/>
                      <a:pt x="1285" y="220"/>
                      <a:pt x="1229" y="220"/>
                    </a:cubicBezTo>
                    <a:cubicBezTo>
                      <a:pt x="1193" y="220"/>
                      <a:pt x="1161" y="229"/>
                      <a:pt x="1133" y="247"/>
                    </a:cubicBezTo>
                    <a:cubicBezTo>
                      <a:pt x="1105" y="265"/>
                      <a:pt x="1084" y="290"/>
                      <a:pt x="1068" y="323"/>
                    </a:cubicBezTo>
                    <a:cubicBezTo>
                      <a:pt x="1053" y="356"/>
                      <a:pt x="1045" y="393"/>
                      <a:pt x="1045" y="434"/>
                    </a:cubicBezTo>
                    <a:cubicBezTo>
                      <a:pt x="1045" y="475"/>
                      <a:pt x="1052" y="512"/>
                      <a:pt x="1067" y="545"/>
                    </a:cubicBezTo>
                    <a:cubicBezTo>
                      <a:pt x="1082" y="577"/>
                      <a:pt x="1103" y="602"/>
                      <a:pt x="1131" y="620"/>
                    </a:cubicBezTo>
                    <a:cubicBezTo>
                      <a:pt x="1158" y="638"/>
                      <a:pt x="1189" y="646"/>
                      <a:pt x="1224" y="646"/>
                    </a:cubicBezTo>
                    <a:cubicBezTo>
                      <a:pt x="1282" y="646"/>
                      <a:pt x="1327" y="628"/>
                      <a:pt x="1359" y="590"/>
                    </a:cubicBezTo>
                    <a:cubicBezTo>
                      <a:pt x="1392" y="552"/>
                      <a:pt x="1408" y="501"/>
                      <a:pt x="1408" y="435"/>
                    </a:cubicBezTo>
                    <a:close/>
                    <a:moveTo>
                      <a:pt x="1734" y="196"/>
                    </a:moveTo>
                    <a:cubicBezTo>
                      <a:pt x="1722" y="190"/>
                      <a:pt x="1709" y="186"/>
                      <a:pt x="1695" y="186"/>
                    </a:cubicBezTo>
                    <a:cubicBezTo>
                      <a:pt x="1653" y="186"/>
                      <a:pt x="1632" y="213"/>
                      <a:pt x="1632" y="265"/>
                    </a:cubicBezTo>
                    <a:cubicBezTo>
                      <a:pt x="1632" y="322"/>
                      <a:pt x="1632" y="322"/>
                      <a:pt x="1632" y="322"/>
                    </a:cubicBezTo>
                    <a:cubicBezTo>
                      <a:pt x="1719" y="322"/>
                      <a:pt x="1719" y="322"/>
                      <a:pt x="1719" y="322"/>
                    </a:cubicBezTo>
                    <a:cubicBezTo>
                      <a:pt x="1719" y="372"/>
                      <a:pt x="1719" y="372"/>
                      <a:pt x="1719" y="372"/>
                    </a:cubicBezTo>
                    <a:cubicBezTo>
                      <a:pt x="1632" y="372"/>
                      <a:pt x="1632" y="372"/>
                      <a:pt x="1632" y="372"/>
                    </a:cubicBezTo>
                    <a:cubicBezTo>
                      <a:pt x="1632" y="692"/>
                      <a:pt x="1632" y="692"/>
                      <a:pt x="1632" y="692"/>
                    </a:cubicBezTo>
                    <a:cubicBezTo>
                      <a:pt x="1573" y="692"/>
                      <a:pt x="1573" y="692"/>
                      <a:pt x="1573" y="692"/>
                    </a:cubicBezTo>
                    <a:cubicBezTo>
                      <a:pt x="1573" y="372"/>
                      <a:pt x="1573" y="372"/>
                      <a:pt x="1573" y="372"/>
                    </a:cubicBezTo>
                    <a:cubicBezTo>
                      <a:pt x="1510" y="372"/>
                      <a:pt x="1510" y="372"/>
                      <a:pt x="1510" y="372"/>
                    </a:cubicBezTo>
                    <a:cubicBezTo>
                      <a:pt x="1510" y="322"/>
                      <a:pt x="1510" y="322"/>
                      <a:pt x="1510" y="322"/>
                    </a:cubicBezTo>
                    <a:cubicBezTo>
                      <a:pt x="1573" y="322"/>
                      <a:pt x="1573" y="322"/>
                      <a:pt x="1573" y="322"/>
                    </a:cubicBezTo>
                    <a:cubicBezTo>
                      <a:pt x="1573" y="262"/>
                      <a:pt x="1573" y="262"/>
                      <a:pt x="1573" y="262"/>
                    </a:cubicBezTo>
                    <a:cubicBezTo>
                      <a:pt x="1573" y="224"/>
                      <a:pt x="1584" y="194"/>
                      <a:pt x="1606" y="171"/>
                    </a:cubicBezTo>
                    <a:cubicBezTo>
                      <a:pt x="1629" y="148"/>
                      <a:pt x="1657" y="136"/>
                      <a:pt x="1691" y="136"/>
                    </a:cubicBezTo>
                    <a:cubicBezTo>
                      <a:pt x="1709" y="136"/>
                      <a:pt x="1723" y="138"/>
                      <a:pt x="1734" y="143"/>
                    </a:cubicBezTo>
                    <a:lnTo>
                      <a:pt x="1734" y="196"/>
                    </a:lnTo>
                    <a:close/>
                    <a:moveTo>
                      <a:pt x="1938" y="196"/>
                    </a:moveTo>
                    <a:cubicBezTo>
                      <a:pt x="1926" y="190"/>
                      <a:pt x="1913" y="186"/>
                      <a:pt x="1898" y="186"/>
                    </a:cubicBezTo>
                    <a:cubicBezTo>
                      <a:pt x="1857" y="186"/>
                      <a:pt x="1836" y="213"/>
                      <a:pt x="1836" y="265"/>
                    </a:cubicBezTo>
                    <a:cubicBezTo>
                      <a:pt x="1836" y="322"/>
                      <a:pt x="1836" y="322"/>
                      <a:pt x="1836" y="322"/>
                    </a:cubicBezTo>
                    <a:cubicBezTo>
                      <a:pt x="1923" y="322"/>
                      <a:pt x="1923" y="322"/>
                      <a:pt x="1923" y="322"/>
                    </a:cubicBezTo>
                    <a:cubicBezTo>
                      <a:pt x="1923" y="372"/>
                      <a:pt x="1923" y="372"/>
                      <a:pt x="1923" y="372"/>
                    </a:cubicBezTo>
                    <a:cubicBezTo>
                      <a:pt x="1836" y="372"/>
                      <a:pt x="1836" y="372"/>
                      <a:pt x="1836" y="372"/>
                    </a:cubicBezTo>
                    <a:cubicBezTo>
                      <a:pt x="1836" y="692"/>
                      <a:pt x="1836" y="692"/>
                      <a:pt x="1836" y="692"/>
                    </a:cubicBezTo>
                    <a:cubicBezTo>
                      <a:pt x="1777" y="692"/>
                      <a:pt x="1777" y="692"/>
                      <a:pt x="1777" y="692"/>
                    </a:cubicBezTo>
                    <a:cubicBezTo>
                      <a:pt x="1777" y="372"/>
                      <a:pt x="1777" y="372"/>
                      <a:pt x="1777" y="372"/>
                    </a:cubicBezTo>
                    <a:cubicBezTo>
                      <a:pt x="1714" y="372"/>
                      <a:pt x="1714" y="372"/>
                      <a:pt x="1714" y="372"/>
                    </a:cubicBezTo>
                    <a:cubicBezTo>
                      <a:pt x="1714" y="322"/>
                      <a:pt x="1714" y="322"/>
                      <a:pt x="1714" y="322"/>
                    </a:cubicBezTo>
                    <a:cubicBezTo>
                      <a:pt x="1777" y="322"/>
                      <a:pt x="1777" y="322"/>
                      <a:pt x="1777" y="322"/>
                    </a:cubicBezTo>
                    <a:cubicBezTo>
                      <a:pt x="1777" y="262"/>
                      <a:pt x="1777" y="262"/>
                      <a:pt x="1777" y="262"/>
                    </a:cubicBezTo>
                    <a:cubicBezTo>
                      <a:pt x="1777" y="224"/>
                      <a:pt x="1788" y="194"/>
                      <a:pt x="1810" y="171"/>
                    </a:cubicBezTo>
                    <a:cubicBezTo>
                      <a:pt x="1832" y="148"/>
                      <a:pt x="1861" y="136"/>
                      <a:pt x="1895" y="136"/>
                    </a:cubicBezTo>
                    <a:cubicBezTo>
                      <a:pt x="1913" y="136"/>
                      <a:pt x="1927" y="138"/>
                      <a:pt x="1938" y="143"/>
                    </a:cubicBezTo>
                    <a:lnTo>
                      <a:pt x="1938" y="196"/>
                    </a:lnTo>
                    <a:close/>
                    <a:moveTo>
                      <a:pt x="2047" y="189"/>
                    </a:moveTo>
                    <a:cubicBezTo>
                      <a:pt x="2047" y="200"/>
                      <a:pt x="2043" y="210"/>
                      <a:pt x="2036" y="217"/>
                    </a:cubicBezTo>
                    <a:cubicBezTo>
                      <a:pt x="2028" y="224"/>
                      <a:pt x="2019" y="228"/>
                      <a:pt x="2008" y="228"/>
                    </a:cubicBezTo>
                    <a:cubicBezTo>
                      <a:pt x="1997" y="228"/>
                      <a:pt x="1988" y="224"/>
                      <a:pt x="1981" y="217"/>
                    </a:cubicBezTo>
                    <a:cubicBezTo>
                      <a:pt x="1973" y="210"/>
                      <a:pt x="1970" y="201"/>
                      <a:pt x="1970" y="189"/>
                    </a:cubicBezTo>
                    <a:cubicBezTo>
                      <a:pt x="1970" y="179"/>
                      <a:pt x="1973" y="170"/>
                      <a:pt x="1981" y="162"/>
                    </a:cubicBezTo>
                    <a:cubicBezTo>
                      <a:pt x="1988" y="155"/>
                      <a:pt x="1997" y="151"/>
                      <a:pt x="2008" y="151"/>
                    </a:cubicBezTo>
                    <a:cubicBezTo>
                      <a:pt x="2019" y="151"/>
                      <a:pt x="2029" y="155"/>
                      <a:pt x="2036" y="162"/>
                    </a:cubicBezTo>
                    <a:cubicBezTo>
                      <a:pt x="2044" y="170"/>
                      <a:pt x="2047" y="179"/>
                      <a:pt x="2047" y="189"/>
                    </a:cubicBezTo>
                    <a:close/>
                    <a:moveTo>
                      <a:pt x="2037" y="692"/>
                    </a:moveTo>
                    <a:cubicBezTo>
                      <a:pt x="1978" y="692"/>
                      <a:pt x="1978" y="692"/>
                      <a:pt x="1978" y="692"/>
                    </a:cubicBezTo>
                    <a:cubicBezTo>
                      <a:pt x="1978" y="322"/>
                      <a:pt x="1978" y="322"/>
                      <a:pt x="1978" y="322"/>
                    </a:cubicBezTo>
                    <a:cubicBezTo>
                      <a:pt x="2037" y="322"/>
                      <a:pt x="2037" y="322"/>
                      <a:pt x="2037" y="322"/>
                    </a:cubicBezTo>
                    <a:lnTo>
                      <a:pt x="2037" y="692"/>
                    </a:lnTo>
                    <a:close/>
                    <a:moveTo>
                      <a:pt x="2376" y="675"/>
                    </a:moveTo>
                    <a:cubicBezTo>
                      <a:pt x="2347" y="693"/>
                      <a:pt x="2313" y="701"/>
                      <a:pt x="2274" y="701"/>
                    </a:cubicBezTo>
                    <a:cubicBezTo>
                      <a:pt x="2240" y="701"/>
                      <a:pt x="2210" y="694"/>
                      <a:pt x="2183" y="678"/>
                    </a:cubicBezTo>
                    <a:cubicBezTo>
                      <a:pt x="2156" y="663"/>
                      <a:pt x="2135" y="641"/>
                      <a:pt x="2120" y="612"/>
                    </a:cubicBezTo>
                    <a:cubicBezTo>
                      <a:pt x="2105" y="584"/>
                      <a:pt x="2098" y="552"/>
                      <a:pt x="2098" y="516"/>
                    </a:cubicBezTo>
                    <a:cubicBezTo>
                      <a:pt x="2098" y="455"/>
                      <a:pt x="2116" y="406"/>
                      <a:pt x="2151" y="369"/>
                    </a:cubicBezTo>
                    <a:cubicBezTo>
                      <a:pt x="2186" y="332"/>
                      <a:pt x="2232" y="313"/>
                      <a:pt x="2291" y="313"/>
                    </a:cubicBezTo>
                    <a:cubicBezTo>
                      <a:pt x="2323" y="313"/>
                      <a:pt x="2352" y="319"/>
                      <a:pt x="2376" y="332"/>
                    </a:cubicBezTo>
                    <a:cubicBezTo>
                      <a:pt x="2376" y="393"/>
                      <a:pt x="2376" y="393"/>
                      <a:pt x="2376" y="393"/>
                    </a:cubicBezTo>
                    <a:cubicBezTo>
                      <a:pt x="2349" y="373"/>
                      <a:pt x="2319" y="364"/>
                      <a:pt x="2288" y="364"/>
                    </a:cubicBezTo>
                    <a:cubicBezTo>
                      <a:pt x="2250" y="364"/>
                      <a:pt x="2219" y="377"/>
                      <a:pt x="2195" y="405"/>
                    </a:cubicBezTo>
                    <a:cubicBezTo>
                      <a:pt x="2171" y="432"/>
                      <a:pt x="2159" y="467"/>
                      <a:pt x="2159" y="511"/>
                    </a:cubicBezTo>
                    <a:cubicBezTo>
                      <a:pt x="2159" y="554"/>
                      <a:pt x="2170" y="588"/>
                      <a:pt x="2193" y="613"/>
                    </a:cubicBezTo>
                    <a:cubicBezTo>
                      <a:pt x="2216" y="638"/>
                      <a:pt x="2246" y="651"/>
                      <a:pt x="2285" y="651"/>
                    </a:cubicBezTo>
                    <a:cubicBezTo>
                      <a:pt x="2317" y="651"/>
                      <a:pt x="2347" y="640"/>
                      <a:pt x="2376" y="619"/>
                    </a:cubicBezTo>
                    <a:lnTo>
                      <a:pt x="2376" y="675"/>
                    </a:lnTo>
                    <a:close/>
                    <a:moveTo>
                      <a:pt x="2741" y="522"/>
                    </a:moveTo>
                    <a:cubicBezTo>
                      <a:pt x="2480" y="522"/>
                      <a:pt x="2480" y="522"/>
                      <a:pt x="2480" y="522"/>
                    </a:cubicBezTo>
                    <a:cubicBezTo>
                      <a:pt x="2480" y="564"/>
                      <a:pt x="2492" y="596"/>
                      <a:pt x="2513" y="618"/>
                    </a:cubicBezTo>
                    <a:cubicBezTo>
                      <a:pt x="2534" y="640"/>
                      <a:pt x="2563" y="651"/>
                      <a:pt x="2600" y="651"/>
                    </a:cubicBezTo>
                    <a:cubicBezTo>
                      <a:pt x="2642" y="651"/>
                      <a:pt x="2680" y="637"/>
                      <a:pt x="2715" y="610"/>
                    </a:cubicBezTo>
                    <a:cubicBezTo>
                      <a:pt x="2715" y="666"/>
                      <a:pt x="2715" y="666"/>
                      <a:pt x="2715" y="666"/>
                    </a:cubicBezTo>
                    <a:cubicBezTo>
                      <a:pt x="2683" y="689"/>
                      <a:pt x="2640" y="701"/>
                      <a:pt x="2586" y="701"/>
                    </a:cubicBezTo>
                    <a:cubicBezTo>
                      <a:pt x="2533" y="701"/>
                      <a:pt x="2492" y="684"/>
                      <a:pt x="2463" y="650"/>
                    </a:cubicBezTo>
                    <a:cubicBezTo>
                      <a:pt x="2433" y="616"/>
                      <a:pt x="2418" y="569"/>
                      <a:pt x="2418" y="509"/>
                    </a:cubicBezTo>
                    <a:cubicBezTo>
                      <a:pt x="2418" y="472"/>
                      <a:pt x="2425" y="439"/>
                      <a:pt x="2440" y="408"/>
                    </a:cubicBezTo>
                    <a:cubicBezTo>
                      <a:pt x="2455" y="378"/>
                      <a:pt x="2476" y="355"/>
                      <a:pt x="2502" y="338"/>
                    </a:cubicBezTo>
                    <a:cubicBezTo>
                      <a:pt x="2528" y="321"/>
                      <a:pt x="2557" y="313"/>
                      <a:pt x="2588" y="313"/>
                    </a:cubicBezTo>
                    <a:cubicBezTo>
                      <a:pt x="2636" y="313"/>
                      <a:pt x="2674" y="329"/>
                      <a:pt x="2701" y="360"/>
                    </a:cubicBezTo>
                    <a:cubicBezTo>
                      <a:pt x="2728" y="391"/>
                      <a:pt x="2741" y="435"/>
                      <a:pt x="2741" y="491"/>
                    </a:cubicBezTo>
                    <a:lnTo>
                      <a:pt x="2741" y="522"/>
                    </a:lnTo>
                    <a:close/>
                    <a:moveTo>
                      <a:pt x="2680" y="472"/>
                    </a:moveTo>
                    <a:cubicBezTo>
                      <a:pt x="2680" y="438"/>
                      <a:pt x="2672" y="411"/>
                      <a:pt x="2655" y="392"/>
                    </a:cubicBezTo>
                    <a:cubicBezTo>
                      <a:pt x="2639" y="373"/>
                      <a:pt x="2617" y="364"/>
                      <a:pt x="2588" y="364"/>
                    </a:cubicBezTo>
                    <a:cubicBezTo>
                      <a:pt x="2560" y="364"/>
                      <a:pt x="2537" y="374"/>
                      <a:pt x="2517" y="393"/>
                    </a:cubicBezTo>
                    <a:cubicBezTo>
                      <a:pt x="2498" y="413"/>
                      <a:pt x="2485" y="439"/>
                      <a:pt x="2480" y="472"/>
                    </a:cubicBezTo>
                    <a:lnTo>
                      <a:pt x="2680" y="472"/>
                    </a:lnTo>
                    <a:close/>
                    <a:moveTo>
                      <a:pt x="721" y="793"/>
                    </a:moveTo>
                    <a:cubicBezTo>
                      <a:pt x="721" y="793"/>
                      <a:pt x="721" y="793"/>
                      <a:pt x="721" y="793"/>
                    </a:cubicBezTo>
                    <a:cubicBezTo>
                      <a:pt x="721" y="74"/>
                      <a:pt x="721" y="74"/>
                      <a:pt x="721" y="74"/>
                    </a:cubicBezTo>
                    <a:cubicBezTo>
                      <a:pt x="464" y="0"/>
                      <a:pt x="464" y="0"/>
                      <a:pt x="464" y="0"/>
                    </a:cubicBezTo>
                    <a:cubicBezTo>
                      <a:pt x="1" y="174"/>
                      <a:pt x="1" y="174"/>
                      <a:pt x="1" y="174"/>
                    </a:cubicBezTo>
                    <a:cubicBezTo>
                      <a:pt x="0" y="174"/>
                      <a:pt x="0" y="174"/>
                      <a:pt x="0" y="174"/>
                    </a:cubicBezTo>
                    <a:cubicBezTo>
                      <a:pt x="0" y="694"/>
                      <a:pt x="0" y="694"/>
                      <a:pt x="0" y="694"/>
                    </a:cubicBezTo>
                    <a:cubicBezTo>
                      <a:pt x="158" y="632"/>
                      <a:pt x="158" y="632"/>
                      <a:pt x="158" y="632"/>
                    </a:cubicBezTo>
                    <a:cubicBezTo>
                      <a:pt x="158" y="209"/>
                      <a:pt x="158" y="209"/>
                      <a:pt x="158" y="209"/>
                    </a:cubicBezTo>
                    <a:cubicBezTo>
                      <a:pt x="464" y="136"/>
                      <a:pt x="464" y="136"/>
                      <a:pt x="464" y="136"/>
                    </a:cubicBezTo>
                    <a:cubicBezTo>
                      <a:pt x="464" y="758"/>
                      <a:pt x="464" y="758"/>
                      <a:pt x="464" y="758"/>
                    </a:cubicBezTo>
                    <a:cubicBezTo>
                      <a:pt x="0" y="694"/>
                      <a:pt x="0" y="694"/>
                      <a:pt x="0" y="694"/>
                    </a:cubicBezTo>
                    <a:cubicBezTo>
                      <a:pt x="464" y="865"/>
                      <a:pt x="464" y="865"/>
                      <a:pt x="464" y="865"/>
                    </a:cubicBezTo>
                    <a:cubicBezTo>
                      <a:pt x="464" y="865"/>
                      <a:pt x="464" y="865"/>
                      <a:pt x="464" y="865"/>
                    </a:cubicBezTo>
                    <a:cubicBezTo>
                      <a:pt x="721" y="794"/>
                      <a:pt x="721" y="794"/>
                      <a:pt x="721" y="794"/>
                    </a:cubicBezTo>
                    <a:cubicBezTo>
                      <a:pt x="721" y="793"/>
                      <a:pt x="721" y="793"/>
                      <a:pt x="721" y="793"/>
                    </a:cubicBezTo>
                    <a:close/>
                  </a:path>
                </a:pathLst>
              </a:custGeom>
              <a:solidFill>
                <a:schemeClr val="tx1"/>
              </a:solidFill>
              <a:ln>
                <a:noFill/>
              </a:ln>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nvGrpSpPr>
            <p:cNvPr id="368" name="Group 299"/>
            <p:cNvGrpSpPr>
              <a:grpSpLocks noChangeAspect="1"/>
            </p:cNvGrpSpPr>
            <p:nvPr/>
          </p:nvGrpSpPr>
          <p:grpSpPr bwMode="auto">
            <a:xfrm>
              <a:off x="292100" y="1517955"/>
              <a:ext cx="1885896" cy="1015695"/>
              <a:chOff x="-158" y="615"/>
              <a:chExt cx="2048" cy="1103"/>
            </a:xfrm>
          </p:grpSpPr>
          <p:sp>
            <p:nvSpPr>
              <p:cNvPr id="369" name="Freeform 300"/>
              <p:cNvSpPr>
                <a:spLocks/>
              </p:cNvSpPr>
              <p:nvPr/>
            </p:nvSpPr>
            <p:spPr bwMode="auto">
              <a:xfrm>
                <a:off x="102" y="615"/>
                <a:ext cx="1532" cy="984"/>
              </a:xfrm>
              <a:custGeom>
                <a:avLst/>
                <a:gdLst>
                  <a:gd name="T0" fmla="*/ 625 w 646"/>
                  <a:gd name="T1" fmla="*/ 0 h 414"/>
                  <a:gd name="T2" fmla="*/ 22 w 646"/>
                  <a:gd name="T3" fmla="*/ 0 h 414"/>
                  <a:gd name="T4" fmla="*/ 0 w 646"/>
                  <a:gd name="T5" fmla="*/ 22 h 414"/>
                  <a:gd name="T6" fmla="*/ 0 w 646"/>
                  <a:gd name="T7" fmla="*/ 393 h 414"/>
                  <a:gd name="T8" fmla="*/ 22 w 646"/>
                  <a:gd name="T9" fmla="*/ 414 h 414"/>
                  <a:gd name="T10" fmla="*/ 625 w 646"/>
                  <a:gd name="T11" fmla="*/ 414 h 414"/>
                  <a:gd name="T12" fmla="*/ 646 w 646"/>
                  <a:gd name="T13" fmla="*/ 393 h 414"/>
                  <a:gd name="T14" fmla="*/ 646 w 646"/>
                  <a:gd name="T15" fmla="*/ 22 h 414"/>
                  <a:gd name="T16" fmla="*/ 625 w 646"/>
                  <a:gd name="T17" fmla="*/ 0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6" h="414">
                    <a:moveTo>
                      <a:pt x="625" y="0"/>
                    </a:moveTo>
                    <a:cubicBezTo>
                      <a:pt x="22" y="0"/>
                      <a:pt x="22" y="0"/>
                      <a:pt x="22" y="0"/>
                    </a:cubicBezTo>
                    <a:cubicBezTo>
                      <a:pt x="11" y="0"/>
                      <a:pt x="0" y="9"/>
                      <a:pt x="0" y="22"/>
                    </a:cubicBezTo>
                    <a:cubicBezTo>
                      <a:pt x="0" y="393"/>
                      <a:pt x="0" y="393"/>
                      <a:pt x="0" y="393"/>
                    </a:cubicBezTo>
                    <a:cubicBezTo>
                      <a:pt x="0" y="406"/>
                      <a:pt x="11" y="414"/>
                      <a:pt x="22" y="414"/>
                    </a:cubicBezTo>
                    <a:cubicBezTo>
                      <a:pt x="625" y="414"/>
                      <a:pt x="625" y="414"/>
                      <a:pt x="625" y="414"/>
                    </a:cubicBezTo>
                    <a:cubicBezTo>
                      <a:pt x="638" y="414"/>
                      <a:pt x="646" y="406"/>
                      <a:pt x="646" y="393"/>
                    </a:cubicBezTo>
                    <a:cubicBezTo>
                      <a:pt x="646" y="22"/>
                      <a:pt x="646" y="22"/>
                      <a:pt x="646" y="22"/>
                    </a:cubicBezTo>
                    <a:cubicBezTo>
                      <a:pt x="646" y="9"/>
                      <a:pt x="638" y="0"/>
                      <a:pt x="625"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70" name="Freeform 301"/>
              <p:cNvSpPr>
                <a:spLocks/>
              </p:cNvSpPr>
              <p:nvPr/>
            </p:nvSpPr>
            <p:spPr bwMode="auto">
              <a:xfrm>
                <a:off x="169" y="672"/>
                <a:ext cx="1398" cy="865"/>
              </a:xfrm>
              <a:custGeom>
                <a:avLst/>
                <a:gdLst>
                  <a:gd name="T0" fmla="*/ 590 w 590"/>
                  <a:gd name="T1" fmla="*/ 364 h 364"/>
                  <a:gd name="T2" fmla="*/ 0 w 590"/>
                  <a:gd name="T3" fmla="*/ 364 h 364"/>
                  <a:gd name="T4" fmla="*/ 0 w 590"/>
                  <a:gd name="T5" fmla="*/ 0 h 364"/>
                  <a:gd name="T6" fmla="*/ 590 w 590"/>
                  <a:gd name="T7" fmla="*/ 0 h 364"/>
                  <a:gd name="T8" fmla="*/ 590 w 590"/>
                  <a:gd name="T9" fmla="*/ 364 h 364"/>
                </a:gdLst>
                <a:ahLst/>
                <a:cxnLst>
                  <a:cxn ang="0">
                    <a:pos x="T0" y="T1"/>
                  </a:cxn>
                  <a:cxn ang="0">
                    <a:pos x="T2" y="T3"/>
                  </a:cxn>
                  <a:cxn ang="0">
                    <a:pos x="T4" y="T5"/>
                  </a:cxn>
                  <a:cxn ang="0">
                    <a:pos x="T6" y="T7"/>
                  </a:cxn>
                  <a:cxn ang="0">
                    <a:pos x="T8" y="T9"/>
                  </a:cxn>
                </a:cxnLst>
                <a:rect l="0" t="0" r="r" b="b"/>
                <a:pathLst>
                  <a:path w="590" h="364">
                    <a:moveTo>
                      <a:pt x="590" y="364"/>
                    </a:moveTo>
                    <a:cubicBezTo>
                      <a:pt x="0" y="364"/>
                      <a:pt x="0" y="364"/>
                      <a:pt x="0" y="364"/>
                    </a:cubicBezTo>
                    <a:cubicBezTo>
                      <a:pt x="0" y="0"/>
                      <a:pt x="0" y="0"/>
                      <a:pt x="0" y="0"/>
                    </a:cubicBezTo>
                    <a:cubicBezTo>
                      <a:pt x="590" y="0"/>
                      <a:pt x="590" y="0"/>
                      <a:pt x="590" y="0"/>
                    </a:cubicBezTo>
                    <a:cubicBezTo>
                      <a:pt x="590" y="364"/>
                      <a:pt x="590" y="364"/>
                      <a:pt x="590" y="364"/>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71" name="Freeform 302"/>
              <p:cNvSpPr>
                <a:spLocks/>
              </p:cNvSpPr>
              <p:nvPr/>
            </p:nvSpPr>
            <p:spPr bwMode="auto">
              <a:xfrm>
                <a:off x="-158" y="1637"/>
                <a:ext cx="2048" cy="81"/>
              </a:xfrm>
              <a:custGeom>
                <a:avLst/>
                <a:gdLst>
                  <a:gd name="T0" fmla="*/ 493 w 864"/>
                  <a:gd name="T1" fmla="*/ 0 h 34"/>
                  <a:gd name="T2" fmla="*/ 493 w 864"/>
                  <a:gd name="T3" fmla="*/ 4 h 34"/>
                  <a:gd name="T4" fmla="*/ 484 w 864"/>
                  <a:gd name="T5" fmla="*/ 10 h 34"/>
                  <a:gd name="T6" fmla="*/ 383 w 864"/>
                  <a:gd name="T7" fmla="*/ 10 h 34"/>
                  <a:gd name="T8" fmla="*/ 374 w 864"/>
                  <a:gd name="T9" fmla="*/ 4 h 34"/>
                  <a:gd name="T10" fmla="*/ 374 w 864"/>
                  <a:gd name="T11" fmla="*/ 0 h 34"/>
                  <a:gd name="T12" fmla="*/ 0 w 864"/>
                  <a:gd name="T13" fmla="*/ 0 h 34"/>
                  <a:gd name="T14" fmla="*/ 0 w 864"/>
                  <a:gd name="T15" fmla="*/ 21 h 34"/>
                  <a:gd name="T16" fmla="*/ 28 w 864"/>
                  <a:gd name="T17" fmla="*/ 34 h 34"/>
                  <a:gd name="T18" fmla="*/ 836 w 864"/>
                  <a:gd name="T19" fmla="*/ 34 h 34"/>
                  <a:gd name="T20" fmla="*/ 864 w 864"/>
                  <a:gd name="T21" fmla="*/ 21 h 34"/>
                  <a:gd name="T22" fmla="*/ 864 w 864"/>
                  <a:gd name="T23" fmla="*/ 0 h 34"/>
                  <a:gd name="T24" fmla="*/ 493 w 864"/>
                  <a:gd name="T25"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4" h="34">
                    <a:moveTo>
                      <a:pt x="493" y="0"/>
                    </a:moveTo>
                    <a:cubicBezTo>
                      <a:pt x="493" y="4"/>
                      <a:pt x="493" y="4"/>
                      <a:pt x="493" y="4"/>
                    </a:cubicBezTo>
                    <a:cubicBezTo>
                      <a:pt x="493" y="8"/>
                      <a:pt x="488" y="10"/>
                      <a:pt x="484" y="10"/>
                    </a:cubicBezTo>
                    <a:cubicBezTo>
                      <a:pt x="383" y="10"/>
                      <a:pt x="383" y="10"/>
                      <a:pt x="383" y="10"/>
                    </a:cubicBezTo>
                    <a:cubicBezTo>
                      <a:pt x="378" y="10"/>
                      <a:pt x="374" y="8"/>
                      <a:pt x="374" y="4"/>
                    </a:cubicBezTo>
                    <a:cubicBezTo>
                      <a:pt x="374" y="0"/>
                      <a:pt x="374" y="0"/>
                      <a:pt x="374" y="0"/>
                    </a:cubicBezTo>
                    <a:cubicBezTo>
                      <a:pt x="0" y="0"/>
                      <a:pt x="0" y="0"/>
                      <a:pt x="0" y="0"/>
                    </a:cubicBezTo>
                    <a:cubicBezTo>
                      <a:pt x="0" y="21"/>
                      <a:pt x="0" y="21"/>
                      <a:pt x="0" y="21"/>
                    </a:cubicBezTo>
                    <a:cubicBezTo>
                      <a:pt x="0" y="21"/>
                      <a:pt x="20" y="34"/>
                      <a:pt x="28" y="34"/>
                    </a:cubicBezTo>
                    <a:cubicBezTo>
                      <a:pt x="836" y="34"/>
                      <a:pt x="836" y="34"/>
                      <a:pt x="836" y="34"/>
                    </a:cubicBezTo>
                    <a:cubicBezTo>
                      <a:pt x="845" y="34"/>
                      <a:pt x="864" y="21"/>
                      <a:pt x="864" y="21"/>
                    </a:cubicBezTo>
                    <a:cubicBezTo>
                      <a:pt x="864" y="0"/>
                      <a:pt x="864" y="0"/>
                      <a:pt x="864" y="0"/>
                    </a:cubicBezTo>
                    <a:lnTo>
                      <a:pt x="49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72" name="Rectangle 303"/>
              <p:cNvSpPr>
                <a:spLocks noChangeArrowheads="1"/>
              </p:cNvSpPr>
              <p:nvPr/>
            </p:nvSpPr>
            <p:spPr bwMode="auto">
              <a:xfrm>
                <a:off x="169" y="672"/>
                <a:ext cx="1398" cy="86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73" name="Rectangle 304"/>
              <p:cNvSpPr>
                <a:spLocks noChangeArrowheads="1"/>
              </p:cNvSpPr>
              <p:nvPr/>
            </p:nvSpPr>
            <p:spPr bwMode="auto">
              <a:xfrm>
                <a:off x="169" y="672"/>
                <a:ext cx="1398" cy="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74" name="Rectangle 305"/>
              <p:cNvSpPr>
                <a:spLocks noChangeArrowheads="1"/>
              </p:cNvSpPr>
              <p:nvPr/>
            </p:nvSpPr>
            <p:spPr bwMode="auto">
              <a:xfrm>
                <a:off x="240" y="753"/>
                <a:ext cx="1251" cy="15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75" name="Rectangle 306"/>
              <p:cNvSpPr>
                <a:spLocks noChangeArrowheads="1"/>
              </p:cNvSpPr>
              <p:nvPr/>
            </p:nvSpPr>
            <p:spPr bwMode="auto">
              <a:xfrm>
                <a:off x="287" y="793"/>
                <a:ext cx="621" cy="79"/>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76" name="Rectangle 307"/>
              <p:cNvSpPr>
                <a:spLocks noChangeArrowheads="1"/>
              </p:cNvSpPr>
              <p:nvPr/>
            </p:nvSpPr>
            <p:spPr bwMode="auto">
              <a:xfrm>
                <a:off x="1245" y="812"/>
                <a:ext cx="199" cy="4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77" name="Rectangle 308"/>
              <p:cNvSpPr>
                <a:spLocks noChangeArrowheads="1"/>
              </p:cNvSpPr>
              <p:nvPr/>
            </p:nvSpPr>
            <p:spPr bwMode="auto">
              <a:xfrm>
                <a:off x="240" y="995"/>
                <a:ext cx="1251" cy="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78" name="Rectangle 309"/>
              <p:cNvSpPr>
                <a:spLocks noChangeArrowheads="1"/>
              </p:cNvSpPr>
              <p:nvPr/>
            </p:nvSpPr>
            <p:spPr bwMode="auto">
              <a:xfrm>
                <a:off x="240" y="995"/>
                <a:ext cx="1251" cy="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79" name="Rectangle 310"/>
              <p:cNvSpPr>
                <a:spLocks noChangeArrowheads="1"/>
              </p:cNvSpPr>
              <p:nvPr/>
            </p:nvSpPr>
            <p:spPr bwMode="auto">
              <a:xfrm>
                <a:off x="240" y="1112"/>
                <a:ext cx="1251" cy="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80" name="Rectangle 311"/>
              <p:cNvSpPr>
                <a:spLocks noChangeArrowheads="1"/>
              </p:cNvSpPr>
              <p:nvPr/>
            </p:nvSpPr>
            <p:spPr bwMode="auto">
              <a:xfrm>
                <a:off x="240" y="1112"/>
                <a:ext cx="1251" cy="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81" name="Rectangle 312"/>
              <p:cNvSpPr>
                <a:spLocks noChangeArrowheads="1"/>
              </p:cNvSpPr>
              <p:nvPr/>
            </p:nvSpPr>
            <p:spPr bwMode="auto">
              <a:xfrm>
                <a:off x="240" y="1226"/>
                <a:ext cx="1251" cy="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82" name="Rectangle 313"/>
              <p:cNvSpPr>
                <a:spLocks noChangeArrowheads="1"/>
              </p:cNvSpPr>
              <p:nvPr/>
            </p:nvSpPr>
            <p:spPr bwMode="auto">
              <a:xfrm>
                <a:off x="240" y="1226"/>
                <a:ext cx="1251" cy="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83" name="Rectangle 314"/>
              <p:cNvSpPr>
                <a:spLocks noChangeArrowheads="1"/>
              </p:cNvSpPr>
              <p:nvPr/>
            </p:nvSpPr>
            <p:spPr bwMode="auto">
              <a:xfrm>
                <a:off x="240" y="1342"/>
                <a:ext cx="1251" cy="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84" name="Rectangle 315"/>
              <p:cNvSpPr>
                <a:spLocks noChangeArrowheads="1"/>
              </p:cNvSpPr>
              <p:nvPr/>
            </p:nvSpPr>
            <p:spPr bwMode="auto">
              <a:xfrm>
                <a:off x="240" y="1342"/>
                <a:ext cx="1251" cy="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85" name="Rectangle 316"/>
              <p:cNvSpPr>
                <a:spLocks noChangeArrowheads="1"/>
              </p:cNvSpPr>
              <p:nvPr/>
            </p:nvSpPr>
            <p:spPr bwMode="auto">
              <a:xfrm>
                <a:off x="240" y="1449"/>
                <a:ext cx="1251" cy="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86" name="Freeform 332"/>
              <p:cNvSpPr>
                <a:spLocks/>
              </p:cNvSpPr>
              <p:nvPr/>
            </p:nvSpPr>
            <p:spPr bwMode="auto">
              <a:xfrm>
                <a:off x="626" y="1000"/>
                <a:ext cx="5" cy="2"/>
              </a:xfrm>
              <a:custGeom>
                <a:avLst/>
                <a:gdLst>
                  <a:gd name="T0" fmla="*/ 1 w 2"/>
                  <a:gd name="T1" fmla="*/ 0 h 1"/>
                  <a:gd name="T2" fmla="*/ 0 w 2"/>
                  <a:gd name="T3" fmla="*/ 1 h 1"/>
                  <a:gd name="T4" fmla="*/ 2 w 2"/>
                  <a:gd name="T5" fmla="*/ 1 h 1"/>
                  <a:gd name="T6" fmla="*/ 1 w 2"/>
                  <a:gd name="T7" fmla="*/ 0 h 1"/>
                </a:gdLst>
                <a:ahLst/>
                <a:cxnLst>
                  <a:cxn ang="0">
                    <a:pos x="T0" y="T1"/>
                  </a:cxn>
                  <a:cxn ang="0">
                    <a:pos x="T2" y="T3"/>
                  </a:cxn>
                  <a:cxn ang="0">
                    <a:pos x="T4" y="T5"/>
                  </a:cxn>
                  <a:cxn ang="0">
                    <a:pos x="T6" y="T7"/>
                  </a:cxn>
                </a:cxnLst>
                <a:rect l="0" t="0" r="r" b="b"/>
                <a:pathLst>
                  <a:path w="2" h="1">
                    <a:moveTo>
                      <a:pt x="1" y="0"/>
                    </a:moveTo>
                    <a:cubicBezTo>
                      <a:pt x="1" y="1"/>
                      <a:pt x="1" y="1"/>
                      <a:pt x="0" y="1"/>
                    </a:cubicBezTo>
                    <a:cubicBezTo>
                      <a:pt x="2" y="1"/>
                      <a:pt x="2" y="1"/>
                      <a:pt x="2" y="1"/>
                    </a:cubicBezTo>
                    <a:cubicBezTo>
                      <a:pt x="2" y="1"/>
                      <a:pt x="1" y="1"/>
                      <a:pt x="1" y="0"/>
                    </a:cubicBezTo>
                  </a:path>
                </a:pathLst>
              </a:custGeom>
              <a:solidFill>
                <a:srgbClr val="F49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grpSp>
        <p:nvGrpSpPr>
          <p:cNvPr id="439" name="Group 438"/>
          <p:cNvGrpSpPr/>
          <p:nvPr/>
        </p:nvGrpSpPr>
        <p:grpSpPr>
          <a:xfrm>
            <a:off x="5274126" y="1289890"/>
            <a:ext cx="1790866" cy="1527380"/>
            <a:chOff x="5381285" y="1314690"/>
            <a:chExt cx="1827252" cy="1558413"/>
          </a:xfrm>
        </p:grpSpPr>
        <p:grpSp>
          <p:nvGrpSpPr>
            <p:cNvPr id="440" name="Group 439"/>
            <p:cNvGrpSpPr/>
            <p:nvPr/>
          </p:nvGrpSpPr>
          <p:grpSpPr>
            <a:xfrm>
              <a:off x="5381285" y="1533858"/>
              <a:ext cx="676616" cy="1284998"/>
              <a:chOff x="5651685" y="-476444"/>
              <a:chExt cx="1669255" cy="2809977"/>
            </a:xfrm>
          </p:grpSpPr>
          <p:sp>
            <p:nvSpPr>
              <p:cNvPr id="508" name="Rectangle 507"/>
              <p:cNvSpPr/>
              <p:nvPr/>
            </p:nvSpPr>
            <p:spPr bwMode="auto">
              <a:xfrm>
                <a:off x="6203006" y="-476444"/>
                <a:ext cx="566612" cy="17145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509" name="Freeform 508"/>
              <p:cNvSpPr/>
              <p:nvPr/>
            </p:nvSpPr>
            <p:spPr bwMode="auto">
              <a:xfrm>
                <a:off x="5651685" y="-476444"/>
                <a:ext cx="1669255" cy="2809977"/>
              </a:xfrm>
              <a:custGeom>
                <a:avLst/>
                <a:gdLst>
                  <a:gd name="connsiteX0" fmla="*/ 239948 w 1715629"/>
                  <a:gd name="connsiteY0" fmla="*/ 0 h 2809977"/>
                  <a:gd name="connsiteX1" fmla="*/ 622279 w 1715629"/>
                  <a:gd name="connsiteY1" fmla="*/ 0 h 2809977"/>
                  <a:gd name="connsiteX2" fmla="*/ 626704 w 1715629"/>
                  <a:gd name="connsiteY2" fmla="*/ 21916 h 2809977"/>
                  <a:gd name="connsiteX3" fmla="*/ 705692 w 1715629"/>
                  <a:gd name="connsiteY3" fmla="*/ 74273 h 2809977"/>
                  <a:gd name="connsiteX4" fmla="*/ 1009937 w 1715629"/>
                  <a:gd name="connsiteY4" fmla="*/ 74273 h 2809977"/>
                  <a:gd name="connsiteX5" fmla="*/ 1088926 w 1715629"/>
                  <a:gd name="connsiteY5" fmla="*/ 21916 h 2809977"/>
                  <a:gd name="connsiteX6" fmla="*/ 1093350 w 1715629"/>
                  <a:gd name="connsiteY6" fmla="*/ 0 h 2809977"/>
                  <a:gd name="connsiteX7" fmla="*/ 1475681 w 1715629"/>
                  <a:gd name="connsiteY7" fmla="*/ 0 h 2809977"/>
                  <a:gd name="connsiteX8" fmla="*/ 1715629 w 1715629"/>
                  <a:gd name="connsiteY8" fmla="*/ 239948 h 2809977"/>
                  <a:gd name="connsiteX9" fmla="*/ 1715629 w 1715629"/>
                  <a:gd name="connsiteY9" fmla="*/ 2570029 h 2809977"/>
                  <a:gd name="connsiteX10" fmla="*/ 1475681 w 1715629"/>
                  <a:gd name="connsiteY10" fmla="*/ 2809977 h 2809977"/>
                  <a:gd name="connsiteX11" fmla="*/ 239948 w 1715629"/>
                  <a:gd name="connsiteY11" fmla="*/ 2809977 h 2809977"/>
                  <a:gd name="connsiteX12" fmla="*/ 0 w 1715629"/>
                  <a:gd name="connsiteY12" fmla="*/ 2570029 h 2809977"/>
                  <a:gd name="connsiteX13" fmla="*/ 0 w 1715629"/>
                  <a:gd name="connsiteY13" fmla="*/ 239948 h 2809977"/>
                  <a:gd name="connsiteX14" fmla="*/ 239948 w 1715629"/>
                  <a:gd name="connsiteY14" fmla="*/ 0 h 2809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15629" h="2809977">
                    <a:moveTo>
                      <a:pt x="239948" y="0"/>
                    </a:moveTo>
                    <a:lnTo>
                      <a:pt x="622279" y="0"/>
                    </a:lnTo>
                    <a:lnTo>
                      <a:pt x="626704" y="21916"/>
                    </a:lnTo>
                    <a:cubicBezTo>
                      <a:pt x="639718" y="52684"/>
                      <a:pt x="670184" y="74273"/>
                      <a:pt x="705692" y="74273"/>
                    </a:cubicBezTo>
                    <a:lnTo>
                      <a:pt x="1009937" y="74273"/>
                    </a:lnTo>
                    <a:cubicBezTo>
                      <a:pt x="1045446" y="74273"/>
                      <a:pt x="1075912" y="52684"/>
                      <a:pt x="1088926" y="21916"/>
                    </a:cubicBezTo>
                    <a:lnTo>
                      <a:pt x="1093350" y="0"/>
                    </a:lnTo>
                    <a:lnTo>
                      <a:pt x="1475681" y="0"/>
                    </a:lnTo>
                    <a:cubicBezTo>
                      <a:pt x="1608201" y="0"/>
                      <a:pt x="1715629" y="107428"/>
                      <a:pt x="1715629" y="239948"/>
                    </a:cubicBezTo>
                    <a:lnTo>
                      <a:pt x="1715629" y="2570029"/>
                    </a:lnTo>
                    <a:cubicBezTo>
                      <a:pt x="1715629" y="2702549"/>
                      <a:pt x="1608201" y="2809977"/>
                      <a:pt x="1475681" y="2809977"/>
                    </a:cubicBezTo>
                    <a:lnTo>
                      <a:pt x="239948" y="2809977"/>
                    </a:lnTo>
                    <a:cubicBezTo>
                      <a:pt x="107428" y="2809977"/>
                      <a:pt x="0" y="2702549"/>
                      <a:pt x="0" y="2570029"/>
                    </a:cubicBezTo>
                    <a:lnTo>
                      <a:pt x="0" y="239948"/>
                    </a:lnTo>
                    <a:cubicBezTo>
                      <a:pt x="0" y="107428"/>
                      <a:pt x="107428" y="0"/>
                      <a:pt x="239948" y="0"/>
                    </a:cubicBezTo>
                    <a:close/>
                  </a:path>
                </a:pathLst>
              </a:cu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510" name="Rectangle 509"/>
              <p:cNvSpPr/>
              <p:nvPr/>
            </p:nvSpPr>
            <p:spPr bwMode="auto">
              <a:xfrm>
                <a:off x="5724555" y="-242769"/>
                <a:ext cx="1523513" cy="227830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511" name="Group 510"/>
              <p:cNvGrpSpPr/>
              <p:nvPr/>
            </p:nvGrpSpPr>
            <p:grpSpPr>
              <a:xfrm>
                <a:off x="6124436" y="2123612"/>
                <a:ext cx="723752" cy="98117"/>
                <a:chOff x="6147223" y="2123612"/>
                <a:chExt cx="723752" cy="98117"/>
              </a:xfrm>
            </p:grpSpPr>
            <p:sp>
              <p:nvSpPr>
                <p:cNvPr id="512" name="Rounded Rectangle 511"/>
                <p:cNvSpPr/>
                <p:nvPr/>
              </p:nvSpPr>
              <p:spPr bwMode="auto">
                <a:xfrm>
                  <a:off x="6366215" y="2123612"/>
                  <a:ext cx="285769" cy="98117"/>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513" name="Oval 512"/>
                <p:cNvSpPr/>
                <p:nvPr/>
              </p:nvSpPr>
              <p:spPr bwMode="auto">
                <a:xfrm>
                  <a:off x="6147223" y="2137745"/>
                  <a:ext cx="69850" cy="6985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514" name="Oval 513"/>
                <p:cNvSpPr/>
                <p:nvPr/>
              </p:nvSpPr>
              <p:spPr bwMode="auto">
                <a:xfrm>
                  <a:off x="6801125" y="2137745"/>
                  <a:ext cx="69850" cy="6985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441" name="Group 440"/>
            <p:cNvGrpSpPr/>
            <p:nvPr/>
          </p:nvGrpSpPr>
          <p:grpSpPr>
            <a:xfrm>
              <a:off x="6515042" y="1543701"/>
              <a:ext cx="693495" cy="1245756"/>
              <a:chOff x="6639402" y="-1425066"/>
              <a:chExt cx="675798" cy="1213966"/>
            </a:xfrm>
          </p:grpSpPr>
          <p:sp>
            <p:nvSpPr>
              <p:cNvPr id="491" name="Freeform 10"/>
              <p:cNvSpPr>
                <a:spLocks noChangeAspect="1" noEditPoints="1"/>
              </p:cNvSpPr>
              <p:nvPr/>
            </p:nvSpPr>
            <p:spPr bwMode="auto">
              <a:xfrm>
                <a:off x="6639402" y="-1425066"/>
                <a:ext cx="675798" cy="1213966"/>
              </a:xfrm>
              <a:custGeom>
                <a:avLst/>
                <a:gdLst>
                  <a:gd name="T0" fmla="*/ 148 w 159"/>
                  <a:gd name="T1" fmla="*/ 0 h 288"/>
                  <a:gd name="T2" fmla="*/ 11 w 159"/>
                  <a:gd name="T3" fmla="*/ 0 h 288"/>
                  <a:gd name="T4" fmla="*/ 0 w 159"/>
                  <a:gd name="T5" fmla="*/ 10 h 288"/>
                  <a:gd name="T6" fmla="*/ 0 w 159"/>
                  <a:gd name="T7" fmla="*/ 278 h 288"/>
                  <a:gd name="T8" fmla="*/ 11 w 159"/>
                  <a:gd name="T9" fmla="*/ 288 h 288"/>
                  <a:gd name="T10" fmla="*/ 148 w 159"/>
                  <a:gd name="T11" fmla="*/ 288 h 288"/>
                  <a:gd name="T12" fmla="*/ 159 w 159"/>
                  <a:gd name="T13" fmla="*/ 278 h 288"/>
                  <a:gd name="T14" fmla="*/ 159 w 159"/>
                  <a:gd name="T15" fmla="*/ 10 h 288"/>
                  <a:gd name="T16" fmla="*/ 148 w 159"/>
                  <a:gd name="T17" fmla="*/ 0 h 288"/>
                  <a:gd name="T18" fmla="*/ 36 w 159"/>
                  <a:gd name="T19" fmla="*/ 262 h 288"/>
                  <a:gd name="T20" fmla="*/ 30 w 159"/>
                  <a:gd name="T21" fmla="*/ 262 h 288"/>
                  <a:gd name="T22" fmla="*/ 33 w 159"/>
                  <a:gd name="T23" fmla="*/ 266 h 288"/>
                  <a:gd name="T24" fmla="*/ 32 w 159"/>
                  <a:gd name="T25" fmla="*/ 266 h 288"/>
                  <a:gd name="T26" fmla="*/ 27 w 159"/>
                  <a:gd name="T27" fmla="*/ 262 h 288"/>
                  <a:gd name="T28" fmla="*/ 32 w 159"/>
                  <a:gd name="T29" fmla="*/ 258 h 288"/>
                  <a:gd name="T30" fmla="*/ 33 w 159"/>
                  <a:gd name="T31" fmla="*/ 258 h 288"/>
                  <a:gd name="T32" fmla="*/ 30 w 159"/>
                  <a:gd name="T33" fmla="*/ 261 h 288"/>
                  <a:gd name="T34" fmla="*/ 36 w 159"/>
                  <a:gd name="T35" fmla="*/ 261 h 288"/>
                  <a:gd name="T36" fmla="*/ 36 w 159"/>
                  <a:gd name="T37" fmla="*/ 262 h 288"/>
                  <a:gd name="T38" fmla="*/ 77 w 159"/>
                  <a:gd name="T39" fmla="*/ 268 h 288"/>
                  <a:gd name="T40" fmla="*/ 72 w 159"/>
                  <a:gd name="T41" fmla="*/ 267 h 288"/>
                  <a:gd name="T42" fmla="*/ 72 w 159"/>
                  <a:gd name="T43" fmla="*/ 263 h 288"/>
                  <a:gd name="T44" fmla="*/ 77 w 159"/>
                  <a:gd name="T45" fmla="*/ 263 h 288"/>
                  <a:gd name="T46" fmla="*/ 77 w 159"/>
                  <a:gd name="T47" fmla="*/ 268 h 288"/>
                  <a:gd name="T48" fmla="*/ 77 w 159"/>
                  <a:gd name="T49" fmla="*/ 262 h 288"/>
                  <a:gd name="T50" fmla="*/ 72 w 159"/>
                  <a:gd name="T51" fmla="*/ 262 h 288"/>
                  <a:gd name="T52" fmla="*/ 72 w 159"/>
                  <a:gd name="T53" fmla="*/ 258 h 288"/>
                  <a:gd name="T54" fmla="*/ 77 w 159"/>
                  <a:gd name="T55" fmla="*/ 257 h 288"/>
                  <a:gd name="T56" fmla="*/ 77 w 159"/>
                  <a:gd name="T57" fmla="*/ 262 h 288"/>
                  <a:gd name="T58" fmla="*/ 85 w 159"/>
                  <a:gd name="T59" fmla="*/ 269 h 288"/>
                  <a:gd name="T60" fmla="*/ 78 w 159"/>
                  <a:gd name="T61" fmla="*/ 268 h 288"/>
                  <a:gd name="T62" fmla="*/ 78 w 159"/>
                  <a:gd name="T63" fmla="*/ 263 h 288"/>
                  <a:gd name="T64" fmla="*/ 85 w 159"/>
                  <a:gd name="T65" fmla="*/ 263 h 288"/>
                  <a:gd name="T66" fmla="*/ 85 w 159"/>
                  <a:gd name="T67" fmla="*/ 269 h 288"/>
                  <a:gd name="T68" fmla="*/ 85 w 159"/>
                  <a:gd name="T69" fmla="*/ 262 h 288"/>
                  <a:gd name="T70" fmla="*/ 78 w 159"/>
                  <a:gd name="T71" fmla="*/ 262 h 288"/>
                  <a:gd name="T72" fmla="*/ 78 w 159"/>
                  <a:gd name="T73" fmla="*/ 257 h 288"/>
                  <a:gd name="T74" fmla="*/ 85 w 159"/>
                  <a:gd name="T75" fmla="*/ 256 h 288"/>
                  <a:gd name="T76" fmla="*/ 85 w 159"/>
                  <a:gd name="T77" fmla="*/ 262 h 288"/>
                  <a:gd name="T78" fmla="*/ 126 w 159"/>
                  <a:gd name="T79" fmla="*/ 265 h 288"/>
                  <a:gd name="T80" fmla="*/ 124 w 159"/>
                  <a:gd name="T81" fmla="*/ 264 h 288"/>
                  <a:gd name="T82" fmla="*/ 122 w 159"/>
                  <a:gd name="T83" fmla="*/ 267 h 288"/>
                  <a:gd name="T84" fmla="*/ 121 w 159"/>
                  <a:gd name="T85" fmla="*/ 266 h 288"/>
                  <a:gd name="T86" fmla="*/ 123 w 159"/>
                  <a:gd name="T87" fmla="*/ 264 h 288"/>
                  <a:gd name="T88" fmla="*/ 122 w 159"/>
                  <a:gd name="T89" fmla="*/ 261 h 288"/>
                  <a:gd name="T90" fmla="*/ 126 w 159"/>
                  <a:gd name="T91" fmla="*/ 257 h 288"/>
                  <a:gd name="T92" fmla="*/ 130 w 159"/>
                  <a:gd name="T93" fmla="*/ 261 h 288"/>
                  <a:gd name="T94" fmla="*/ 126 w 159"/>
                  <a:gd name="T95" fmla="*/ 265 h 288"/>
                  <a:gd name="T96" fmla="*/ 143 w 159"/>
                  <a:gd name="T97" fmla="*/ 227 h 288"/>
                  <a:gd name="T98" fmla="*/ 14 w 159"/>
                  <a:gd name="T99" fmla="*/ 227 h 288"/>
                  <a:gd name="T100" fmla="*/ 14 w 159"/>
                  <a:gd name="T101" fmla="*/ 24 h 288"/>
                  <a:gd name="T102" fmla="*/ 143 w 159"/>
                  <a:gd name="T103" fmla="*/ 24 h 288"/>
                  <a:gd name="T104" fmla="*/ 143 w 159"/>
                  <a:gd name="T105" fmla="*/ 227 h 288"/>
                  <a:gd name="T106" fmla="*/ 129 w 159"/>
                  <a:gd name="T107" fmla="*/ 261 h 288"/>
                  <a:gd name="T108" fmla="*/ 126 w 159"/>
                  <a:gd name="T109" fmla="*/ 264 h 288"/>
                  <a:gd name="T110" fmla="*/ 123 w 159"/>
                  <a:gd name="T111" fmla="*/ 261 h 288"/>
                  <a:gd name="T112" fmla="*/ 126 w 159"/>
                  <a:gd name="T113" fmla="*/ 258 h 288"/>
                  <a:gd name="T114" fmla="*/ 129 w 159"/>
                  <a:gd name="T115" fmla="*/ 261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9" h="288">
                    <a:moveTo>
                      <a:pt x="148" y="0"/>
                    </a:moveTo>
                    <a:cubicBezTo>
                      <a:pt x="148" y="0"/>
                      <a:pt x="148" y="0"/>
                      <a:pt x="11" y="0"/>
                    </a:cubicBezTo>
                    <a:cubicBezTo>
                      <a:pt x="5" y="0"/>
                      <a:pt x="0" y="4"/>
                      <a:pt x="0" y="10"/>
                    </a:cubicBezTo>
                    <a:cubicBezTo>
                      <a:pt x="0" y="10"/>
                      <a:pt x="0" y="10"/>
                      <a:pt x="0" y="278"/>
                    </a:cubicBezTo>
                    <a:cubicBezTo>
                      <a:pt x="0" y="284"/>
                      <a:pt x="5" y="288"/>
                      <a:pt x="11" y="288"/>
                    </a:cubicBezTo>
                    <a:cubicBezTo>
                      <a:pt x="11" y="288"/>
                      <a:pt x="11" y="288"/>
                      <a:pt x="148" y="288"/>
                    </a:cubicBezTo>
                    <a:cubicBezTo>
                      <a:pt x="154" y="288"/>
                      <a:pt x="159" y="284"/>
                      <a:pt x="159" y="278"/>
                    </a:cubicBezTo>
                    <a:cubicBezTo>
                      <a:pt x="159" y="10"/>
                      <a:pt x="159" y="10"/>
                      <a:pt x="159" y="10"/>
                    </a:cubicBezTo>
                    <a:cubicBezTo>
                      <a:pt x="159" y="4"/>
                      <a:pt x="154" y="0"/>
                      <a:pt x="148" y="0"/>
                    </a:cubicBezTo>
                    <a:close/>
                    <a:moveTo>
                      <a:pt x="36" y="262"/>
                    </a:moveTo>
                    <a:cubicBezTo>
                      <a:pt x="30" y="262"/>
                      <a:pt x="30" y="262"/>
                      <a:pt x="30" y="262"/>
                    </a:cubicBezTo>
                    <a:cubicBezTo>
                      <a:pt x="33" y="266"/>
                      <a:pt x="33" y="266"/>
                      <a:pt x="33" y="266"/>
                    </a:cubicBezTo>
                    <a:cubicBezTo>
                      <a:pt x="32" y="266"/>
                      <a:pt x="32" y="266"/>
                      <a:pt x="32" y="266"/>
                    </a:cubicBezTo>
                    <a:cubicBezTo>
                      <a:pt x="27" y="262"/>
                      <a:pt x="27" y="262"/>
                      <a:pt x="27" y="262"/>
                    </a:cubicBezTo>
                    <a:cubicBezTo>
                      <a:pt x="32" y="258"/>
                      <a:pt x="32" y="258"/>
                      <a:pt x="32" y="258"/>
                    </a:cubicBezTo>
                    <a:cubicBezTo>
                      <a:pt x="33" y="258"/>
                      <a:pt x="33" y="258"/>
                      <a:pt x="33" y="258"/>
                    </a:cubicBezTo>
                    <a:cubicBezTo>
                      <a:pt x="30" y="261"/>
                      <a:pt x="30" y="261"/>
                      <a:pt x="30" y="261"/>
                    </a:cubicBezTo>
                    <a:cubicBezTo>
                      <a:pt x="36" y="261"/>
                      <a:pt x="36" y="261"/>
                      <a:pt x="36" y="261"/>
                    </a:cubicBezTo>
                    <a:cubicBezTo>
                      <a:pt x="36" y="262"/>
                      <a:pt x="36" y="262"/>
                      <a:pt x="36" y="262"/>
                    </a:cubicBezTo>
                    <a:close/>
                    <a:moveTo>
                      <a:pt x="77" y="268"/>
                    </a:moveTo>
                    <a:cubicBezTo>
                      <a:pt x="72" y="267"/>
                      <a:pt x="72" y="267"/>
                      <a:pt x="72" y="267"/>
                    </a:cubicBezTo>
                    <a:cubicBezTo>
                      <a:pt x="72" y="263"/>
                      <a:pt x="72" y="263"/>
                      <a:pt x="72" y="263"/>
                    </a:cubicBezTo>
                    <a:cubicBezTo>
                      <a:pt x="77" y="263"/>
                      <a:pt x="77" y="263"/>
                      <a:pt x="77" y="263"/>
                    </a:cubicBezTo>
                    <a:lnTo>
                      <a:pt x="77" y="268"/>
                    </a:lnTo>
                    <a:close/>
                    <a:moveTo>
                      <a:pt x="77" y="262"/>
                    </a:moveTo>
                    <a:cubicBezTo>
                      <a:pt x="72" y="262"/>
                      <a:pt x="72" y="262"/>
                      <a:pt x="72" y="262"/>
                    </a:cubicBezTo>
                    <a:cubicBezTo>
                      <a:pt x="72" y="258"/>
                      <a:pt x="72" y="258"/>
                      <a:pt x="72" y="258"/>
                    </a:cubicBezTo>
                    <a:cubicBezTo>
                      <a:pt x="77" y="257"/>
                      <a:pt x="77" y="257"/>
                      <a:pt x="77" y="257"/>
                    </a:cubicBezTo>
                    <a:lnTo>
                      <a:pt x="77" y="262"/>
                    </a:lnTo>
                    <a:close/>
                    <a:moveTo>
                      <a:pt x="85" y="269"/>
                    </a:moveTo>
                    <a:cubicBezTo>
                      <a:pt x="78" y="268"/>
                      <a:pt x="78" y="268"/>
                      <a:pt x="78" y="268"/>
                    </a:cubicBezTo>
                    <a:cubicBezTo>
                      <a:pt x="78" y="263"/>
                      <a:pt x="78" y="263"/>
                      <a:pt x="78" y="263"/>
                    </a:cubicBezTo>
                    <a:cubicBezTo>
                      <a:pt x="85" y="263"/>
                      <a:pt x="85" y="263"/>
                      <a:pt x="85" y="263"/>
                    </a:cubicBezTo>
                    <a:lnTo>
                      <a:pt x="85" y="269"/>
                    </a:lnTo>
                    <a:close/>
                    <a:moveTo>
                      <a:pt x="85" y="262"/>
                    </a:moveTo>
                    <a:cubicBezTo>
                      <a:pt x="78" y="262"/>
                      <a:pt x="78" y="262"/>
                      <a:pt x="78" y="262"/>
                    </a:cubicBezTo>
                    <a:cubicBezTo>
                      <a:pt x="78" y="257"/>
                      <a:pt x="78" y="257"/>
                      <a:pt x="78" y="257"/>
                    </a:cubicBezTo>
                    <a:cubicBezTo>
                      <a:pt x="85" y="256"/>
                      <a:pt x="85" y="256"/>
                      <a:pt x="85" y="256"/>
                    </a:cubicBezTo>
                    <a:lnTo>
                      <a:pt x="85" y="262"/>
                    </a:lnTo>
                    <a:close/>
                    <a:moveTo>
                      <a:pt x="126" y="265"/>
                    </a:moveTo>
                    <a:cubicBezTo>
                      <a:pt x="125" y="265"/>
                      <a:pt x="124" y="265"/>
                      <a:pt x="124" y="264"/>
                    </a:cubicBezTo>
                    <a:cubicBezTo>
                      <a:pt x="124" y="264"/>
                      <a:pt x="124" y="264"/>
                      <a:pt x="122" y="267"/>
                    </a:cubicBezTo>
                    <a:cubicBezTo>
                      <a:pt x="122" y="267"/>
                      <a:pt x="122" y="267"/>
                      <a:pt x="121" y="266"/>
                    </a:cubicBezTo>
                    <a:cubicBezTo>
                      <a:pt x="121" y="266"/>
                      <a:pt x="121" y="266"/>
                      <a:pt x="123" y="264"/>
                    </a:cubicBezTo>
                    <a:cubicBezTo>
                      <a:pt x="122" y="263"/>
                      <a:pt x="122" y="262"/>
                      <a:pt x="122" y="261"/>
                    </a:cubicBezTo>
                    <a:cubicBezTo>
                      <a:pt x="122" y="259"/>
                      <a:pt x="124" y="257"/>
                      <a:pt x="126" y="257"/>
                    </a:cubicBezTo>
                    <a:cubicBezTo>
                      <a:pt x="128" y="257"/>
                      <a:pt x="130" y="259"/>
                      <a:pt x="130" y="261"/>
                    </a:cubicBezTo>
                    <a:cubicBezTo>
                      <a:pt x="130" y="263"/>
                      <a:pt x="128" y="265"/>
                      <a:pt x="126" y="265"/>
                    </a:cubicBezTo>
                    <a:close/>
                    <a:moveTo>
                      <a:pt x="143" y="227"/>
                    </a:moveTo>
                    <a:cubicBezTo>
                      <a:pt x="101" y="227"/>
                      <a:pt x="57" y="227"/>
                      <a:pt x="14" y="227"/>
                    </a:cubicBezTo>
                    <a:cubicBezTo>
                      <a:pt x="14" y="159"/>
                      <a:pt x="14" y="91"/>
                      <a:pt x="14" y="24"/>
                    </a:cubicBezTo>
                    <a:cubicBezTo>
                      <a:pt x="57" y="24"/>
                      <a:pt x="101" y="24"/>
                      <a:pt x="143" y="24"/>
                    </a:cubicBezTo>
                    <a:cubicBezTo>
                      <a:pt x="143" y="91"/>
                      <a:pt x="143" y="159"/>
                      <a:pt x="143" y="227"/>
                    </a:cubicBezTo>
                    <a:close/>
                    <a:moveTo>
                      <a:pt x="129" y="261"/>
                    </a:moveTo>
                    <a:cubicBezTo>
                      <a:pt x="129" y="263"/>
                      <a:pt x="128" y="264"/>
                      <a:pt x="126" y="264"/>
                    </a:cubicBezTo>
                    <a:cubicBezTo>
                      <a:pt x="124" y="264"/>
                      <a:pt x="123" y="263"/>
                      <a:pt x="123" y="261"/>
                    </a:cubicBezTo>
                    <a:cubicBezTo>
                      <a:pt x="123" y="260"/>
                      <a:pt x="124" y="258"/>
                      <a:pt x="126" y="258"/>
                    </a:cubicBezTo>
                    <a:cubicBezTo>
                      <a:pt x="128" y="258"/>
                      <a:pt x="129" y="260"/>
                      <a:pt x="129" y="261"/>
                    </a:cubicBezTo>
                    <a:close/>
                  </a:path>
                </a:pathLst>
              </a:custGeom>
              <a:solidFill>
                <a:schemeClr val="tx1"/>
              </a:solidFill>
              <a:ln>
                <a:noFill/>
              </a:ln>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07" name="Rectangle 506"/>
              <p:cNvSpPr/>
              <p:nvPr/>
            </p:nvSpPr>
            <p:spPr bwMode="auto">
              <a:xfrm>
                <a:off x="6657420" y="-401045"/>
                <a:ext cx="639762" cy="14861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442" name="Freeform 5"/>
            <p:cNvSpPr>
              <a:spLocks/>
            </p:cNvSpPr>
            <p:nvPr/>
          </p:nvSpPr>
          <p:spPr bwMode="auto">
            <a:xfrm>
              <a:off x="5883472" y="1314690"/>
              <a:ext cx="786530" cy="1558413"/>
            </a:xfrm>
            <a:custGeom>
              <a:avLst/>
              <a:gdLst>
                <a:gd name="T0" fmla="*/ 98 w 98"/>
                <a:gd name="T1" fmla="*/ 193 h 197"/>
                <a:gd name="T2" fmla="*/ 94 w 98"/>
                <a:gd name="T3" fmla="*/ 197 h 197"/>
                <a:gd name="T4" fmla="*/ 4 w 98"/>
                <a:gd name="T5" fmla="*/ 197 h 197"/>
                <a:gd name="T6" fmla="*/ 0 w 98"/>
                <a:gd name="T7" fmla="*/ 193 h 197"/>
                <a:gd name="T8" fmla="*/ 0 w 98"/>
                <a:gd name="T9" fmla="*/ 4 h 197"/>
                <a:gd name="T10" fmla="*/ 4 w 98"/>
                <a:gd name="T11" fmla="*/ 0 h 197"/>
                <a:gd name="T12" fmla="*/ 94 w 98"/>
                <a:gd name="T13" fmla="*/ 0 h 197"/>
                <a:gd name="T14" fmla="*/ 98 w 98"/>
                <a:gd name="T15" fmla="*/ 4 h 197"/>
                <a:gd name="T16" fmla="*/ 98 w 98"/>
                <a:gd name="T17" fmla="*/ 193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197">
                  <a:moveTo>
                    <a:pt x="98" y="193"/>
                  </a:moveTo>
                  <a:cubicBezTo>
                    <a:pt x="98" y="195"/>
                    <a:pt x="96" y="197"/>
                    <a:pt x="94" y="197"/>
                  </a:cubicBezTo>
                  <a:cubicBezTo>
                    <a:pt x="4" y="197"/>
                    <a:pt x="4" y="197"/>
                    <a:pt x="4" y="197"/>
                  </a:cubicBezTo>
                  <a:cubicBezTo>
                    <a:pt x="2" y="197"/>
                    <a:pt x="0" y="195"/>
                    <a:pt x="0" y="193"/>
                  </a:cubicBezTo>
                  <a:cubicBezTo>
                    <a:pt x="0" y="4"/>
                    <a:pt x="0" y="4"/>
                    <a:pt x="0" y="4"/>
                  </a:cubicBezTo>
                  <a:cubicBezTo>
                    <a:pt x="0" y="2"/>
                    <a:pt x="2" y="0"/>
                    <a:pt x="4" y="0"/>
                  </a:cubicBezTo>
                  <a:cubicBezTo>
                    <a:pt x="94" y="0"/>
                    <a:pt x="94" y="0"/>
                    <a:pt x="94" y="0"/>
                  </a:cubicBezTo>
                  <a:cubicBezTo>
                    <a:pt x="96" y="0"/>
                    <a:pt x="98" y="2"/>
                    <a:pt x="98" y="4"/>
                  </a:cubicBezTo>
                  <a:lnTo>
                    <a:pt x="98" y="19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3" name="Freeform 22"/>
            <p:cNvSpPr>
              <a:spLocks/>
            </p:cNvSpPr>
            <p:nvPr/>
          </p:nvSpPr>
          <p:spPr bwMode="auto">
            <a:xfrm>
              <a:off x="6005041" y="2770576"/>
              <a:ext cx="23435" cy="39547"/>
            </a:xfrm>
            <a:custGeom>
              <a:avLst/>
              <a:gdLst>
                <a:gd name="T0" fmla="*/ 16 w 16"/>
                <a:gd name="T1" fmla="*/ 27 h 27"/>
                <a:gd name="T2" fmla="*/ 0 w 16"/>
                <a:gd name="T3" fmla="*/ 10 h 27"/>
                <a:gd name="T4" fmla="*/ 16 w 16"/>
                <a:gd name="T5" fmla="*/ 0 h 27"/>
              </a:gdLst>
              <a:ahLst/>
              <a:cxnLst>
                <a:cxn ang="0">
                  <a:pos x="T0" y="T1"/>
                </a:cxn>
                <a:cxn ang="0">
                  <a:pos x="T2" y="T3"/>
                </a:cxn>
                <a:cxn ang="0">
                  <a:pos x="T4" y="T5"/>
                </a:cxn>
              </a:cxnLst>
              <a:rect l="0" t="0" r="r" b="b"/>
              <a:pathLst>
                <a:path w="16" h="27">
                  <a:moveTo>
                    <a:pt x="16" y="27"/>
                  </a:moveTo>
                  <a:lnTo>
                    <a:pt x="0" y="10"/>
                  </a:lnTo>
                  <a:lnTo>
                    <a:pt x="16" y="0"/>
                  </a:lnTo>
                </a:path>
              </a:pathLst>
            </a:custGeom>
            <a:solidFill>
              <a:schemeClr val="tx1"/>
            </a:solidFill>
            <a:ln w="7938" cap="rnd">
              <a:solidFill>
                <a:srgbClr val="969696"/>
              </a:solidFill>
              <a:prstDash val="solid"/>
              <a:miter lim="800000"/>
              <a:headEnd/>
              <a:tailEnd/>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4" name="Line 23"/>
            <p:cNvSpPr>
              <a:spLocks noChangeShapeType="1"/>
            </p:cNvSpPr>
            <p:nvPr/>
          </p:nvSpPr>
          <p:spPr bwMode="auto">
            <a:xfrm>
              <a:off x="6005041" y="2785223"/>
              <a:ext cx="39547" cy="0"/>
            </a:xfrm>
            <a:prstGeom prst="line">
              <a:avLst/>
            </a:prstGeom>
            <a:noFill/>
            <a:ln w="7938"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5" name="Oval 24"/>
            <p:cNvSpPr>
              <a:spLocks noChangeArrowheads="1"/>
            </p:cNvSpPr>
            <p:nvPr/>
          </p:nvSpPr>
          <p:spPr bwMode="auto">
            <a:xfrm>
              <a:off x="6517676" y="2770576"/>
              <a:ext cx="32223" cy="30759"/>
            </a:xfrm>
            <a:prstGeom prst="ellipse">
              <a:avLst/>
            </a:prstGeom>
            <a:solidFill>
              <a:srgbClr val="000000"/>
            </a:solidFill>
            <a:ln w="7938" cap="rnd">
              <a:solidFill>
                <a:srgbClr val="969696"/>
              </a:solidFill>
              <a:prstDash val="solid"/>
              <a:miter lim="800000"/>
              <a:headEnd/>
              <a:tailEnd/>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6" name="Line 25"/>
            <p:cNvSpPr>
              <a:spLocks noChangeShapeType="1"/>
            </p:cNvSpPr>
            <p:nvPr/>
          </p:nvSpPr>
          <p:spPr bwMode="auto">
            <a:xfrm flipH="1">
              <a:off x="6508888" y="2794011"/>
              <a:ext cx="8788" cy="16112"/>
            </a:xfrm>
            <a:prstGeom prst="line">
              <a:avLst/>
            </a:prstGeom>
            <a:noFill/>
            <a:ln w="7938"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7" name="Freeform 26"/>
            <p:cNvSpPr>
              <a:spLocks/>
            </p:cNvSpPr>
            <p:nvPr/>
          </p:nvSpPr>
          <p:spPr bwMode="auto">
            <a:xfrm>
              <a:off x="6277470" y="2761788"/>
              <a:ext cx="23435" cy="23435"/>
            </a:xfrm>
            <a:custGeom>
              <a:avLst/>
              <a:gdLst>
                <a:gd name="T0" fmla="*/ 0 w 16"/>
                <a:gd name="T1" fmla="*/ 16 h 16"/>
                <a:gd name="T2" fmla="*/ 16 w 16"/>
                <a:gd name="T3" fmla="*/ 16 h 16"/>
                <a:gd name="T4" fmla="*/ 16 w 16"/>
                <a:gd name="T5" fmla="*/ 0 h 16"/>
                <a:gd name="T6" fmla="*/ 0 w 16"/>
                <a:gd name="T7" fmla="*/ 6 h 16"/>
                <a:gd name="T8" fmla="*/ 0 w 16"/>
                <a:gd name="T9" fmla="*/ 16 h 16"/>
              </a:gdLst>
              <a:ahLst/>
              <a:cxnLst>
                <a:cxn ang="0">
                  <a:pos x="T0" y="T1"/>
                </a:cxn>
                <a:cxn ang="0">
                  <a:pos x="T2" y="T3"/>
                </a:cxn>
                <a:cxn ang="0">
                  <a:pos x="T4" y="T5"/>
                </a:cxn>
                <a:cxn ang="0">
                  <a:pos x="T6" y="T7"/>
                </a:cxn>
                <a:cxn ang="0">
                  <a:pos x="T8" y="T9"/>
                </a:cxn>
              </a:cxnLst>
              <a:rect l="0" t="0" r="r" b="b"/>
              <a:pathLst>
                <a:path w="16" h="16">
                  <a:moveTo>
                    <a:pt x="0" y="16"/>
                  </a:moveTo>
                  <a:lnTo>
                    <a:pt x="16" y="16"/>
                  </a:lnTo>
                  <a:lnTo>
                    <a:pt x="16" y="0"/>
                  </a:lnTo>
                  <a:lnTo>
                    <a:pt x="0" y="6"/>
                  </a:lnTo>
                  <a:lnTo>
                    <a:pt x="0" y="16"/>
                  </a:lnTo>
                  <a:close/>
                </a:path>
              </a:pathLst>
            </a:cu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8" name="Rectangle 27"/>
            <p:cNvSpPr>
              <a:spLocks noChangeArrowheads="1"/>
            </p:cNvSpPr>
            <p:nvPr/>
          </p:nvSpPr>
          <p:spPr bwMode="auto">
            <a:xfrm>
              <a:off x="6252570" y="2770576"/>
              <a:ext cx="16112" cy="14647"/>
            </a:xfrm>
            <a:prstGeom prst="rect">
              <a:avLst/>
            </a:pr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9" name="Rectangle 28"/>
            <p:cNvSpPr>
              <a:spLocks noChangeArrowheads="1"/>
            </p:cNvSpPr>
            <p:nvPr/>
          </p:nvSpPr>
          <p:spPr bwMode="auto">
            <a:xfrm>
              <a:off x="6277470" y="2785223"/>
              <a:ext cx="23435" cy="24900"/>
            </a:xfrm>
            <a:prstGeom prst="rect">
              <a:avLst/>
            </a:pr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0" name="Rectangle 29"/>
            <p:cNvSpPr>
              <a:spLocks noChangeArrowheads="1"/>
            </p:cNvSpPr>
            <p:nvPr/>
          </p:nvSpPr>
          <p:spPr bwMode="auto">
            <a:xfrm>
              <a:off x="6252570" y="2785223"/>
              <a:ext cx="16112" cy="24900"/>
            </a:xfrm>
            <a:prstGeom prst="rect">
              <a:avLst/>
            </a:pr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1" name="Rectangle 30"/>
            <p:cNvSpPr>
              <a:spLocks noChangeArrowheads="1"/>
            </p:cNvSpPr>
            <p:nvPr/>
          </p:nvSpPr>
          <p:spPr bwMode="auto">
            <a:xfrm>
              <a:off x="6669082" y="2477641"/>
              <a:ext cx="45719" cy="18162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2" name="Freeform 31"/>
            <p:cNvSpPr>
              <a:spLocks/>
            </p:cNvSpPr>
            <p:nvPr/>
          </p:nvSpPr>
          <p:spPr bwMode="auto">
            <a:xfrm>
              <a:off x="6196912" y="1393782"/>
              <a:ext cx="184549" cy="24900"/>
            </a:xfrm>
            <a:custGeom>
              <a:avLst/>
              <a:gdLst>
                <a:gd name="T0" fmla="*/ 23 w 23"/>
                <a:gd name="T1" fmla="*/ 2 h 3"/>
                <a:gd name="T2" fmla="*/ 21 w 23"/>
                <a:gd name="T3" fmla="*/ 3 h 3"/>
                <a:gd name="T4" fmla="*/ 1 w 23"/>
                <a:gd name="T5" fmla="*/ 3 h 3"/>
                <a:gd name="T6" fmla="*/ 0 w 23"/>
                <a:gd name="T7" fmla="*/ 2 h 3"/>
                <a:gd name="T8" fmla="*/ 0 w 23"/>
                <a:gd name="T9" fmla="*/ 2 h 3"/>
                <a:gd name="T10" fmla="*/ 1 w 23"/>
                <a:gd name="T11" fmla="*/ 0 h 3"/>
                <a:gd name="T12" fmla="*/ 21 w 23"/>
                <a:gd name="T13" fmla="*/ 0 h 3"/>
                <a:gd name="T14" fmla="*/ 23 w 23"/>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
                  <a:moveTo>
                    <a:pt x="23" y="2"/>
                  </a:moveTo>
                  <a:cubicBezTo>
                    <a:pt x="23" y="3"/>
                    <a:pt x="22" y="3"/>
                    <a:pt x="21" y="3"/>
                  </a:cubicBezTo>
                  <a:cubicBezTo>
                    <a:pt x="1" y="3"/>
                    <a:pt x="1" y="3"/>
                    <a:pt x="1" y="3"/>
                  </a:cubicBezTo>
                  <a:cubicBezTo>
                    <a:pt x="0" y="3"/>
                    <a:pt x="0" y="3"/>
                    <a:pt x="0" y="2"/>
                  </a:cubicBezTo>
                  <a:cubicBezTo>
                    <a:pt x="0" y="2"/>
                    <a:pt x="0" y="2"/>
                    <a:pt x="0" y="2"/>
                  </a:cubicBezTo>
                  <a:cubicBezTo>
                    <a:pt x="0" y="1"/>
                    <a:pt x="0" y="0"/>
                    <a:pt x="1" y="0"/>
                  </a:cubicBezTo>
                  <a:cubicBezTo>
                    <a:pt x="21" y="0"/>
                    <a:pt x="21" y="0"/>
                    <a:pt x="21" y="0"/>
                  </a:cubicBezTo>
                  <a:cubicBezTo>
                    <a:pt x="22" y="0"/>
                    <a:pt x="23" y="1"/>
                    <a:pt x="23" y="2"/>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3" name="Rectangle 32"/>
            <p:cNvSpPr>
              <a:spLocks noChangeArrowheads="1"/>
            </p:cNvSpPr>
            <p:nvPr/>
          </p:nvSpPr>
          <p:spPr bwMode="auto">
            <a:xfrm>
              <a:off x="5964030" y="1512421"/>
              <a:ext cx="8788" cy="322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4" name="Rectangle 33"/>
            <p:cNvSpPr>
              <a:spLocks noChangeArrowheads="1"/>
            </p:cNvSpPr>
            <p:nvPr/>
          </p:nvSpPr>
          <p:spPr bwMode="auto">
            <a:xfrm>
              <a:off x="5956706" y="1521209"/>
              <a:ext cx="7324" cy="2343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5" name="Rectangle 34"/>
            <p:cNvSpPr>
              <a:spLocks noChangeArrowheads="1"/>
            </p:cNvSpPr>
            <p:nvPr/>
          </p:nvSpPr>
          <p:spPr bwMode="auto">
            <a:xfrm>
              <a:off x="5947918" y="1528532"/>
              <a:ext cx="8788"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6" name="Rectangle 35"/>
            <p:cNvSpPr>
              <a:spLocks noChangeArrowheads="1"/>
            </p:cNvSpPr>
            <p:nvPr/>
          </p:nvSpPr>
          <p:spPr bwMode="auto">
            <a:xfrm>
              <a:off x="5940595" y="1528532"/>
              <a:ext cx="7324"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7" name="Rectangle 36"/>
            <p:cNvSpPr>
              <a:spLocks noChangeArrowheads="1"/>
            </p:cNvSpPr>
            <p:nvPr/>
          </p:nvSpPr>
          <p:spPr bwMode="auto">
            <a:xfrm>
              <a:off x="5931807" y="1537320"/>
              <a:ext cx="8788" cy="732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8" name="Rectangle 37"/>
            <p:cNvSpPr>
              <a:spLocks noChangeArrowheads="1"/>
            </p:cNvSpPr>
            <p:nvPr/>
          </p:nvSpPr>
          <p:spPr bwMode="auto">
            <a:xfrm>
              <a:off x="6492776" y="1512421"/>
              <a:ext cx="32223" cy="322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nvGrpSpPr>
            <p:cNvPr id="459" name="Group 361"/>
            <p:cNvGrpSpPr>
              <a:grpSpLocks noChangeAspect="1"/>
            </p:cNvGrpSpPr>
            <p:nvPr/>
          </p:nvGrpSpPr>
          <p:grpSpPr bwMode="auto">
            <a:xfrm>
              <a:off x="5951133" y="1619769"/>
              <a:ext cx="653662" cy="1067595"/>
              <a:chOff x="3756" y="912"/>
              <a:chExt cx="409" cy="668"/>
            </a:xfrm>
          </p:grpSpPr>
          <p:sp>
            <p:nvSpPr>
              <p:cNvPr id="476" name="Rectangle 362"/>
              <p:cNvSpPr>
                <a:spLocks noChangeArrowheads="1"/>
              </p:cNvSpPr>
              <p:nvPr/>
            </p:nvSpPr>
            <p:spPr bwMode="auto">
              <a:xfrm>
                <a:off x="3756" y="912"/>
                <a:ext cx="91"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77" name="Rectangle 363"/>
              <p:cNvSpPr>
                <a:spLocks noChangeArrowheads="1"/>
              </p:cNvSpPr>
              <p:nvPr/>
            </p:nvSpPr>
            <p:spPr bwMode="auto">
              <a:xfrm>
                <a:off x="3857" y="912"/>
                <a:ext cx="96"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78" name="Rectangle 364"/>
              <p:cNvSpPr>
                <a:spLocks noChangeArrowheads="1"/>
              </p:cNvSpPr>
              <p:nvPr/>
            </p:nvSpPr>
            <p:spPr bwMode="auto">
              <a:xfrm>
                <a:off x="3963" y="912"/>
                <a:ext cx="96"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79" name="Rectangle 365"/>
              <p:cNvSpPr>
                <a:spLocks noChangeArrowheads="1"/>
              </p:cNvSpPr>
              <p:nvPr/>
            </p:nvSpPr>
            <p:spPr bwMode="auto">
              <a:xfrm>
                <a:off x="4069" y="912"/>
                <a:ext cx="96"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80" name="Rectangle 366"/>
              <p:cNvSpPr>
                <a:spLocks noChangeArrowheads="1"/>
              </p:cNvSpPr>
              <p:nvPr/>
            </p:nvSpPr>
            <p:spPr bwMode="auto">
              <a:xfrm>
                <a:off x="3756" y="1221"/>
                <a:ext cx="197" cy="194"/>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81" name="Rectangle 367"/>
              <p:cNvSpPr>
                <a:spLocks noChangeArrowheads="1"/>
              </p:cNvSpPr>
              <p:nvPr/>
            </p:nvSpPr>
            <p:spPr bwMode="auto">
              <a:xfrm>
                <a:off x="3756" y="1430"/>
                <a:ext cx="409" cy="15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82" name="Rectangle 368"/>
              <p:cNvSpPr>
                <a:spLocks noChangeArrowheads="1"/>
              </p:cNvSpPr>
              <p:nvPr/>
            </p:nvSpPr>
            <p:spPr bwMode="auto">
              <a:xfrm>
                <a:off x="3963" y="1221"/>
                <a:ext cx="96" cy="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83" name="Rectangle 369"/>
              <p:cNvSpPr>
                <a:spLocks noChangeArrowheads="1"/>
              </p:cNvSpPr>
              <p:nvPr/>
            </p:nvSpPr>
            <p:spPr bwMode="auto">
              <a:xfrm>
                <a:off x="4069" y="1221"/>
                <a:ext cx="96"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84" name="Rectangle 370"/>
              <p:cNvSpPr>
                <a:spLocks noChangeArrowheads="1"/>
              </p:cNvSpPr>
              <p:nvPr/>
            </p:nvSpPr>
            <p:spPr bwMode="auto">
              <a:xfrm>
                <a:off x="3963" y="1321"/>
                <a:ext cx="96" cy="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85" name="Rectangle 371"/>
              <p:cNvSpPr>
                <a:spLocks noChangeArrowheads="1"/>
              </p:cNvSpPr>
              <p:nvPr/>
            </p:nvSpPr>
            <p:spPr bwMode="auto">
              <a:xfrm>
                <a:off x="4069" y="1321"/>
                <a:ext cx="96" cy="94"/>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86" name="Rectangle 372"/>
              <p:cNvSpPr>
                <a:spLocks noChangeArrowheads="1"/>
              </p:cNvSpPr>
              <p:nvPr/>
            </p:nvSpPr>
            <p:spPr bwMode="auto">
              <a:xfrm>
                <a:off x="3756" y="1017"/>
                <a:ext cx="91" cy="89"/>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87" name="Rectangle 373"/>
              <p:cNvSpPr>
                <a:spLocks noChangeArrowheads="1"/>
              </p:cNvSpPr>
              <p:nvPr/>
            </p:nvSpPr>
            <p:spPr bwMode="auto">
              <a:xfrm>
                <a:off x="3857" y="1017"/>
                <a:ext cx="202" cy="194"/>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88" name="Rectangle 374"/>
              <p:cNvSpPr>
                <a:spLocks noChangeArrowheads="1"/>
              </p:cNvSpPr>
              <p:nvPr/>
            </p:nvSpPr>
            <p:spPr bwMode="auto">
              <a:xfrm>
                <a:off x="4069" y="1017"/>
                <a:ext cx="96" cy="89"/>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89" name="Rectangle 375"/>
              <p:cNvSpPr>
                <a:spLocks noChangeArrowheads="1"/>
              </p:cNvSpPr>
              <p:nvPr/>
            </p:nvSpPr>
            <p:spPr bwMode="auto">
              <a:xfrm>
                <a:off x="3756" y="1116"/>
                <a:ext cx="91" cy="95"/>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90" name="Rectangle 377"/>
              <p:cNvSpPr>
                <a:spLocks noChangeArrowheads="1"/>
              </p:cNvSpPr>
              <p:nvPr/>
            </p:nvSpPr>
            <p:spPr bwMode="auto">
              <a:xfrm>
                <a:off x="4069" y="1116"/>
                <a:ext cx="96" cy="9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sp>
          <p:nvSpPr>
            <p:cNvPr id="460" name="Rectangle 38"/>
            <p:cNvSpPr>
              <a:spLocks noChangeArrowheads="1"/>
            </p:cNvSpPr>
            <p:nvPr/>
          </p:nvSpPr>
          <p:spPr bwMode="auto">
            <a:xfrm>
              <a:off x="6469342" y="1521209"/>
              <a:ext cx="7324"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61" name="Rectangle 460"/>
            <p:cNvSpPr/>
            <p:nvPr/>
          </p:nvSpPr>
          <p:spPr bwMode="auto">
            <a:xfrm>
              <a:off x="6669082" y="1645386"/>
              <a:ext cx="469545" cy="883054"/>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62" name="Rectangle 461"/>
            <p:cNvSpPr/>
            <p:nvPr/>
          </p:nvSpPr>
          <p:spPr bwMode="auto">
            <a:xfrm>
              <a:off x="5419725" y="1745191"/>
              <a:ext cx="463747" cy="81744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63" name="Group 462"/>
            <p:cNvGrpSpPr/>
            <p:nvPr/>
          </p:nvGrpSpPr>
          <p:grpSpPr>
            <a:xfrm>
              <a:off x="6762379" y="1998339"/>
              <a:ext cx="121238" cy="136847"/>
              <a:chOff x="6821706" y="2244827"/>
              <a:chExt cx="122543" cy="138320"/>
            </a:xfrm>
            <a:solidFill>
              <a:schemeClr val="accent6">
                <a:lumMod val="75000"/>
              </a:schemeClr>
            </a:solidFill>
          </p:grpSpPr>
          <p:sp>
            <p:nvSpPr>
              <p:cNvPr id="474" name="Freeform 24"/>
              <p:cNvSpPr>
                <a:spLocks/>
              </p:cNvSpPr>
              <p:nvPr/>
            </p:nvSpPr>
            <p:spPr bwMode="auto">
              <a:xfrm>
                <a:off x="6821706" y="2277082"/>
                <a:ext cx="122543" cy="106065"/>
              </a:xfrm>
              <a:custGeom>
                <a:avLst/>
                <a:gdLst>
                  <a:gd name="T0" fmla="*/ 296 w 296"/>
                  <a:gd name="T1" fmla="*/ 167 h 256"/>
                  <a:gd name="T2" fmla="*/ 274 w 296"/>
                  <a:gd name="T3" fmla="*/ 207 h 256"/>
                  <a:gd name="T4" fmla="*/ 216 w 296"/>
                  <a:gd name="T5" fmla="*/ 256 h 256"/>
                  <a:gd name="T6" fmla="*/ 159 w 296"/>
                  <a:gd name="T7" fmla="*/ 242 h 256"/>
                  <a:gd name="T8" fmla="*/ 101 w 296"/>
                  <a:gd name="T9" fmla="*/ 256 h 256"/>
                  <a:gd name="T10" fmla="*/ 44 w 296"/>
                  <a:gd name="T11" fmla="*/ 210 h 256"/>
                  <a:gd name="T12" fmla="*/ 24 w 296"/>
                  <a:gd name="T13" fmla="*/ 42 h 256"/>
                  <a:gd name="T14" fmla="*/ 94 w 296"/>
                  <a:gd name="T15" fmla="*/ 0 h 256"/>
                  <a:gd name="T16" fmla="*/ 158 w 296"/>
                  <a:gd name="T17" fmla="*/ 15 h 256"/>
                  <a:gd name="T18" fmla="*/ 222 w 296"/>
                  <a:gd name="T19" fmla="*/ 0 h 256"/>
                  <a:gd name="T20" fmla="*/ 286 w 296"/>
                  <a:gd name="T21" fmla="*/ 34 h 256"/>
                  <a:gd name="T22" fmla="*/ 296 w 296"/>
                  <a:gd name="T23" fmla="*/ 16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6" h="256">
                    <a:moveTo>
                      <a:pt x="296" y="167"/>
                    </a:moveTo>
                    <a:cubicBezTo>
                      <a:pt x="288" y="184"/>
                      <a:pt x="284" y="192"/>
                      <a:pt x="274" y="207"/>
                    </a:cubicBezTo>
                    <a:cubicBezTo>
                      <a:pt x="260" y="229"/>
                      <a:pt x="240" y="255"/>
                      <a:pt x="216" y="256"/>
                    </a:cubicBezTo>
                    <a:cubicBezTo>
                      <a:pt x="194" y="256"/>
                      <a:pt x="188" y="241"/>
                      <a:pt x="159" y="242"/>
                    </a:cubicBezTo>
                    <a:cubicBezTo>
                      <a:pt x="129" y="242"/>
                      <a:pt x="123" y="256"/>
                      <a:pt x="101" y="256"/>
                    </a:cubicBezTo>
                    <a:cubicBezTo>
                      <a:pt x="76" y="255"/>
                      <a:pt x="58" y="231"/>
                      <a:pt x="44" y="210"/>
                    </a:cubicBezTo>
                    <a:cubicBezTo>
                      <a:pt x="4" y="150"/>
                      <a:pt x="0" y="80"/>
                      <a:pt x="24" y="42"/>
                    </a:cubicBezTo>
                    <a:cubicBezTo>
                      <a:pt x="42" y="16"/>
                      <a:pt x="69" y="0"/>
                      <a:pt x="94" y="0"/>
                    </a:cubicBezTo>
                    <a:cubicBezTo>
                      <a:pt x="120" y="0"/>
                      <a:pt x="137" y="15"/>
                      <a:pt x="158" y="15"/>
                    </a:cubicBezTo>
                    <a:cubicBezTo>
                      <a:pt x="179" y="15"/>
                      <a:pt x="192" y="0"/>
                      <a:pt x="222" y="0"/>
                    </a:cubicBezTo>
                    <a:cubicBezTo>
                      <a:pt x="245" y="0"/>
                      <a:pt x="269" y="13"/>
                      <a:pt x="286" y="34"/>
                    </a:cubicBezTo>
                    <a:cubicBezTo>
                      <a:pt x="230" y="65"/>
                      <a:pt x="239" y="145"/>
                      <a:pt x="296" y="1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896081"/>
                <a:endParaRPr lang="en-US" sz="1764">
                  <a:solidFill>
                    <a:srgbClr val="FFFFFF"/>
                  </a:solidFill>
                </a:endParaRPr>
              </a:p>
            </p:txBody>
          </p:sp>
          <p:sp>
            <p:nvSpPr>
              <p:cNvPr id="475" name="Freeform 25"/>
              <p:cNvSpPr>
                <a:spLocks/>
              </p:cNvSpPr>
              <p:nvPr/>
            </p:nvSpPr>
            <p:spPr bwMode="auto">
              <a:xfrm>
                <a:off x="6881337" y="2244827"/>
                <a:ext cx="30680" cy="33485"/>
              </a:xfrm>
              <a:custGeom>
                <a:avLst/>
                <a:gdLst>
                  <a:gd name="T0" fmla="*/ 55 w 74"/>
                  <a:gd name="T1" fmla="*/ 54 h 81"/>
                  <a:gd name="T2" fmla="*/ 71 w 74"/>
                  <a:gd name="T3" fmla="*/ 0 h 81"/>
                  <a:gd name="T4" fmla="*/ 20 w 74"/>
                  <a:gd name="T5" fmla="*/ 28 h 81"/>
                  <a:gd name="T6" fmla="*/ 4 w 74"/>
                  <a:gd name="T7" fmla="*/ 81 h 81"/>
                  <a:gd name="T8" fmla="*/ 55 w 74"/>
                  <a:gd name="T9" fmla="*/ 54 h 81"/>
                </a:gdLst>
                <a:ahLst/>
                <a:cxnLst>
                  <a:cxn ang="0">
                    <a:pos x="T0" y="T1"/>
                  </a:cxn>
                  <a:cxn ang="0">
                    <a:pos x="T2" y="T3"/>
                  </a:cxn>
                  <a:cxn ang="0">
                    <a:pos x="T4" y="T5"/>
                  </a:cxn>
                  <a:cxn ang="0">
                    <a:pos x="T6" y="T7"/>
                  </a:cxn>
                  <a:cxn ang="0">
                    <a:pos x="T8" y="T9"/>
                  </a:cxn>
                </a:cxnLst>
                <a:rect l="0" t="0" r="r" b="b"/>
                <a:pathLst>
                  <a:path w="74" h="81">
                    <a:moveTo>
                      <a:pt x="55" y="54"/>
                    </a:moveTo>
                    <a:cubicBezTo>
                      <a:pt x="66" y="40"/>
                      <a:pt x="74" y="21"/>
                      <a:pt x="71" y="0"/>
                    </a:cubicBezTo>
                    <a:cubicBezTo>
                      <a:pt x="54" y="2"/>
                      <a:pt x="33" y="13"/>
                      <a:pt x="20" y="28"/>
                    </a:cubicBezTo>
                    <a:cubicBezTo>
                      <a:pt x="9" y="41"/>
                      <a:pt x="0" y="61"/>
                      <a:pt x="4" y="81"/>
                    </a:cubicBezTo>
                    <a:cubicBezTo>
                      <a:pt x="23" y="81"/>
                      <a:pt x="44" y="70"/>
                      <a:pt x="55"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896081"/>
                <a:endParaRPr lang="en-US" sz="1764">
                  <a:solidFill>
                    <a:srgbClr val="FFFFFF"/>
                  </a:solidFill>
                </a:endParaRPr>
              </a:p>
            </p:txBody>
          </p:sp>
        </p:grpSp>
        <p:grpSp>
          <p:nvGrpSpPr>
            <p:cNvPr id="464" name="Group 463"/>
            <p:cNvGrpSpPr/>
            <p:nvPr/>
          </p:nvGrpSpPr>
          <p:grpSpPr>
            <a:xfrm>
              <a:off x="6744485" y="1563052"/>
              <a:ext cx="157076" cy="1155247"/>
              <a:chOff x="6744485" y="1563052"/>
              <a:chExt cx="157076" cy="1155247"/>
            </a:xfrm>
          </p:grpSpPr>
          <p:sp>
            <p:nvSpPr>
              <p:cNvPr id="469" name="Oval 468"/>
              <p:cNvSpPr/>
              <p:nvPr/>
            </p:nvSpPr>
            <p:spPr bwMode="auto">
              <a:xfrm>
                <a:off x="6769989" y="2612231"/>
                <a:ext cx="106068" cy="106068"/>
              </a:xfrm>
              <a:prstGeom prst="ellipse">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70" name="Group 469"/>
              <p:cNvGrpSpPr/>
              <p:nvPr/>
            </p:nvGrpSpPr>
            <p:grpSpPr>
              <a:xfrm>
                <a:off x="6744485" y="1563052"/>
                <a:ext cx="157076" cy="52818"/>
                <a:chOff x="6822277" y="1553528"/>
                <a:chExt cx="157076" cy="52818"/>
              </a:xfrm>
            </p:grpSpPr>
            <p:sp>
              <p:nvSpPr>
                <p:cNvPr id="471" name="Rounded Rectangle 470"/>
                <p:cNvSpPr/>
                <p:nvPr/>
              </p:nvSpPr>
              <p:spPr bwMode="auto">
                <a:xfrm>
                  <a:off x="6869625" y="1588058"/>
                  <a:ext cx="109728" cy="18288"/>
                </a:xfrm>
                <a:prstGeom prst="roundRect">
                  <a:avLst>
                    <a:gd name="adj" fmla="val 50000"/>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72" name="Oval 471"/>
                <p:cNvSpPr/>
                <p:nvPr/>
              </p:nvSpPr>
              <p:spPr bwMode="auto">
                <a:xfrm>
                  <a:off x="6822277" y="1588058"/>
                  <a:ext cx="18288" cy="18288"/>
                </a:xfrm>
                <a:prstGeom prst="ellipse">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73" name="Oval 472"/>
                <p:cNvSpPr/>
                <p:nvPr/>
              </p:nvSpPr>
              <p:spPr bwMode="auto">
                <a:xfrm>
                  <a:off x="6902305" y="1553528"/>
                  <a:ext cx="18288" cy="1828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465" name="Group 464"/>
            <p:cNvGrpSpPr/>
            <p:nvPr/>
          </p:nvGrpSpPr>
          <p:grpSpPr>
            <a:xfrm>
              <a:off x="5444705" y="1680019"/>
              <a:ext cx="948506" cy="959249"/>
              <a:chOff x="5444705" y="1765011"/>
              <a:chExt cx="948506" cy="959249"/>
            </a:xfrm>
          </p:grpSpPr>
          <p:sp>
            <p:nvSpPr>
              <p:cNvPr id="466" name="Rectangle 465"/>
              <p:cNvSpPr/>
              <p:nvPr/>
            </p:nvSpPr>
            <p:spPr bwMode="auto">
              <a:xfrm>
                <a:off x="5444705" y="1765011"/>
                <a:ext cx="438767" cy="9592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pic>
            <p:nvPicPr>
              <p:cNvPr id="467" name="Picture 14"/>
              <p:cNvPicPr>
                <a:picLocks noChangeAspect="1" noChangeArrowheads="1"/>
              </p:cNvPicPr>
              <p:nvPr/>
            </p:nvPicPr>
            <p:blipFill>
              <a:blip r:embed="rId3" cstate="print">
                <a:lum bright="100000"/>
                <a:extLst>
                  <a:ext uri="{28A0092B-C50C-407E-A947-70E740481C1C}">
                    <a14:useLocalDpi xmlns:a14="http://schemas.microsoft.com/office/drawing/2010/main" val="0"/>
                  </a:ext>
                </a:extLst>
              </a:blip>
              <a:srcRect/>
              <a:stretch>
                <a:fillRect/>
              </a:stretch>
            </p:blipFill>
            <p:spPr bwMode="auto">
              <a:xfrm>
                <a:off x="5647306" y="2083319"/>
                <a:ext cx="144572" cy="1691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68" name="Picture 14"/>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r="78098"/>
              <a:stretch/>
            </p:blipFill>
            <p:spPr bwMode="auto">
              <a:xfrm>
                <a:off x="6139513" y="1886796"/>
                <a:ext cx="253698" cy="2722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nvGrpSpPr>
          <p:cNvPr id="358" name="Group 357"/>
          <p:cNvGrpSpPr/>
          <p:nvPr/>
        </p:nvGrpSpPr>
        <p:grpSpPr>
          <a:xfrm>
            <a:off x="2375267" y="2050485"/>
            <a:ext cx="309959" cy="610802"/>
            <a:chOff x="2423526" y="2090738"/>
            <a:chExt cx="316257" cy="623212"/>
          </a:xfrm>
        </p:grpSpPr>
        <p:pic>
          <p:nvPicPr>
            <p:cNvPr id="359" name="Picture 358"/>
            <p:cNvPicPr>
              <a:picLocks noChangeAspect="1"/>
            </p:cNvPicPr>
            <p:nvPr/>
          </p:nvPicPr>
          <p:blipFill>
            <a:blip r:embed="rId5"/>
            <a:stretch>
              <a:fillRect/>
            </a:stretch>
          </p:blipFill>
          <p:spPr>
            <a:xfrm>
              <a:off x="2423526" y="2090738"/>
              <a:ext cx="316257" cy="623212"/>
            </a:xfrm>
            <a:prstGeom prst="rect">
              <a:avLst/>
            </a:prstGeom>
          </p:spPr>
        </p:pic>
        <p:grpSp>
          <p:nvGrpSpPr>
            <p:cNvPr id="360" name="Group 359"/>
            <p:cNvGrpSpPr/>
            <p:nvPr/>
          </p:nvGrpSpPr>
          <p:grpSpPr>
            <a:xfrm>
              <a:off x="2451472" y="2218095"/>
              <a:ext cx="260365" cy="417911"/>
              <a:chOff x="2450306" y="2218095"/>
              <a:chExt cx="260365" cy="417911"/>
            </a:xfrm>
          </p:grpSpPr>
          <p:sp>
            <p:nvSpPr>
              <p:cNvPr id="361" name="Rectangle 360"/>
              <p:cNvSpPr/>
              <p:nvPr/>
            </p:nvSpPr>
            <p:spPr bwMode="auto">
              <a:xfrm>
                <a:off x="2450306" y="2218095"/>
                <a:ext cx="260365" cy="41791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62" name="Freeform 5"/>
              <p:cNvSpPr>
                <a:spLocks/>
              </p:cNvSpPr>
              <p:nvPr/>
            </p:nvSpPr>
            <p:spPr bwMode="auto">
              <a:xfrm>
                <a:off x="2503825" y="2335433"/>
                <a:ext cx="153326" cy="183235"/>
              </a:xfrm>
              <a:custGeom>
                <a:avLst/>
                <a:gdLst>
                  <a:gd name="T0" fmla="*/ 0 w 446"/>
                  <a:gd name="T1" fmla="*/ 107 h 533"/>
                  <a:gd name="T2" fmla="*/ 285 w 446"/>
                  <a:gd name="T3" fmla="*/ 0 h 533"/>
                  <a:gd name="T4" fmla="*/ 446 w 446"/>
                  <a:gd name="T5" fmla="*/ 45 h 533"/>
                  <a:gd name="T6" fmla="*/ 446 w 446"/>
                  <a:gd name="T7" fmla="*/ 485 h 533"/>
                  <a:gd name="T8" fmla="*/ 288 w 446"/>
                  <a:gd name="T9" fmla="*/ 533 h 533"/>
                  <a:gd name="T10" fmla="*/ 0 w 446"/>
                  <a:gd name="T11" fmla="*/ 428 h 533"/>
                  <a:gd name="T12" fmla="*/ 285 w 446"/>
                  <a:gd name="T13" fmla="*/ 466 h 533"/>
                  <a:gd name="T14" fmla="*/ 285 w 446"/>
                  <a:gd name="T15" fmla="*/ 81 h 533"/>
                  <a:gd name="T16" fmla="*/ 96 w 446"/>
                  <a:gd name="T17" fmla="*/ 129 h 533"/>
                  <a:gd name="T18" fmla="*/ 96 w 446"/>
                  <a:gd name="T19" fmla="*/ 387 h 533"/>
                  <a:gd name="T20" fmla="*/ 0 w 446"/>
                  <a:gd name="T21" fmla="*/ 421 h 533"/>
                  <a:gd name="T22" fmla="*/ 0 w 446"/>
                  <a:gd name="T23" fmla="*/ 107 h 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6" h="533">
                    <a:moveTo>
                      <a:pt x="0" y="107"/>
                    </a:moveTo>
                    <a:lnTo>
                      <a:pt x="285" y="0"/>
                    </a:lnTo>
                    <a:lnTo>
                      <a:pt x="446" y="45"/>
                    </a:lnTo>
                    <a:lnTo>
                      <a:pt x="446" y="485"/>
                    </a:lnTo>
                    <a:lnTo>
                      <a:pt x="288" y="533"/>
                    </a:lnTo>
                    <a:lnTo>
                      <a:pt x="0" y="428"/>
                    </a:lnTo>
                    <a:lnTo>
                      <a:pt x="285" y="466"/>
                    </a:lnTo>
                    <a:lnTo>
                      <a:pt x="285" y="81"/>
                    </a:lnTo>
                    <a:lnTo>
                      <a:pt x="96" y="129"/>
                    </a:lnTo>
                    <a:lnTo>
                      <a:pt x="96" y="387"/>
                    </a:lnTo>
                    <a:lnTo>
                      <a:pt x="0" y="421"/>
                    </a:lnTo>
                    <a:lnTo>
                      <a:pt x="0" y="10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sp>
        <p:nvSpPr>
          <p:cNvPr id="516" name="Rectangle 515"/>
          <p:cNvSpPr/>
          <p:nvPr/>
        </p:nvSpPr>
        <p:spPr bwMode="auto">
          <a:xfrm>
            <a:off x="458281" y="2932402"/>
            <a:ext cx="3733596" cy="879077"/>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828" fontAlgn="base">
              <a:lnSpc>
                <a:spcPct val="90000"/>
              </a:lnSpc>
              <a:spcBef>
                <a:spcPct val="0"/>
              </a:spcBef>
              <a:spcAft>
                <a:spcPct val="0"/>
              </a:spcAft>
            </a:pPr>
            <a:endPar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endParaRPr>
          </a:p>
        </p:txBody>
      </p:sp>
      <p:sp>
        <p:nvSpPr>
          <p:cNvPr id="517" name="Rectangle 516"/>
          <p:cNvSpPr/>
          <p:nvPr/>
        </p:nvSpPr>
        <p:spPr bwMode="auto">
          <a:xfrm>
            <a:off x="458281" y="3811480"/>
            <a:ext cx="3733596" cy="2750810"/>
          </a:xfrm>
          <a:prstGeom prst="rect">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518" name="Rectangle 517"/>
          <p:cNvSpPr/>
          <p:nvPr/>
        </p:nvSpPr>
        <p:spPr bwMode="auto">
          <a:xfrm>
            <a:off x="458281" y="2932402"/>
            <a:ext cx="3733596" cy="8790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828" fontAlgn="base">
              <a:lnSpc>
                <a:spcPct val="90000"/>
              </a:lnSpc>
              <a:spcBef>
                <a:spcPct val="0"/>
              </a:spcBef>
              <a:spcAft>
                <a:spcPct val="0"/>
              </a:spcAft>
            </a:pPr>
            <a: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EXTEND OFFICE </a:t>
            </a:r>
            <a:b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br>
            <a: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EVERYWHERE</a:t>
            </a:r>
          </a:p>
        </p:txBody>
      </p:sp>
      <p:grpSp>
        <p:nvGrpSpPr>
          <p:cNvPr id="519" name="Group 518"/>
          <p:cNvGrpSpPr/>
          <p:nvPr/>
        </p:nvGrpSpPr>
        <p:grpSpPr>
          <a:xfrm>
            <a:off x="670092" y="3991222"/>
            <a:ext cx="992937" cy="361396"/>
            <a:chOff x="683707" y="4085194"/>
            <a:chExt cx="1013112" cy="368739"/>
          </a:xfrm>
        </p:grpSpPr>
        <p:sp>
          <p:nvSpPr>
            <p:cNvPr id="520" name="TextBox 519"/>
            <p:cNvSpPr txBox="1"/>
            <p:nvPr/>
          </p:nvSpPr>
          <p:spPr>
            <a:xfrm>
              <a:off x="1132043" y="4154025"/>
              <a:ext cx="564776" cy="193899"/>
            </a:xfrm>
            <a:prstGeom prst="rect">
              <a:avLst/>
            </a:prstGeom>
            <a:noFill/>
          </p:spPr>
          <p:txBody>
            <a:bodyPr wrap="square" lIns="0" tIns="0" rIns="0" bIns="0" rtlCol="0">
              <a:spAutoFit/>
            </a:bodyPr>
            <a:lstStyle/>
            <a:p>
              <a:pPr defTabSz="914093">
                <a:lnSpc>
                  <a:spcPct val="90000"/>
                </a:lnSpc>
                <a:spcAft>
                  <a:spcPts val="588"/>
                </a:spcAft>
              </a:pPr>
              <a:r>
                <a:rPr lang="en-US" sz="1372" spc="-29" dirty="0">
                  <a:gradFill>
                    <a:gsLst>
                      <a:gs pos="2917">
                        <a:srgbClr val="FFFFFF"/>
                      </a:gs>
                      <a:gs pos="30000">
                        <a:srgbClr val="FFFFFF"/>
                      </a:gs>
                    </a:gsLst>
                    <a:lin ang="5400000" scaled="0"/>
                  </a:gradFill>
                </a:rPr>
                <a:t>Delve</a:t>
              </a:r>
            </a:p>
          </p:txBody>
        </p:sp>
        <p:pic>
          <p:nvPicPr>
            <p:cNvPr id="521" name="Picture 52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83707" y="4085194"/>
              <a:ext cx="358949" cy="368739"/>
            </a:xfrm>
            <a:prstGeom prst="rect">
              <a:avLst/>
            </a:prstGeom>
            <a:noFill/>
          </p:spPr>
        </p:pic>
      </p:grpSp>
      <p:grpSp>
        <p:nvGrpSpPr>
          <p:cNvPr id="522" name="Group 8"/>
          <p:cNvGrpSpPr>
            <a:grpSpLocks noChangeAspect="1"/>
          </p:cNvGrpSpPr>
          <p:nvPr/>
        </p:nvGrpSpPr>
        <p:grpSpPr bwMode="auto">
          <a:xfrm>
            <a:off x="670093" y="5270278"/>
            <a:ext cx="1034876" cy="176443"/>
            <a:chOff x="1924" y="1817"/>
            <a:chExt cx="3830" cy="653"/>
          </a:xfrm>
          <a:solidFill>
            <a:schemeClr val="tx1"/>
          </a:solidFill>
        </p:grpSpPr>
        <p:sp>
          <p:nvSpPr>
            <p:cNvPr id="523" name="Freeform 9"/>
            <p:cNvSpPr>
              <a:spLocks/>
            </p:cNvSpPr>
            <p:nvPr/>
          </p:nvSpPr>
          <p:spPr bwMode="auto">
            <a:xfrm>
              <a:off x="2163" y="1996"/>
              <a:ext cx="800" cy="474"/>
            </a:xfrm>
            <a:custGeom>
              <a:avLst/>
              <a:gdLst>
                <a:gd name="T0" fmla="*/ 297 w 338"/>
                <a:gd name="T1" fmla="*/ 101 h 198"/>
                <a:gd name="T2" fmla="*/ 338 w 338"/>
                <a:gd name="T3" fmla="*/ 151 h 198"/>
                <a:gd name="T4" fmla="*/ 297 w 338"/>
                <a:gd name="T5" fmla="*/ 198 h 198"/>
                <a:gd name="T6" fmla="*/ 61 w 338"/>
                <a:gd name="T7" fmla="*/ 198 h 198"/>
                <a:gd name="T8" fmla="*/ 0 w 338"/>
                <a:gd name="T9" fmla="*/ 135 h 198"/>
                <a:gd name="T10" fmla="*/ 59 w 338"/>
                <a:gd name="T11" fmla="*/ 80 h 198"/>
                <a:gd name="T12" fmla="*/ 116 w 338"/>
                <a:gd name="T13" fmla="*/ 10 h 198"/>
                <a:gd name="T14" fmla="*/ 201 w 338"/>
                <a:gd name="T15" fmla="*/ 42 h 198"/>
                <a:gd name="T16" fmla="*/ 261 w 338"/>
                <a:gd name="T17" fmla="*/ 40 h 198"/>
                <a:gd name="T18" fmla="*/ 297 w 338"/>
                <a:gd name="T19" fmla="*/ 10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8" h="198">
                  <a:moveTo>
                    <a:pt x="297" y="101"/>
                  </a:moveTo>
                  <a:cubicBezTo>
                    <a:pt x="297" y="101"/>
                    <a:pt x="338" y="106"/>
                    <a:pt x="338" y="151"/>
                  </a:cubicBezTo>
                  <a:cubicBezTo>
                    <a:pt x="338" y="172"/>
                    <a:pt x="326" y="198"/>
                    <a:pt x="297" y="198"/>
                  </a:cubicBezTo>
                  <a:cubicBezTo>
                    <a:pt x="297" y="198"/>
                    <a:pt x="76" y="198"/>
                    <a:pt x="61" y="198"/>
                  </a:cubicBezTo>
                  <a:cubicBezTo>
                    <a:pt x="16" y="198"/>
                    <a:pt x="0" y="167"/>
                    <a:pt x="0" y="135"/>
                  </a:cubicBezTo>
                  <a:cubicBezTo>
                    <a:pt x="0" y="82"/>
                    <a:pt x="59" y="80"/>
                    <a:pt x="59" y="80"/>
                  </a:cubicBezTo>
                  <a:cubicBezTo>
                    <a:pt x="59" y="80"/>
                    <a:pt x="64" y="22"/>
                    <a:pt x="116" y="10"/>
                  </a:cubicBezTo>
                  <a:cubicBezTo>
                    <a:pt x="162" y="0"/>
                    <a:pt x="188" y="24"/>
                    <a:pt x="201" y="42"/>
                  </a:cubicBezTo>
                  <a:cubicBezTo>
                    <a:pt x="201" y="42"/>
                    <a:pt x="229" y="26"/>
                    <a:pt x="261" y="40"/>
                  </a:cubicBezTo>
                  <a:cubicBezTo>
                    <a:pt x="280" y="49"/>
                    <a:pt x="298" y="69"/>
                    <a:pt x="297"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24" name="Freeform 10"/>
            <p:cNvSpPr>
              <a:spLocks/>
            </p:cNvSpPr>
            <p:nvPr/>
          </p:nvSpPr>
          <p:spPr bwMode="auto">
            <a:xfrm>
              <a:off x="1924" y="1817"/>
              <a:ext cx="795" cy="607"/>
            </a:xfrm>
            <a:custGeom>
              <a:avLst/>
              <a:gdLst>
                <a:gd name="T0" fmla="*/ 86 w 336"/>
                <a:gd name="T1" fmla="*/ 212 h 254"/>
                <a:gd name="T2" fmla="*/ 149 w 336"/>
                <a:gd name="T3" fmla="*/ 144 h 254"/>
                <a:gd name="T4" fmla="*/ 213 w 336"/>
                <a:gd name="T5" fmla="*/ 73 h 254"/>
                <a:gd name="T6" fmla="*/ 305 w 336"/>
                <a:gd name="T7" fmla="*/ 103 h 254"/>
                <a:gd name="T8" fmla="*/ 336 w 336"/>
                <a:gd name="T9" fmla="*/ 97 h 254"/>
                <a:gd name="T10" fmla="*/ 276 w 336"/>
                <a:gd name="T11" fmla="*/ 19 h 254"/>
                <a:gd name="T12" fmla="*/ 161 w 336"/>
                <a:gd name="T13" fmla="*/ 61 h 254"/>
                <a:gd name="T14" fmla="*/ 92 w 336"/>
                <a:gd name="T15" fmla="*/ 60 h 254"/>
                <a:gd name="T16" fmla="*/ 53 w 336"/>
                <a:gd name="T17" fmla="*/ 135 h 254"/>
                <a:gd name="T18" fmla="*/ 0 w 336"/>
                <a:gd name="T19" fmla="*/ 195 h 254"/>
                <a:gd name="T20" fmla="*/ 59 w 336"/>
                <a:gd name="T21" fmla="*/ 254 h 254"/>
                <a:gd name="T22" fmla="*/ 98 w 336"/>
                <a:gd name="T23" fmla="*/ 254 h 254"/>
                <a:gd name="T24" fmla="*/ 86 w 336"/>
                <a:gd name="T25" fmla="*/ 212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6" h="254">
                  <a:moveTo>
                    <a:pt x="86" y="212"/>
                  </a:moveTo>
                  <a:cubicBezTo>
                    <a:pt x="86" y="153"/>
                    <a:pt x="149" y="144"/>
                    <a:pt x="149" y="144"/>
                  </a:cubicBezTo>
                  <a:cubicBezTo>
                    <a:pt x="149" y="144"/>
                    <a:pt x="157" y="87"/>
                    <a:pt x="213" y="73"/>
                  </a:cubicBezTo>
                  <a:cubicBezTo>
                    <a:pt x="258" y="61"/>
                    <a:pt x="291" y="81"/>
                    <a:pt x="305" y="103"/>
                  </a:cubicBezTo>
                  <a:cubicBezTo>
                    <a:pt x="305" y="103"/>
                    <a:pt x="315" y="96"/>
                    <a:pt x="336" y="97"/>
                  </a:cubicBezTo>
                  <a:cubicBezTo>
                    <a:pt x="334" y="77"/>
                    <a:pt x="320" y="37"/>
                    <a:pt x="276" y="19"/>
                  </a:cubicBezTo>
                  <a:cubicBezTo>
                    <a:pt x="225" y="0"/>
                    <a:pt x="181" y="24"/>
                    <a:pt x="161" y="61"/>
                  </a:cubicBezTo>
                  <a:cubicBezTo>
                    <a:pt x="161" y="61"/>
                    <a:pt x="129" y="41"/>
                    <a:pt x="92" y="60"/>
                  </a:cubicBezTo>
                  <a:cubicBezTo>
                    <a:pt x="66" y="73"/>
                    <a:pt x="50" y="105"/>
                    <a:pt x="53" y="135"/>
                  </a:cubicBezTo>
                  <a:cubicBezTo>
                    <a:pt x="53" y="135"/>
                    <a:pt x="0" y="139"/>
                    <a:pt x="0" y="195"/>
                  </a:cubicBezTo>
                  <a:cubicBezTo>
                    <a:pt x="0" y="227"/>
                    <a:pt x="28" y="254"/>
                    <a:pt x="59" y="254"/>
                  </a:cubicBezTo>
                  <a:cubicBezTo>
                    <a:pt x="98" y="254"/>
                    <a:pt x="98" y="254"/>
                    <a:pt x="98" y="254"/>
                  </a:cubicBezTo>
                  <a:cubicBezTo>
                    <a:pt x="88" y="240"/>
                    <a:pt x="86" y="224"/>
                    <a:pt x="86" y="2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25" name="Freeform 11"/>
            <p:cNvSpPr>
              <a:spLocks/>
            </p:cNvSpPr>
            <p:nvPr/>
          </p:nvSpPr>
          <p:spPr bwMode="auto">
            <a:xfrm>
              <a:off x="2163" y="1996"/>
              <a:ext cx="800" cy="474"/>
            </a:xfrm>
            <a:custGeom>
              <a:avLst/>
              <a:gdLst>
                <a:gd name="T0" fmla="*/ 297 w 338"/>
                <a:gd name="T1" fmla="*/ 101 h 198"/>
                <a:gd name="T2" fmla="*/ 338 w 338"/>
                <a:gd name="T3" fmla="*/ 151 h 198"/>
                <a:gd name="T4" fmla="*/ 297 w 338"/>
                <a:gd name="T5" fmla="*/ 198 h 198"/>
                <a:gd name="T6" fmla="*/ 61 w 338"/>
                <a:gd name="T7" fmla="*/ 198 h 198"/>
                <a:gd name="T8" fmla="*/ 0 w 338"/>
                <a:gd name="T9" fmla="*/ 135 h 198"/>
                <a:gd name="T10" fmla="*/ 59 w 338"/>
                <a:gd name="T11" fmla="*/ 80 h 198"/>
                <a:gd name="T12" fmla="*/ 116 w 338"/>
                <a:gd name="T13" fmla="*/ 10 h 198"/>
                <a:gd name="T14" fmla="*/ 201 w 338"/>
                <a:gd name="T15" fmla="*/ 42 h 198"/>
                <a:gd name="T16" fmla="*/ 261 w 338"/>
                <a:gd name="T17" fmla="*/ 40 h 198"/>
                <a:gd name="T18" fmla="*/ 297 w 338"/>
                <a:gd name="T19" fmla="*/ 10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8" h="198">
                  <a:moveTo>
                    <a:pt x="297" y="101"/>
                  </a:moveTo>
                  <a:cubicBezTo>
                    <a:pt x="297" y="101"/>
                    <a:pt x="338" y="106"/>
                    <a:pt x="338" y="151"/>
                  </a:cubicBezTo>
                  <a:cubicBezTo>
                    <a:pt x="338" y="172"/>
                    <a:pt x="326" y="198"/>
                    <a:pt x="297" y="198"/>
                  </a:cubicBezTo>
                  <a:cubicBezTo>
                    <a:pt x="297" y="198"/>
                    <a:pt x="76" y="198"/>
                    <a:pt x="61" y="198"/>
                  </a:cubicBezTo>
                  <a:cubicBezTo>
                    <a:pt x="16" y="198"/>
                    <a:pt x="0" y="167"/>
                    <a:pt x="0" y="135"/>
                  </a:cubicBezTo>
                  <a:cubicBezTo>
                    <a:pt x="0" y="82"/>
                    <a:pt x="59" y="80"/>
                    <a:pt x="59" y="80"/>
                  </a:cubicBezTo>
                  <a:cubicBezTo>
                    <a:pt x="59" y="80"/>
                    <a:pt x="64" y="22"/>
                    <a:pt x="116" y="10"/>
                  </a:cubicBezTo>
                  <a:cubicBezTo>
                    <a:pt x="162" y="0"/>
                    <a:pt x="188" y="24"/>
                    <a:pt x="201" y="42"/>
                  </a:cubicBezTo>
                  <a:cubicBezTo>
                    <a:pt x="201" y="42"/>
                    <a:pt x="229" y="26"/>
                    <a:pt x="261" y="40"/>
                  </a:cubicBezTo>
                  <a:cubicBezTo>
                    <a:pt x="280" y="49"/>
                    <a:pt x="298" y="69"/>
                    <a:pt x="297"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26" name="Freeform 12"/>
            <p:cNvSpPr>
              <a:spLocks/>
            </p:cNvSpPr>
            <p:nvPr/>
          </p:nvSpPr>
          <p:spPr bwMode="auto">
            <a:xfrm>
              <a:off x="1924" y="1817"/>
              <a:ext cx="795" cy="607"/>
            </a:xfrm>
            <a:custGeom>
              <a:avLst/>
              <a:gdLst>
                <a:gd name="T0" fmla="*/ 86 w 336"/>
                <a:gd name="T1" fmla="*/ 212 h 254"/>
                <a:gd name="T2" fmla="*/ 149 w 336"/>
                <a:gd name="T3" fmla="*/ 144 h 254"/>
                <a:gd name="T4" fmla="*/ 213 w 336"/>
                <a:gd name="T5" fmla="*/ 73 h 254"/>
                <a:gd name="T6" fmla="*/ 305 w 336"/>
                <a:gd name="T7" fmla="*/ 103 h 254"/>
                <a:gd name="T8" fmla="*/ 336 w 336"/>
                <a:gd name="T9" fmla="*/ 97 h 254"/>
                <a:gd name="T10" fmla="*/ 276 w 336"/>
                <a:gd name="T11" fmla="*/ 19 h 254"/>
                <a:gd name="T12" fmla="*/ 161 w 336"/>
                <a:gd name="T13" fmla="*/ 61 h 254"/>
                <a:gd name="T14" fmla="*/ 92 w 336"/>
                <a:gd name="T15" fmla="*/ 60 h 254"/>
                <a:gd name="T16" fmla="*/ 53 w 336"/>
                <a:gd name="T17" fmla="*/ 135 h 254"/>
                <a:gd name="T18" fmla="*/ 0 w 336"/>
                <a:gd name="T19" fmla="*/ 195 h 254"/>
                <a:gd name="T20" fmla="*/ 59 w 336"/>
                <a:gd name="T21" fmla="*/ 254 h 254"/>
                <a:gd name="T22" fmla="*/ 98 w 336"/>
                <a:gd name="T23" fmla="*/ 254 h 254"/>
                <a:gd name="T24" fmla="*/ 86 w 336"/>
                <a:gd name="T25" fmla="*/ 212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6" h="254">
                  <a:moveTo>
                    <a:pt x="86" y="212"/>
                  </a:moveTo>
                  <a:cubicBezTo>
                    <a:pt x="86" y="153"/>
                    <a:pt x="149" y="144"/>
                    <a:pt x="149" y="144"/>
                  </a:cubicBezTo>
                  <a:cubicBezTo>
                    <a:pt x="149" y="144"/>
                    <a:pt x="157" y="87"/>
                    <a:pt x="213" y="73"/>
                  </a:cubicBezTo>
                  <a:cubicBezTo>
                    <a:pt x="258" y="61"/>
                    <a:pt x="291" y="81"/>
                    <a:pt x="305" y="103"/>
                  </a:cubicBezTo>
                  <a:cubicBezTo>
                    <a:pt x="305" y="103"/>
                    <a:pt x="315" y="96"/>
                    <a:pt x="336" y="97"/>
                  </a:cubicBezTo>
                  <a:cubicBezTo>
                    <a:pt x="334" y="77"/>
                    <a:pt x="320" y="37"/>
                    <a:pt x="276" y="19"/>
                  </a:cubicBezTo>
                  <a:cubicBezTo>
                    <a:pt x="225" y="0"/>
                    <a:pt x="181" y="24"/>
                    <a:pt x="161" y="61"/>
                  </a:cubicBezTo>
                  <a:cubicBezTo>
                    <a:pt x="161" y="61"/>
                    <a:pt x="129" y="41"/>
                    <a:pt x="92" y="60"/>
                  </a:cubicBezTo>
                  <a:cubicBezTo>
                    <a:pt x="66" y="73"/>
                    <a:pt x="50" y="105"/>
                    <a:pt x="53" y="135"/>
                  </a:cubicBezTo>
                  <a:cubicBezTo>
                    <a:pt x="53" y="135"/>
                    <a:pt x="0" y="139"/>
                    <a:pt x="0" y="195"/>
                  </a:cubicBezTo>
                  <a:cubicBezTo>
                    <a:pt x="0" y="227"/>
                    <a:pt x="28" y="254"/>
                    <a:pt x="59" y="254"/>
                  </a:cubicBezTo>
                  <a:cubicBezTo>
                    <a:pt x="98" y="254"/>
                    <a:pt x="98" y="254"/>
                    <a:pt x="98" y="254"/>
                  </a:cubicBezTo>
                  <a:cubicBezTo>
                    <a:pt x="88" y="240"/>
                    <a:pt x="86" y="224"/>
                    <a:pt x="86" y="2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27" name="Freeform 13"/>
            <p:cNvSpPr>
              <a:spLocks noEditPoints="1"/>
            </p:cNvSpPr>
            <p:nvPr/>
          </p:nvSpPr>
          <p:spPr bwMode="auto">
            <a:xfrm>
              <a:off x="3122" y="1934"/>
              <a:ext cx="449" cy="500"/>
            </a:xfrm>
            <a:custGeom>
              <a:avLst/>
              <a:gdLst>
                <a:gd name="T0" fmla="*/ 190 w 190"/>
                <a:gd name="T1" fmla="*/ 102 h 209"/>
                <a:gd name="T2" fmla="*/ 179 w 190"/>
                <a:gd name="T3" fmla="*/ 158 h 209"/>
                <a:gd name="T4" fmla="*/ 145 w 190"/>
                <a:gd name="T5" fmla="*/ 196 h 209"/>
                <a:gd name="T6" fmla="*/ 94 w 190"/>
                <a:gd name="T7" fmla="*/ 209 h 209"/>
                <a:gd name="T8" fmla="*/ 45 w 190"/>
                <a:gd name="T9" fmla="*/ 196 h 209"/>
                <a:gd name="T10" fmla="*/ 12 w 190"/>
                <a:gd name="T11" fmla="*/ 160 h 209"/>
                <a:gd name="T12" fmla="*/ 0 w 190"/>
                <a:gd name="T13" fmla="*/ 107 h 209"/>
                <a:gd name="T14" fmla="*/ 12 w 190"/>
                <a:gd name="T15" fmla="*/ 51 h 209"/>
                <a:gd name="T16" fmla="*/ 46 w 190"/>
                <a:gd name="T17" fmla="*/ 13 h 209"/>
                <a:gd name="T18" fmla="*/ 98 w 190"/>
                <a:gd name="T19" fmla="*/ 0 h 209"/>
                <a:gd name="T20" fmla="*/ 146 w 190"/>
                <a:gd name="T21" fmla="*/ 13 h 209"/>
                <a:gd name="T22" fmla="*/ 179 w 190"/>
                <a:gd name="T23" fmla="*/ 49 h 209"/>
                <a:gd name="T24" fmla="*/ 190 w 190"/>
                <a:gd name="T25" fmla="*/ 102 h 209"/>
                <a:gd name="T26" fmla="*/ 166 w 190"/>
                <a:gd name="T27" fmla="*/ 105 h 209"/>
                <a:gd name="T28" fmla="*/ 147 w 190"/>
                <a:gd name="T29" fmla="*/ 43 h 209"/>
                <a:gd name="T30" fmla="*/ 96 w 190"/>
                <a:gd name="T31" fmla="*/ 21 h 209"/>
                <a:gd name="T32" fmla="*/ 59 w 190"/>
                <a:gd name="T33" fmla="*/ 32 h 209"/>
                <a:gd name="T34" fmla="*/ 34 w 190"/>
                <a:gd name="T35" fmla="*/ 62 h 209"/>
                <a:gd name="T36" fmla="*/ 25 w 190"/>
                <a:gd name="T37" fmla="*/ 105 h 209"/>
                <a:gd name="T38" fmla="*/ 33 w 190"/>
                <a:gd name="T39" fmla="*/ 148 h 209"/>
                <a:gd name="T40" fmla="*/ 58 w 190"/>
                <a:gd name="T41" fmla="*/ 177 h 209"/>
                <a:gd name="T42" fmla="*/ 94 w 190"/>
                <a:gd name="T43" fmla="*/ 187 h 209"/>
                <a:gd name="T44" fmla="*/ 147 w 190"/>
                <a:gd name="T45" fmla="*/ 165 h 209"/>
                <a:gd name="T46" fmla="*/ 166 w 190"/>
                <a:gd name="T47" fmla="*/ 105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0" h="209">
                  <a:moveTo>
                    <a:pt x="190" y="102"/>
                  </a:moveTo>
                  <a:cubicBezTo>
                    <a:pt x="190" y="123"/>
                    <a:pt x="187" y="142"/>
                    <a:pt x="179" y="158"/>
                  </a:cubicBezTo>
                  <a:cubicBezTo>
                    <a:pt x="171" y="174"/>
                    <a:pt x="160" y="187"/>
                    <a:pt x="145" y="196"/>
                  </a:cubicBezTo>
                  <a:cubicBezTo>
                    <a:pt x="130" y="204"/>
                    <a:pt x="113" y="209"/>
                    <a:pt x="94" y="209"/>
                  </a:cubicBezTo>
                  <a:cubicBezTo>
                    <a:pt x="76" y="209"/>
                    <a:pt x="59" y="204"/>
                    <a:pt x="45" y="196"/>
                  </a:cubicBezTo>
                  <a:cubicBezTo>
                    <a:pt x="31" y="187"/>
                    <a:pt x="19" y="175"/>
                    <a:pt x="12" y="160"/>
                  </a:cubicBezTo>
                  <a:cubicBezTo>
                    <a:pt x="4" y="144"/>
                    <a:pt x="0" y="127"/>
                    <a:pt x="0" y="107"/>
                  </a:cubicBezTo>
                  <a:cubicBezTo>
                    <a:pt x="0" y="85"/>
                    <a:pt x="4" y="67"/>
                    <a:pt x="12" y="51"/>
                  </a:cubicBezTo>
                  <a:cubicBezTo>
                    <a:pt x="20" y="34"/>
                    <a:pt x="31" y="22"/>
                    <a:pt x="46" y="13"/>
                  </a:cubicBezTo>
                  <a:cubicBezTo>
                    <a:pt x="61" y="4"/>
                    <a:pt x="78" y="0"/>
                    <a:pt x="98" y="0"/>
                  </a:cubicBezTo>
                  <a:cubicBezTo>
                    <a:pt x="116" y="0"/>
                    <a:pt x="132" y="4"/>
                    <a:pt x="146" y="13"/>
                  </a:cubicBezTo>
                  <a:cubicBezTo>
                    <a:pt x="160" y="21"/>
                    <a:pt x="171" y="33"/>
                    <a:pt x="179" y="49"/>
                  </a:cubicBezTo>
                  <a:cubicBezTo>
                    <a:pt x="187" y="64"/>
                    <a:pt x="190" y="82"/>
                    <a:pt x="190" y="102"/>
                  </a:cubicBezTo>
                  <a:close/>
                  <a:moveTo>
                    <a:pt x="166" y="105"/>
                  </a:moveTo>
                  <a:cubicBezTo>
                    <a:pt x="166" y="79"/>
                    <a:pt x="160" y="58"/>
                    <a:pt x="147" y="43"/>
                  </a:cubicBezTo>
                  <a:cubicBezTo>
                    <a:pt x="135" y="29"/>
                    <a:pt x="118" y="21"/>
                    <a:pt x="96" y="21"/>
                  </a:cubicBezTo>
                  <a:cubicBezTo>
                    <a:pt x="82" y="21"/>
                    <a:pt x="70" y="25"/>
                    <a:pt x="59" y="32"/>
                  </a:cubicBezTo>
                  <a:cubicBezTo>
                    <a:pt x="48" y="39"/>
                    <a:pt x="40" y="49"/>
                    <a:pt x="34" y="62"/>
                  </a:cubicBezTo>
                  <a:cubicBezTo>
                    <a:pt x="28" y="74"/>
                    <a:pt x="25" y="89"/>
                    <a:pt x="25" y="105"/>
                  </a:cubicBezTo>
                  <a:cubicBezTo>
                    <a:pt x="25" y="121"/>
                    <a:pt x="27" y="135"/>
                    <a:pt x="33" y="148"/>
                  </a:cubicBezTo>
                  <a:cubicBezTo>
                    <a:pt x="39" y="160"/>
                    <a:pt x="47" y="170"/>
                    <a:pt x="58" y="177"/>
                  </a:cubicBezTo>
                  <a:cubicBezTo>
                    <a:pt x="69" y="184"/>
                    <a:pt x="81" y="187"/>
                    <a:pt x="94" y="187"/>
                  </a:cubicBezTo>
                  <a:cubicBezTo>
                    <a:pt x="117" y="187"/>
                    <a:pt x="134" y="180"/>
                    <a:pt x="147" y="165"/>
                  </a:cubicBezTo>
                  <a:cubicBezTo>
                    <a:pt x="159" y="151"/>
                    <a:pt x="166" y="131"/>
                    <a:pt x="166" y="1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28" name="Freeform 14"/>
            <p:cNvSpPr>
              <a:spLocks/>
            </p:cNvSpPr>
            <p:nvPr/>
          </p:nvSpPr>
          <p:spPr bwMode="auto">
            <a:xfrm>
              <a:off x="3642" y="2073"/>
              <a:ext cx="282" cy="351"/>
            </a:xfrm>
            <a:custGeom>
              <a:avLst/>
              <a:gdLst>
                <a:gd name="T0" fmla="*/ 119 w 119"/>
                <a:gd name="T1" fmla="*/ 147 h 147"/>
                <a:gd name="T2" fmla="*/ 96 w 119"/>
                <a:gd name="T3" fmla="*/ 147 h 147"/>
                <a:gd name="T4" fmla="*/ 96 w 119"/>
                <a:gd name="T5" fmla="*/ 65 h 147"/>
                <a:gd name="T6" fmla="*/ 63 w 119"/>
                <a:gd name="T7" fmla="*/ 19 h 147"/>
                <a:gd name="T8" fmla="*/ 34 w 119"/>
                <a:gd name="T9" fmla="*/ 32 h 147"/>
                <a:gd name="T10" fmla="*/ 23 w 119"/>
                <a:gd name="T11" fmla="*/ 65 h 147"/>
                <a:gd name="T12" fmla="*/ 23 w 119"/>
                <a:gd name="T13" fmla="*/ 147 h 147"/>
                <a:gd name="T14" fmla="*/ 0 w 119"/>
                <a:gd name="T15" fmla="*/ 147 h 147"/>
                <a:gd name="T16" fmla="*/ 0 w 119"/>
                <a:gd name="T17" fmla="*/ 3 h 147"/>
                <a:gd name="T18" fmla="*/ 23 w 119"/>
                <a:gd name="T19" fmla="*/ 3 h 147"/>
                <a:gd name="T20" fmla="*/ 23 w 119"/>
                <a:gd name="T21" fmla="*/ 27 h 147"/>
                <a:gd name="T22" fmla="*/ 23 w 119"/>
                <a:gd name="T23" fmla="*/ 27 h 147"/>
                <a:gd name="T24" fmla="*/ 71 w 119"/>
                <a:gd name="T25" fmla="*/ 0 h 147"/>
                <a:gd name="T26" fmla="*/ 107 w 119"/>
                <a:gd name="T27" fmla="*/ 15 h 147"/>
                <a:gd name="T28" fmla="*/ 119 w 119"/>
                <a:gd name="T29" fmla="*/ 59 h 147"/>
                <a:gd name="T30" fmla="*/ 119 w 119"/>
                <a:gd name="T31"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47">
                  <a:moveTo>
                    <a:pt x="119" y="147"/>
                  </a:moveTo>
                  <a:cubicBezTo>
                    <a:pt x="96" y="147"/>
                    <a:pt x="96" y="147"/>
                    <a:pt x="96" y="147"/>
                  </a:cubicBezTo>
                  <a:cubicBezTo>
                    <a:pt x="96" y="65"/>
                    <a:pt x="96" y="65"/>
                    <a:pt x="96" y="65"/>
                  </a:cubicBezTo>
                  <a:cubicBezTo>
                    <a:pt x="96" y="35"/>
                    <a:pt x="85" y="19"/>
                    <a:pt x="63" y="19"/>
                  </a:cubicBezTo>
                  <a:cubicBezTo>
                    <a:pt x="51" y="19"/>
                    <a:pt x="42" y="24"/>
                    <a:pt x="34" y="32"/>
                  </a:cubicBezTo>
                  <a:cubicBezTo>
                    <a:pt x="27" y="41"/>
                    <a:pt x="23" y="52"/>
                    <a:pt x="23" y="65"/>
                  </a:cubicBezTo>
                  <a:cubicBezTo>
                    <a:pt x="23" y="147"/>
                    <a:pt x="23" y="147"/>
                    <a:pt x="23" y="147"/>
                  </a:cubicBezTo>
                  <a:cubicBezTo>
                    <a:pt x="0" y="147"/>
                    <a:pt x="0" y="147"/>
                    <a:pt x="0" y="147"/>
                  </a:cubicBezTo>
                  <a:cubicBezTo>
                    <a:pt x="0" y="3"/>
                    <a:pt x="0" y="3"/>
                    <a:pt x="0" y="3"/>
                  </a:cubicBezTo>
                  <a:cubicBezTo>
                    <a:pt x="23" y="3"/>
                    <a:pt x="23" y="3"/>
                    <a:pt x="23" y="3"/>
                  </a:cubicBezTo>
                  <a:cubicBezTo>
                    <a:pt x="23" y="27"/>
                    <a:pt x="23" y="27"/>
                    <a:pt x="23" y="27"/>
                  </a:cubicBezTo>
                  <a:cubicBezTo>
                    <a:pt x="23" y="27"/>
                    <a:pt x="23" y="27"/>
                    <a:pt x="23" y="27"/>
                  </a:cubicBezTo>
                  <a:cubicBezTo>
                    <a:pt x="34" y="9"/>
                    <a:pt x="50" y="0"/>
                    <a:pt x="71" y="0"/>
                  </a:cubicBezTo>
                  <a:cubicBezTo>
                    <a:pt x="87" y="0"/>
                    <a:pt x="99" y="5"/>
                    <a:pt x="107" y="15"/>
                  </a:cubicBezTo>
                  <a:cubicBezTo>
                    <a:pt x="115" y="25"/>
                    <a:pt x="119" y="40"/>
                    <a:pt x="119" y="59"/>
                  </a:cubicBezTo>
                  <a:lnTo>
                    <a:pt x="119" y="1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29" name="Freeform 15"/>
            <p:cNvSpPr>
              <a:spLocks noEditPoints="1"/>
            </p:cNvSpPr>
            <p:nvPr/>
          </p:nvSpPr>
          <p:spPr bwMode="auto">
            <a:xfrm>
              <a:off x="3986" y="2073"/>
              <a:ext cx="295" cy="361"/>
            </a:xfrm>
            <a:custGeom>
              <a:avLst/>
              <a:gdLst>
                <a:gd name="T0" fmla="*/ 125 w 125"/>
                <a:gd name="T1" fmla="*/ 81 h 151"/>
                <a:gd name="T2" fmla="*/ 24 w 125"/>
                <a:gd name="T3" fmla="*/ 81 h 151"/>
                <a:gd name="T4" fmla="*/ 36 w 125"/>
                <a:gd name="T5" fmla="*/ 118 h 151"/>
                <a:gd name="T6" fmla="*/ 71 w 125"/>
                <a:gd name="T7" fmla="*/ 131 h 151"/>
                <a:gd name="T8" fmla="*/ 115 w 125"/>
                <a:gd name="T9" fmla="*/ 115 h 151"/>
                <a:gd name="T10" fmla="*/ 115 w 125"/>
                <a:gd name="T11" fmla="*/ 137 h 151"/>
                <a:gd name="T12" fmla="*/ 65 w 125"/>
                <a:gd name="T13" fmla="*/ 151 h 151"/>
                <a:gd name="T14" fmla="*/ 17 w 125"/>
                <a:gd name="T15" fmla="*/ 131 h 151"/>
                <a:gd name="T16" fmla="*/ 0 w 125"/>
                <a:gd name="T17" fmla="*/ 76 h 151"/>
                <a:gd name="T18" fmla="*/ 8 w 125"/>
                <a:gd name="T19" fmla="*/ 37 h 151"/>
                <a:gd name="T20" fmla="*/ 32 w 125"/>
                <a:gd name="T21" fmla="*/ 9 h 151"/>
                <a:gd name="T22" fmla="*/ 66 w 125"/>
                <a:gd name="T23" fmla="*/ 0 h 151"/>
                <a:gd name="T24" fmla="*/ 110 w 125"/>
                <a:gd name="T25" fmla="*/ 18 h 151"/>
                <a:gd name="T26" fmla="*/ 125 w 125"/>
                <a:gd name="T27" fmla="*/ 69 h 151"/>
                <a:gd name="T28" fmla="*/ 125 w 125"/>
                <a:gd name="T29" fmla="*/ 81 h 151"/>
                <a:gd name="T30" fmla="*/ 102 w 125"/>
                <a:gd name="T31" fmla="*/ 61 h 151"/>
                <a:gd name="T32" fmla="*/ 92 w 125"/>
                <a:gd name="T33" fmla="*/ 30 h 151"/>
                <a:gd name="T34" fmla="*/ 66 w 125"/>
                <a:gd name="T35" fmla="*/ 19 h 151"/>
                <a:gd name="T36" fmla="*/ 38 w 125"/>
                <a:gd name="T37" fmla="*/ 31 h 151"/>
                <a:gd name="T38" fmla="*/ 24 w 125"/>
                <a:gd name="T39" fmla="*/ 61 h 151"/>
                <a:gd name="T40" fmla="*/ 102 w 125"/>
                <a:gd name="T41" fmla="*/ 6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5" h="151">
                  <a:moveTo>
                    <a:pt x="125" y="81"/>
                  </a:moveTo>
                  <a:cubicBezTo>
                    <a:pt x="24" y="81"/>
                    <a:pt x="24" y="81"/>
                    <a:pt x="24" y="81"/>
                  </a:cubicBezTo>
                  <a:cubicBezTo>
                    <a:pt x="24" y="97"/>
                    <a:pt x="28" y="110"/>
                    <a:pt x="36" y="118"/>
                  </a:cubicBezTo>
                  <a:cubicBezTo>
                    <a:pt x="45" y="127"/>
                    <a:pt x="56" y="131"/>
                    <a:pt x="71" y="131"/>
                  </a:cubicBezTo>
                  <a:cubicBezTo>
                    <a:pt x="87" y="131"/>
                    <a:pt x="102" y="126"/>
                    <a:pt x="115" y="115"/>
                  </a:cubicBezTo>
                  <a:cubicBezTo>
                    <a:pt x="115" y="137"/>
                    <a:pt x="115" y="137"/>
                    <a:pt x="115" y="137"/>
                  </a:cubicBezTo>
                  <a:cubicBezTo>
                    <a:pt x="103" y="146"/>
                    <a:pt x="86" y="151"/>
                    <a:pt x="65" y="151"/>
                  </a:cubicBezTo>
                  <a:cubicBezTo>
                    <a:pt x="44" y="151"/>
                    <a:pt x="28" y="144"/>
                    <a:pt x="17" y="131"/>
                  </a:cubicBezTo>
                  <a:cubicBezTo>
                    <a:pt x="5" y="118"/>
                    <a:pt x="0" y="99"/>
                    <a:pt x="0" y="76"/>
                  </a:cubicBezTo>
                  <a:cubicBezTo>
                    <a:pt x="0" y="62"/>
                    <a:pt x="3" y="48"/>
                    <a:pt x="8" y="37"/>
                  </a:cubicBezTo>
                  <a:cubicBezTo>
                    <a:pt x="14" y="25"/>
                    <a:pt x="22" y="16"/>
                    <a:pt x="32" y="9"/>
                  </a:cubicBezTo>
                  <a:cubicBezTo>
                    <a:pt x="42" y="3"/>
                    <a:pt x="53" y="0"/>
                    <a:pt x="66" y="0"/>
                  </a:cubicBezTo>
                  <a:cubicBezTo>
                    <a:pt x="85" y="0"/>
                    <a:pt x="99" y="6"/>
                    <a:pt x="110" y="18"/>
                  </a:cubicBezTo>
                  <a:cubicBezTo>
                    <a:pt x="120" y="30"/>
                    <a:pt x="125" y="47"/>
                    <a:pt x="125" y="69"/>
                  </a:cubicBezTo>
                  <a:lnTo>
                    <a:pt x="125" y="81"/>
                  </a:lnTo>
                  <a:close/>
                  <a:moveTo>
                    <a:pt x="102" y="61"/>
                  </a:moveTo>
                  <a:cubicBezTo>
                    <a:pt x="101" y="48"/>
                    <a:pt x="98" y="38"/>
                    <a:pt x="92" y="30"/>
                  </a:cubicBezTo>
                  <a:cubicBezTo>
                    <a:pt x="86" y="23"/>
                    <a:pt x="77" y="19"/>
                    <a:pt x="66" y="19"/>
                  </a:cubicBezTo>
                  <a:cubicBezTo>
                    <a:pt x="55" y="19"/>
                    <a:pt x="46" y="23"/>
                    <a:pt x="38" y="31"/>
                  </a:cubicBezTo>
                  <a:cubicBezTo>
                    <a:pt x="31" y="39"/>
                    <a:pt x="26" y="49"/>
                    <a:pt x="24" y="61"/>
                  </a:cubicBezTo>
                  <a:lnTo>
                    <a:pt x="10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30" name="Freeform 16"/>
            <p:cNvSpPr>
              <a:spLocks noEditPoints="1"/>
            </p:cNvSpPr>
            <p:nvPr/>
          </p:nvSpPr>
          <p:spPr bwMode="auto">
            <a:xfrm>
              <a:off x="4352" y="1944"/>
              <a:ext cx="384" cy="480"/>
            </a:xfrm>
            <a:custGeom>
              <a:avLst/>
              <a:gdLst>
                <a:gd name="T0" fmla="*/ 162 w 162"/>
                <a:gd name="T1" fmla="*/ 98 h 201"/>
                <a:gd name="T2" fmla="*/ 148 w 162"/>
                <a:gd name="T3" fmla="*/ 152 h 201"/>
                <a:gd name="T4" fmla="*/ 110 w 162"/>
                <a:gd name="T5" fmla="*/ 188 h 201"/>
                <a:gd name="T6" fmla="*/ 53 w 162"/>
                <a:gd name="T7" fmla="*/ 201 h 201"/>
                <a:gd name="T8" fmla="*/ 0 w 162"/>
                <a:gd name="T9" fmla="*/ 201 h 201"/>
                <a:gd name="T10" fmla="*/ 0 w 162"/>
                <a:gd name="T11" fmla="*/ 0 h 201"/>
                <a:gd name="T12" fmla="*/ 56 w 162"/>
                <a:gd name="T13" fmla="*/ 0 h 201"/>
                <a:gd name="T14" fmla="*/ 162 w 162"/>
                <a:gd name="T15" fmla="*/ 98 h 201"/>
                <a:gd name="T16" fmla="*/ 137 w 162"/>
                <a:gd name="T17" fmla="*/ 98 h 201"/>
                <a:gd name="T18" fmla="*/ 55 w 162"/>
                <a:gd name="T19" fmla="*/ 21 h 201"/>
                <a:gd name="T20" fmla="*/ 23 w 162"/>
                <a:gd name="T21" fmla="*/ 21 h 201"/>
                <a:gd name="T22" fmla="*/ 23 w 162"/>
                <a:gd name="T23" fmla="*/ 180 h 201"/>
                <a:gd name="T24" fmla="*/ 53 w 162"/>
                <a:gd name="T25" fmla="*/ 180 h 201"/>
                <a:gd name="T26" fmla="*/ 115 w 162"/>
                <a:gd name="T27" fmla="*/ 159 h 201"/>
                <a:gd name="T28" fmla="*/ 137 w 162"/>
                <a:gd name="T29" fmla="*/ 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2" h="201">
                  <a:moveTo>
                    <a:pt x="162" y="98"/>
                  </a:moveTo>
                  <a:cubicBezTo>
                    <a:pt x="162" y="118"/>
                    <a:pt x="157" y="136"/>
                    <a:pt x="148" y="152"/>
                  </a:cubicBezTo>
                  <a:cubicBezTo>
                    <a:pt x="139" y="168"/>
                    <a:pt x="127" y="180"/>
                    <a:pt x="110" y="188"/>
                  </a:cubicBezTo>
                  <a:cubicBezTo>
                    <a:pt x="94" y="197"/>
                    <a:pt x="75" y="201"/>
                    <a:pt x="53" y="201"/>
                  </a:cubicBezTo>
                  <a:cubicBezTo>
                    <a:pt x="0" y="201"/>
                    <a:pt x="0" y="201"/>
                    <a:pt x="0" y="201"/>
                  </a:cubicBezTo>
                  <a:cubicBezTo>
                    <a:pt x="0" y="0"/>
                    <a:pt x="0" y="0"/>
                    <a:pt x="0" y="0"/>
                  </a:cubicBezTo>
                  <a:cubicBezTo>
                    <a:pt x="56" y="0"/>
                    <a:pt x="56" y="0"/>
                    <a:pt x="56" y="0"/>
                  </a:cubicBezTo>
                  <a:cubicBezTo>
                    <a:pt x="127" y="0"/>
                    <a:pt x="162" y="32"/>
                    <a:pt x="162" y="98"/>
                  </a:cubicBezTo>
                  <a:close/>
                  <a:moveTo>
                    <a:pt x="137" y="98"/>
                  </a:moveTo>
                  <a:cubicBezTo>
                    <a:pt x="137" y="47"/>
                    <a:pt x="110" y="21"/>
                    <a:pt x="55" y="21"/>
                  </a:cubicBezTo>
                  <a:cubicBezTo>
                    <a:pt x="23" y="21"/>
                    <a:pt x="23" y="21"/>
                    <a:pt x="23" y="21"/>
                  </a:cubicBezTo>
                  <a:cubicBezTo>
                    <a:pt x="23" y="180"/>
                    <a:pt x="23" y="180"/>
                    <a:pt x="23" y="180"/>
                  </a:cubicBezTo>
                  <a:cubicBezTo>
                    <a:pt x="53" y="180"/>
                    <a:pt x="53" y="180"/>
                    <a:pt x="53" y="180"/>
                  </a:cubicBezTo>
                  <a:cubicBezTo>
                    <a:pt x="80" y="180"/>
                    <a:pt x="101" y="173"/>
                    <a:pt x="115" y="159"/>
                  </a:cubicBezTo>
                  <a:cubicBezTo>
                    <a:pt x="130" y="144"/>
                    <a:pt x="137" y="124"/>
                    <a:pt x="137" y="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31" name="Freeform 17"/>
            <p:cNvSpPr>
              <a:spLocks/>
            </p:cNvSpPr>
            <p:nvPr/>
          </p:nvSpPr>
          <p:spPr bwMode="auto">
            <a:xfrm>
              <a:off x="4804" y="2075"/>
              <a:ext cx="180" cy="349"/>
            </a:xfrm>
            <a:custGeom>
              <a:avLst/>
              <a:gdLst>
                <a:gd name="T0" fmla="*/ 76 w 76"/>
                <a:gd name="T1" fmla="*/ 26 h 146"/>
                <a:gd name="T2" fmla="*/ 58 w 76"/>
                <a:gd name="T3" fmla="*/ 21 h 146"/>
                <a:gd name="T4" fmla="*/ 33 w 76"/>
                <a:gd name="T5" fmla="*/ 35 h 146"/>
                <a:gd name="T6" fmla="*/ 24 w 76"/>
                <a:gd name="T7" fmla="*/ 73 h 146"/>
                <a:gd name="T8" fmla="*/ 24 w 76"/>
                <a:gd name="T9" fmla="*/ 146 h 146"/>
                <a:gd name="T10" fmla="*/ 0 w 76"/>
                <a:gd name="T11" fmla="*/ 146 h 146"/>
                <a:gd name="T12" fmla="*/ 0 w 76"/>
                <a:gd name="T13" fmla="*/ 2 h 146"/>
                <a:gd name="T14" fmla="*/ 24 w 76"/>
                <a:gd name="T15" fmla="*/ 2 h 146"/>
                <a:gd name="T16" fmla="*/ 24 w 76"/>
                <a:gd name="T17" fmla="*/ 32 h 146"/>
                <a:gd name="T18" fmla="*/ 24 w 76"/>
                <a:gd name="T19" fmla="*/ 32 h 146"/>
                <a:gd name="T20" fmla="*/ 39 w 76"/>
                <a:gd name="T21" fmla="*/ 8 h 146"/>
                <a:gd name="T22" fmla="*/ 62 w 76"/>
                <a:gd name="T23" fmla="*/ 0 h 146"/>
                <a:gd name="T24" fmla="*/ 76 w 76"/>
                <a:gd name="T25" fmla="*/ 2 h 146"/>
                <a:gd name="T26" fmla="*/ 76 w 76"/>
                <a:gd name="T27" fmla="*/ 2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6" h="146">
                  <a:moveTo>
                    <a:pt x="76" y="26"/>
                  </a:moveTo>
                  <a:cubicBezTo>
                    <a:pt x="71" y="22"/>
                    <a:pt x="66" y="21"/>
                    <a:pt x="58" y="21"/>
                  </a:cubicBezTo>
                  <a:cubicBezTo>
                    <a:pt x="48" y="21"/>
                    <a:pt x="39" y="26"/>
                    <a:pt x="33" y="35"/>
                  </a:cubicBezTo>
                  <a:cubicBezTo>
                    <a:pt x="27" y="45"/>
                    <a:pt x="24" y="57"/>
                    <a:pt x="24" y="73"/>
                  </a:cubicBezTo>
                  <a:cubicBezTo>
                    <a:pt x="24" y="146"/>
                    <a:pt x="24" y="146"/>
                    <a:pt x="24" y="146"/>
                  </a:cubicBezTo>
                  <a:cubicBezTo>
                    <a:pt x="0" y="146"/>
                    <a:pt x="0" y="146"/>
                    <a:pt x="0" y="146"/>
                  </a:cubicBezTo>
                  <a:cubicBezTo>
                    <a:pt x="0" y="2"/>
                    <a:pt x="0" y="2"/>
                    <a:pt x="0" y="2"/>
                  </a:cubicBezTo>
                  <a:cubicBezTo>
                    <a:pt x="24" y="2"/>
                    <a:pt x="24" y="2"/>
                    <a:pt x="24" y="2"/>
                  </a:cubicBezTo>
                  <a:cubicBezTo>
                    <a:pt x="24" y="32"/>
                    <a:pt x="24" y="32"/>
                    <a:pt x="24" y="32"/>
                  </a:cubicBezTo>
                  <a:cubicBezTo>
                    <a:pt x="24" y="32"/>
                    <a:pt x="24" y="32"/>
                    <a:pt x="24" y="32"/>
                  </a:cubicBezTo>
                  <a:cubicBezTo>
                    <a:pt x="27" y="22"/>
                    <a:pt x="32" y="14"/>
                    <a:pt x="39" y="8"/>
                  </a:cubicBezTo>
                  <a:cubicBezTo>
                    <a:pt x="46" y="3"/>
                    <a:pt x="53" y="0"/>
                    <a:pt x="62" y="0"/>
                  </a:cubicBezTo>
                  <a:cubicBezTo>
                    <a:pt x="68" y="0"/>
                    <a:pt x="72" y="0"/>
                    <a:pt x="76" y="2"/>
                  </a:cubicBezTo>
                  <a:lnTo>
                    <a:pt x="76"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32" name="Freeform 18"/>
            <p:cNvSpPr>
              <a:spLocks noEditPoints="1"/>
            </p:cNvSpPr>
            <p:nvPr/>
          </p:nvSpPr>
          <p:spPr bwMode="auto">
            <a:xfrm>
              <a:off x="5017" y="1922"/>
              <a:ext cx="74" cy="502"/>
            </a:xfrm>
            <a:custGeom>
              <a:avLst/>
              <a:gdLst>
                <a:gd name="T0" fmla="*/ 31 w 31"/>
                <a:gd name="T1" fmla="*/ 15 h 210"/>
                <a:gd name="T2" fmla="*/ 26 w 31"/>
                <a:gd name="T3" fmla="*/ 25 h 210"/>
                <a:gd name="T4" fmla="*/ 15 w 31"/>
                <a:gd name="T5" fmla="*/ 30 h 210"/>
                <a:gd name="T6" fmla="*/ 5 w 31"/>
                <a:gd name="T7" fmla="*/ 25 h 210"/>
                <a:gd name="T8" fmla="*/ 0 w 31"/>
                <a:gd name="T9" fmla="*/ 15 h 210"/>
                <a:gd name="T10" fmla="*/ 5 w 31"/>
                <a:gd name="T11" fmla="*/ 4 h 210"/>
                <a:gd name="T12" fmla="*/ 15 w 31"/>
                <a:gd name="T13" fmla="*/ 0 h 210"/>
                <a:gd name="T14" fmla="*/ 26 w 31"/>
                <a:gd name="T15" fmla="*/ 4 h 210"/>
                <a:gd name="T16" fmla="*/ 31 w 31"/>
                <a:gd name="T17" fmla="*/ 15 h 210"/>
                <a:gd name="T18" fmla="*/ 27 w 31"/>
                <a:gd name="T19" fmla="*/ 210 h 210"/>
                <a:gd name="T20" fmla="*/ 4 w 31"/>
                <a:gd name="T21" fmla="*/ 210 h 210"/>
                <a:gd name="T22" fmla="*/ 4 w 31"/>
                <a:gd name="T23" fmla="*/ 66 h 210"/>
                <a:gd name="T24" fmla="*/ 27 w 31"/>
                <a:gd name="T25" fmla="*/ 66 h 210"/>
                <a:gd name="T26" fmla="*/ 27 w 31"/>
                <a:gd name="T27" fmla="*/ 21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 h="210">
                  <a:moveTo>
                    <a:pt x="31" y="15"/>
                  </a:moveTo>
                  <a:cubicBezTo>
                    <a:pt x="31" y="19"/>
                    <a:pt x="29" y="22"/>
                    <a:pt x="26" y="25"/>
                  </a:cubicBezTo>
                  <a:cubicBezTo>
                    <a:pt x="23" y="28"/>
                    <a:pt x="20" y="30"/>
                    <a:pt x="15" y="30"/>
                  </a:cubicBezTo>
                  <a:cubicBezTo>
                    <a:pt x="11" y="30"/>
                    <a:pt x="8" y="28"/>
                    <a:pt x="5" y="25"/>
                  </a:cubicBezTo>
                  <a:cubicBezTo>
                    <a:pt x="2" y="23"/>
                    <a:pt x="0" y="19"/>
                    <a:pt x="0" y="15"/>
                  </a:cubicBezTo>
                  <a:cubicBezTo>
                    <a:pt x="0" y="11"/>
                    <a:pt x="2" y="7"/>
                    <a:pt x="5" y="4"/>
                  </a:cubicBezTo>
                  <a:cubicBezTo>
                    <a:pt x="7" y="1"/>
                    <a:pt x="11" y="0"/>
                    <a:pt x="15" y="0"/>
                  </a:cubicBezTo>
                  <a:cubicBezTo>
                    <a:pt x="20" y="0"/>
                    <a:pt x="23" y="1"/>
                    <a:pt x="26" y="4"/>
                  </a:cubicBezTo>
                  <a:cubicBezTo>
                    <a:pt x="29" y="7"/>
                    <a:pt x="31" y="10"/>
                    <a:pt x="31" y="15"/>
                  </a:cubicBezTo>
                  <a:close/>
                  <a:moveTo>
                    <a:pt x="27" y="210"/>
                  </a:moveTo>
                  <a:cubicBezTo>
                    <a:pt x="4" y="210"/>
                    <a:pt x="4" y="210"/>
                    <a:pt x="4" y="210"/>
                  </a:cubicBezTo>
                  <a:cubicBezTo>
                    <a:pt x="4" y="66"/>
                    <a:pt x="4" y="66"/>
                    <a:pt x="4" y="66"/>
                  </a:cubicBezTo>
                  <a:cubicBezTo>
                    <a:pt x="27" y="66"/>
                    <a:pt x="27" y="66"/>
                    <a:pt x="27" y="66"/>
                  </a:cubicBezTo>
                  <a:lnTo>
                    <a:pt x="27"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33" name="Freeform 19"/>
            <p:cNvSpPr>
              <a:spLocks/>
            </p:cNvSpPr>
            <p:nvPr/>
          </p:nvSpPr>
          <p:spPr bwMode="auto">
            <a:xfrm>
              <a:off x="5124" y="2080"/>
              <a:ext cx="317" cy="344"/>
            </a:xfrm>
            <a:custGeom>
              <a:avLst/>
              <a:gdLst>
                <a:gd name="T0" fmla="*/ 134 w 134"/>
                <a:gd name="T1" fmla="*/ 0 h 144"/>
                <a:gd name="T2" fmla="*/ 77 w 134"/>
                <a:gd name="T3" fmla="*/ 144 h 144"/>
                <a:gd name="T4" fmla="*/ 54 w 134"/>
                <a:gd name="T5" fmla="*/ 144 h 144"/>
                <a:gd name="T6" fmla="*/ 0 w 134"/>
                <a:gd name="T7" fmla="*/ 0 h 144"/>
                <a:gd name="T8" fmla="*/ 25 w 134"/>
                <a:gd name="T9" fmla="*/ 0 h 144"/>
                <a:gd name="T10" fmla="*/ 62 w 134"/>
                <a:gd name="T11" fmla="*/ 105 h 144"/>
                <a:gd name="T12" fmla="*/ 67 w 134"/>
                <a:gd name="T13" fmla="*/ 125 h 144"/>
                <a:gd name="T14" fmla="*/ 67 w 134"/>
                <a:gd name="T15" fmla="*/ 125 h 144"/>
                <a:gd name="T16" fmla="*/ 72 w 134"/>
                <a:gd name="T17" fmla="*/ 105 h 144"/>
                <a:gd name="T18" fmla="*/ 110 w 134"/>
                <a:gd name="T19" fmla="*/ 0 h 144"/>
                <a:gd name="T20" fmla="*/ 134 w 134"/>
                <a:gd name="T2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4" h="144">
                  <a:moveTo>
                    <a:pt x="134" y="0"/>
                  </a:moveTo>
                  <a:cubicBezTo>
                    <a:pt x="77" y="144"/>
                    <a:pt x="77" y="144"/>
                    <a:pt x="77" y="144"/>
                  </a:cubicBezTo>
                  <a:cubicBezTo>
                    <a:pt x="54" y="144"/>
                    <a:pt x="54" y="144"/>
                    <a:pt x="54" y="144"/>
                  </a:cubicBezTo>
                  <a:cubicBezTo>
                    <a:pt x="0" y="0"/>
                    <a:pt x="0" y="0"/>
                    <a:pt x="0" y="0"/>
                  </a:cubicBezTo>
                  <a:cubicBezTo>
                    <a:pt x="25" y="0"/>
                    <a:pt x="25" y="0"/>
                    <a:pt x="25" y="0"/>
                  </a:cubicBezTo>
                  <a:cubicBezTo>
                    <a:pt x="62" y="105"/>
                    <a:pt x="62" y="105"/>
                    <a:pt x="62" y="105"/>
                  </a:cubicBezTo>
                  <a:cubicBezTo>
                    <a:pt x="64" y="110"/>
                    <a:pt x="65" y="117"/>
                    <a:pt x="67" y="125"/>
                  </a:cubicBezTo>
                  <a:cubicBezTo>
                    <a:pt x="67" y="125"/>
                    <a:pt x="67" y="125"/>
                    <a:pt x="67" y="125"/>
                  </a:cubicBezTo>
                  <a:cubicBezTo>
                    <a:pt x="68" y="118"/>
                    <a:pt x="70" y="111"/>
                    <a:pt x="72" y="105"/>
                  </a:cubicBezTo>
                  <a:cubicBezTo>
                    <a:pt x="110" y="0"/>
                    <a:pt x="110" y="0"/>
                    <a:pt x="110" y="0"/>
                  </a:cubicBezTo>
                  <a:lnTo>
                    <a:pt x="1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34" name="Freeform 20"/>
            <p:cNvSpPr>
              <a:spLocks noEditPoints="1"/>
            </p:cNvSpPr>
            <p:nvPr/>
          </p:nvSpPr>
          <p:spPr bwMode="auto">
            <a:xfrm>
              <a:off x="5458" y="2073"/>
              <a:ext cx="296" cy="361"/>
            </a:xfrm>
            <a:custGeom>
              <a:avLst/>
              <a:gdLst>
                <a:gd name="T0" fmla="*/ 125 w 125"/>
                <a:gd name="T1" fmla="*/ 81 h 151"/>
                <a:gd name="T2" fmla="*/ 24 w 125"/>
                <a:gd name="T3" fmla="*/ 81 h 151"/>
                <a:gd name="T4" fmla="*/ 37 w 125"/>
                <a:gd name="T5" fmla="*/ 118 h 151"/>
                <a:gd name="T6" fmla="*/ 71 w 125"/>
                <a:gd name="T7" fmla="*/ 131 h 151"/>
                <a:gd name="T8" fmla="*/ 115 w 125"/>
                <a:gd name="T9" fmla="*/ 115 h 151"/>
                <a:gd name="T10" fmla="*/ 115 w 125"/>
                <a:gd name="T11" fmla="*/ 137 h 151"/>
                <a:gd name="T12" fmla="*/ 65 w 125"/>
                <a:gd name="T13" fmla="*/ 151 h 151"/>
                <a:gd name="T14" fmla="*/ 17 w 125"/>
                <a:gd name="T15" fmla="*/ 131 h 151"/>
                <a:gd name="T16" fmla="*/ 0 w 125"/>
                <a:gd name="T17" fmla="*/ 76 h 151"/>
                <a:gd name="T18" fmla="*/ 9 w 125"/>
                <a:gd name="T19" fmla="*/ 37 h 151"/>
                <a:gd name="T20" fmla="*/ 32 w 125"/>
                <a:gd name="T21" fmla="*/ 9 h 151"/>
                <a:gd name="T22" fmla="*/ 66 w 125"/>
                <a:gd name="T23" fmla="*/ 0 h 151"/>
                <a:gd name="T24" fmla="*/ 110 w 125"/>
                <a:gd name="T25" fmla="*/ 18 h 151"/>
                <a:gd name="T26" fmla="*/ 125 w 125"/>
                <a:gd name="T27" fmla="*/ 69 h 151"/>
                <a:gd name="T28" fmla="*/ 125 w 125"/>
                <a:gd name="T29" fmla="*/ 81 h 151"/>
                <a:gd name="T30" fmla="*/ 102 w 125"/>
                <a:gd name="T31" fmla="*/ 61 h 151"/>
                <a:gd name="T32" fmla="*/ 92 w 125"/>
                <a:gd name="T33" fmla="*/ 30 h 151"/>
                <a:gd name="T34" fmla="*/ 66 w 125"/>
                <a:gd name="T35" fmla="*/ 19 h 151"/>
                <a:gd name="T36" fmla="*/ 38 w 125"/>
                <a:gd name="T37" fmla="*/ 31 h 151"/>
                <a:gd name="T38" fmla="*/ 24 w 125"/>
                <a:gd name="T39" fmla="*/ 61 h 151"/>
                <a:gd name="T40" fmla="*/ 102 w 125"/>
                <a:gd name="T41" fmla="*/ 6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5" h="151">
                  <a:moveTo>
                    <a:pt x="125" y="81"/>
                  </a:moveTo>
                  <a:cubicBezTo>
                    <a:pt x="24" y="81"/>
                    <a:pt x="24" y="81"/>
                    <a:pt x="24" y="81"/>
                  </a:cubicBezTo>
                  <a:cubicBezTo>
                    <a:pt x="24" y="97"/>
                    <a:pt x="28" y="110"/>
                    <a:pt x="37" y="118"/>
                  </a:cubicBezTo>
                  <a:cubicBezTo>
                    <a:pt x="45" y="127"/>
                    <a:pt x="56" y="131"/>
                    <a:pt x="71" y="131"/>
                  </a:cubicBezTo>
                  <a:cubicBezTo>
                    <a:pt x="87" y="131"/>
                    <a:pt x="102" y="126"/>
                    <a:pt x="115" y="115"/>
                  </a:cubicBezTo>
                  <a:cubicBezTo>
                    <a:pt x="115" y="137"/>
                    <a:pt x="115" y="137"/>
                    <a:pt x="115" y="137"/>
                  </a:cubicBezTo>
                  <a:cubicBezTo>
                    <a:pt x="103" y="146"/>
                    <a:pt x="86" y="151"/>
                    <a:pt x="65" y="151"/>
                  </a:cubicBezTo>
                  <a:cubicBezTo>
                    <a:pt x="45" y="151"/>
                    <a:pt x="29" y="144"/>
                    <a:pt x="17" y="131"/>
                  </a:cubicBezTo>
                  <a:cubicBezTo>
                    <a:pt x="6" y="118"/>
                    <a:pt x="0" y="99"/>
                    <a:pt x="0" y="76"/>
                  </a:cubicBezTo>
                  <a:cubicBezTo>
                    <a:pt x="0" y="62"/>
                    <a:pt x="3" y="48"/>
                    <a:pt x="9" y="37"/>
                  </a:cubicBezTo>
                  <a:cubicBezTo>
                    <a:pt x="14" y="25"/>
                    <a:pt x="22" y="16"/>
                    <a:pt x="32" y="9"/>
                  </a:cubicBezTo>
                  <a:cubicBezTo>
                    <a:pt x="43" y="3"/>
                    <a:pt x="54" y="0"/>
                    <a:pt x="66" y="0"/>
                  </a:cubicBezTo>
                  <a:cubicBezTo>
                    <a:pt x="85" y="0"/>
                    <a:pt x="99" y="6"/>
                    <a:pt x="110" y="18"/>
                  </a:cubicBezTo>
                  <a:cubicBezTo>
                    <a:pt x="120" y="30"/>
                    <a:pt x="125" y="47"/>
                    <a:pt x="125" y="69"/>
                  </a:cubicBezTo>
                  <a:lnTo>
                    <a:pt x="125" y="81"/>
                  </a:lnTo>
                  <a:close/>
                  <a:moveTo>
                    <a:pt x="102" y="61"/>
                  </a:moveTo>
                  <a:cubicBezTo>
                    <a:pt x="102" y="48"/>
                    <a:pt x="98" y="38"/>
                    <a:pt x="92" y="30"/>
                  </a:cubicBezTo>
                  <a:cubicBezTo>
                    <a:pt x="86" y="23"/>
                    <a:pt x="77" y="19"/>
                    <a:pt x="66" y="19"/>
                  </a:cubicBezTo>
                  <a:cubicBezTo>
                    <a:pt x="55" y="19"/>
                    <a:pt x="46" y="23"/>
                    <a:pt x="38" y="31"/>
                  </a:cubicBezTo>
                  <a:cubicBezTo>
                    <a:pt x="31" y="39"/>
                    <a:pt x="26" y="49"/>
                    <a:pt x="24" y="61"/>
                  </a:cubicBezTo>
                  <a:lnTo>
                    <a:pt x="10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nvGrpSpPr>
          <p:cNvPr id="535" name="Group 32"/>
          <p:cNvGrpSpPr>
            <a:grpSpLocks noChangeAspect="1"/>
          </p:cNvGrpSpPr>
          <p:nvPr/>
        </p:nvGrpSpPr>
        <p:grpSpPr bwMode="auto">
          <a:xfrm>
            <a:off x="670093" y="5565273"/>
            <a:ext cx="1088945" cy="351042"/>
            <a:chOff x="3382" y="2013"/>
            <a:chExt cx="912" cy="294"/>
          </a:xfrm>
          <a:solidFill>
            <a:schemeClr val="tx1"/>
          </a:solidFill>
        </p:grpSpPr>
        <p:sp>
          <p:nvSpPr>
            <p:cNvPr id="536" name="Freeform 33"/>
            <p:cNvSpPr>
              <a:spLocks noEditPoints="1"/>
            </p:cNvSpPr>
            <p:nvPr/>
          </p:nvSpPr>
          <p:spPr bwMode="auto">
            <a:xfrm>
              <a:off x="3756" y="2104"/>
              <a:ext cx="95" cy="107"/>
            </a:xfrm>
            <a:custGeom>
              <a:avLst/>
              <a:gdLst>
                <a:gd name="T0" fmla="*/ 40 w 40"/>
                <a:gd name="T1" fmla="*/ 22 h 44"/>
                <a:gd name="T2" fmla="*/ 37 w 40"/>
                <a:gd name="T3" fmla="*/ 33 h 44"/>
                <a:gd name="T4" fmla="*/ 30 w 40"/>
                <a:gd name="T5" fmla="*/ 41 h 44"/>
                <a:gd name="T6" fmla="*/ 20 w 40"/>
                <a:gd name="T7" fmla="*/ 44 h 44"/>
                <a:gd name="T8" fmla="*/ 9 w 40"/>
                <a:gd name="T9" fmla="*/ 41 h 44"/>
                <a:gd name="T10" fmla="*/ 2 w 40"/>
                <a:gd name="T11" fmla="*/ 34 h 44"/>
                <a:gd name="T12" fmla="*/ 0 w 40"/>
                <a:gd name="T13" fmla="*/ 23 h 44"/>
                <a:gd name="T14" fmla="*/ 2 w 40"/>
                <a:gd name="T15" fmla="*/ 11 h 44"/>
                <a:gd name="T16" fmla="*/ 10 w 40"/>
                <a:gd name="T17" fmla="*/ 3 h 44"/>
                <a:gd name="T18" fmla="*/ 20 w 40"/>
                <a:gd name="T19" fmla="*/ 0 h 44"/>
                <a:gd name="T20" fmla="*/ 30 w 40"/>
                <a:gd name="T21" fmla="*/ 3 h 44"/>
                <a:gd name="T22" fmla="*/ 37 w 40"/>
                <a:gd name="T23" fmla="*/ 11 h 44"/>
                <a:gd name="T24" fmla="*/ 40 w 40"/>
                <a:gd name="T25" fmla="*/ 22 h 44"/>
                <a:gd name="T26" fmla="*/ 34 w 40"/>
                <a:gd name="T27" fmla="*/ 22 h 44"/>
                <a:gd name="T28" fmla="*/ 31 w 40"/>
                <a:gd name="T29" fmla="*/ 9 h 44"/>
                <a:gd name="T30" fmla="*/ 20 w 40"/>
                <a:gd name="T31" fmla="*/ 5 h 44"/>
                <a:gd name="T32" fmla="*/ 12 w 40"/>
                <a:gd name="T33" fmla="*/ 7 h 44"/>
                <a:gd name="T34" fmla="*/ 7 w 40"/>
                <a:gd name="T35" fmla="*/ 13 h 44"/>
                <a:gd name="T36" fmla="*/ 5 w 40"/>
                <a:gd name="T37" fmla="*/ 22 h 44"/>
                <a:gd name="T38" fmla="*/ 7 w 40"/>
                <a:gd name="T39" fmla="*/ 31 h 44"/>
                <a:gd name="T40" fmla="*/ 12 w 40"/>
                <a:gd name="T41" fmla="*/ 37 h 44"/>
                <a:gd name="T42" fmla="*/ 20 w 40"/>
                <a:gd name="T43" fmla="*/ 39 h 44"/>
                <a:gd name="T44" fmla="*/ 31 w 40"/>
                <a:gd name="T45" fmla="*/ 35 h 44"/>
                <a:gd name="T46" fmla="*/ 34 w 40"/>
                <a:gd name="T47" fmla="*/ 2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 h="44">
                  <a:moveTo>
                    <a:pt x="40" y="22"/>
                  </a:moveTo>
                  <a:cubicBezTo>
                    <a:pt x="40" y="26"/>
                    <a:pt x="39" y="30"/>
                    <a:pt x="37" y="33"/>
                  </a:cubicBezTo>
                  <a:cubicBezTo>
                    <a:pt x="36" y="37"/>
                    <a:pt x="33" y="39"/>
                    <a:pt x="30" y="41"/>
                  </a:cubicBezTo>
                  <a:cubicBezTo>
                    <a:pt x="27" y="43"/>
                    <a:pt x="24" y="44"/>
                    <a:pt x="20" y="44"/>
                  </a:cubicBezTo>
                  <a:cubicBezTo>
                    <a:pt x="16" y="44"/>
                    <a:pt x="12" y="43"/>
                    <a:pt x="9" y="41"/>
                  </a:cubicBezTo>
                  <a:cubicBezTo>
                    <a:pt x="6" y="39"/>
                    <a:pt x="4" y="37"/>
                    <a:pt x="2" y="34"/>
                  </a:cubicBezTo>
                  <a:cubicBezTo>
                    <a:pt x="1" y="30"/>
                    <a:pt x="0" y="27"/>
                    <a:pt x="0" y="23"/>
                  </a:cubicBezTo>
                  <a:cubicBezTo>
                    <a:pt x="0" y="18"/>
                    <a:pt x="1" y="14"/>
                    <a:pt x="2" y="11"/>
                  </a:cubicBezTo>
                  <a:cubicBezTo>
                    <a:pt x="4" y="7"/>
                    <a:pt x="6" y="5"/>
                    <a:pt x="10" y="3"/>
                  </a:cubicBezTo>
                  <a:cubicBezTo>
                    <a:pt x="13" y="1"/>
                    <a:pt x="16" y="0"/>
                    <a:pt x="20" y="0"/>
                  </a:cubicBezTo>
                  <a:cubicBezTo>
                    <a:pt x="24" y="0"/>
                    <a:pt x="27" y="1"/>
                    <a:pt x="30" y="3"/>
                  </a:cubicBezTo>
                  <a:cubicBezTo>
                    <a:pt x="33" y="5"/>
                    <a:pt x="36" y="7"/>
                    <a:pt x="37" y="11"/>
                  </a:cubicBezTo>
                  <a:cubicBezTo>
                    <a:pt x="39" y="14"/>
                    <a:pt x="40" y="17"/>
                    <a:pt x="40" y="22"/>
                  </a:cubicBezTo>
                  <a:close/>
                  <a:moveTo>
                    <a:pt x="34" y="22"/>
                  </a:moveTo>
                  <a:cubicBezTo>
                    <a:pt x="34" y="17"/>
                    <a:pt x="33" y="12"/>
                    <a:pt x="31" y="9"/>
                  </a:cubicBezTo>
                  <a:cubicBezTo>
                    <a:pt x="28" y="6"/>
                    <a:pt x="25" y="5"/>
                    <a:pt x="20" y="5"/>
                  </a:cubicBezTo>
                  <a:cubicBezTo>
                    <a:pt x="17" y="5"/>
                    <a:pt x="15" y="6"/>
                    <a:pt x="12" y="7"/>
                  </a:cubicBezTo>
                  <a:cubicBezTo>
                    <a:pt x="10" y="8"/>
                    <a:pt x="8" y="10"/>
                    <a:pt x="7" y="13"/>
                  </a:cubicBezTo>
                  <a:cubicBezTo>
                    <a:pt x="6" y="16"/>
                    <a:pt x="5" y="19"/>
                    <a:pt x="5" y="22"/>
                  </a:cubicBezTo>
                  <a:cubicBezTo>
                    <a:pt x="5" y="25"/>
                    <a:pt x="6" y="28"/>
                    <a:pt x="7" y="31"/>
                  </a:cubicBezTo>
                  <a:cubicBezTo>
                    <a:pt x="8" y="34"/>
                    <a:pt x="10" y="36"/>
                    <a:pt x="12" y="37"/>
                  </a:cubicBezTo>
                  <a:cubicBezTo>
                    <a:pt x="14" y="39"/>
                    <a:pt x="17" y="39"/>
                    <a:pt x="20" y="39"/>
                  </a:cubicBezTo>
                  <a:cubicBezTo>
                    <a:pt x="24" y="39"/>
                    <a:pt x="28" y="38"/>
                    <a:pt x="31" y="35"/>
                  </a:cubicBezTo>
                  <a:cubicBezTo>
                    <a:pt x="33" y="32"/>
                    <a:pt x="34" y="28"/>
                    <a:pt x="34"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37" name="Freeform 34"/>
            <p:cNvSpPr>
              <a:spLocks/>
            </p:cNvSpPr>
            <p:nvPr/>
          </p:nvSpPr>
          <p:spPr bwMode="auto">
            <a:xfrm>
              <a:off x="3865" y="2133"/>
              <a:ext cx="60" cy="75"/>
            </a:xfrm>
            <a:custGeom>
              <a:avLst/>
              <a:gdLst>
                <a:gd name="T0" fmla="*/ 25 w 25"/>
                <a:gd name="T1" fmla="*/ 31 h 31"/>
                <a:gd name="T2" fmla="*/ 20 w 25"/>
                <a:gd name="T3" fmla="*/ 31 h 31"/>
                <a:gd name="T4" fmla="*/ 20 w 25"/>
                <a:gd name="T5" fmla="*/ 14 h 31"/>
                <a:gd name="T6" fmla="*/ 13 w 25"/>
                <a:gd name="T7" fmla="*/ 4 h 31"/>
                <a:gd name="T8" fmla="*/ 7 w 25"/>
                <a:gd name="T9" fmla="*/ 7 h 31"/>
                <a:gd name="T10" fmla="*/ 4 w 25"/>
                <a:gd name="T11" fmla="*/ 14 h 31"/>
                <a:gd name="T12" fmla="*/ 4 w 25"/>
                <a:gd name="T13" fmla="*/ 31 h 31"/>
                <a:gd name="T14" fmla="*/ 0 w 25"/>
                <a:gd name="T15" fmla="*/ 31 h 31"/>
                <a:gd name="T16" fmla="*/ 0 w 25"/>
                <a:gd name="T17" fmla="*/ 1 h 31"/>
                <a:gd name="T18" fmla="*/ 4 w 25"/>
                <a:gd name="T19" fmla="*/ 1 h 31"/>
                <a:gd name="T20" fmla="*/ 4 w 25"/>
                <a:gd name="T21" fmla="*/ 6 h 31"/>
                <a:gd name="T22" fmla="*/ 5 w 25"/>
                <a:gd name="T23" fmla="*/ 6 h 31"/>
                <a:gd name="T24" fmla="*/ 14 w 25"/>
                <a:gd name="T25" fmla="*/ 0 h 31"/>
                <a:gd name="T26" fmla="*/ 22 w 25"/>
                <a:gd name="T27" fmla="*/ 4 h 31"/>
                <a:gd name="T28" fmla="*/ 25 w 25"/>
                <a:gd name="T29" fmla="*/ 13 h 31"/>
                <a:gd name="T30" fmla="*/ 25 w 25"/>
                <a:gd name="T3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31">
                  <a:moveTo>
                    <a:pt x="25" y="31"/>
                  </a:moveTo>
                  <a:cubicBezTo>
                    <a:pt x="20" y="31"/>
                    <a:pt x="20" y="31"/>
                    <a:pt x="20" y="31"/>
                  </a:cubicBezTo>
                  <a:cubicBezTo>
                    <a:pt x="20" y="14"/>
                    <a:pt x="20" y="14"/>
                    <a:pt x="20" y="14"/>
                  </a:cubicBezTo>
                  <a:cubicBezTo>
                    <a:pt x="20" y="8"/>
                    <a:pt x="17" y="4"/>
                    <a:pt x="13" y="4"/>
                  </a:cubicBezTo>
                  <a:cubicBezTo>
                    <a:pt x="10" y="4"/>
                    <a:pt x="8" y="5"/>
                    <a:pt x="7" y="7"/>
                  </a:cubicBezTo>
                  <a:cubicBezTo>
                    <a:pt x="5" y="9"/>
                    <a:pt x="4" y="11"/>
                    <a:pt x="4" y="14"/>
                  </a:cubicBezTo>
                  <a:cubicBezTo>
                    <a:pt x="4" y="31"/>
                    <a:pt x="4" y="31"/>
                    <a:pt x="4" y="31"/>
                  </a:cubicBezTo>
                  <a:cubicBezTo>
                    <a:pt x="0" y="31"/>
                    <a:pt x="0" y="31"/>
                    <a:pt x="0" y="31"/>
                  </a:cubicBezTo>
                  <a:cubicBezTo>
                    <a:pt x="0" y="1"/>
                    <a:pt x="0" y="1"/>
                    <a:pt x="0" y="1"/>
                  </a:cubicBezTo>
                  <a:cubicBezTo>
                    <a:pt x="4" y="1"/>
                    <a:pt x="4" y="1"/>
                    <a:pt x="4" y="1"/>
                  </a:cubicBezTo>
                  <a:cubicBezTo>
                    <a:pt x="4" y="6"/>
                    <a:pt x="4" y="6"/>
                    <a:pt x="4" y="6"/>
                  </a:cubicBezTo>
                  <a:cubicBezTo>
                    <a:pt x="5" y="6"/>
                    <a:pt x="5" y="6"/>
                    <a:pt x="5" y="6"/>
                  </a:cubicBezTo>
                  <a:cubicBezTo>
                    <a:pt x="7" y="2"/>
                    <a:pt x="10" y="0"/>
                    <a:pt x="14" y="0"/>
                  </a:cubicBezTo>
                  <a:cubicBezTo>
                    <a:pt x="18" y="0"/>
                    <a:pt x="20" y="1"/>
                    <a:pt x="22" y="4"/>
                  </a:cubicBezTo>
                  <a:cubicBezTo>
                    <a:pt x="24" y="6"/>
                    <a:pt x="25" y="9"/>
                    <a:pt x="25" y="13"/>
                  </a:cubicBezTo>
                  <a:lnTo>
                    <a:pt x="25"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38" name="Freeform 35"/>
            <p:cNvSpPr>
              <a:spLocks noEditPoints="1"/>
            </p:cNvSpPr>
            <p:nvPr/>
          </p:nvSpPr>
          <p:spPr bwMode="auto">
            <a:xfrm>
              <a:off x="3937" y="2133"/>
              <a:ext cx="61" cy="78"/>
            </a:xfrm>
            <a:custGeom>
              <a:avLst/>
              <a:gdLst>
                <a:gd name="T0" fmla="*/ 26 w 26"/>
                <a:gd name="T1" fmla="*/ 17 h 32"/>
                <a:gd name="T2" fmla="*/ 5 w 26"/>
                <a:gd name="T3" fmla="*/ 17 h 32"/>
                <a:gd name="T4" fmla="*/ 7 w 26"/>
                <a:gd name="T5" fmla="*/ 25 h 32"/>
                <a:gd name="T6" fmla="*/ 14 w 26"/>
                <a:gd name="T7" fmla="*/ 28 h 32"/>
                <a:gd name="T8" fmla="*/ 24 w 26"/>
                <a:gd name="T9" fmla="*/ 24 h 32"/>
                <a:gd name="T10" fmla="*/ 24 w 26"/>
                <a:gd name="T11" fmla="*/ 29 h 32"/>
                <a:gd name="T12" fmla="*/ 13 w 26"/>
                <a:gd name="T13" fmla="*/ 32 h 32"/>
                <a:gd name="T14" fmla="*/ 3 w 26"/>
                <a:gd name="T15" fmla="*/ 28 h 32"/>
                <a:gd name="T16" fmla="*/ 0 w 26"/>
                <a:gd name="T17" fmla="*/ 16 h 32"/>
                <a:gd name="T18" fmla="*/ 1 w 26"/>
                <a:gd name="T19" fmla="*/ 8 h 32"/>
                <a:gd name="T20" fmla="*/ 6 w 26"/>
                <a:gd name="T21" fmla="*/ 2 h 32"/>
                <a:gd name="T22" fmla="*/ 13 w 26"/>
                <a:gd name="T23" fmla="*/ 0 h 32"/>
                <a:gd name="T24" fmla="*/ 23 w 26"/>
                <a:gd name="T25" fmla="*/ 4 h 32"/>
                <a:gd name="T26" fmla="*/ 26 w 26"/>
                <a:gd name="T27" fmla="*/ 15 h 32"/>
                <a:gd name="T28" fmla="*/ 26 w 26"/>
                <a:gd name="T29" fmla="*/ 17 h 32"/>
                <a:gd name="T30" fmla="*/ 21 w 26"/>
                <a:gd name="T31" fmla="*/ 13 h 32"/>
                <a:gd name="T32" fmla="*/ 19 w 26"/>
                <a:gd name="T33" fmla="*/ 7 h 32"/>
                <a:gd name="T34" fmla="*/ 13 w 26"/>
                <a:gd name="T35" fmla="*/ 4 h 32"/>
                <a:gd name="T36" fmla="*/ 8 w 26"/>
                <a:gd name="T37" fmla="*/ 7 h 32"/>
                <a:gd name="T38" fmla="*/ 5 w 26"/>
                <a:gd name="T39" fmla="*/ 13 h 32"/>
                <a:gd name="T40" fmla="*/ 21 w 26"/>
                <a:gd name="T41" fmla="*/ 1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2">
                  <a:moveTo>
                    <a:pt x="26" y="17"/>
                  </a:moveTo>
                  <a:cubicBezTo>
                    <a:pt x="5" y="17"/>
                    <a:pt x="5" y="17"/>
                    <a:pt x="5" y="17"/>
                  </a:cubicBezTo>
                  <a:cubicBezTo>
                    <a:pt x="5" y="21"/>
                    <a:pt x="6" y="23"/>
                    <a:pt x="7" y="25"/>
                  </a:cubicBezTo>
                  <a:cubicBezTo>
                    <a:pt x="9" y="27"/>
                    <a:pt x="11" y="28"/>
                    <a:pt x="14" y="28"/>
                  </a:cubicBezTo>
                  <a:cubicBezTo>
                    <a:pt x="18" y="28"/>
                    <a:pt x="21" y="27"/>
                    <a:pt x="24" y="24"/>
                  </a:cubicBezTo>
                  <a:cubicBezTo>
                    <a:pt x="24" y="29"/>
                    <a:pt x="24" y="29"/>
                    <a:pt x="24" y="29"/>
                  </a:cubicBezTo>
                  <a:cubicBezTo>
                    <a:pt x="21" y="31"/>
                    <a:pt x="18" y="32"/>
                    <a:pt x="13" y="32"/>
                  </a:cubicBezTo>
                  <a:cubicBezTo>
                    <a:pt x="9" y="32"/>
                    <a:pt x="6" y="30"/>
                    <a:pt x="3" y="28"/>
                  </a:cubicBezTo>
                  <a:cubicBezTo>
                    <a:pt x="1" y="25"/>
                    <a:pt x="0" y="21"/>
                    <a:pt x="0" y="16"/>
                  </a:cubicBezTo>
                  <a:cubicBezTo>
                    <a:pt x="0" y="13"/>
                    <a:pt x="0" y="11"/>
                    <a:pt x="1" y="8"/>
                  </a:cubicBezTo>
                  <a:cubicBezTo>
                    <a:pt x="3" y="6"/>
                    <a:pt x="4" y="4"/>
                    <a:pt x="6" y="2"/>
                  </a:cubicBezTo>
                  <a:cubicBezTo>
                    <a:pt x="9" y="1"/>
                    <a:pt x="11" y="0"/>
                    <a:pt x="13" y="0"/>
                  </a:cubicBezTo>
                  <a:cubicBezTo>
                    <a:pt x="17" y="0"/>
                    <a:pt x="20" y="2"/>
                    <a:pt x="23" y="4"/>
                  </a:cubicBezTo>
                  <a:cubicBezTo>
                    <a:pt x="25" y="7"/>
                    <a:pt x="26" y="10"/>
                    <a:pt x="26" y="15"/>
                  </a:cubicBezTo>
                  <a:lnTo>
                    <a:pt x="26" y="17"/>
                  </a:lnTo>
                  <a:close/>
                  <a:moveTo>
                    <a:pt x="21" y="13"/>
                  </a:moveTo>
                  <a:cubicBezTo>
                    <a:pt x="21" y="10"/>
                    <a:pt x="20" y="8"/>
                    <a:pt x="19" y="7"/>
                  </a:cubicBezTo>
                  <a:cubicBezTo>
                    <a:pt x="18" y="5"/>
                    <a:pt x="16" y="4"/>
                    <a:pt x="13" y="4"/>
                  </a:cubicBezTo>
                  <a:cubicBezTo>
                    <a:pt x="11" y="4"/>
                    <a:pt x="9" y="5"/>
                    <a:pt x="8" y="7"/>
                  </a:cubicBezTo>
                  <a:cubicBezTo>
                    <a:pt x="6" y="8"/>
                    <a:pt x="5" y="11"/>
                    <a:pt x="5" y="13"/>
                  </a:cubicBezTo>
                  <a:lnTo>
                    <a:pt x="21"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39" name="Freeform 36"/>
            <p:cNvSpPr>
              <a:spLocks/>
            </p:cNvSpPr>
            <p:nvPr/>
          </p:nvSpPr>
          <p:spPr bwMode="auto">
            <a:xfrm>
              <a:off x="4013" y="2107"/>
              <a:ext cx="81" cy="101"/>
            </a:xfrm>
            <a:custGeom>
              <a:avLst/>
              <a:gdLst>
                <a:gd name="T0" fmla="*/ 34 w 34"/>
                <a:gd name="T1" fmla="*/ 42 h 42"/>
                <a:gd name="T2" fmla="*/ 28 w 34"/>
                <a:gd name="T3" fmla="*/ 42 h 42"/>
                <a:gd name="T4" fmla="*/ 6 w 34"/>
                <a:gd name="T5" fmla="*/ 9 h 42"/>
                <a:gd name="T6" fmla="*/ 5 w 34"/>
                <a:gd name="T7" fmla="*/ 6 h 42"/>
                <a:gd name="T8" fmla="*/ 5 w 34"/>
                <a:gd name="T9" fmla="*/ 6 h 42"/>
                <a:gd name="T10" fmla="*/ 5 w 34"/>
                <a:gd name="T11" fmla="*/ 12 h 42"/>
                <a:gd name="T12" fmla="*/ 5 w 34"/>
                <a:gd name="T13" fmla="*/ 42 h 42"/>
                <a:gd name="T14" fmla="*/ 0 w 34"/>
                <a:gd name="T15" fmla="*/ 42 h 42"/>
                <a:gd name="T16" fmla="*/ 0 w 34"/>
                <a:gd name="T17" fmla="*/ 0 h 42"/>
                <a:gd name="T18" fmla="*/ 6 w 34"/>
                <a:gd name="T19" fmla="*/ 0 h 42"/>
                <a:gd name="T20" fmla="*/ 27 w 34"/>
                <a:gd name="T21" fmla="*/ 33 h 42"/>
                <a:gd name="T22" fmla="*/ 29 w 34"/>
                <a:gd name="T23" fmla="*/ 36 h 42"/>
                <a:gd name="T24" fmla="*/ 29 w 34"/>
                <a:gd name="T25" fmla="*/ 36 h 42"/>
                <a:gd name="T26" fmla="*/ 29 w 34"/>
                <a:gd name="T27" fmla="*/ 30 h 42"/>
                <a:gd name="T28" fmla="*/ 29 w 34"/>
                <a:gd name="T29" fmla="*/ 0 h 42"/>
                <a:gd name="T30" fmla="*/ 34 w 34"/>
                <a:gd name="T31" fmla="*/ 0 h 42"/>
                <a:gd name="T32" fmla="*/ 34 w 34"/>
                <a:gd name="T33"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 h="42">
                  <a:moveTo>
                    <a:pt x="34" y="42"/>
                  </a:moveTo>
                  <a:cubicBezTo>
                    <a:pt x="28" y="42"/>
                    <a:pt x="28" y="42"/>
                    <a:pt x="28" y="42"/>
                  </a:cubicBezTo>
                  <a:cubicBezTo>
                    <a:pt x="6" y="9"/>
                    <a:pt x="6" y="9"/>
                    <a:pt x="6" y="9"/>
                  </a:cubicBezTo>
                  <a:cubicBezTo>
                    <a:pt x="6" y="8"/>
                    <a:pt x="5" y="7"/>
                    <a:pt x="5" y="6"/>
                  </a:cubicBezTo>
                  <a:cubicBezTo>
                    <a:pt x="5" y="6"/>
                    <a:pt x="5" y="6"/>
                    <a:pt x="5" y="6"/>
                  </a:cubicBezTo>
                  <a:cubicBezTo>
                    <a:pt x="5" y="7"/>
                    <a:pt x="5" y="9"/>
                    <a:pt x="5" y="12"/>
                  </a:cubicBezTo>
                  <a:cubicBezTo>
                    <a:pt x="5" y="42"/>
                    <a:pt x="5" y="42"/>
                    <a:pt x="5" y="42"/>
                  </a:cubicBezTo>
                  <a:cubicBezTo>
                    <a:pt x="0" y="42"/>
                    <a:pt x="0" y="42"/>
                    <a:pt x="0" y="42"/>
                  </a:cubicBezTo>
                  <a:cubicBezTo>
                    <a:pt x="0" y="0"/>
                    <a:pt x="0" y="0"/>
                    <a:pt x="0" y="0"/>
                  </a:cubicBezTo>
                  <a:cubicBezTo>
                    <a:pt x="6" y="0"/>
                    <a:pt x="6" y="0"/>
                    <a:pt x="6" y="0"/>
                  </a:cubicBezTo>
                  <a:cubicBezTo>
                    <a:pt x="27" y="33"/>
                    <a:pt x="27" y="33"/>
                    <a:pt x="27" y="33"/>
                  </a:cubicBezTo>
                  <a:cubicBezTo>
                    <a:pt x="29" y="36"/>
                    <a:pt x="29" y="36"/>
                    <a:pt x="29" y="36"/>
                  </a:cubicBezTo>
                  <a:cubicBezTo>
                    <a:pt x="29" y="36"/>
                    <a:pt x="29" y="36"/>
                    <a:pt x="29" y="36"/>
                  </a:cubicBezTo>
                  <a:cubicBezTo>
                    <a:pt x="29" y="35"/>
                    <a:pt x="29" y="33"/>
                    <a:pt x="29" y="30"/>
                  </a:cubicBezTo>
                  <a:cubicBezTo>
                    <a:pt x="29" y="0"/>
                    <a:pt x="29" y="0"/>
                    <a:pt x="29" y="0"/>
                  </a:cubicBezTo>
                  <a:cubicBezTo>
                    <a:pt x="34" y="0"/>
                    <a:pt x="34" y="0"/>
                    <a:pt x="34" y="0"/>
                  </a:cubicBezTo>
                  <a:lnTo>
                    <a:pt x="34"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40" name="Freeform 37"/>
            <p:cNvSpPr>
              <a:spLocks noEditPoints="1"/>
            </p:cNvSpPr>
            <p:nvPr/>
          </p:nvSpPr>
          <p:spPr bwMode="auto">
            <a:xfrm>
              <a:off x="4108" y="2133"/>
              <a:ext cx="71" cy="78"/>
            </a:xfrm>
            <a:custGeom>
              <a:avLst/>
              <a:gdLst>
                <a:gd name="T0" fmla="*/ 30 w 30"/>
                <a:gd name="T1" fmla="*/ 16 h 32"/>
                <a:gd name="T2" fmla="*/ 26 w 30"/>
                <a:gd name="T3" fmla="*/ 27 h 32"/>
                <a:gd name="T4" fmla="*/ 15 w 30"/>
                <a:gd name="T5" fmla="*/ 32 h 32"/>
                <a:gd name="T6" fmla="*/ 4 w 30"/>
                <a:gd name="T7" fmla="*/ 28 h 32"/>
                <a:gd name="T8" fmla="*/ 0 w 30"/>
                <a:gd name="T9" fmla="*/ 16 h 32"/>
                <a:gd name="T10" fmla="*/ 4 w 30"/>
                <a:gd name="T11" fmla="*/ 5 h 32"/>
                <a:gd name="T12" fmla="*/ 16 w 30"/>
                <a:gd name="T13" fmla="*/ 0 h 32"/>
                <a:gd name="T14" fmla="*/ 26 w 30"/>
                <a:gd name="T15" fmla="*/ 5 h 32"/>
                <a:gd name="T16" fmla="*/ 30 w 30"/>
                <a:gd name="T17" fmla="*/ 16 h 32"/>
                <a:gd name="T18" fmla="*/ 25 w 30"/>
                <a:gd name="T19" fmla="*/ 16 h 32"/>
                <a:gd name="T20" fmla="*/ 22 w 30"/>
                <a:gd name="T21" fmla="*/ 7 h 32"/>
                <a:gd name="T22" fmla="*/ 15 w 30"/>
                <a:gd name="T23" fmla="*/ 4 h 32"/>
                <a:gd name="T24" fmla="*/ 8 w 30"/>
                <a:gd name="T25" fmla="*/ 8 h 32"/>
                <a:gd name="T26" fmla="*/ 5 w 30"/>
                <a:gd name="T27" fmla="*/ 16 h 32"/>
                <a:gd name="T28" fmla="*/ 8 w 30"/>
                <a:gd name="T29" fmla="*/ 25 h 32"/>
                <a:gd name="T30" fmla="*/ 15 w 30"/>
                <a:gd name="T31" fmla="*/ 28 h 32"/>
                <a:gd name="T32" fmla="*/ 22 w 30"/>
                <a:gd name="T33" fmla="*/ 25 h 32"/>
                <a:gd name="T34" fmla="*/ 25 w 30"/>
                <a:gd name="T35"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32">
                  <a:moveTo>
                    <a:pt x="30" y="16"/>
                  </a:moveTo>
                  <a:cubicBezTo>
                    <a:pt x="30" y="21"/>
                    <a:pt x="28" y="25"/>
                    <a:pt x="26" y="27"/>
                  </a:cubicBezTo>
                  <a:cubicBezTo>
                    <a:pt x="23" y="30"/>
                    <a:pt x="19" y="32"/>
                    <a:pt x="15" y="32"/>
                  </a:cubicBezTo>
                  <a:cubicBezTo>
                    <a:pt x="10" y="32"/>
                    <a:pt x="7" y="30"/>
                    <a:pt x="4" y="28"/>
                  </a:cubicBezTo>
                  <a:cubicBezTo>
                    <a:pt x="2" y="25"/>
                    <a:pt x="0" y="21"/>
                    <a:pt x="0" y="16"/>
                  </a:cubicBezTo>
                  <a:cubicBezTo>
                    <a:pt x="0" y="11"/>
                    <a:pt x="2" y="8"/>
                    <a:pt x="4" y="5"/>
                  </a:cubicBezTo>
                  <a:cubicBezTo>
                    <a:pt x="7" y="2"/>
                    <a:pt x="11" y="0"/>
                    <a:pt x="16" y="0"/>
                  </a:cubicBezTo>
                  <a:cubicBezTo>
                    <a:pt x="20" y="0"/>
                    <a:pt x="23" y="2"/>
                    <a:pt x="26" y="5"/>
                  </a:cubicBezTo>
                  <a:cubicBezTo>
                    <a:pt x="29" y="7"/>
                    <a:pt x="30" y="11"/>
                    <a:pt x="30" y="16"/>
                  </a:cubicBezTo>
                  <a:close/>
                  <a:moveTo>
                    <a:pt x="25" y="16"/>
                  </a:moveTo>
                  <a:cubicBezTo>
                    <a:pt x="25" y="12"/>
                    <a:pt x="24" y="9"/>
                    <a:pt x="22" y="7"/>
                  </a:cubicBezTo>
                  <a:cubicBezTo>
                    <a:pt x="21" y="5"/>
                    <a:pt x="18" y="4"/>
                    <a:pt x="15" y="4"/>
                  </a:cubicBezTo>
                  <a:cubicBezTo>
                    <a:pt x="12" y="4"/>
                    <a:pt x="10" y="5"/>
                    <a:pt x="8" y="8"/>
                  </a:cubicBezTo>
                  <a:cubicBezTo>
                    <a:pt x="6" y="10"/>
                    <a:pt x="5" y="12"/>
                    <a:pt x="5" y="16"/>
                  </a:cubicBezTo>
                  <a:cubicBezTo>
                    <a:pt x="5" y="20"/>
                    <a:pt x="6" y="23"/>
                    <a:pt x="8" y="25"/>
                  </a:cubicBezTo>
                  <a:cubicBezTo>
                    <a:pt x="10" y="27"/>
                    <a:pt x="12" y="28"/>
                    <a:pt x="15" y="28"/>
                  </a:cubicBezTo>
                  <a:cubicBezTo>
                    <a:pt x="18" y="28"/>
                    <a:pt x="21" y="27"/>
                    <a:pt x="22" y="25"/>
                  </a:cubicBezTo>
                  <a:cubicBezTo>
                    <a:pt x="24" y="23"/>
                    <a:pt x="25" y="20"/>
                    <a:pt x="25"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41" name="Freeform 38"/>
            <p:cNvSpPr>
              <a:spLocks/>
            </p:cNvSpPr>
            <p:nvPr/>
          </p:nvSpPr>
          <p:spPr bwMode="auto">
            <a:xfrm>
              <a:off x="4184" y="2114"/>
              <a:ext cx="43" cy="97"/>
            </a:xfrm>
            <a:custGeom>
              <a:avLst/>
              <a:gdLst>
                <a:gd name="T0" fmla="*/ 18 w 18"/>
                <a:gd name="T1" fmla="*/ 39 h 40"/>
                <a:gd name="T2" fmla="*/ 13 w 18"/>
                <a:gd name="T3" fmla="*/ 40 h 40"/>
                <a:gd name="T4" fmla="*/ 5 w 18"/>
                <a:gd name="T5" fmla="*/ 31 h 40"/>
                <a:gd name="T6" fmla="*/ 5 w 18"/>
                <a:gd name="T7" fmla="*/ 13 h 40"/>
                <a:gd name="T8" fmla="*/ 0 w 18"/>
                <a:gd name="T9" fmla="*/ 13 h 40"/>
                <a:gd name="T10" fmla="*/ 0 w 18"/>
                <a:gd name="T11" fmla="*/ 9 h 40"/>
                <a:gd name="T12" fmla="*/ 5 w 18"/>
                <a:gd name="T13" fmla="*/ 9 h 40"/>
                <a:gd name="T14" fmla="*/ 5 w 18"/>
                <a:gd name="T15" fmla="*/ 2 h 40"/>
                <a:gd name="T16" fmla="*/ 10 w 18"/>
                <a:gd name="T17" fmla="*/ 0 h 40"/>
                <a:gd name="T18" fmla="*/ 10 w 18"/>
                <a:gd name="T19" fmla="*/ 9 h 40"/>
                <a:gd name="T20" fmla="*/ 18 w 18"/>
                <a:gd name="T21" fmla="*/ 9 h 40"/>
                <a:gd name="T22" fmla="*/ 18 w 18"/>
                <a:gd name="T23" fmla="*/ 13 h 40"/>
                <a:gd name="T24" fmla="*/ 10 w 18"/>
                <a:gd name="T25" fmla="*/ 13 h 40"/>
                <a:gd name="T26" fmla="*/ 10 w 18"/>
                <a:gd name="T27" fmla="*/ 30 h 40"/>
                <a:gd name="T28" fmla="*/ 11 w 18"/>
                <a:gd name="T29" fmla="*/ 34 h 40"/>
                <a:gd name="T30" fmla="*/ 14 w 18"/>
                <a:gd name="T31" fmla="*/ 36 h 40"/>
                <a:gd name="T32" fmla="*/ 18 w 18"/>
                <a:gd name="T33" fmla="*/ 35 h 40"/>
                <a:gd name="T34" fmla="*/ 18 w 18"/>
                <a:gd name="T35"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40">
                  <a:moveTo>
                    <a:pt x="18" y="39"/>
                  </a:moveTo>
                  <a:cubicBezTo>
                    <a:pt x="16" y="39"/>
                    <a:pt x="15" y="40"/>
                    <a:pt x="13" y="40"/>
                  </a:cubicBezTo>
                  <a:cubicBezTo>
                    <a:pt x="8" y="40"/>
                    <a:pt x="5" y="37"/>
                    <a:pt x="5" y="31"/>
                  </a:cubicBezTo>
                  <a:cubicBezTo>
                    <a:pt x="5" y="13"/>
                    <a:pt x="5" y="13"/>
                    <a:pt x="5" y="13"/>
                  </a:cubicBezTo>
                  <a:cubicBezTo>
                    <a:pt x="0" y="13"/>
                    <a:pt x="0" y="13"/>
                    <a:pt x="0" y="13"/>
                  </a:cubicBezTo>
                  <a:cubicBezTo>
                    <a:pt x="0" y="9"/>
                    <a:pt x="0" y="9"/>
                    <a:pt x="0" y="9"/>
                  </a:cubicBezTo>
                  <a:cubicBezTo>
                    <a:pt x="5" y="9"/>
                    <a:pt x="5" y="9"/>
                    <a:pt x="5" y="9"/>
                  </a:cubicBezTo>
                  <a:cubicBezTo>
                    <a:pt x="5" y="2"/>
                    <a:pt x="5" y="2"/>
                    <a:pt x="5" y="2"/>
                  </a:cubicBezTo>
                  <a:cubicBezTo>
                    <a:pt x="10" y="0"/>
                    <a:pt x="10" y="0"/>
                    <a:pt x="10" y="0"/>
                  </a:cubicBezTo>
                  <a:cubicBezTo>
                    <a:pt x="10" y="9"/>
                    <a:pt x="10" y="9"/>
                    <a:pt x="10" y="9"/>
                  </a:cubicBezTo>
                  <a:cubicBezTo>
                    <a:pt x="18" y="9"/>
                    <a:pt x="18" y="9"/>
                    <a:pt x="18" y="9"/>
                  </a:cubicBezTo>
                  <a:cubicBezTo>
                    <a:pt x="18" y="13"/>
                    <a:pt x="18" y="13"/>
                    <a:pt x="18" y="13"/>
                  </a:cubicBezTo>
                  <a:cubicBezTo>
                    <a:pt x="10" y="13"/>
                    <a:pt x="10" y="13"/>
                    <a:pt x="10" y="13"/>
                  </a:cubicBezTo>
                  <a:cubicBezTo>
                    <a:pt x="10" y="30"/>
                    <a:pt x="10" y="30"/>
                    <a:pt x="10" y="30"/>
                  </a:cubicBezTo>
                  <a:cubicBezTo>
                    <a:pt x="10" y="32"/>
                    <a:pt x="10" y="34"/>
                    <a:pt x="11" y="34"/>
                  </a:cubicBezTo>
                  <a:cubicBezTo>
                    <a:pt x="12" y="35"/>
                    <a:pt x="13" y="36"/>
                    <a:pt x="14" y="36"/>
                  </a:cubicBezTo>
                  <a:cubicBezTo>
                    <a:pt x="16" y="36"/>
                    <a:pt x="17" y="35"/>
                    <a:pt x="18" y="35"/>
                  </a:cubicBezTo>
                  <a:lnTo>
                    <a:pt x="18" y="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42" name="Freeform 39"/>
            <p:cNvSpPr>
              <a:spLocks noEditPoints="1"/>
            </p:cNvSpPr>
            <p:nvPr/>
          </p:nvSpPr>
          <p:spPr bwMode="auto">
            <a:xfrm>
              <a:off x="4232" y="2133"/>
              <a:ext cx="62" cy="78"/>
            </a:xfrm>
            <a:custGeom>
              <a:avLst/>
              <a:gdLst>
                <a:gd name="T0" fmla="*/ 26 w 26"/>
                <a:gd name="T1" fmla="*/ 17 h 32"/>
                <a:gd name="T2" fmla="*/ 5 w 26"/>
                <a:gd name="T3" fmla="*/ 17 h 32"/>
                <a:gd name="T4" fmla="*/ 8 w 26"/>
                <a:gd name="T5" fmla="*/ 25 h 32"/>
                <a:gd name="T6" fmla="*/ 15 w 26"/>
                <a:gd name="T7" fmla="*/ 28 h 32"/>
                <a:gd name="T8" fmla="*/ 24 w 26"/>
                <a:gd name="T9" fmla="*/ 24 h 32"/>
                <a:gd name="T10" fmla="*/ 24 w 26"/>
                <a:gd name="T11" fmla="*/ 29 h 32"/>
                <a:gd name="T12" fmla="*/ 14 w 26"/>
                <a:gd name="T13" fmla="*/ 32 h 32"/>
                <a:gd name="T14" fmla="*/ 4 w 26"/>
                <a:gd name="T15" fmla="*/ 28 h 32"/>
                <a:gd name="T16" fmla="*/ 0 w 26"/>
                <a:gd name="T17" fmla="*/ 16 h 32"/>
                <a:gd name="T18" fmla="*/ 2 w 26"/>
                <a:gd name="T19" fmla="*/ 8 h 32"/>
                <a:gd name="T20" fmla="*/ 7 w 26"/>
                <a:gd name="T21" fmla="*/ 2 h 32"/>
                <a:gd name="T22" fmla="*/ 14 w 26"/>
                <a:gd name="T23" fmla="*/ 0 h 32"/>
                <a:gd name="T24" fmla="*/ 23 w 26"/>
                <a:gd name="T25" fmla="*/ 4 h 32"/>
                <a:gd name="T26" fmla="*/ 26 w 26"/>
                <a:gd name="T27" fmla="*/ 15 h 32"/>
                <a:gd name="T28" fmla="*/ 26 w 26"/>
                <a:gd name="T29" fmla="*/ 17 h 32"/>
                <a:gd name="T30" fmla="*/ 21 w 26"/>
                <a:gd name="T31" fmla="*/ 13 h 32"/>
                <a:gd name="T32" fmla="*/ 19 w 26"/>
                <a:gd name="T33" fmla="*/ 7 h 32"/>
                <a:gd name="T34" fmla="*/ 14 w 26"/>
                <a:gd name="T35" fmla="*/ 4 h 32"/>
                <a:gd name="T36" fmla="*/ 8 w 26"/>
                <a:gd name="T37" fmla="*/ 7 h 32"/>
                <a:gd name="T38" fmla="*/ 5 w 26"/>
                <a:gd name="T39" fmla="*/ 13 h 32"/>
                <a:gd name="T40" fmla="*/ 21 w 26"/>
                <a:gd name="T41" fmla="*/ 1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2">
                  <a:moveTo>
                    <a:pt x="26" y="17"/>
                  </a:moveTo>
                  <a:cubicBezTo>
                    <a:pt x="5" y="17"/>
                    <a:pt x="5" y="17"/>
                    <a:pt x="5" y="17"/>
                  </a:cubicBezTo>
                  <a:cubicBezTo>
                    <a:pt x="5" y="21"/>
                    <a:pt x="6" y="23"/>
                    <a:pt x="8" y="25"/>
                  </a:cubicBezTo>
                  <a:cubicBezTo>
                    <a:pt x="9" y="27"/>
                    <a:pt x="12" y="28"/>
                    <a:pt x="15" y="28"/>
                  </a:cubicBezTo>
                  <a:cubicBezTo>
                    <a:pt x="18" y="28"/>
                    <a:pt x="21" y="27"/>
                    <a:pt x="24" y="24"/>
                  </a:cubicBezTo>
                  <a:cubicBezTo>
                    <a:pt x="24" y="29"/>
                    <a:pt x="24" y="29"/>
                    <a:pt x="24" y="29"/>
                  </a:cubicBezTo>
                  <a:cubicBezTo>
                    <a:pt x="21" y="31"/>
                    <a:pt x="18" y="32"/>
                    <a:pt x="14" y="32"/>
                  </a:cubicBezTo>
                  <a:cubicBezTo>
                    <a:pt x="9" y="32"/>
                    <a:pt x="6" y="30"/>
                    <a:pt x="4" y="28"/>
                  </a:cubicBezTo>
                  <a:cubicBezTo>
                    <a:pt x="1" y="25"/>
                    <a:pt x="0" y="21"/>
                    <a:pt x="0" y="16"/>
                  </a:cubicBezTo>
                  <a:cubicBezTo>
                    <a:pt x="0" y="13"/>
                    <a:pt x="1" y="11"/>
                    <a:pt x="2" y="8"/>
                  </a:cubicBezTo>
                  <a:cubicBezTo>
                    <a:pt x="3" y="6"/>
                    <a:pt x="5" y="4"/>
                    <a:pt x="7" y="2"/>
                  </a:cubicBezTo>
                  <a:cubicBezTo>
                    <a:pt x="9" y="1"/>
                    <a:pt x="11" y="0"/>
                    <a:pt x="14" y="0"/>
                  </a:cubicBezTo>
                  <a:cubicBezTo>
                    <a:pt x="18" y="0"/>
                    <a:pt x="21" y="2"/>
                    <a:pt x="23" y="4"/>
                  </a:cubicBezTo>
                  <a:cubicBezTo>
                    <a:pt x="25" y="7"/>
                    <a:pt x="26" y="10"/>
                    <a:pt x="26" y="15"/>
                  </a:cubicBezTo>
                  <a:lnTo>
                    <a:pt x="26" y="17"/>
                  </a:lnTo>
                  <a:close/>
                  <a:moveTo>
                    <a:pt x="21" y="13"/>
                  </a:moveTo>
                  <a:cubicBezTo>
                    <a:pt x="21" y="10"/>
                    <a:pt x="21" y="8"/>
                    <a:pt x="19" y="7"/>
                  </a:cubicBezTo>
                  <a:cubicBezTo>
                    <a:pt x="18" y="5"/>
                    <a:pt x="16" y="4"/>
                    <a:pt x="14" y="4"/>
                  </a:cubicBezTo>
                  <a:cubicBezTo>
                    <a:pt x="12" y="4"/>
                    <a:pt x="10" y="5"/>
                    <a:pt x="8" y="7"/>
                  </a:cubicBezTo>
                  <a:cubicBezTo>
                    <a:pt x="6" y="8"/>
                    <a:pt x="5" y="11"/>
                    <a:pt x="5" y="13"/>
                  </a:cubicBezTo>
                  <a:lnTo>
                    <a:pt x="21"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43" name="Freeform 40"/>
            <p:cNvSpPr>
              <a:spLocks noEditPoints="1"/>
            </p:cNvSpPr>
            <p:nvPr/>
          </p:nvSpPr>
          <p:spPr bwMode="auto">
            <a:xfrm>
              <a:off x="3756" y="2104"/>
              <a:ext cx="95" cy="107"/>
            </a:xfrm>
            <a:custGeom>
              <a:avLst/>
              <a:gdLst>
                <a:gd name="T0" fmla="*/ 40 w 40"/>
                <a:gd name="T1" fmla="*/ 22 h 44"/>
                <a:gd name="T2" fmla="*/ 37 w 40"/>
                <a:gd name="T3" fmla="*/ 33 h 44"/>
                <a:gd name="T4" fmla="*/ 30 w 40"/>
                <a:gd name="T5" fmla="*/ 41 h 44"/>
                <a:gd name="T6" fmla="*/ 20 w 40"/>
                <a:gd name="T7" fmla="*/ 44 h 44"/>
                <a:gd name="T8" fmla="*/ 9 w 40"/>
                <a:gd name="T9" fmla="*/ 41 h 44"/>
                <a:gd name="T10" fmla="*/ 2 w 40"/>
                <a:gd name="T11" fmla="*/ 34 h 44"/>
                <a:gd name="T12" fmla="*/ 0 w 40"/>
                <a:gd name="T13" fmla="*/ 23 h 44"/>
                <a:gd name="T14" fmla="*/ 2 w 40"/>
                <a:gd name="T15" fmla="*/ 11 h 44"/>
                <a:gd name="T16" fmla="*/ 10 w 40"/>
                <a:gd name="T17" fmla="*/ 3 h 44"/>
                <a:gd name="T18" fmla="*/ 20 w 40"/>
                <a:gd name="T19" fmla="*/ 0 h 44"/>
                <a:gd name="T20" fmla="*/ 30 w 40"/>
                <a:gd name="T21" fmla="*/ 3 h 44"/>
                <a:gd name="T22" fmla="*/ 37 w 40"/>
                <a:gd name="T23" fmla="*/ 11 h 44"/>
                <a:gd name="T24" fmla="*/ 40 w 40"/>
                <a:gd name="T25" fmla="*/ 22 h 44"/>
                <a:gd name="T26" fmla="*/ 34 w 40"/>
                <a:gd name="T27" fmla="*/ 22 h 44"/>
                <a:gd name="T28" fmla="*/ 31 w 40"/>
                <a:gd name="T29" fmla="*/ 9 h 44"/>
                <a:gd name="T30" fmla="*/ 20 w 40"/>
                <a:gd name="T31" fmla="*/ 5 h 44"/>
                <a:gd name="T32" fmla="*/ 12 w 40"/>
                <a:gd name="T33" fmla="*/ 7 h 44"/>
                <a:gd name="T34" fmla="*/ 7 w 40"/>
                <a:gd name="T35" fmla="*/ 13 h 44"/>
                <a:gd name="T36" fmla="*/ 5 w 40"/>
                <a:gd name="T37" fmla="*/ 22 h 44"/>
                <a:gd name="T38" fmla="*/ 7 w 40"/>
                <a:gd name="T39" fmla="*/ 31 h 44"/>
                <a:gd name="T40" fmla="*/ 12 w 40"/>
                <a:gd name="T41" fmla="*/ 37 h 44"/>
                <a:gd name="T42" fmla="*/ 20 w 40"/>
                <a:gd name="T43" fmla="*/ 39 h 44"/>
                <a:gd name="T44" fmla="*/ 31 w 40"/>
                <a:gd name="T45" fmla="*/ 35 h 44"/>
                <a:gd name="T46" fmla="*/ 34 w 40"/>
                <a:gd name="T47" fmla="*/ 2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 h="44">
                  <a:moveTo>
                    <a:pt x="40" y="22"/>
                  </a:moveTo>
                  <a:cubicBezTo>
                    <a:pt x="40" y="26"/>
                    <a:pt x="39" y="30"/>
                    <a:pt x="37" y="33"/>
                  </a:cubicBezTo>
                  <a:cubicBezTo>
                    <a:pt x="36" y="37"/>
                    <a:pt x="33" y="39"/>
                    <a:pt x="30" y="41"/>
                  </a:cubicBezTo>
                  <a:cubicBezTo>
                    <a:pt x="27" y="43"/>
                    <a:pt x="24" y="44"/>
                    <a:pt x="20" y="44"/>
                  </a:cubicBezTo>
                  <a:cubicBezTo>
                    <a:pt x="16" y="44"/>
                    <a:pt x="12" y="43"/>
                    <a:pt x="9" y="41"/>
                  </a:cubicBezTo>
                  <a:cubicBezTo>
                    <a:pt x="6" y="39"/>
                    <a:pt x="4" y="37"/>
                    <a:pt x="2" y="34"/>
                  </a:cubicBezTo>
                  <a:cubicBezTo>
                    <a:pt x="1" y="30"/>
                    <a:pt x="0" y="27"/>
                    <a:pt x="0" y="23"/>
                  </a:cubicBezTo>
                  <a:cubicBezTo>
                    <a:pt x="0" y="18"/>
                    <a:pt x="1" y="14"/>
                    <a:pt x="2" y="11"/>
                  </a:cubicBezTo>
                  <a:cubicBezTo>
                    <a:pt x="4" y="7"/>
                    <a:pt x="6" y="5"/>
                    <a:pt x="10" y="3"/>
                  </a:cubicBezTo>
                  <a:cubicBezTo>
                    <a:pt x="13" y="1"/>
                    <a:pt x="16" y="0"/>
                    <a:pt x="20" y="0"/>
                  </a:cubicBezTo>
                  <a:cubicBezTo>
                    <a:pt x="24" y="0"/>
                    <a:pt x="27" y="1"/>
                    <a:pt x="30" y="3"/>
                  </a:cubicBezTo>
                  <a:cubicBezTo>
                    <a:pt x="33" y="5"/>
                    <a:pt x="36" y="7"/>
                    <a:pt x="37" y="11"/>
                  </a:cubicBezTo>
                  <a:cubicBezTo>
                    <a:pt x="39" y="14"/>
                    <a:pt x="40" y="17"/>
                    <a:pt x="40" y="22"/>
                  </a:cubicBezTo>
                  <a:close/>
                  <a:moveTo>
                    <a:pt x="34" y="22"/>
                  </a:moveTo>
                  <a:cubicBezTo>
                    <a:pt x="34" y="17"/>
                    <a:pt x="33" y="12"/>
                    <a:pt x="31" y="9"/>
                  </a:cubicBezTo>
                  <a:cubicBezTo>
                    <a:pt x="28" y="6"/>
                    <a:pt x="25" y="5"/>
                    <a:pt x="20" y="5"/>
                  </a:cubicBezTo>
                  <a:cubicBezTo>
                    <a:pt x="17" y="5"/>
                    <a:pt x="15" y="6"/>
                    <a:pt x="12" y="7"/>
                  </a:cubicBezTo>
                  <a:cubicBezTo>
                    <a:pt x="10" y="8"/>
                    <a:pt x="8" y="10"/>
                    <a:pt x="7" y="13"/>
                  </a:cubicBezTo>
                  <a:cubicBezTo>
                    <a:pt x="6" y="16"/>
                    <a:pt x="5" y="19"/>
                    <a:pt x="5" y="22"/>
                  </a:cubicBezTo>
                  <a:cubicBezTo>
                    <a:pt x="5" y="25"/>
                    <a:pt x="6" y="28"/>
                    <a:pt x="7" y="31"/>
                  </a:cubicBezTo>
                  <a:cubicBezTo>
                    <a:pt x="8" y="34"/>
                    <a:pt x="10" y="36"/>
                    <a:pt x="12" y="37"/>
                  </a:cubicBezTo>
                  <a:cubicBezTo>
                    <a:pt x="14" y="39"/>
                    <a:pt x="17" y="39"/>
                    <a:pt x="20" y="39"/>
                  </a:cubicBezTo>
                  <a:cubicBezTo>
                    <a:pt x="24" y="39"/>
                    <a:pt x="28" y="38"/>
                    <a:pt x="31" y="35"/>
                  </a:cubicBezTo>
                  <a:cubicBezTo>
                    <a:pt x="33" y="32"/>
                    <a:pt x="34" y="28"/>
                    <a:pt x="34"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44" name="Freeform 41"/>
            <p:cNvSpPr>
              <a:spLocks/>
            </p:cNvSpPr>
            <p:nvPr/>
          </p:nvSpPr>
          <p:spPr bwMode="auto">
            <a:xfrm>
              <a:off x="3865" y="2133"/>
              <a:ext cx="60" cy="75"/>
            </a:xfrm>
            <a:custGeom>
              <a:avLst/>
              <a:gdLst>
                <a:gd name="T0" fmla="*/ 25 w 25"/>
                <a:gd name="T1" fmla="*/ 31 h 31"/>
                <a:gd name="T2" fmla="*/ 20 w 25"/>
                <a:gd name="T3" fmla="*/ 31 h 31"/>
                <a:gd name="T4" fmla="*/ 20 w 25"/>
                <a:gd name="T5" fmla="*/ 14 h 31"/>
                <a:gd name="T6" fmla="*/ 13 w 25"/>
                <a:gd name="T7" fmla="*/ 4 h 31"/>
                <a:gd name="T8" fmla="*/ 7 w 25"/>
                <a:gd name="T9" fmla="*/ 7 h 31"/>
                <a:gd name="T10" fmla="*/ 4 w 25"/>
                <a:gd name="T11" fmla="*/ 14 h 31"/>
                <a:gd name="T12" fmla="*/ 4 w 25"/>
                <a:gd name="T13" fmla="*/ 31 h 31"/>
                <a:gd name="T14" fmla="*/ 0 w 25"/>
                <a:gd name="T15" fmla="*/ 31 h 31"/>
                <a:gd name="T16" fmla="*/ 0 w 25"/>
                <a:gd name="T17" fmla="*/ 1 h 31"/>
                <a:gd name="T18" fmla="*/ 4 w 25"/>
                <a:gd name="T19" fmla="*/ 1 h 31"/>
                <a:gd name="T20" fmla="*/ 4 w 25"/>
                <a:gd name="T21" fmla="*/ 6 h 31"/>
                <a:gd name="T22" fmla="*/ 5 w 25"/>
                <a:gd name="T23" fmla="*/ 6 h 31"/>
                <a:gd name="T24" fmla="*/ 14 w 25"/>
                <a:gd name="T25" fmla="*/ 0 h 31"/>
                <a:gd name="T26" fmla="*/ 22 w 25"/>
                <a:gd name="T27" fmla="*/ 4 h 31"/>
                <a:gd name="T28" fmla="*/ 25 w 25"/>
                <a:gd name="T29" fmla="*/ 13 h 31"/>
                <a:gd name="T30" fmla="*/ 25 w 25"/>
                <a:gd name="T3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31">
                  <a:moveTo>
                    <a:pt x="25" y="31"/>
                  </a:moveTo>
                  <a:cubicBezTo>
                    <a:pt x="20" y="31"/>
                    <a:pt x="20" y="31"/>
                    <a:pt x="20" y="31"/>
                  </a:cubicBezTo>
                  <a:cubicBezTo>
                    <a:pt x="20" y="14"/>
                    <a:pt x="20" y="14"/>
                    <a:pt x="20" y="14"/>
                  </a:cubicBezTo>
                  <a:cubicBezTo>
                    <a:pt x="20" y="8"/>
                    <a:pt x="17" y="4"/>
                    <a:pt x="13" y="4"/>
                  </a:cubicBezTo>
                  <a:cubicBezTo>
                    <a:pt x="10" y="4"/>
                    <a:pt x="8" y="5"/>
                    <a:pt x="7" y="7"/>
                  </a:cubicBezTo>
                  <a:cubicBezTo>
                    <a:pt x="5" y="9"/>
                    <a:pt x="4" y="11"/>
                    <a:pt x="4" y="14"/>
                  </a:cubicBezTo>
                  <a:cubicBezTo>
                    <a:pt x="4" y="31"/>
                    <a:pt x="4" y="31"/>
                    <a:pt x="4" y="31"/>
                  </a:cubicBezTo>
                  <a:cubicBezTo>
                    <a:pt x="0" y="31"/>
                    <a:pt x="0" y="31"/>
                    <a:pt x="0" y="31"/>
                  </a:cubicBezTo>
                  <a:cubicBezTo>
                    <a:pt x="0" y="1"/>
                    <a:pt x="0" y="1"/>
                    <a:pt x="0" y="1"/>
                  </a:cubicBezTo>
                  <a:cubicBezTo>
                    <a:pt x="4" y="1"/>
                    <a:pt x="4" y="1"/>
                    <a:pt x="4" y="1"/>
                  </a:cubicBezTo>
                  <a:cubicBezTo>
                    <a:pt x="4" y="6"/>
                    <a:pt x="4" y="6"/>
                    <a:pt x="4" y="6"/>
                  </a:cubicBezTo>
                  <a:cubicBezTo>
                    <a:pt x="5" y="6"/>
                    <a:pt x="5" y="6"/>
                    <a:pt x="5" y="6"/>
                  </a:cubicBezTo>
                  <a:cubicBezTo>
                    <a:pt x="7" y="2"/>
                    <a:pt x="10" y="0"/>
                    <a:pt x="14" y="0"/>
                  </a:cubicBezTo>
                  <a:cubicBezTo>
                    <a:pt x="18" y="0"/>
                    <a:pt x="20" y="1"/>
                    <a:pt x="22" y="4"/>
                  </a:cubicBezTo>
                  <a:cubicBezTo>
                    <a:pt x="24" y="6"/>
                    <a:pt x="25" y="9"/>
                    <a:pt x="25" y="13"/>
                  </a:cubicBezTo>
                  <a:lnTo>
                    <a:pt x="25"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45" name="Freeform 42"/>
            <p:cNvSpPr>
              <a:spLocks noEditPoints="1"/>
            </p:cNvSpPr>
            <p:nvPr/>
          </p:nvSpPr>
          <p:spPr bwMode="auto">
            <a:xfrm>
              <a:off x="3937" y="2133"/>
              <a:ext cx="61" cy="78"/>
            </a:xfrm>
            <a:custGeom>
              <a:avLst/>
              <a:gdLst>
                <a:gd name="T0" fmla="*/ 26 w 26"/>
                <a:gd name="T1" fmla="*/ 17 h 32"/>
                <a:gd name="T2" fmla="*/ 5 w 26"/>
                <a:gd name="T3" fmla="*/ 17 h 32"/>
                <a:gd name="T4" fmla="*/ 7 w 26"/>
                <a:gd name="T5" fmla="*/ 25 h 32"/>
                <a:gd name="T6" fmla="*/ 14 w 26"/>
                <a:gd name="T7" fmla="*/ 28 h 32"/>
                <a:gd name="T8" fmla="*/ 24 w 26"/>
                <a:gd name="T9" fmla="*/ 24 h 32"/>
                <a:gd name="T10" fmla="*/ 24 w 26"/>
                <a:gd name="T11" fmla="*/ 29 h 32"/>
                <a:gd name="T12" fmla="*/ 13 w 26"/>
                <a:gd name="T13" fmla="*/ 32 h 32"/>
                <a:gd name="T14" fmla="*/ 3 w 26"/>
                <a:gd name="T15" fmla="*/ 28 h 32"/>
                <a:gd name="T16" fmla="*/ 0 w 26"/>
                <a:gd name="T17" fmla="*/ 16 h 32"/>
                <a:gd name="T18" fmla="*/ 1 w 26"/>
                <a:gd name="T19" fmla="*/ 8 h 32"/>
                <a:gd name="T20" fmla="*/ 6 w 26"/>
                <a:gd name="T21" fmla="*/ 2 h 32"/>
                <a:gd name="T22" fmla="*/ 13 w 26"/>
                <a:gd name="T23" fmla="*/ 0 h 32"/>
                <a:gd name="T24" fmla="*/ 23 w 26"/>
                <a:gd name="T25" fmla="*/ 4 h 32"/>
                <a:gd name="T26" fmla="*/ 26 w 26"/>
                <a:gd name="T27" fmla="*/ 15 h 32"/>
                <a:gd name="T28" fmla="*/ 26 w 26"/>
                <a:gd name="T29" fmla="*/ 17 h 32"/>
                <a:gd name="T30" fmla="*/ 21 w 26"/>
                <a:gd name="T31" fmla="*/ 13 h 32"/>
                <a:gd name="T32" fmla="*/ 19 w 26"/>
                <a:gd name="T33" fmla="*/ 7 h 32"/>
                <a:gd name="T34" fmla="*/ 13 w 26"/>
                <a:gd name="T35" fmla="*/ 4 h 32"/>
                <a:gd name="T36" fmla="*/ 8 w 26"/>
                <a:gd name="T37" fmla="*/ 7 h 32"/>
                <a:gd name="T38" fmla="*/ 5 w 26"/>
                <a:gd name="T39" fmla="*/ 13 h 32"/>
                <a:gd name="T40" fmla="*/ 21 w 26"/>
                <a:gd name="T41" fmla="*/ 1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2">
                  <a:moveTo>
                    <a:pt x="26" y="17"/>
                  </a:moveTo>
                  <a:cubicBezTo>
                    <a:pt x="5" y="17"/>
                    <a:pt x="5" y="17"/>
                    <a:pt x="5" y="17"/>
                  </a:cubicBezTo>
                  <a:cubicBezTo>
                    <a:pt x="5" y="21"/>
                    <a:pt x="6" y="23"/>
                    <a:pt x="7" y="25"/>
                  </a:cubicBezTo>
                  <a:cubicBezTo>
                    <a:pt x="9" y="27"/>
                    <a:pt x="11" y="28"/>
                    <a:pt x="14" y="28"/>
                  </a:cubicBezTo>
                  <a:cubicBezTo>
                    <a:pt x="18" y="28"/>
                    <a:pt x="21" y="27"/>
                    <a:pt x="24" y="24"/>
                  </a:cubicBezTo>
                  <a:cubicBezTo>
                    <a:pt x="24" y="29"/>
                    <a:pt x="24" y="29"/>
                    <a:pt x="24" y="29"/>
                  </a:cubicBezTo>
                  <a:cubicBezTo>
                    <a:pt x="21" y="31"/>
                    <a:pt x="18" y="32"/>
                    <a:pt x="13" y="32"/>
                  </a:cubicBezTo>
                  <a:cubicBezTo>
                    <a:pt x="9" y="32"/>
                    <a:pt x="6" y="30"/>
                    <a:pt x="3" y="28"/>
                  </a:cubicBezTo>
                  <a:cubicBezTo>
                    <a:pt x="1" y="25"/>
                    <a:pt x="0" y="21"/>
                    <a:pt x="0" y="16"/>
                  </a:cubicBezTo>
                  <a:cubicBezTo>
                    <a:pt x="0" y="13"/>
                    <a:pt x="0" y="11"/>
                    <a:pt x="1" y="8"/>
                  </a:cubicBezTo>
                  <a:cubicBezTo>
                    <a:pt x="3" y="6"/>
                    <a:pt x="4" y="4"/>
                    <a:pt x="6" y="2"/>
                  </a:cubicBezTo>
                  <a:cubicBezTo>
                    <a:pt x="9" y="1"/>
                    <a:pt x="11" y="0"/>
                    <a:pt x="13" y="0"/>
                  </a:cubicBezTo>
                  <a:cubicBezTo>
                    <a:pt x="17" y="0"/>
                    <a:pt x="20" y="2"/>
                    <a:pt x="23" y="4"/>
                  </a:cubicBezTo>
                  <a:cubicBezTo>
                    <a:pt x="25" y="7"/>
                    <a:pt x="26" y="10"/>
                    <a:pt x="26" y="15"/>
                  </a:cubicBezTo>
                  <a:lnTo>
                    <a:pt x="26" y="17"/>
                  </a:lnTo>
                  <a:close/>
                  <a:moveTo>
                    <a:pt x="21" y="13"/>
                  </a:moveTo>
                  <a:cubicBezTo>
                    <a:pt x="21" y="10"/>
                    <a:pt x="20" y="8"/>
                    <a:pt x="19" y="7"/>
                  </a:cubicBezTo>
                  <a:cubicBezTo>
                    <a:pt x="18" y="5"/>
                    <a:pt x="16" y="4"/>
                    <a:pt x="13" y="4"/>
                  </a:cubicBezTo>
                  <a:cubicBezTo>
                    <a:pt x="11" y="4"/>
                    <a:pt x="9" y="5"/>
                    <a:pt x="8" y="7"/>
                  </a:cubicBezTo>
                  <a:cubicBezTo>
                    <a:pt x="6" y="8"/>
                    <a:pt x="5" y="11"/>
                    <a:pt x="5" y="13"/>
                  </a:cubicBezTo>
                  <a:lnTo>
                    <a:pt x="21"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46" name="Freeform 43"/>
            <p:cNvSpPr>
              <a:spLocks/>
            </p:cNvSpPr>
            <p:nvPr/>
          </p:nvSpPr>
          <p:spPr bwMode="auto">
            <a:xfrm>
              <a:off x="4013" y="2107"/>
              <a:ext cx="81" cy="101"/>
            </a:xfrm>
            <a:custGeom>
              <a:avLst/>
              <a:gdLst>
                <a:gd name="T0" fmla="*/ 34 w 34"/>
                <a:gd name="T1" fmla="*/ 42 h 42"/>
                <a:gd name="T2" fmla="*/ 28 w 34"/>
                <a:gd name="T3" fmla="*/ 42 h 42"/>
                <a:gd name="T4" fmla="*/ 6 w 34"/>
                <a:gd name="T5" fmla="*/ 9 h 42"/>
                <a:gd name="T6" fmla="*/ 5 w 34"/>
                <a:gd name="T7" fmla="*/ 6 h 42"/>
                <a:gd name="T8" fmla="*/ 5 w 34"/>
                <a:gd name="T9" fmla="*/ 6 h 42"/>
                <a:gd name="T10" fmla="*/ 5 w 34"/>
                <a:gd name="T11" fmla="*/ 12 h 42"/>
                <a:gd name="T12" fmla="*/ 5 w 34"/>
                <a:gd name="T13" fmla="*/ 42 h 42"/>
                <a:gd name="T14" fmla="*/ 0 w 34"/>
                <a:gd name="T15" fmla="*/ 42 h 42"/>
                <a:gd name="T16" fmla="*/ 0 w 34"/>
                <a:gd name="T17" fmla="*/ 0 h 42"/>
                <a:gd name="T18" fmla="*/ 6 w 34"/>
                <a:gd name="T19" fmla="*/ 0 h 42"/>
                <a:gd name="T20" fmla="*/ 27 w 34"/>
                <a:gd name="T21" fmla="*/ 33 h 42"/>
                <a:gd name="T22" fmla="*/ 29 w 34"/>
                <a:gd name="T23" fmla="*/ 36 h 42"/>
                <a:gd name="T24" fmla="*/ 29 w 34"/>
                <a:gd name="T25" fmla="*/ 36 h 42"/>
                <a:gd name="T26" fmla="*/ 29 w 34"/>
                <a:gd name="T27" fmla="*/ 30 h 42"/>
                <a:gd name="T28" fmla="*/ 29 w 34"/>
                <a:gd name="T29" fmla="*/ 0 h 42"/>
                <a:gd name="T30" fmla="*/ 34 w 34"/>
                <a:gd name="T31" fmla="*/ 0 h 42"/>
                <a:gd name="T32" fmla="*/ 34 w 34"/>
                <a:gd name="T33"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 h="42">
                  <a:moveTo>
                    <a:pt x="34" y="42"/>
                  </a:moveTo>
                  <a:cubicBezTo>
                    <a:pt x="28" y="42"/>
                    <a:pt x="28" y="42"/>
                    <a:pt x="28" y="42"/>
                  </a:cubicBezTo>
                  <a:cubicBezTo>
                    <a:pt x="6" y="9"/>
                    <a:pt x="6" y="9"/>
                    <a:pt x="6" y="9"/>
                  </a:cubicBezTo>
                  <a:cubicBezTo>
                    <a:pt x="6" y="8"/>
                    <a:pt x="5" y="7"/>
                    <a:pt x="5" y="6"/>
                  </a:cubicBezTo>
                  <a:cubicBezTo>
                    <a:pt x="5" y="6"/>
                    <a:pt x="5" y="6"/>
                    <a:pt x="5" y="6"/>
                  </a:cubicBezTo>
                  <a:cubicBezTo>
                    <a:pt x="5" y="7"/>
                    <a:pt x="5" y="9"/>
                    <a:pt x="5" y="12"/>
                  </a:cubicBezTo>
                  <a:cubicBezTo>
                    <a:pt x="5" y="42"/>
                    <a:pt x="5" y="42"/>
                    <a:pt x="5" y="42"/>
                  </a:cubicBezTo>
                  <a:cubicBezTo>
                    <a:pt x="0" y="42"/>
                    <a:pt x="0" y="42"/>
                    <a:pt x="0" y="42"/>
                  </a:cubicBezTo>
                  <a:cubicBezTo>
                    <a:pt x="0" y="0"/>
                    <a:pt x="0" y="0"/>
                    <a:pt x="0" y="0"/>
                  </a:cubicBezTo>
                  <a:cubicBezTo>
                    <a:pt x="6" y="0"/>
                    <a:pt x="6" y="0"/>
                    <a:pt x="6" y="0"/>
                  </a:cubicBezTo>
                  <a:cubicBezTo>
                    <a:pt x="27" y="33"/>
                    <a:pt x="27" y="33"/>
                    <a:pt x="27" y="33"/>
                  </a:cubicBezTo>
                  <a:cubicBezTo>
                    <a:pt x="29" y="36"/>
                    <a:pt x="29" y="36"/>
                    <a:pt x="29" y="36"/>
                  </a:cubicBezTo>
                  <a:cubicBezTo>
                    <a:pt x="29" y="36"/>
                    <a:pt x="29" y="36"/>
                    <a:pt x="29" y="36"/>
                  </a:cubicBezTo>
                  <a:cubicBezTo>
                    <a:pt x="29" y="35"/>
                    <a:pt x="29" y="33"/>
                    <a:pt x="29" y="30"/>
                  </a:cubicBezTo>
                  <a:cubicBezTo>
                    <a:pt x="29" y="0"/>
                    <a:pt x="29" y="0"/>
                    <a:pt x="29" y="0"/>
                  </a:cubicBezTo>
                  <a:cubicBezTo>
                    <a:pt x="34" y="0"/>
                    <a:pt x="34" y="0"/>
                    <a:pt x="34" y="0"/>
                  </a:cubicBezTo>
                  <a:lnTo>
                    <a:pt x="34"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48" name="Freeform 44"/>
            <p:cNvSpPr>
              <a:spLocks noEditPoints="1"/>
            </p:cNvSpPr>
            <p:nvPr/>
          </p:nvSpPr>
          <p:spPr bwMode="auto">
            <a:xfrm>
              <a:off x="4108" y="2133"/>
              <a:ext cx="71" cy="78"/>
            </a:xfrm>
            <a:custGeom>
              <a:avLst/>
              <a:gdLst>
                <a:gd name="T0" fmla="*/ 30 w 30"/>
                <a:gd name="T1" fmla="*/ 16 h 32"/>
                <a:gd name="T2" fmla="*/ 26 w 30"/>
                <a:gd name="T3" fmla="*/ 27 h 32"/>
                <a:gd name="T4" fmla="*/ 15 w 30"/>
                <a:gd name="T5" fmla="*/ 32 h 32"/>
                <a:gd name="T6" fmla="*/ 4 w 30"/>
                <a:gd name="T7" fmla="*/ 28 h 32"/>
                <a:gd name="T8" fmla="*/ 0 w 30"/>
                <a:gd name="T9" fmla="*/ 16 h 32"/>
                <a:gd name="T10" fmla="*/ 4 w 30"/>
                <a:gd name="T11" fmla="*/ 5 h 32"/>
                <a:gd name="T12" fmla="*/ 16 w 30"/>
                <a:gd name="T13" fmla="*/ 0 h 32"/>
                <a:gd name="T14" fmla="*/ 26 w 30"/>
                <a:gd name="T15" fmla="*/ 5 h 32"/>
                <a:gd name="T16" fmla="*/ 30 w 30"/>
                <a:gd name="T17" fmla="*/ 16 h 32"/>
                <a:gd name="T18" fmla="*/ 25 w 30"/>
                <a:gd name="T19" fmla="*/ 16 h 32"/>
                <a:gd name="T20" fmla="*/ 22 w 30"/>
                <a:gd name="T21" fmla="*/ 7 h 32"/>
                <a:gd name="T22" fmla="*/ 15 w 30"/>
                <a:gd name="T23" fmla="*/ 4 h 32"/>
                <a:gd name="T24" fmla="*/ 8 w 30"/>
                <a:gd name="T25" fmla="*/ 8 h 32"/>
                <a:gd name="T26" fmla="*/ 5 w 30"/>
                <a:gd name="T27" fmla="*/ 16 h 32"/>
                <a:gd name="T28" fmla="*/ 8 w 30"/>
                <a:gd name="T29" fmla="*/ 25 h 32"/>
                <a:gd name="T30" fmla="*/ 15 w 30"/>
                <a:gd name="T31" fmla="*/ 28 h 32"/>
                <a:gd name="T32" fmla="*/ 22 w 30"/>
                <a:gd name="T33" fmla="*/ 25 h 32"/>
                <a:gd name="T34" fmla="*/ 25 w 30"/>
                <a:gd name="T35"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32">
                  <a:moveTo>
                    <a:pt x="30" y="16"/>
                  </a:moveTo>
                  <a:cubicBezTo>
                    <a:pt x="30" y="21"/>
                    <a:pt x="28" y="25"/>
                    <a:pt x="26" y="27"/>
                  </a:cubicBezTo>
                  <a:cubicBezTo>
                    <a:pt x="23" y="30"/>
                    <a:pt x="19" y="32"/>
                    <a:pt x="15" y="32"/>
                  </a:cubicBezTo>
                  <a:cubicBezTo>
                    <a:pt x="10" y="32"/>
                    <a:pt x="7" y="30"/>
                    <a:pt x="4" y="28"/>
                  </a:cubicBezTo>
                  <a:cubicBezTo>
                    <a:pt x="2" y="25"/>
                    <a:pt x="0" y="21"/>
                    <a:pt x="0" y="16"/>
                  </a:cubicBezTo>
                  <a:cubicBezTo>
                    <a:pt x="0" y="11"/>
                    <a:pt x="2" y="8"/>
                    <a:pt x="4" y="5"/>
                  </a:cubicBezTo>
                  <a:cubicBezTo>
                    <a:pt x="7" y="2"/>
                    <a:pt x="11" y="0"/>
                    <a:pt x="16" y="0"/>
                  </a:cubicBezTo>
                  <a:cubicBezTo>
                    <a:pt x="20" y="0"/>
                    <a:pt x="23" y="2"/>
                    <a:pt x="26" y="5"/>
                  </a:cubicBezTo>
                  <a:cubicBezTo>
                    <a:pt x="29" y="7"/>
                    <a:pt x="30" y="11"/>
                    <a:pt x="30" y="16"/>
                  </a:cubicBezTo>
                  <a:close/>
                  <a:moveTo>
                    <a:pt x="25" y="16"/>
                  </a:moveTo>
                  <a:cubicBezTo>
                    <a:pt x="25" y="12"/>
                    <a:pt x="24" y="9"/>
                    <a:pt x="22" y="7"/>
                  </a:cubicBezTo>
                  <a:cubicBezTo>
                    <a:pt x="21" y="5"/>
                    <a:pt x="18" y="4"/>
                    <a:pt x="15" y="4"/>
                  </a:cubicBezTo>
                  <a:cubicBezTo>
                    <a:pt x="12" y="4"/>
                    <a:pt x="10" y="5"/>
                    <a:pt x="8" y="8"/>
                  </a:cubicBezTo>
                  <a:cubicBezTo>
                    <a:pt x="6" y="10"/>
                    <a:pt x="5" y="12"/>
                    <a:pt x="5" y="16"/>
                  </a:cubicBezTo>
                  <a:cubicBezTo>
                    <a:pt x="5" y="20"/>
                    <a:pt x="6" y="23"/>
                    <a:pt x="8" y="25"/>
                  </a:cubicBezTo>
                  <a:cubicBezTo>
                    <a:pt x="10" y="27"/>
                    <a:pt x="12" y="28"/>
                    <a:pt x="15" y="28"/>
                  </a:cubicBezTo>
                  <a:cubicBezTo>
                    <a:pt x="18" y="28"/>
                    <a:pt x="21" y="27"/>
                    <a:pt x="22" y="25"/>
                  </a:cubicBezTo>
                  <a:cubicBezTo>
                    <a:pt x="24" y="23"/>
                    <a:pt x="25" y="20"/>
                    <a:pt x="25"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49" name="Freeform 45"/>
            <p:cNvSpPr>
              <a:spLocks/>
            </p:cNvSpPr>
            <p:nvPr/>
          </p:nvSpPr>
          <p:spPr bwMode="auto">
            <a:xfrm>
              <a:off x="4184" y="2114"/>
              <a:ext cx="43" cy="97"/>
            </a:xfrm>
            <a:custGeom>
              <a:avLst/>
              <a:gdLst>
                <a:gd name="T0" fmla="*/ 18 w 18"/>
                <a:gd name="T1" fmla="*/ 39 h 40"/>
                <a:gd name="T2" fmla="*/ 13 w 18"/>
                <a:gd name="T3" fmla="*/ 40 h 40"/>
                <a:gd name="T4" fmla="*/ 5 w 18"/>
                <a:gd name="T5" fmla="*/ 31 h 40"/>
                <a:gd name="T6" fmla="*/ 5 w 18"/>
                <a:gd name="T7" fmla="*/ 13 h 40"/>
                <a:gd name="T8" fmla="*/ 0 w 18"/>
                <a:gd name="T9" fmla="*/ 13 h 40"/>
                <a:gd name="T10" fmla="*/ 0 w 18"/>
                <a:gd name="T11" fmla="*/ 9 h 40"/>
                <a:gd name="T12" fmla="*/ 5 w 18"/>
                <a:gd name="T13" fmla="*/ 9 h 40"/>
                <a:gd name="T14" fmla="*/ 5 w 18"/>
                <a:gd name="T15" fmla="*/ 2 h 40"/>
                <a:gd name="T16" fmla="*/ 10 w 18"/>
                <a:gd name="T17" fmla="*/ 0 h 40"/>
                <a:gd name="T18" fmla="*/ 10 w 18"/>
                <a:gd name="T19" fmla="*/ 9 h 40"/>
                <a:gd name="T20" fmla="*/ 18 w 18"/>
                <a:gd name="T21" fmla="*/ 9 h 40"/>
                <a:gd name="T22" fmla="*/ 18 w 18"/>
                <a:gd name="T23" fmla="*/ 13 h 40"/>
                <a:gd name="T24" fmla="*/ 10 w 18"/>
                <a:gd name="T25" fmla="*/ 13 h 40"/>
                <a:gd name="T26" fmla="*/ 10 w 18"/>
                <a:gd name="T27" fmla="*/ 30 h 40"/>
                <a:gd name="T28" fmla="*/ 11 w 18"/>
                <a:gd name="T29" fmla="*/ 34 h 40"/>
                <a:gd name="T30" fmla="*/ 14 w 18"/>
                <a:gd name="T31" fmla="*/ 36 h 40"/>
                <a:gd name="T32" fmla="*/ 18 w 18"/>
                <a:gd name="T33" fmla="*/ 35 h 40"/>
                <a:gd name="T34" fmla="*/ 18 w 18"/>
                <a:gd name="T35"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40">
                  <a:moveTo>
                    <a:pt x="18" y="39"/>
                  </a:moveTo>
                  <a:cubicBezTo>
                    <a:pt x="16" y="39"/>
                    <a:pt x="15" y="40"/>
                    <a:pt x="13" y="40"/>
                  </a:cubicBezTo>
                  <a:cubicBezTo>
                    <a:pt x="8" y="40"/>
                    <a:pt x="5" y="37"/>
                    <a:pt x="5" y="31"/>
                  </a:cubicBezTo>
                  <a:cubicBezTo>
                    <a:pt x="5" y="13"/>
                    <a:pt x="5" y="13"/>
                    <a:pt x="5" y="13"/>
                  </a:cubicBezTo>
                  <a:cubicBezTo>
                    <a:pt x="0" y="13"/>
                    <a:pt x="0" y="13"/>
                    <a:pt x="0" y="13"/>
                  </a:cubicBezTo>
                  <a:cubicBezTo>
                    <a:pt x="0" y="9"/>
                    <a:pt x="0" y="9"/>
                    <a:pt x="0" y="9"/>
                  </a:cubicBezTo>
                  <a:cubicBezTo>
                    <a:pt x="5" y="9"/>
                    <a:pt x="5" y="9"/>
                    <a:pt x="5" y="9"/>
                  </a:cubicBezTo>
                  <a:cubicBezTo>
                    <a:pt x="5" y="2"/>
                    <a:pt x="5" y="2"/>
                    <a:pt x="5" y="2"/>
                  </a:cubicBezTo>
                  <a:cubicBezTo>
                    <a:pt x="10" y="0"/>
                    <a:pt x="10" y="0"/>
                    <a:pt x="10" y="0"/>
                  </a:cubicBezTo>
                  <a:cubicBezTo>
                    <a:pt x="10" y="9"/>
                    <a:pt x="10" y="9"/>
                    <a:pt x="10" y="9"/>
                  </a:cubicBezTo>
                  <a:cubicBezTo>
                    <a:pt x="18" y="9"/>
                    <a:pt x="18" y="9"/>
                    <a:pt x="18" y="9"/>
                  </a:cubicBezTo>
                  <a:cubicBezTo>
                    <a:pt x="18" y="13"/>
                    <a:pt x="18" y="13"/>
                    <a:pt x="18" y="13"/>
                  </a:cubicBezTo>
                  <a:cubicBezTo>
                    <a:pt x="10" y="13"/>
                    <a:pt x="10" y="13"/>
                    <a:pt x="10" y="13"/>
                  </a:cubicBezTo>
                  <a:cubicBezTo>
                    <a:pt x="10" y="30"/>
                    <a:pt x="10" y="30"/>
                    <a:pt x="10" y="30"/>
                  </a:cubicBezTo>
                  <a:cubicBezTo>
                    <a:pt x="10" y="32"/>
                    <a:pt x="10" y="34"/>
                    <a:pt x="11" y="34"/>
                  </a:cubicBezTo>
                  <a:cubicBezTo>
                    <a:pt x="12" y="35"/>
                    <a:pt x="13" y="36"/>
                    <a:pt x="14" y="36"/>
                  </a:cubicBezTo>
                  <a:cubicBezTo>
                    <a:pt x="16" y="36"/>
                    <a:pt x="17" y="35"/>
                    <a:pt x="18" y="35"/>
                  </a:cubicBezTo>
                  <a:lnTo>
                    <a:pt x="18" y="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50" name="Freeform 46"/>
            <p:cNvSpPr>
              <a:spLocks noEditPoints="1"/>
            </p:cNvSpPr>
            <p:nvPr/>
          </p:nvSpPr>
          <p:spPr bwMode="auto">
            <a:xfrm>
              <a:off x="4232" y="2133"/>
              <a:ext cx="62" cy="78"/>
            </a:xfrm>
            <a:custGeom>
              <a:avLst/>
              <a:gdLst>
                <a:gd name="T0" fmla="*/ 26 w 26"/>
                <a:gd name="T1" fmla="*/ 17 h 32"/>
                <a:gd name="T2" fmla="*/ 5 w 26"/>
                <a:gd name="T3" fmla="*/ 17 h 32"/>
                <a:gd name="T4" fmla="*/ 8 w 26"/>
                <a:gd name="T5" fmla="*/ 25 h 32"/>
                <a:gd name="T6" fmla="*/ 15 w 26"/>
                <a:gd name="T7" fmla="*/ 28 h 32"/>
                <a:gd name="T8" fmla="*/ 24 w 26"/>
                <a:gd name="T9" fmla="*/ 24 h 32"/>
                <a:gd name="T10" fmla="*/ 24 w 26"/>
                <a:gd name="T11" fmla="*/ 29 h 32"/>
                <a:gd name="T12" fmla="*/ 14 w 26"/>
                <a:gd name="T13" fmla="*/ 32 h 32"/>
                <a:gd name="T14" fmla="*/ 4 w 26"/>
                <a:gd name="T15" fmla="*/ 28 h 32"/>
                <a:gd name="T16" fmla="*/ 0 w 26"/>
                <a:gd name="T17" fmla="*/ 16 h 32"/>
                <a:gd name="T18" fmla="*/ 2 w 26"/>
                <a:gd name="T19" fmla="*/ 8 h 32"/>
                <a:gd name="T20" fmla="*/ 7 w 26"/>
                <a:gd name="T21" fmla="*/ 2 h 32"/>
                <a:gd name="T22" fmla="*/ 14 w 26"/>
                <a:gd name="T23" fmla="*/ 0 h 32"/>
                <a:gd name="T24" fmla="*/ 23 w 26"/>
                <a:gd name="T25" fmla="*/ 4 h 32"/>
                <a:gd name="T26" fmla="*/ 26 w 26"/>
                <a:gd name="T27" fmla="*/ 15 h 32"/>
                <a:gd name="T28" fmla="*/ 26 w 26"/>
                <a:gd name="T29" fmla="*/ 17 h 32"/>
                <a:gd name="T30" fmla="*/ 21 w 26"/>
                <a:gd name="T31" fmla="*/ 13 h 32"/>
                <a:gd name="T32" fmla="*/ 19 w 26"/>
                <a:gd name="T33" fmla="*/ 7 h 32"/>
                <a:gd name="T34" fmla="*/ 14 w 26"/>
                <a:gd name="T35" fmla="*/ 4 h 32"/>
                <a:gd name="T36" fmla="*/ 8 w 26"/>
                <a:gd name="T37" fmla="*/ 7 h 32"/>
                <a:gd name="T38" fmla="*/ 5 w 26"/>
                <a:gd name="T39" fmla="*/ 13 h 32"/>
                <a:gd name="T40" fmla="*/ 21 w 26"/>
                <a:gd name="T41" fmla="*/ 1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2">
                  <a:moveTo>
                    <a:pt x="26" y="17"/>
                  </a:moveTo>
                  <a:cubicBezTo>
                    <a:pt x="5" y="17"/>
                    <a:pt x="5" y="17"/>
                    <a:pt x="5" y="17"/>
                  </a:cubicBezTo>
                  <a:cubicBezTo>
                    <a:pt x="5" y="21"/>
                    <a:pt x="6" y="23"/>
                    <a:pt x="8" y="25"/>
                  </a:cubicBezTo>
                  <a:cubicBezTo>
                    <a:pt x="9" y="27"/>
                    <a:pt x="12" y="28"/>
                    <a:pt x="15" y="28"/>
                  </a:cubicBezTo>
                  <a:cubicBezTo>
                    <a:pt x="18" y="28"/>
                    <a:pt x="21" y="27"/>
                    <a:pt x="24" y="24"/>
                  </a:cubicBezTo>
                  <a:cubicBezTo>
                    <a:pt x="24" y="29"/>
                    <a:pt x="24" y="29"/>
                    <a:pt x="24" y="29"/>
                  </a:cubicBezTo>
                  <a:cubicBezTo>
                    <a:pt x="21" y="31"/>
                    <a:pt x="18" y="32"/>
                    <a:pt x="14" y="32"/>
                  </a:cubicBezTo>
                  <a:cubicBezTo>
                    <a:pt x="9" y="32"/>
                    <a:pt x="6" y="30"/>
                    <a:pt x="4" y="28"/>
                  </a:cubicBezTo>
                  <a:cubicBezTo>
                    <a:pt x="1" y="25"/>
                    <a:pt x="0" y="21"/>
                    <a:pt x="0" y="16"/>
                  </a:cubicBezTo>
                  <a:cubicBezTo>
                    <a:pt x="0" y="13"/>
                    <a:pt x="1" y="11"/>
                    <a:pt x="2" y="8"/>
                  </a:cubicBezTo>
                  <a:cubicBezTo>
                    <a:pt x="3" y="6"/>
                    <a:pt x="5" y="4"/>
                    <a:pt x="7" y="2"/>
                  </a:cubicBezTo>
                  <a:cubicBezTo>
                    <a:pt x="9" y="1"/>
                    <a:pt x="11" y="0"/>
                    <a:pt x="14" y="0"/>
                  </a:cubicBezTo>
                  <a:cubicBezTo>
                    <a:pt x="18" y="0"/>
                    <a:pt x="21" y="2"/>
                    <a:pt x="23" y="4"/>
                  </a:cubicBezTo>
                  <a:cubicBezTo>
                    <a:pt x="25" y="7"/>
                    <a:pt x="26" y="10"/>
                    <a:pt x="26" y="15"/>
                  </a:cubicBezTo>
                  <a:lnTo>
                    <a:pt x="26" y="17"/>
                  </a:lnTo>
                  <a:close/>
                  <a:moveTo>
                    <a:pt x="21" y="13"/>
                  </a:moveTo>
                  <a:cubicBezTo>
                    <a:pt x="21" y="10"/>
                    <a:pt x="21" y="8"/>
                    <a:pt x="19" y="7"/>
                  </a:cubicBezTo>
                  <a:cubicBezTo>
                    <a:pt x="18" y="5"/>
                    <a:pt x="16" y="4"/>
                    <a:pt x="14" y="4"/>
                  </a:cubicBezTo>
                  <a:cubicBezTo>
                    <a:pt x="12" y="4"/>
                    <a:pt x="10" y="5"/>
                    <a:pt x="8" y="7"/>
                  </a:cubicBezTo>
                  <a:cubicBezTo>
                    <a:pt x="6" y="8"/>
                    <a:pt x="5" y="11"/>
                    <a:pt x="5" y="13"/>
                  </a:cubicBezTo>
                  <a:lnTo>
                    <a:pt x="21"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51" name="Rectangle 47"/>
            <p:cNvSpPr>
              <a:spLocks noChangeArrowheads="1"/>
            </p:cNvSpPr>
            <p:nvPr/>
          </p:nvSpPr>
          <p:spPr bwMode="auto">
            <a:xfrm>
              <a:off x="3639" y="2131"/>
              <a:ext cx="19" cy="4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52" name="Rectangle 48"/>
            <p:cNvSpPr>
              <a:spLocks noChangeArrowheads="1"/>
            </p:cNvSpPr>
            <p:nvPr/>
          </p:nvSpPr>
          <p:spPr bwMode="auto">
            <a:xfrm>
              <a:off x="3639" y="2189"/>
              <a:ext cx="19" cy="4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53" name="Freeform 49"/>
            <p:cNvSpPr>
              <a:spLocks/>
            </p:cNvSpPr>
            <p:nvPr/>
          </p:nvSpPr>
          <p:spPr bwMode="auto">
            <a:xfrm>
              <a:off x="3563" y="2054"/>
              <a:ext cx="95" cy="212"/>
            </a:xfrm>
            <a:custGeom>
              <a:avLst/>
              <a:gdLst>
                <a:gd name="T0" fmla="*/ 28 w 40"/>
                <a:gd name="T1" fmla="*/ 8 h 88"/>
                <a:gd name="T2" fmla="*/ 28 w 40"/>
                <a:gd name="T3" fmla="*/ 4 h 88"/>
                <a:gd name="T4" fmla="*/ 24 w 40"/>
                <a:gd name="T5" fmla="*/ 0 h 88"/>
                <a:gd name="T6" fmla="*/ 0 w 40"/>
                <a:gd name="T7" fmla="*/ 0 h 88"/>
                <a:gd name="T8" fmla="*/ 0 w 40"/>
                <a:gd name="T9" fmla="*/ 12 h 88"/>
                <a:gd name="T10" fmla="*/ 20 w 40"/>
                <a:gd name="T11" fmla="*/ 12 h 88"/>
                <a:gd name="T12" fmla="*/ 20 w 40"/>
                <a:gd name="T13" fmla="*/ 16 h 88"/>
                <a:gd name="T14" fmla="*/ 0 w 40"/>
                <a:gd name="T15" fmla="*/ 16 h 88"/>
                <a:gd name="T16" fmla="*/ 0 w 40"/>
                <a:gd name="T17" fmla="*/ 24 h 88"/>
                <a:gd name="T18" fmla="*/ 20 w 40"/>
                <a:gd name="T19" fmla="*/ 24 h 88"/>
                <a:gd name="T20" fmla="*/ 20 w 40"/>
                <a:gd name="T21" fmla="*/ 28 h 88"/>
                <a:gd name="T22" fmla="*/ 0 w 40"/>
                <a:gd name="T23" fmla="*/ 28 h 88"/>
                <a:gd name="T24" fmla="*/ 0 w 40"/>
                <a:gd name="T25" fmla="*/ 36 h 88"/>
                <a:gd name="T26" fmla="*/ 20 w 40"/>
                <a:gd name="T27" fmla="*/ 36 h 88"/>
                <a:gd name="T28" fmla="*/ 20 w 40"/>
                <a:gd name="T29" fmla="*/ 40 h 88"/>
                <a:gd name="T30" fmla="*/ 0 w 40"/>
                <a:gd name="T31" fmla="*/ 40 h 88"/>
                <a:gd name="T32" fmla="*/ 0 w 40"/>
                <a:gd name="T33" fmla="*/ 48 h 88"/>
                <a:gd name="T34" fmla="*/ 20 w 40"/>
                <a:gd name="T35" fmla="*/ 48 h 88"/>
                <a:gd name="T36" fmla="*/ 20 w 40"/>
                <a:gd name="T37" fmla="*/ 52 h 88"/>
                <a:gd name="T38" fmla="*/ 0 w 40"/>
                <a:gd name="T39" fmla="*/ 52 h 88"/>
                <a:gd name="T40" fmla="*/ 0 w 40"/>
                <a:gd name="T41" fmla="*/ 60 h 88"/>
                <a:gd name="T42" fmla="*/ 20 w 40"/>
                <a:gd name="T43" fmla="*/ 60 h 88"/>
                <a:gd name="T44" fmla="*/ 20 w 40"/>
                <a:gd name="T45" fmla="*/ 64 h 88"/>
                <a:gd name="T46" fmla="*/ 0 w 40"/>
                <a:gd name="T47" fmla="*/ 64 h 88"/>
                <a:gd name="T48" fmla="*/ 0 w 40"/>
                <a:gd name="T49" fmla="*/ 72 h 88"/>
                <a:gd name="T50" fmla="*/ 20 w 40"/>
                <a:gd name="T51" fmla="*/ 72 h 88"/>
                <a:gd name="T52" fmla="*/ 20 w 40"/>
                <a:gd name="T53" fmla="*/ 76 h 88"/>
                <a:gd name="T54" fmla="*/ 0 w 40"/>
                <a:gd name="T55" fmla="*/ 76 h 88"/>
                <a:gd name="T56" fmla="*/ 0 w 40"/>
                <a:gd name="T57" fmla="*/ 88 h 88"/>
                <a:gd name="T58" fmla="*/ 24 w 40"/>
                <a:gd name="T59" fmla="*/ 88 h 88"/>
                <a:gd name="T60" fmla="*/ 28 w 40"/>
                <a:gd name="T61" fmla="*/ 84 h 88"/>
                <a:gd name="T62" fmla="*/ 28 w 40"/>
                <a:gd name="T63" fmla="*/ 28 h 88"/>
                <a:gd name="T64" fmla="*/ 40 w 40"/>
                <a:gd name="T65" fmla="*/ 28 h 88"/>
                <a:gd name="T66" fmla="*/ 40 w 40"/>
                <a:gd name="T67" fmla="*/ 8 h 88"/>
                <a:gd name="T68" fmla="*/ 28 w 40"/>
                <a:gd name="T69" fmla="*/ 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88">
                  <a:moveTo>
                    <a:pt x="28" y="8"/>
                  </a:moveTo>
                  <a:cubicBezTo>
                    <a:pt x="28" y="4"/>
                    <a:pt x="28" y="4"/>
                    <a:pt x="28" y="4"/>
                  </a:cubicBezTo>
                  <a:cubicBezTo>
                    <a:pt x="28" y="3"/>
                    <a:pt x="25" y="0"/>
                    <a:pt x="24" y="0"/>
                  </a:cubicBezTo>
                  <a:cubicBezTo>
                    <a:pt x="0" y="0"/>
                    <a:pt x="0" y="0"/>
                    <a:pt x="0" y="0"/>
                  </a:cubicBezTo>
                  <a:cubicBezTo>
                    <a:pt x="0" y="12"/>
                    <a:pt x="0" y="12"/>
                    <a:pt x="0" y="12"/>
                  </a:cubicBezTo>
                  <a:cubicBezTo>
                    <a:pt x="20" y="12"/>
                    <a:pt x="20" y="12"/>
                    <a:pt x="20" y="12"/>
                  </a:cubicBezTo>
                  <a:cubicBezTo>
                    <a:pt x="20" y="16"/>
                    <a:pt x="20" y="16"/>
                    <a:pt x="20" y="16"/>
                  </a:cubicBezTo>
                  <a:cubicBezTo>
                    <a:pt x="0" y="16"/>
                    <a:pt x="0" y="16"/>
                    <a:pt x="0" y="16"/>
                  </a:cubicBezTo>
                  <a:cubicBezTo>
                    <a:pt x="0" y="24"/>
                    <a:pt x="0" y="24"/>
                    <a:pt x="0" y="24"/>
                  </a:cubicBezTo>
                  <a:cubicBezTo>
                    <a:pt x="20" y="24"/>
                    <a:pt x="20" y="24"/>
                    <a:pt x="20" y="24"/>
                  </a:cubicBezTo>
                  <a:cubicBezTo>
                    <a:pt x="20" y="28"/>
                    <a:pt x="20" y="28"/>
                    <a:pt x="20" y="28"/>
                  </a:cubicBezTo>
                  <a:cubicBezTo>
                    <a:pt x="0" y="28"/>
                    <a:pt x="0" y="28"/>
                    <a:pt x="0" y="28"/>
                  </a:cubicBezTo>
                  <a:cubicBezTo>
                    <a:pt x="0" y="36"/>
                    <a:pt x="0" y="36"/>
                    <a:pt x="0" y="36"/>
                  </a:cubicBezTo>
                  <a:cubicBezTo>
                    <a:pt x="20" y="36"/>
                    <a:pt x="20" y="36"/>
                    <a:pt x="20" y="36"/>
                  </a:cubicBezTo>
                  <a:cubicBezTo>
                    <a:pt x="20" y="40"/>
                    <a:pt x="20" y="40"/>
                    <a:pt x="20" y="40"/>
                  </a:cubicBezTo>
                  <a:cubicBezTo>
                    <a:pt x="0" y="40"/>
                    <a:pt x="0" y="40"/>
                    <a:pt x="0" y="40"/>
                  </a:cubicBezTo>
                  <a:cubicBezTo>
                    <a:pt x="0" y="48"/>
                    <a:pt x="0" y="48"/>
                    <a:pt x="0" y="48"/>
                  </a:cubicBezTo>
                  <a:cubicBezTo>
                    <a:pt x="20" y="48"/>
                    <a:pt x="20" y="48"/>
                    <a:pt x="20" y="48"/>
                  </a:cubicBezTo>
                  <a:cubicBezTo>
                    <a:pt x="20" y="52"/>
                    <a:pt x="20" y="52"/>
                    <a:pt x="20" y="52"/>
                  </a:cubicBezTo>
                  <a:cubicBezTo>
                    <a:pt x="0" y="52"/>
                    <a:pt x="0" y="52"/>
                    <a:pt x="0" y="52"/>
                  </a:cubicBezTo>
                  <a:cubicBezTo>
                    <a:pt x="0" y="60"/>
                    <a:pt x="0" y="60"/>
                    <a:pt x="0" y="60"/>
                  </a:cubicBezTo>
                  <a:cubicBezTo>
                    <a:pt x="20" y="60"/>
                    <a:pt x="20" y="60"/>
                    <a:pt x="20" y="60"/>
                  </a:cubicBezTo>
                  <a:cubicBezTo>
                    <a:pt x="20" y="64"/>
                    <a:pt x="20" y="64"/>
                    <a:pt x="20" y="64"/>
                  </a:cubicBezTo>
                  <a:cubicBezTo>
                    <a:pt x="0" y="64"/>
                    <a:pt x="0" y="64"/>
                    <a:pt x="0" y="64"/>
                  </a:cubicBezTo>
                  <a:cubicBezTo>
                    <a:pt x="0" y="72"/>
                    <a:pt x="0" y="72"/>
                    <a:pt x="0" y="72"/>
                  </a:cubicBezTo>
                  <a:cubicBezTo>
                    <a:pt x="20" y="72"/>
                    <a:pt x="20" y="72"/>
                    <a:pt x="20" y="72"/>
                  </a:cubicBezTo>
                  <a:cubicBezTo>
                    <a:pt x="20" y="76"/>
                    <a:pt x="20" y="76"/>
                    <a:pt x="20" y="76"/>
                  </a:cubicBezTo>
                  <a:cubicBezTo>
                    <a:pt x="0" y="76"/>
                    <a:pt x="0" y="76"/>
                    <a:pt x="0" y="76"/>
                  </a:cubicBezTo>
                  <a:cubicBezTo>
                    <a:pt x="0" y="88"/>
                    <a:pt x="0" y="88"/>
                    <a:pt x="0" y="88"/>
                  </a:cubicBezTo>
                  <a:cubicBezTo>
                    <a:pt x="24" y="88"/>
                    <a:pt x="24" y="88"/>
                    <a:pt x="24" y="88"/>
                  </a:cubicBezTo>
                  <a:cubicBezTo>
                    <a:pt x="25" y="88"/>
                    <a:pt x="28" y="85"/>
                    <a:pt x="28" y="84"/>
                  </a:cubicBezTo>
                  <a:cubicBezTo>
                    <a:pt x="28" y="28"/>
                    <a:pt x="28" y="28"/>
                    <a:pt x="28" y="28"/>
                  </a:cubicBezTo>
                  <a:cubicBezTo>
                    <a:pt x="40" y="28"/>
                    <a:pt x="40" y="28"/>
                    <a:pt x="40" y="28"/>
                  </a:cubicBezTo>
                  <a:cubicBezTo>
                    <a:pt x="40" y="8"/>
                    <a:pt x="40" y="8"/>
                    <a:pt x="40" y="8"/>
                  </a:cubicBezTo>
                  <a:lnTo>
                    <a:pt x="28"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54" name="Freeform 50"/>
            <p:cNvSpPr>
              <a:spLocks noEditPoints="1"/>
            </p:cNvSpPr>
            <p:nvPr/>
          </p:nvSpPr>
          <p:spPr bwMode="auto">
            <a:xfrm>
              <a:off x="3382" y="2013"/>
              <a:ext cx="171" cy="294"/>
            </a:xfrm>
            <a:custGeom>
              <a:avLst/>
              <a:gdLst>
                <a:gd name="T0" fmla="*/ 0 w 72"/>
                <a:gd name="T1" fmla="*/ 17 h 122"/>
                <a:gd name="T2" fmla="*/ 0 w 72"/>
                <a:gd name="T3" fmla="*/ 105 h 122"/>
                <a:gd name="T4" fmla="*/ 72 w 72"/>
                <a:gd name="T5" fmla="*/ 122 h 122"/>
                <a:gd name="T6" fmla="*/ 72 w 72"/>
                <a:gd name="T7" fmla="*/ 0 h 122"/>
                <a:gd name="T8" fmla="*/ 0 w 72"/>
                <a:gd name="T9" fmla="*/ 17 h 122"/>
                <a:gd name="T10" fmla="*/ 56 w 72"/>
                <a:gd name="T11" fmla="*/ 86 h 122"/>
                <a:gd name="T12" fmla="*/ 45 w 72"/>
                <a:gd name="T13" fmla="*/ 86 h 122"/>
                <a:gd name="T14" fmla="*/ 27 w 72"/>
                <a:gd name="T15" fmla="*/ 55 h 122"/>
                <a:gd name="T16" fmla="*/ 26 w 72"/>
                <a:gd name="T17" fmla="*/ 54 h 122"/>
                <a:gd name="T18" fmla="*/ 26 w 72"/>
                <a:gd name="T19" fmla="*/ 53 h 122"/>
                <a:gd name="T20" fmla="*/ 25 w 72"/>
                <a:gd name="T21" fmla="*/ 52 h 122"/>
                <a:gd name="T22" fmla="*/ 25 w 72"/>
                <a:gd name="T23" fmla="*/ 51 h 122"/>
                <a:gd name="T24" fmla="*/ 25 w 72"/>
                <a:gd name="T25" fmla="*/ 51 h 122"/>
                <a:gd name="T26" fmla="*/ 25 w 72"/>
                <a:gd name="T27" fmla="*/ 52 h 122"/>
                <a:gd name="T28" fmla="*/ 25 w 72"/>
                <a:gd name="T29" fmla="*/ 54 h 122"/>
                <a:gd name="T30" fmla="*/ 25 w 72"/>
                <a:gd name="T31" fmla="*/ 56 h 122"/>
                <a:gd name="T32" fmla="*/ 25 w 72"/>
                <a:gd name="T33" fmla="*/ 59 h 122"/>
                <a:gd name="T34" fmla="*/ 25 w 72"/>
                <a:gd name="T35" fmla="*/ 85 h 122"/>
                <a:gd name="T36" fmla="*/ 16 w 72"/>
                <a:gd name="T37" fmla="*/ 84 h 122"/>
                <a:gd name="T38" fmla="*/ 16 w 72"/>
                <a:gd name="T39" fmla="*/ 38 h 122"/>
                <a:gd name="T40" fmla="*/ 26 w 72"/>
                <a:gd name="T41" fmla="*/ 37 h 122"/>
                <a:gd name="T42" fmla="*/ 44 w 72"/>
                <a:gd name="T43" fmla="*/ 66 h 122"/>
                <a:gd name="T44" fmla="*/ 44 w 72"/>
                <a:gd name="T45" fmla="*/ 67 h 122"/>
                <a:gd name="T46" fmla="*/ 45 w 72"/>
                <a:gd name="T47" fmla="*/ 68 h 122"/>
                <a:gd name="T48" fmla="*/ 45 w 72"/>
                <a:gd name="T49" fmla="*/ 69 h 122"/>
                <a:gd name="T50" fmla="*/ 46 w 72"/>
                <a:gd name="T51" fmla="*/ 70 h 122"/>
                <a:gd name="T52" fmla="*/ 46 w 72"/>
                <a:gd name="T53" fmla="*/ 70 h 122"/>
                <a:gd name="T54" fmla="*/ 46 w 72"/>
                <a:gd name="T55" fmla="*/ 69 h 122"/>
                <a:gd name="T56" fmla="*/ 46 w 72"/>
                <a:gd name="T57" fmla="*/ 68 h 122"/>
                <a:gd name="T58" fmla="*/ 46 w 72"/>
                <a:gd name="T59" fmla="*/ 66 h 122"/>
                <a:gd name="T60" fmla="*/ 46 w 72"/>
                <a:gd name="T61" fmla="*/ 64 h 122"/>
                <a:gd name="T62" fmla="*/ 46 w 72"/>
                <a:gd name="T63" fmla="*/ 36 h 122"/>
                <a:gd name="T64" fmla="*/ 56 w 72"/>
                <a:gd name="T65" fmla="*/ 36 h 122"/>
                <a:gd name="T66" fmla="*/ 56 w 72"/>
                <a:gd name="T67" fmla="*/ 86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2" h="122">
                  <a:moveTo>
                    <a:pt x="0" y="17"/>
                  </a:moveTo>
                  <a:cubicBezTo>
                    <a:pt x="0" y="105"/>
                    <a:pt x="0" y="105"/>
                    <a:pt x="0" y="105"/>
                  </a:cubicBezTo>
                  <a:cubicBezTo>
                    <a:pt x="72" y="122"/>
                    <a:pt x="72" y="122"/>
                    <a:pt x="72" y="122"/>
                  </a:cubicBezTo>
                  <a:cubicBezTo>
                    <a:pt x="72" y="0"/>
                    <a:pt x="72" y="0"/>
                    <a:pt x="72" y="0"/>
                  </a:cubicBezTo>
                  <a:lnTo>
                    <a:pt x="0" y="17"/>
                  </a:lnTo>
                  <a:close/>
                  <a:moveTo>
                    <a:pt x="56" y="86"/>
                  </a:moveTo>
                  <a:cubicBezTo>
                    <a:pt x="45" y="86"/>
                    <a:pt x="45" y="86"/>
                    <a:pt x="45" y="86"/>
                  </a:cubicBezTo>
                  <a:cubicBezTo>
                    <a:pt x="27" y="55"/>
                    <a:pt x="27" y="55"/>
                    <a:pt x="27" y="55"/>
                  </a:cubicBezTo>
                  <a:cubicBezTo>
                    <a:pt x="27" y="54"/>
                    <a:pt x="27" y="54"/>
                    <a:pt x="26" y="54"/>
                  </a:cubicBezTo>
                  <a:cubicBezTo>
                    <a:pt x="26" y="53"/>
                    <a:pt x="26" y="53"/>
                    <a:pt x="26" y="53"/>
                  </a:cubicBezTo>
                  <a:cubicBezTo>
                    <a:pt x="26" y="52"/>
                    <a:pt x="26" y="52"/>
                    <a:pt x="25" y="52"/>
                  </a:cubicBezTo>
                  <a:cubicBezTo>
                    <a:pt x="25" y="51"/>
                    <a:pt x="25" y="51"/>
                    <a:pt x="25" y="51"/>
                  </a:cubicBezTo>
                  <a:cubicBezTo>
                    <a:pt x="25" y="51"/>
                    <a:pt x="25" y="51"/>
                    <a:pt x="25" y="51"/>
                  </a:cubicBezTo>
                  <a:cubicBezTo>
                    <a:pt x="25" y="51"/>
                    <a:pt x="25" y="52"/>
                    <a:pt x="25" y="52"/>
                  </a:cubicBezTo>
                  <a:cubicBezTo>
                    <a:pt x="25" y="53"/>
                    <a:pt x="25" y="54"/>
                    <a:pt x="25" y="54"/>
                  </a:cubicBezTo>
                  <a:cubicBezTo>
                    <a:pt x="25" y="55"/>
                    <a:pt x="25" y="56"/>
                    <a:pt x="25" y="56"/>
                  </a:cubicBezTo>
                  <a:cubicBezTo>
                    <a:pt x="25" y="57"/>
                    <a:pt x="25" y="58"/>
                    <a:pt x="25" y="59"/>
                  </a:cubicBezTo>
                  <a:cubicBezTo>
                    <a:pt x="25" y="85"/>
                    <a:pt x="25" y="85"/>
                    <a:pt x="25" y="85"/>
                  </a:cubicBezTo>
                  <a:cubicBezTo>
                    <a:pt x="16" y="84"/>
                    <a:pt x="16" y="84"/>
                    <a:pt x="16" y="84"/>
                  </a:cubicBezTo>
                  <a:cubicBezTo>
                    <a:pt x="16" y="38"/>
                    <a:pt x="16" y="38"/>
                    <a:pt x="16" y="38"/>
                  </a:cubicBezTo>
                  <a:cubicBezTo>
                    <a:pt x="26" y="37"/>
                    <a:pt x="26" y="37"/>
                    <a:pt x="26" y="37"/>
                  </a:cubicBezTo>
                  <a:cubicBezTo>
                    <a:pt x="44" y="66"/>
                    <a:pt x="44" y="66"/>
                    <a:pt x="44" y="66"/>
                  </a:cubicBezTo>
                  <a:cubicBezTo>
                    <a:pt x="44" y="67"/>
                    <a:pt x="44" y="67"/>
                    <a:pt x="44" y="67"/>
                  </a:cubicBezTo>
                  <a:cubicBezTo>
                    <a:pt x="44" y="67"/>
                    <a:pt x="44" y="68"/>
                    <a:pt x="45" y="68"/>
                  </a:cubicBezTo>
                  <a:cubicBezTo>
                    <a:pt x="45" y="68"/>
                    <a:pt x="45" y="69"/>
                    <a:pt x="45" y="69"/>
                  </a:cubicBezTo>
                  <a:cubicBezTo>
                    <a:pt x="45" y="70"/>
                    <a:pt x="46" y="70"/>
                    <a:pt x="46" y="70"/>
                  </a:cubicBezTo>
                  <a:cubicBezTo>
                    <a:pt x="46" y="70"/>
                    <a:pt x="46" y="70"/>
                    <a:pt x="46" y="70"/>
                  </a:cubicBezTo>
                  <a:cubicBezTo>
                    <a:pt x="46" y="70"/>
                    <a:pt x="46" y="70"/>
                    <a:pt x="46" y="69"/>
                  </a:cubicBezTo>
                  <a:cubicBezTo>
                    <a:pt x="46" y="69"/>
                    <a:pt x="46" y="68"/>
                    <a:pt x="46" y="68"/>
                  </a:cubicBezTo>
                  <a:cubicBezTo>
                    <a:pt x="46" y="67"/>
                    <a:pt x="46" y="67"/>
                    <a:pt x="46" y="66"/>
                  </a:cubicBezTo>
                  <a:cubicBezTo>
                    <a:pt x="46" y="65"/>
                    <a:pt x="46" y="64"/>
                    <a:pt x="46" y="64"/>
                  </a:cubicBezTo>
                  <a:cubicBezTo>
                    <a:pt x="46" y="36"/>
                    <a:pt x="46" y="36"/>
                    <a:pt x="46" y="36"/>
                  </a:cubicBezTo>
                  <a:cubicBezTo>
                    <a:pt x="56" y="36"/>
                    <a:pt x="56" y="36"/>
                    <a:pt x="56" y="36"/>
                  </a:cubicBezTo>
                  <a:lnTo>
                    <a:pt x="56"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nvGrpSpPr>
          <p:cNvPr id="555" name="Group 554"/>
          <p:cNvGrpSpPr/>
          <p:nvPr/>
        </p:nvGrpSpPr>
        <p:grpSpPr>
          <a:xfrm>
            <a:off x="2295681" y="5292615"/>
            <a:ext cx="1735070" cy="322422"/>
            <a:chOff x="3780357" y="9151926"/>
            <a:chExt cx="1910317" cy="392096"/>
          </a:xfrm>
        </p:grpSpPr>
        <p:sp>
          <p:nvSpPr>
            <p:cNvPr id="556" name="TextBox 555"/>
            <p:cNvSpPr txBox="1"/>
            <p:nvPr/>
          </p:nvSpPr>
          <p:spPr>
            <a:xfrm>
              <a:off x="4286127" y="9235523"/>
              <a:ext cx="1404547" cy="231104"/>
            </a:xfrm>
            <a:prstGeom prst="rect">
              <a:avLst/>
            </a:prstGeom>
            <a:noFill/>
          </p:spPr>
          <p:txBody>
            <a:bodyPr wrap="square" lIns="0" tIns="0" rIns="0" bIns="0" rtlCol="0">
              <a:spAutoFit/>
            </a:bodyPr>
            <a:lstStyle/>
            <a:p>
              <a:pPr defTabSz="914093">
                <a:lnSpc>
                  <a:spcPct val="90000"/>
                </a:lnSpc>
                <a:spcAft>
                  <a:spcPts val="588"/>
                </a:spcAft>
              </a:pPr>
              <a:r>
                <a:rPr lang="en-US" sz="1372" spc="-29" dirty="0">
                  <a:gradFill>
                    <a:gsLst>
                      <a:gs pos="2917">
                        <a:srgbClr val="FFFFFF"/>
                      </a:gs>
                      <a:gs pos="30000">
                        <a:srgbClr val="FFFFFF"/>
                      </a:gs>
                    </a:gsLst>
                    <a:lin ang="5400000" scaled="0"/>
                  </a:gradFill>
                </a:rPr>
                <a:t>Video Portal</a:t>
              </a:r>
            </a:p>
          </p:txBody>
        </p:sp>
        <p:pic>
          <p:nvPicPr>
            <p:cNvPr id="557" name="Picture 55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780357" y="9151926"/>
              <a:ext cx="396245" cy="392096"/>
            </a:xfrm>
            <a:prstGeom prst="rect">
              <a:avLst/>
            </a:prstGeom>
            <a:noFill/>
          </p:spPr>
        </p:pic>
      </p:grpSp>
      <p:sp>
        <p:nvSpPr>
          <p:cNvPr id="558" name="Freeform 30"/>
          <p:cNvSpPr>
            <a:spLocks noChangeAspect="1" noEditPoints="1"/>
          </p:cNvSpPr>
          <p:nvPr/>
        </p:nvSpPr>
        <p:spPr bwMode="auto">
          <a:xfrm>
            <a:off x="675063" y="4471171"/>
            <a:ext cx="773214" cy="344322"/>
          </a:xfrm>
          <a:custGeom>
            <a:avLst/>
            <a:gdLst>
              <a:gd name="T0" fmla="*/ 60 w 216"/>
              <a:gd name="T1" fmla="*/ 20 h 96"/>
              <a:gd name="T2" fmla="*/ 60 w 216"/>
              <a:gd name="T3" fmla="*/ 28 h 96"/>
              <a:gd name="T4" fmla="*/ 68 w 216"/>
              <a:gd name="T5" fmla="*/ 40 h 96"/>
              <a:gd name="T6" fmla="*/ 68 w 216"/>
              <a:gd name="T7" fmla="*/ 44 h 96"/>
              <a:gd name="T8" fmla="*/ 60 w 216"/>
              <a:gd name="T9" fmla="*/ 56 h 96"/>
              <a:gd name="T10" fmla="*/ 60 w 216"/>
              <a:gd name="T11" fmla="*/ 64 h 96"/>
              <a:gd name="T12" fmla="*/ 68 w 216"/>
              <a:gd name="T13" fmla="*/ 76 h 96"/>
              <a:gd name="T14" fmla="*/ 92 w 216"/>
              <a:gd name="T15" fmla="*/ 84 h 96"/>
              <a:gd name="T16" fmla="*/ 92 w 216"/>
              <a:gd name="T17" fmla="*/ 12 h 96"/>
              <a:gd name="T18" fmla="*/ 72 w 216"/>
              <a:gd name="T19" fmla="*/ 68 h 96"/>
              <a:gd name="T20" fmla="*/ 88 w 216"/>
              <a:gd name="T21" fmla="*/ 64 h 96"/>
              <a:gd name="T22" fmla="*/ 88 w 216"/>
              <a:gd name="T23" fmla="*/ 56 h 96"/>
              <a:gd name="T24" fmla="*/ 72 w 216"/>
              <a:gd name="T25" fmla="*/ 52 h 96"/>
              <a:gd name="T26" fmla="*/ 88 w 216"/>
              <a:gd name="T27" fmla="*/ 52 h 96"/>
              <a:gd name="T28" fmla="*/ 72 w 216"/>
              <a:gd name="T29" fmla="*/ 32 h 96"/>
              <a:gd name="T30" fmla="*/ 88 w 216"/>
              <a:gd name="T31" fmla="*/ 28 h 96"/>
              <a:gd name="T32" fmla="*/ 88 w 216"/>
              <a:gd name="T33" fmla="*/ 20 h 96"/>
              <a:gd name="T34" fmla="*/ 0 w 216"/>
              <a:gd name="T35" fmla="*/ 82 h 96"/>
              <a:gd name="T36" fmla="*/ 0 w 216"/>
              <a:gd name="T37" fmla="*/ 13 h 96"/>
              <a:gd name="T38" fmla="*/ 27 w 216"/>
              <a:gd name="T39" fmla="*/ 54 h 96"/>
              <a:gd name="T40" fmla="*/ 27 w 216"/>
              <a:gd name="T41" fmla="*/ 52 h 96"/>
              <a:gd name="T42" fmla="*/ 26 w 216"/>
              <a:gd name="T43" fmla="*/ 53 h 96"/>
              <a:gd name="T44" fmla="*/ 20 w 216"/>
              <a:gd name="T45" fmla="*/ 66 h 96"/>
              <a:gd name="T46" fmla="*/ 13 w 216"/>
              <a:gd name="T47" fmla="*/ 29 h 96"/>
              <a:gd name="T48" fmla="*/ 26 w 216"/>
              <a:gd name="T49" fmla="*/ 41 h 96"/>
              <a:gd name="T50" fmla="*/ 27 w 216"/>
              <a:gd name="T51" fmla="*/ 43 h 96"/>
              <a:gd name="T52" fmla="*/ 27 w 216"/>
              <a:gd name="T53" fmla="*/ 42 h 96"/>
              <a:gd name="T54" fmla="*/ 33 w 216"/>
              <a:gd name="T55" fmla="*/ 28 h 96"/>
              <a:gd name="T56" fmla="*/ 42 w 216"/>
              <a:gd name="T57" fmla="*/ 68 h 96"/>
              <a:gd name="T58" fmla="*/ 124 w 216"/>
              <a:gd name="T59" fmla="*/ 65 h 96"/>
              <a:gd name="T60" fmla="*/ 141 w 216"/>
              <a:gd name="T61" fmla="*/ 35 h 96"/>
              <a:gd name="T62" fmla="*/ 140 w 216"/>
              <a:gd name="T63" fmla="*/ 46 h 96"/>
              <a:gd name="T64" fmla="*/ 128 w 216"/>
              <a:gd name="T65" fmla="*/ 61 h 96"/>
              <a:gd name="T66" fmla="*/ 166 w 216"/>
              <a:gd name="T67" fmla="*/ 41 h 96"/>
              <a:gd name="T68" fmla="*/ 161 w 216"/>
              <a:gd name="T69" fmla="*/ 65 h 96"/>
              <a:gd name="T70" fmla="*/ 155 w 216"/>
              <a:gd name="T71" fmla="*/ 55 h 96"/>
              <a:gd name="T72" fmla="*/ 153 w 216"/>
              <a:gd name="T73" fmla="*/ 53 h 96"/>
              <a:gd name="T74" fmla="*/ 155 w 216"/>
              <a:gd name="T75" fmla="*/ 51 h 96"/>
              <a:gd name="T76" fmla="*/ 166 w 216"/>
              <a:gd name="T77" fmla="*/ 41 h 96"/>
              <a:gd name="T78" fmla="*/ 172 w 216"/>
              <a:gd name="T79" fmla="*/ 64 h 96"/>
              <a:gd name="T80" fmla="*/ 170 w 216"/>
              <a:gd name="T81" fmla="*/ 44 h 96"/>
              <a:gd name="T82" fmla="*/ 185 w 216"/>
              <a:gd name="T83" fmla="*/ 45 h 96"/>
              <a:gd name="T84" fmla="*/ 170 w 216"/>
              <a:gd name="T85" fmla="*/ 53 h 96"/>
              <a:gd name="T86" fmla="*/ 184 w 216"/>
              <a:gd name="T87" fmla="*/ 60 h 96"/>
              <a:gd name="T88" fmla="*/ 191 w 216"/>
              <a:gd name="T89" fmla="*/ 54 h 96"/>
              <a:gd name="T90" fmla="*/ 206 w 216"/>
              <a:gd name="T91" fmla="*/ 59 h 96"/>
              <a:gd name="T92" fmla="*/ 190 w 216"/>
              <a:gd name="T93" fmla="*/ 62 h 96"/>
              <a:gd name="T94" fmla="*/ 192 w 216"/>
              <a:gd name="T95" fmla="*/ 42 h 96"/>
              <a:gd name="T96" fmla="*/ 208 w 216"/>
              <a:gd name="T97" fmla="*/ 52 h 96"/>
              <a:gd name="T98" fmla="*/ 202 w 216"/>
              <a:gd name="T99" fmla="*/ 45 h 96"/>
              <a:gd name="T100" fmla="*/ 191 w 216"/>
              <a:gd name="T101" fmla="*/ 50 h 96"/>
              <a:gd name="T102" fmla="*/ 212 w 216"/>
              <a:gd name="T103" fmla="*/ 65 h 96"/>
              <a:gd name="T104" fmla="*/ 216 w 216"/>
              <a:gd name="T105"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6" h="96">
                <a:moveTo>
                  <a:pt x="92" y="12"/>
                </a:moveTo>
                <a:cubicBezTo>
                  <a:pt x="60" y="12"/>
                  <a:pt x="60" y="12"/>
                  <a:pt x="60" y="12"/>
                </a:cubicBezTo>
                <a:cubicBezTo>
                  <a:pt x="60" y="20"/>
                  <a:pt x="60" y="20"/>
                  <a:pt x="60" y="20"/>
                </a:cubicBezTo>
                <a:cubicBezTo>
                  <a:pt x="68" y="20"/>
                  <a:pt x="68" y="20"/>
                  <a:pt x="68" y="20"/>
                </a:cubicBezTo>
                <a:cubicBezTo>
                  <a:pt x="68" y="28"/>
                  <a:pt x="68" y="28"/>
                  <a:pt x="68" y="28"/>
                </a:cubicBezTo>
                <a:cubicBezTo>
                  <a:pt x="60" y="28"/>
                  <a:pt x="60" y="28"/>
                  <a:pt x="60" y="28"/>
                </a:cubicBezTo>
                <a:cubicBezTo>
                  <a:pt x="60" y="32"/>
                  <a:pt x="60" y="32"/>
                  <a:pt x="60" y="32"/>
                </a:cubicBezTo>
                <a:cubicBezTo>
                  <a:pt x="68" y="32"/>
                  <a:pt x="68" y="32"/>
                  <a:pt x="68" y="32"/>
                </a:cubicBezTo>
                <a:cubicBezTo>
                  <a:pt x="68" y="40"/>
                  <a:pt x="68" y="40"/>
                  <a:pt x="68" y="40"/>
                </a:cubicBezTo>
                <a:cubicBezTo>
                  <a:pt x="60" y="40"/>
                  <a:pt x="60" y="40"/>
                  <a:pt x="60" y="40"/>
                </a:cubicBezTo>
                <a:cubicBezTo>
                  <a:pt x="60" y="44"/>
                  <a:pt x="60" y="44"/>
                  <a:pt x="60" y="44"/>
                </a:cubicBezTo>
                <a:cubicBezTo>
                  <a:pt x="68" y="44"/>
                  <a:pt x="68" y="44"/>
                  <a:pt x="68" y="44"/>
                </a:cubicBezTo>
                <a:cubicBezTo>
                  <a:pt x="68" y="52"/>
                  <a:pt x="68" y="52"/>
                  <a:pt x="68" y="52"/>
                </a:cubicBezTo>
                <a:cubicBezTo>
                  <a:pt x="60" y="52"/>
                  <a:pt x="60" y="52"/>
                  <a:pt x="60" y="52"/>
                </a:cubicBezTo>
                <a:cubicBezTo>
                  <a:pt x="60" y="56"/>
                  <a:pt x="60" y="56"/>
                  <a:pt x="60" y="56"/>
                </a:cubicBezTo>
                <a:cubicBezTo>
                  <a:pt x="68" y="56"/>
                  <a:pt x="68" y="56"/>
                  <a:pt x="68" y="56"/>
                </a:cubicBezTo>
                <a:cubicBezTo>
                  <a:pt x="68" y="64"/>
                  <a:pt x="68" y="64"/>
                  <a:pt x="68" y="64"/>
                </a:cubicBezTo>
                <a:cubicBezTo>
                  <a:pt x="60" y="64"/>
                  <a:pt x="60" y="64"/>
                  <a:pt x="60" y="64"/>
                </a:cubicBezTo>
                <a:cubicBezTo>
                  <a:pt x="60" y="68"/>
                  <a:pt x="60" y="68"/>
                  <a:pt x="60" y="68"/>
                </a:cubicBezTo>
                <a:cubicBezTo>
                  <a:pt x="68" y="68"/>
                  <a:pt x="68" y="68"/>
                  <a:pt x="68" y="68"/>
                </a:cubicBezTo>
                <a:cubicBezTo>
                  <a:pt x="68" y="76"/>
                  <a:pt x="68" y="76"/>
                  <a:pt x="68" y="76"/>
                </a:cubicBezTo>
                <a:cubicBezTo>
                  <a:pt x="60" y="76"/>
                  <a:pt x="60" y="76"/>
                  <a:pt x="60" y="76"/>
                </a:cubicBezTo>
                <a:cubicBezTo>
                  <a:pt x="60" y="84"/>
                  <a:pt x="60" y="84"/>
                  <a:pt x="60" y="84"/>
                </a:cubicBezTo>
                <a:cubicBezTo>
                  <a:pt x="92" y="84"/>
                  <a:pt x="92" y="84"/>
                  <a:pt x="92" y="84"/>
                </a:cubicBezTo>
                <a:cubicBezTo>
                  <a:pt x="93" y="84"/>
                  <a:pt x="96" y="81"/>
                  <a:pt x="96" y="80"/>
                </a:cubicBezTo>
                <a:cubicBezTo>
                  <a:pt x="96" y="16"/>
                  <a:pt x="96" y="16"/>
                  <a:pt x="96" y="16"/>
                </a:cubicBezTo>
                <a:cubicBezTo>
                  <a:pt x="96" y="14"/>
                  <a:pt x="93" y="12"/>
                  <a:pt x="92" y="12"/>
                </a:cubicBezTo>
                <a:close/>
                <a:moveTo>
                  <a:pt x="88" y="76"/>
                </a:moveTo>
                <a:cubicBezTo>
                  <a:pt x="72" y="76"/>
                  <a:pt x="72" y="76"/>
                  <a:pt x="72" y="76"/>
                </a:cubicBezTo>
                <a:cubicBezTo>
                  <a:pt x="72" y="68"/>
                  <a:pt x="72" y="68"/>
                  <a:pt x="72" y="68"/>
                </a:cubicBezTo>
                <a:cubicBezTo>
                  <a:pt x="88" y="68"/>
                  <a:pt x="88" y="68"/>
                  <a:pt x="88" y="68"/>
                </a:cubicBezTo>
                <a:lnTo>
                  <a:pt x="88" y="76"/>
                </a:lnTo>
                <a:close/>
                <a:moveTo>
                  <a:pt x="88" y="64"/>
                </a:moveTo>
                <a:cubicBezTo>
                  <a:pt x="72" y="64"/>
                  <a:pt x="72" y="64"/>
                  <a:pt x="72" y="64"/>
                </a:cubicBezTo>
                <a:cubicBezTo>
                  <a:pt x="72" y="56"/>
                  <a:pt x="72" y="56"/>
                  <a:pt x="72" y="56"/>
                </a:cubicBezTo>
                <a:cubicBezTo>
                  <a:pt x="88" y="56"/>
                  <a:pt x="88" y="56"/>
                  <a:pt x="88" y="56"/>
                </a:cubicBezTo>
                <a:lnTo>
                  <a:pt x="88" y="64"/>
                </a:lnTo>
                <a:close/>
                <a:moveTo>
                  <a:pt x="88" y="52"/>
                </a:moveTo>
                <a:cubicBezTo>
                  <a:pt x="72" y="52"/>
                  <a:pt x="72" y="52"/>
                  <a:pt x="72" y="52"/>
                </a:cubicBezTo>
                <a:cubicBezTo>
                  <a:pt x="72" y="44"/>
                  <a:pt x="72" y="44"/>
                  <a:pt x="72" y="44"/>
                </a:cubicBezTo>
                <a:cubicBezTo>
                  <a:pt x="88" y="44"/>
                  <a:pt x="88" y="44"/>
                  <a:pt x="88" y="44"/>
                </a:cubicBezTo>
                <a:lnTo>
                  <a:pt x="88" y="52"/>
                </a:lnTo>
                <a:close/>
                <a:moveTo>
                  <a:pt x="88" y="40"/>
                </a:moveTo>
                <a:cubicBezTo>
                  <a:pt x="72" y="40"/>
                  <a:pt x="72" y="40"/>
                  <a:pt x="72" y="40"/>
                </a:cubicBezTo>
                <a:cubicBezTo>
                  <a:pt x="72" y="32"/>
                  <a:pt x="72" y="32"/>
                  <a:pt x="72" y="32"/>
                </a:cubicBezTo>
                <a:cubicBezTo>
                  <a:pt x="88" y="32"/>
                  <a:pt x="88" y="32"/>
                  <a:pt x="88" y="32"/>
                </a:cubicBezTo>
                <a:lnTo>
                  <a:pt x="88" y="40"/>
                </a:lnTo>
                <a:close/>
                <a:moveTo>
                  <a:pt x="88" y="28"/>
                </a:moveTo>
                <a:cubicBezTo>
                  <a:pt x="72" y="28"/>
                  <a:pt x="72" y="28"/>
                  <a:pt x="72" y="28"/>
                </a:cubicBezTo>
                <a:cubicBezTo>
                  <a:pt x="72" y="20"/>
                  <a:pt x="72" y="20"/>
                  <a:pt x="72" y="20"/>
                </a:cubicBezTo>
                <a:cubicBezTo>
                  <a:pt x="88" y="20"/>
                  <a:pt x="88" y="20"/>
                  <a:pt x="88" y="20"/>
                </a:cubicBezTo>
                <a:lnTo>
                  <a:pt x="88" y="28"/>
                </a:lnTo>
                <a:close/>
                <a:moveTo>
                  <a:pt x="0" y="13"/>
                </a:moveTo>
                <a:cubicBezTo>
                  <a:pt x="0" y="82"/>
                  <a:pt x="0" y="82"/>
                  <a:pt x="0" y="82"/>
                </a:cubicBezTo>
                <a:cubicBezTo>
                  <a:pt x="56" y="96"/>
                  <a:pt x="56" y="96"/>
                  <a:pt x="56" y="96"/>
                </a:cubicBezTo>
                <a:cubicBezTo>
                  <a:pt x="56" y="0"/>
                  <a:pt x="56" y="0"/>
                  <a:pt x="56" y="0"/>
                </a:cubicBezTo>
                <a:lnTo>
                  <a:pt x="0" y="13"/>
                </a:lnTo>
                <a:close/>
                <a:moveTo>
                  <a:pt x="33" y="67"/>
                </a:moveTo>
                <a:cubicBezTo>
                  <a:pt x="27" y="54"/>
                  <a:pt x="27" y="54"/>
                  <a:pt x="27" y="54"/>
                </a:cubicBezTo>
                <a:cubicBezTo>
                  <a:pt x="27" y="54"/>
                  <a:pt x="27" y="54"/>
                  <a:pt x="27" y="54"/>
                </a:cubicBezTo>
                <a:cubicBezTo>
                  <a:pt x="27" y="54"/>
                  <a:pt x="27" y="53"/>
                  <a:pt x="27" y="53"/>
                </a:cubicBezTo>
                <a:cubicBezTo>
                  <a:pt x="27" y="53"/>
                  <a:pt x="27" y="53"/>
                  <a:pt x="27" y="52"/>
                </a:cubicBezTo>
                <a:cubicBezTo>
                  <a:pt x="27" y="52"/>
                  <a:pt x="27" y="52"/>
                  <a:pt x="27" y="52"/>
                </a:cubicBezTo>
                <a:cubicBezTo>
                  <a:pt x="27" y="52"/>
                  <a:pt x="27" y="52"/>
                  <a:pt x="27" y="52"/>
                </a:cubicBezTo>
                <a:cubicBezTo>
                  <a:pt x="27" y="52"/>
                  <a:pt x="27" y="52"/>
                  <a:pt x="26" y="52"/>
                </a:cubicBezTo>
                <a:cubicBezTo>
                  <a:pt x="26" y="52"/>
                  <a:pt x="26" y="52"/>
                  <a:pt x="26" y="53"/>
                </a:cubicBezTo>
                <a:cubicBezTo>
                  <a:pt x="26" y="53"/>
                  <a:pt x="26" y="53"/>
                  <a:pt x="26" y="53"/>
                </a:cubicBezTo>
                <a:cubicBezTo>
                  <a:pt x="26" y="54"/>
                  <a:pt x="26" y="54"/>
                  <a:pt x="26" y="54"/>
                </a:cubicBezTo>
                <a:cubicBezTo>
                  <a:pt x="20" y="66"/>
                  <a:pt x="20" y="66"/>
                  <a:pt x="20" y="66"/>
                </a:cubicBezTo>
                <a:cubicBezTo>
                  <a:pt x="12" y="66"/>
                  <a:pt x="12" y="66"/>
                  <a:pt x="12" y="66"/>
                </a:cubicBezTo>
                <a:cubicBezTo>
                  <a:pt x="22" y="48"/>
                  <a:pt x="22" y="48"/>
                  <a:pt x="22" y="48"/>
                </a:cubicBezTo>
                <a:cubicBezTo>
                  <a:pt x="13" y="29"/>
                  <a:pt x="13" y="29"/>
                  <a:pt x="13" y="29"/>
                </a:cubicBezTo>
                <a:cubicBezTo>
                  <a:pt x="21" y="29"/>
                  <a:pt x="21" y="29"/>
                  <a:pt x="21" y="29"/>
                </a:cubicBezTo>
                <a:cubicBezTo>
                  <a:pt x="26" y="40"/>
                  <a:pt x="26" y="40"/>
                  <a:pt x="26" y="40"/>
                </a:cubicBezTo>
                <a:cubicBezTo>
                  <a:pt x="26" y="40"/>
                  <a:pt x="26" y="40"/>
                  <a:pt x="26" y="41"/>
                </a:cubicBezTo>
                <a:cubicBezTo>
                  <a:pt x="26" y="41"/>
                  <a:pt x="26" y="41"/>
                  <a:pt x="26" y="41"/>
                </a:cubicBezTo>
                <a:cubicBezTo>
                  <a:pt x="27" y="42"/>
                  <a:pt x="27" y="42"/>
                  <a:pt x="27" y="42"/>
                </a:cubicBezTo>
                <a:cubicBezTo>
                  <a:pt x="27" y="42"/>
                  <a:pt x="27" y="43"/>
                  <a:pt x="27" y="43"/>
                </a:cubicBezTo>
                <a:cubicBezTo>
                  <a:pt x="27" y="43"/>
                  <a:pt x="27" y="43"/>
                  <a:pt x="27" y="43"/>
                </a:cubicBezTo>
                <a:cubicBezTo>
                  <a:pt x="27" y="43"/>
                  <a:pt x="27" y="43"/>
                  <a:pt x="27" y="42"/>
                </a:cubicBezTo>
                <a:cubicBezTo>
                  <a:pt x="27" y="42"/>
                  <a:pt x="27" y="42"/>
                  <a:pt x="27" y="42"/>
                </a:cubicBezTo>
                <a:cubicBezTo>
                  <a:pt x="27" y="41"/>
                  <a:pt x="28" y="41"/>
                  <a:pt x="28" y="41"/>
                </a:cubicBezTo>
                <a:cubicBezTo>
                  <a:pt x="28" y="40"/>
                  <a:pt x="28" y="40"/>
                  <a:pt x="28" y="40"/>
                </a:cubicBezTo>
                <a:cubicBezTo>
                  <a:pt x="33" y="28"/>
                  <a:pt x="33" y="28"/>
                  <a:pt x="33" y="28"/>
                </a:cubicBezTo>
                <a:cubicBezTo>
                  <a:pt x="42" y="28"/>
                  <a:pt x="42" y="28"/>
                  <a:pt x="42" y="28"/>
                </a:cubicBezTo>
                <a:cubicBezTo>
                  <a:pt x="32" y="47"/>
                  <a:pt x="32" y="47"/>
                  <a:pt x="32" y="47"/>
                </a:cubicBezTo>
                <a:cubicBezTo>
                  <a:pt x="42" y="68"/>
                  <a:pt x="42" y="68"/>
                  <a:pt x="42" y="68"/>
                </a:cubicBezTo>
                <a:lnTo>
                  <a:pt x="33" y="67"/>
                </a:lnTo>
                <a:close/>
                <a:moveTo>
                  <a:pt x="142" y="65"/>
                </a:moveTo>
                <a:cubicBezTo>
                  <a:pt x="124" y="65"/>
                  <a:pt x="124" y="65"/>
                  <a:pt x="124" y="65"/>
                </a:cubicBezTo>
                <a:cubicBezTo>
                  <a:pt x="124" y="31"/>
                  <a:pt x="124" y="31"/>
                  <a:pt x="124" y="31"/>
                </a:cubicBezTo>
                <a:cubicBezTo>
                  <a:pt x="141" y="31"/>
                  <a:pt x="141" y="31"/>
                  <a:pt x="141" y="31"/>
                </a:cubicBezTo>
                <a:cubicBezTo>
                  <a:pt x="141" y="35"/>
                  <a:pt x="141" y="35"/>
                  <a:pt x="141" y="35"/>
                </a:cubicBezTo>
                <a:cubicBezTo>
                  <a:pt x="128" y="35"/>
                  <a:pt x="128" y="35"/>
                  <a:pt x="128" y="35"/>
                </a:cubicBezTo>
                <a:cubicBezTo>
                  <a:pt x="128" y="46"/>
                  <a:pt x="128" y="46"/>
                  <a:pt x="128" y="46"/>
                </a:cubicBezTo>
                <a:cubicBezTo>
                  <a:pt x="140" y="46"/>
                  <a:pt x="140" y="46"/>
                  <a:pt x="140" y="46"/>
                </a:cubicBezTo>
                <a:cubicBezTo>
                  <a:pt x="140" y="49"/>
                  <a:pt x="140" y="49"/>
                  <a:pt x="140" y="49"/>
                </a:cubicBezTo>
                <a:cubicBezTo>
                  <a:pt x="128" y="49"/>
                  <a:pt x="128" y="49"/>
                  <a:pt x="128" y="49"/>
                </a:cubicBezTo>
                <a:cubicBezTo>
                  <a:pt x="128" y="61"/>
                  <a:pt x="128" y="61"/>
                  <a:pt x="128" y="61"/>
                </a:cubicBezTo>
                <a:cubicBezTo>
                  <a:pt x="142" y="61"/>
                  <a:pt x="142" y="61"/>
                  <a:pt x="142" y="61"/>
                </a:cubicBezTo>
                <a:lnTo>
                  <a:pt x="142" y="65"/>
                </a:lnTo>
                <a:close/>
                <a:moveTo>
                  <a:pt x="166" y="41"/>
                </a:moveTo>
                <a:cubicBezTo>
                  <a:pt x="157" y="53"/>
                  <a:pt x="157" y="53"/>
                  <a:pt x="157" y="53"/>
                </a:cubicBezTo>
                <a:cubicBezTo>
                  <a:pt x="165" y="65"/>
                  <a:pt x="165" y="65"/>
                  <a:pt x="165" y="65"/>
                </a:cubicBezTo>
                <a:cubicBezTo>
                  <a:pt x="161" y="65"/>
                  <a:pt x="161" y="65"/>
                  <a:pt x="161" y="65"/>
                </a:cubicBezTo>
                <a:cubicBezTo>
                  <a:pt x="156" y="57"/>
                  <a:pt x="156" y="57"/>
                  <a:pt x="156" y="57"/>
                </a:cubicBezTo>
                <a:cubicBezTo>
                  <a:pt x="155" y="55"/>
                  <a:pt x="155" y="55"/>
                  <a:pt x="155" y="55"/>
                </a:cubicBezTo>
                <a:cubicBezTo>
                  <a:pt x="155" y="55"/>
                  <a:pt x="155" y="55"/>
                  <a:pt x="155" y="55"/>
                </a:cubicBezTo>
                <a:cubicBezTo>
                  <a:pt x="149" y="65"/>
                  <a:pt x="149" y="65"/>
                  <a:pt x="149" y="65"/>
                </a:cubicBezTo>
                <a:cubicBezTo>
                  <a:pt x="145" y="65"/>
                  <a:pt x="145" y="65"/>
                  <a:pt x="145" y="65"/>
                </a:cubicBezTo>
                <a:cubicBezTo>
                  <a:pt x="153" y="53"/>
                  <a:pt x="153" y="53"/>
                  <a:pt x="153" y="53"/>
                </a:cubicBezTo>
                <a:cubicBezTo>
                  <a:pt x="145" y="41"/>
                  <a:pt x="145" y="41"/>
                  <a:pt x="145" y="41"/>
                </a:cubicBezTo>
                <a:cubicBezTo>
                  <a:pt x="150" y="41"/>
                  <a:pt x="150" y="41"/>
                  <a:pt x="150" y="41"/>
                </a:cubicBezTo>
                <a:cubicBezTo>
                  <a:pt x="153" y="47"/>
                  <a:pt x="155" y="50"/>
                  <a:pt x="155" y="51"/>
                </a:cubicBezTo>
                <a:cubicBezTo>
                  <a:pt x="155" y="51"/>
                  <a:pt x="155" y="51"/>
                  <a:pt x="155" y="51"/>
                </a:cubicBezTo>
                <a:cubicBezTo>
                  <a:pt x="161" y="41"/>
                  <a:pt x="161" y="41"/>
                  <a:pt x="161" y="41"/>
                </a:cubicBezTo>
                <a:lnTo>
                  <a:pt x="166" y="41"/>
                </a:lnTo>
                <a:close/>
                <a:moveTo>
                  <a:pt x="184" y="64"/>
                </a:moveTo>
                <a:cubicBezTo>
                  <a:pt x="183" y="65"/>
                  <a:pt x="180" y="65"/>
                  <a:pt x="178" y="65"/>
                </a:cubicBezTo>
                <a:cubicBezTo>
                  <a:pt x="176" y="65"/>
                  <a:pt x="174" y="65"/>
                  <a:pt x="172" y="64"/>
                </a:cubicBezTo>
                <a:cubicBezTo>
                  <a:pt x="170" y="63"/>
                  <a:pt x="169" y="61"/>
                  <a:pt x="168" y="59"/>
                </a:cubicBezTo>
                <a:cubicBezTo>
                  <a:pt x="167" y="58"/>
                  <a:pt x="166" y="56"/>
                  <a:pt x="166" y="53"/>
                </a:cubicBezTo>
                <a:cubicBezTo>
                  <a:pt x="166" y="49"/>
                  <a:pt x="168" y="46"/>
                  <a:pt x="170" y="44"/>
                </a:cubicBezTo>
                <a:cubicBezTo>
                  <a:pt x="172" y="41"/>
                  <a:pt x="175" y="40"/>
                  <a:pt x="179" y="40"/>
                </a:cubicBezTo>
                <a:cubicBezTo>
                  <a:pt x="181" y="40"/>
                  <a:pt x="183" y="40"/>
                  <a:pt x="185" y="41"/>
                </a:cubicBezTo>
                <a:cubicBezTo>
                  <a:pt x="185" y="45"/>
                  <a:pt x="185" y="45"/>
                  <a:pt x="185" y="45"/>
                </a:cubicBezTo>
                <a:cubicBezTo>
                  <a:pt x="183" y="44"/>
                  <a:pt x="181" y="43"/>
                  <a:pt x="179" y="43"/>
                </a:cubicBezTo>
                <a:cubicBezTo>
                  <a:pt x="176" y="43"/>
                  <a:pt x="174" y="44"/>
                  <a:pt x="173" y="46"/>
                </a:cubicBezTo>
                <a:cubicBezTo>
                  <a:pt x="171" y="48"/>
                  <a:pt x="170" y="50"/>
                  <a:pt x="170" y="53"/>
                </a:cubicBezTo>
                <a:cubicBezTo>
                  <a:pt x="170" y="56"/>
                  <a:pt x="171" y="58"/>
                  <a:pt x="173" y="59"/>
                </a:cubicBezTo>
                <a:cubicBezTo>
                  <a:pt x="174" y="61"/>
                  <a:pt x="176" y="62"/>
                  <a:pt x="179" y="62"/>
                </a:cubicBezTo>
                <a:cubicBezTo>
                  <a:pt x="181" y="62"/>
                  <a:pt x="183" y="61"/>
                  <a:pt x="184" y="60"/>
                </a:cubicBezTo>
                <a:lnTo>
                  <a:pt x="184" y="64"/>
                </a:lnTo>
                <a:close/>
                <a:moveTo>
                  <a:pt x="208" y="54"/>
                </a:moveTo>
                <a:cubicBezTo>
                  <a:pt x="191" y="54"/>
                  <a:pt x="191" y="54"/>
                  <a:pt x="191" y="54"/>
                </a:cubicBezTo>
                <a:cubicBezTo>
                  <a:pt x="191" y="56"/>
                  <a:pt x="192" y="58"/>
                  <a:pt x="193" y="60"/>
                </a:cubicBezTo>
                <a:cubicBezTo>
                  <a:pt x="194" y="61"/>
                  <a:pt x="196" y="62"/>
                  <a:pt x="199" y="62"/>
                </a:cubicBezTo>
                <a:cubicBezTo>
                  <a:pt x="201" y="62"/>
                  <a:pt x="204" y="61"/>
                  <a:pt x="206" y="59"/>
                </a:cubicBezTo>
                <a:cubicBezTo>
                  <a:pt x="206" y="63"/>
                  <a:pt x="206" y="63"/>
                  <a:pt x="206" y="63"/>
                </a:cubicBezTo>
                <a:cubicBezTo>
                  <a:pt x="204" y="64"/>
                  <a:pt x="201" y="65"/>
                  <a:pt x="198" y="65"/>
                </a:cubicBezTo>
                <a:cubicBezTo>
                  <a:pt x="194" y="65"/>
                  <a:pt x="192" y="64"/>
                  <a:pt x="190" y="62"/>
                </a:cubicBezTo>
                <a:cubicBezTo>
                  <a:pt x="188" y="60"/>
                  <a:pt x="187" y="57"/>
                  <a:pt x="187" y="53"/>
                </a:cubicBezTo>
                <a:cubicBezTo>
                  <a:pt x="187" y="50"/>
                  <a:pt x="187" y="48"/>
                  <a:pt x="188" y="46"/>
                </a:cubicBezTo>
                <a:cubicBezTo>
                  <a:pt x="189" y="44"/>
                  <a:pt x="191" y="43"/>
                  <a:pt x="192" y="42"/>
                </a:cubicBezTo>
                <a:cubicBezTo>
                  <a:pt x="194" y="41"/>
                  <a:pt x="196" y="40"/>
                  <a:pt x="198" y="40"/>
                </a:cubicBezTo>
                <a:cubicBezTo>
                  <a:pt x="201" y="40"/>
                  <a:pt x="203" y="41"/>
                  <a:pt x="205" y="43"/>
                </a:cubicBezTo>
                <a:cubicBezTo>
                  <a:pt x="207" y="45"/>
                  <a:pt x="208" y="48"/>
                  <a:pt x="208" y="52"/>
                </a:cubicBezTo>
                <a:lnTo>
                  <a:pt x="208" y="54"/>
                </a:lnTo>
                <a:close/>
                <a:moveTo>
                  <a:pt x="204" y="50"/>
                </a:moveTo>
                <a:cubicBezTo>
                  <a:pt x="204" y="48"/>
                  <a:pt x="203" y="46"/>
                  <a:pt x="202" y="45"/>
                </a:cubicBezTo>
                <a:cubicBezTo>
                  <a:pt x="201" y="44"/>
                  <a:pt x="200" y="43"/>
                  <a:pt x="198" y="43"/>
                </a:cubicBezTo>
                <a:cubicBezTo>
                  <a:pt x="196" y="43"/>
                  <a:pt x="195" y="44"/>
                  <a:pt x="193" y="45"/>
                </a:cubicBezTo>
                <a:cubicBezTo>
                  <a:pt x="192" y="47"/>
                  <a:pt x="191" y="48"/>
                  <a:pt x="191" y="50"/>
                </a:cubicBezTo>
                <a:lnTo>
                  <a:pt x="204" y="50"/>
                </a:lnTo>
                <a:close/>
                <a:moveTo>
                  <a:pt x="216" y="65"/>
                </a:moveTo>
                <a:cubicBezTo>
                  <a:pt x="212" y="65"/>
                  <a:pt x="212" y="65"/>
                  <a:pt x="212" y="65"/>
                </a:cubicBezTo>
                <a:cubicBezTo>
                  <a:pt x="212" y="29"/>
                  <a:pt x="212" y="29"/>
                  <a:pt x="212" y="29"/>
                </a:cubicBezTo>
                <a:cubicBezTo>
                  <a:pt x="216" y="29"/>
                  <a:pt x="216" y="29"/>
                  <a:pt x="216" y="29"/>
                </a:cubicBezTo>
                <a:lnTo>
                  <a:pt x="216" y="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nvGrpSpPr>
          <p:cNvPr id="559" name="Group 558"/>
          <p:cNvGrpSpPr/>
          <p:nvPr/>
        </p:nvGrpSpPr>
        <p:grpSpPr>
          <a:xfrm>
            <a:off x="675063" y="4934046"/>
            <a:ext cx="945334" cy="217680"/>
            <a:chOff x="688778" y="4752237"/>
            <a:chExt cx="1327082" cy="305584"/>
          </a:xfrm>
        </p:grpSpPr>
        <p:grpSp>
          <p:nvGrpSpPr>
            <p:cNvPr id="560" name="Group 559"/>
            <p:cNvGrpSpPr/>
            <p:nvPr/>
          </p:nvGrpSpPr>
          <p:grpSpPr>
            <a:xfrm>
              <a:off x="688778" y="4752237"/>
              <a:ext cx="307450" cy="305584"/>
              <a:chOff x="3802770" y="-2002971"/>
              <a:chExt cx="1532420" cy="1523121"/>
            </a:xfrm>
            <a:solidFill>
              <a:schemeClr val="tx1"/>
            </a:solidFill>
          </p:grpSpPr>
          <p:grpSp>
            <p:nvGrpSpPr>
              <p:cNvPr id="562" name="Group 561"/>
              <p:cNvGrpSpPr/>
              <p:nvPr/>
            </p:nvGrpSpPr>
            <p:grpSpPr>
              <a:xfrm>
                <a:off x="3802770" y="-2002971"/>
                <a:ext cx="1532420" cy="474276"/>
                <a:chOff x="3802770" y="-2002971"/>
                <a:chExt cx="1532420" cy="474276"/>
              </a:xfrm>
              <a:grpFill/>
            </p:grpSpPr>
            <p:sp>
              <p:nvSpPr>
                <p:cNvPr id="571" name="Rectangle 570"/>
                <p:cNvSpPr/>
                <p:nvPr/>
              </p:nvSpPr>
              <p:spPr bwMode="auto">
                <a:xfrm>
                  <a:off x="3802770"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764" dirty="0" err="1">
                    <a:gradFill>
                      <a:gsLst>
                        <a:gs pos="0">
                          <a:srgbClr val="FFFFFF"/>
                        </a:gs>
                        <a:gs pos="100000">
                          <a:srgbClr val="FFFFFF"/>
                        </a:gs>
                      </a:gsLst>
                      <a:lin ang="5400000" scaled="0"/>
                    </a:gradFill>
                    <a:ea typeface="Segoe UI" pitchFamily="34" charset="0"/>
                    <a:cs typeface="Segoe UI" pitchFamily="34" charset="0"/>
                  </a:endParaRPr>
                </a:p>
              </p:txBody>
            </p:sp>
            <p:sp>
              <p:nvSpPr>
                <p:cNvPr id="572" name="Rectangle 571"/>
                <p:cNvSpPr/>
                <p:nvPr/>
              </p:nvSpPr>
              <p:spPr bwMode="auto">
                <a:xfrm>
                  <a:off x="4331842"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764" dirty="0" err="1">
                    <a:gradFill>
                      <a:gsLst>
                        <a:gs pos="0">
                          <a:srgbClr val="FFFFFF"/>
                        </a:gs>
                        <a:gs pos="100000">
                          <a:srgbClr val="FFFFFF"/>
                        </a:gs>
                      </a:gsLst>
                      <a:lin ang="5400000" scaled="0"/>
                    </a:gradFill>
                    <a:ea typeface="Segoe UI" pitchFamily="34" charset="0"/>
                    <a:cs typeface="Segoe UI" pitchFamily="34" charset="0"/>
                  </a:endParaRPr>
                </a:p>
              </p:txBody>
            </p:sp>
            <p:sp>
              <p:nvSpPr>
                <p:cNvPr id="573" name="Rectangle 572"/>
                <p:cNvSpPr/>
                <p:nvPr/>
              </p:nvSpPr>
              <p:spPr bwMode="auto">
                <a:xfrm>
                  <a:off x="4860914"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764"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563" name="Group 562"/>
              <p:cNvGrpSpPr/>
              <p:nvPr/>
            </p:nvGrpSpPr>
            <p:grpSpPr>
              <a:xfrm>
                <a:off x="3802770" y="-1478549"/>
                <a:ext cx="1532420" cy="474276"/>
                <a:chOff x="3802770" y="-2002971"/>
                <a:chExt cx="1532420" cy="474276"/>
              </a:xfrm>
              <a:grpFill/>
            </p:grpSpPr>
            <p:sp>
              <p:nvSpPr>
                <p:cNvPr id="568" name="Rectangle 567"/>
                <p:cNvSpPr/>
                <p:nvPr/>
              </p:nvSpPr>
              <p:spPr bwMode="auto">
                <a:xfrm>
                  <a:off x="3802770"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764" dirty="0" err="1">
                    <a:gradFill>
                      <a:gsLst>
                        <a:gs pos="0">
                          <a:srgbClr val="FFFFFF"/>
                        </a:gs>
                        <a:gs pos="100000">
                          <a:srgbClr val="FFFFFF"/>
                        </a:gs>
                      </a:gsLst>
                      <a:lin ang="5400000" scaled="0"/>
                    </a:gradFill>
                    <a:ea typeface="Segoe UI" pitchFamily="34" charset="0"/>
                    <a:cs typeface="Segoe UI" pitchFamily="34" charset="0"/>
                  </a:endParaRPr>
                </a:p>
              </p:txBody>
            </p:sp>
            <p:sp>
              <p:nvSpPr>
                <p:cNvPr id="569" name="Rectangle 568"/>
                <p:cNvSpPr/>
                <p:nvPr/>
              </p:nvSpPr>
              <p:spPr bwMode="auto">
                <a:xfrm>
                  <a:off x="4331842"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764" dirty="0" err="1">
                    <a:gradFill>
                      <a:gsLst>
                        <a:gs pos="0">
                          <a:srgbClr val="FFFFFF"/>
                        </a:gs>
                        <a:gs pos="100000">
                          <a:srgbClr val="FFFFFF"/>
                        </a:gs>
                      </a:gsLst>
                      <a:lin ang="5400000" scaled="0"/>
                    </a:gradFill>
                    <a:ea typeface="Segoe UI" pitchFamily="34" charset="0"/>
                    <a:cs typeface="Segoe UI" pitchFamily="34" charset="0"/>
                  </a:endParaRPr>
                </a:p>
              </p:txBody>
            </p:sp>
            <p:sp>
              <p:nvSpPr>
                <p:cNvPr id="570" name="Rectangle 569"/>
                <p:cNvSpPr/>
                <p:nvPr/>
              </p:nvSpPr>
              <p:spPr bwMode="auto">
                <a:xfrm>
                  <a:off x="4860914"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764"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564" name="Group 563"/>
              <p:cNvGrpSpPr/>
              <p:nvPr/>
            </p:nvGrpSpPr>
            <p:grpSpPr>
              <a:xfrm>
                <a:off x="3802770" y="-954126"/>
                <a:ext cx="1532420" cy="474276"/>
                <a:chOff x="3802770" y="-2002971"/>
                <a:chExt cx="1532420" cy="474276"/>
              </a:xfrm>
              <a:grpFill/>
            </p:grpSpPr>
            <p:sp>
              <p:nvSpPr>
                <p:cNvPr id="565" name="Rectangle 564"/>
                <p:cNvSpPr/>
                <p:nvPr/>
              </p:nvSpPr>
              <p:spPr bwMode="auto">
                <a:xfrm>
                  <a:off x="3802770"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764" dirty="0" err="1">
                    <a:gradFill>
                      <a:gsLst>
                        <a:gs pos="0">
                          <a:srgbClr val="FFFFFF"/>
                        </a:gs>
                        <a:gs pos="100000">
                          <a:srgbClr val="FFFFFF"/>
                        </a:gs>
                      </a:gsLst>
                      <a:lin ang="5400000" scaled="0"/>
                    </a:gradFill>
                    <a:ea typeface="Segoe UI" pitchFamily="34" charset="0"/>
                    <a:cs typeface="Segoe UI" pitchFamily="34" charset="0"/>
                  </a:endParaRPr>
                </a:p>
              </p:txBody>
            </p:sp>
            <p:sp>
              <p:nvSpPr>
                <p:cNvPr id="566" name="Rectangle 565"/>
                <p:cNvSpPr/>
                <p:nvPr/>
              </p:nvSpPr>
              <p:spPr bwMode="auto">
                <a:xfrm>
                  <a:off x="4331842"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764" dirty="0" err="1">
                    <a:gradFill>
                      <a:gsLst>
                        <a:gs pos="0">
                          <a:srgbClr val="FFFFFF"/>
                        </a:gs>
                        <a:gs pos="100000">
                          <a:srgbClr val="FFFFFF"/>
                        </a:gs>
                      </a:gsLst>
                      <a:lin ang="5400000" scaled="0"/>
                    </a:gradFill>
                    <a:ea typeface="Segoe UI" pitchFamily="34" charset="0"/>
                    <a:cs typeface="Segoe UI" pitchFamily="34" charset="0"/>
                  </a:endParaRPr>
                </a:p>
              </p:txBody>
            </p:sp>
            <p:sp>
              <p:nvSpPr>
                <p:cNvPr id="567" name="Rectangle 566"/>
                <p:cNvSpPr/>
                <p:nvPr/>
              </p:nvSpPr>
              <p:spPr bwMode="auto">
                <a:xfrm>
                  <a:off x="4860914"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764" dirty="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561" name="TextBox 560"/>
            <p:cNvSpPr txBox="1"/>
            <p:nvPr/>
          </p:nvSpPr>
          <p:spPr>
            <a:xfrm>
              <a:off x="1162762" y="4794230"/>
              <a:ext cx="853098" cy="228668"/>
            </a:xfrm>
            <a:prstGeom prst="rect">
              <a:avLst/>
            </a:prstGeom>
            <a:noFill/>
          </p:spPr>
          <p:txBody>
            <a:bodyPr wrap="square" lIns="0" tIns="0" rIns="0" bIns="0" rtlCol="0">
              <a:spAutoFit/>
            </a:bodyPr>
            <a:lstStyle/>
            <a:p>
              <a:pPr defTabSz="914093">
                <a:lnSpc>
                  <a:spcPct val="90000"/>
                </a:lnSpc>
                <a:spcAft>
                  <a:spcPts val="588"/>
                </a:spcAft>
              </a:pPr>
              <a:r>
                <a:rPr lang="en-US" sz="1176" spc="-29" dirty="0">
                  <a:gradFill>
                    <a:gsLst>
                      <a:gs pos="2917">
                        <a:srgbClr val="FFFFFF"/>
                      </a:gs>
                      <a:gs pos="30000">
                        <a:srgbClr val="FFFFFF"/>
                      </a:gs>
                    </a:gsLst>
                    <a:lin ang="5400000" scaled="0"/>
                  </a:gradFill>
                </a:rPr>
                <a:t>My Apps</a:t>
              </a:r>
            </a:p>
          </p:txBody>
        </p:sp>
      </p:grpSp>
      <p:sp>
        <p:nvSpPr>
          <p:cNvPr id="574" name="Freeform 39"/>
          <p:cNvSpPr>
            <a:spLocks noChangeAspect="1" noEditPoints="1"/>
          </p:cNvSpPr>
          <p:nvPr/>
        </p:nvSpPr>
        <p:spPr bwMode="auto">
          <a:xfrm>
            <a:off x="669046" y="6034869"/>
            <a:ext cx="1050590" cy="359939"/>
          </a:xfrm>
          <a:custGeom>
            <a:avLst/>
            <a:gdLst>
              <a:gd name="T0" fmla="*/ 96 w 286"/>
              <a:gd name="T1" fmla="*/ 27 h 96"/>
              <a:gd name="T2" fmla="*/ 72 w 286"/>
              <a:gd name="T3" fmla="*/ 57 h 96"/>
              <a:gd name="T4" fmla="*/ 92 w 286"/>
              <a:gd name="T5" fmla="*/ 76 h 96"/>
              <a:gd name="T6" fmla="*/ 35 w 286"/>
              <a:gd name="T7" fmla="*/ 43 h 96"/>
              <a:gd name="T8" fmla="*/ 31 w 286"/>
              <a:gd name="T9" fmla="*/ 37 h 96"/>
              <a:gd name="T10" fmla="*/ 24 w 286"/>
              <a:gd name="T11" fmla="*/ 37 h 96"/>
              <a:gd name="T12" fmla="*/ 20 w 286"/>
              <a:gd name="T13" fmla="*/ 43 h 96"/>
              <a:gd name="T14" fmla="*/ 20 w 286"/>
              <a:gd name="T15" fmla="*/ 53 h 96"/>
              <a:gd name="T16" fmla="*/ 25 w 286"/>
              <a:gd name="T17" fmla="*/ 59 h 96"/>
              <a:gd name="T18" fmla="*/ 31 w 286"/>
              <a:gd name="T19" fmla="*/ 59 h 96"/>
              <a:gd name="T20" fmla="*/ 35 w 286"/>
              <a:gd name="T21" fmla="*/ 53 h 96"/>
              <a:gd name="T22" fmla="*/ 35 w 286"/>
              <a:gd name="T23" fmla="*/ 43 h 96"/>
              <a:gd name="T24" fmla="*/ 0 w 286"/>
              <a:gd name="T25" fmla="*/ 13 h 96"/>
              <a:gd name="T26" fmla="*/ 43 w 286"/>
              <a:gd name="T27" fmla="*/ 39 h 96"/>
              <a:gd name="T28" fmla="*/ 34 w 286"/>
              <a:gd name="T29" fmla="*/ 29 h 96"/>
              <a:gd name="T30" fmla="*/ 21 w 286"/>
              <a:gd name="T31" fmla="*/ 30 h 96"/>
              <a:gd name="T32" fmla="*/ 13 w 286"/>
              <a:gd name="T33" fmla="*/ 41 h 96"/>
              <a:gd name="T34" fmla="*/ 13 w 286"/>
              <a:gd name="T35" fmla="*/ 56 h 96"/>
              <a:gd name="T36" fmla="*/ 21 w 286"/>
              <a:gd name="T37" fmla="*/ 66 h 96"/>
              <a:gd name="T38" fmla="*/ 34 w 286"/>
              <a:gd name="T39" fmla="*/ 67 h 96"/>
              <a:gd name="T40" fmla="*/ 43 w 286"/>
              <a:gd name="T41" fmla="*/ 56 h 96"/>
              <a:gd name="T42" fmla="*/ 155 w 286"/>
              <a:gd name="T43" fmla="*/ 57 h 96"/>
              <a:gd name="T44" fmla="*/ 127 w 286"/>
              <a:gd name="T45" fmla="*/ 57 h 96"/>
              <a:gd name="T46" fmla="*/ 141 w 286"/>
              <a:gd name="T47" fmla="*/ 31 h 96"/>
              <a:gd name="T48" fmla="*/ 153 w 286"/>
              <a:gd name="T49" fmla="*/ 48 h 96"/>
              <a:gd name="T50" fmla="*/ 131 w 286"/>
              <a:gd name="T51" fmla="*/ 41 h 96"/>
              <a:gd name="T52" fmla="*/ 141 w 286"/>
              <a:gd name="T53" fmla="*/ 62 h 96"/>
              <a:gd name="T54" fmla="*/ 177 w 286"/>
              <a:gd name="T55" fmla="*/ 65 h 96"/>
              <a:gd name="T56" fmla="*/ 161 w 286"/>
              <a:gd name="T57" fmla="*/ 55 h 96"/>
              <a:gd name="T58" fmla="*/ 171 w 286"/>
              <a:gd name="T59" fmla="*/ 62 h 96"/>
              <a:gd name="T60" fmla="*/ 181 w 286"/>
              <a:gd name="T61" fmla="*/ 41 h 96"/>
              <a:gd name="T62" fmla="*/ 189 w 286"/>
              <a:gd name="T63" fmla="*/ 58 h 96"/>
              <a:gd name="T64" fmla="*/ 189 w 286"/>
              <a:gd name="T65" fmla="*/ 41 h 96"/>
              <a:gd name="T66" fmla="*/ 199 w 286"/>
              <a:gd name="T67" fmla="*/ 41 h 96"/>
              <a:gd name="T68" fmla="*/ 193 w 286"/>
              <a:gd name="T69" fmla="*/ 61 h 96"/>
              <a:gd name="T70" fmla="*/ 206 w 286"/>
              <a:gd name="T71" fmla="*/ 65 h 96"/>
              <a:gd name="T72" fmla="*/ 206 w 286"/>
              <a:gd name="T73" fmla="*/ 65 h 96"/>
              <a:gd name="T74" fmla="*/ 214 w 286"/>
              <a:gd name="T75" fmla="*/ 62 h 96"/>
              <a:gd name="T76" fmla="*/ 232 w 286"/>
              <a:gd name="T77" fmla="*/ 44 h 96"/>
              <a:gd name="T78" fmla="*/ 223 w 286"/>
              <a:gd name="T79" fmla="*/ 44 h 96"/>
              <a:gd name="T80" fmla="*/ 223 w 286"/>
              <a:gd name="T81" fmla="*/ 62 h 96"/>
              <a:gd name="T82" fmla="*/ 258 w 286"/>
              <a:gd name="T83" fmla="*/ 62 h 96"/>
              <a:gd name="T84" fmla="*/ 241 w 286"/>
              <a:gd name="T85" fmla="*/ 44 h 96"/>
              <a:gd name="T86" fmla="*/ 257 w 286"/>
              <a:gd name="T87" fmla="*/ 53 h 96"/>
              <a:gd name="T88" fmla="*/ 241 w 286"/>
              <a:gd name="T89" fmla="*/ 53 h 96"/>
              <a:gd name="T90" fmla="*/ 257 w 286"/>
              <a:gd name="T91" fmla="*/ 53 h 96"/>
              <a:gd name="T92" fmla="*/ 270 w 286"/>
              <a:gd name="T93" fmla="*/ 53 h 96"/>
              <a:gd name="T94" fmla="*/ 270 w 286"/>
              <a:gd name="T95" fmla="*/ 29 h 96"/>
              <a:gd name="T96" fmla="*/ 285 w 286"/>
              <a:gd name="T97" fmla="*/ 4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86" h="96">
                <a:moveTo>
                  <a:pt x="60" y="40"/>
                </a:moveTo>
                <a:cubicBezTo>
                  <a:pt x="60" y="24"/>
                  <a:pt x="60" y="24"/>
                  <a:pt x="60" y="24"/>
                </a:cubicBezTo>
                <a:cubicBezTo>
                  <a:pt x="92" y="24"/>
                  <a:pt x="92" y="24"/>
                  <a:pt x="92" y="24"/>
                </a:cubicBezTo>
                <a:cubicBezTo>
                  <a:pt x="94" y="24"/>
                  <a:pt x="96" y="26"/>
                  <a:pt x="96" y="27"/>
                </a:cubicBezTo>
                <a:cubicBezTo>
                  <a:pt x="72" y="50"/>
                  <a:pt x="72" y="50"/>
                  <a:pt x="72" y="50"/>
                </a:cubicBezTo>
                <a:lnTo>
                  <a:pt x="60" y="40"/>
                </a:lnTo>
                <a:close/>
                <a:moveTo>
                  <a:pt x="74" y="56"/>
                </a:moveTo>
                <a:cubicBezTo>
                  <a:pt x="74" y="57"/>
                  <a:pt x="73" y="57"/>
                  <a:pt x="72" y="57"/>
                </a:cubicBezTo>
                <a:cubicBezTo>
                  <a:pt x="72" y="57"/>
                  <a:pt x="71" y="57"/>
                  <a:pt x="70" y="56"/>
                </a:cubicBezTo>
                <a:cubicBezTo>
                  <a:pt x="60" y="48"/>
                  <a:pt x="60" y="48"/>
                  <a:pt x="60" y="48"/>
                </a:cubicBezTo>
                <a:cubicBezTo>
                  <a:pt x="60" y="76"/>
                  <a:pt x="60" y="76"/>
                  <a:pt x="60" y="76"/>
                </a:cubicBezTo>
                <a:cubicBezTo>
                  <a:pt x="92" y="76"/>
                  <a:pt x="92" y="76"/>
                  <a:pt x="92" y="76"/>
                </a:cubicBezTo>
                <a:cubicBezTo>
                  <a:pt x="95" y="76"/>
                  <a:pt x="96" y="74"/>
                  <a:pt x="96" y="72"/>
                </a:cubicBezTo>
                <a:cubicBezTo>
                  <a:pt x="96" y="36"/>
                  <a:pt x="96" y="36"/>
                  <a:pt x="96" y="36"/>
                </a:cubicBezTo>
                <a:lnTo>
                  <a:pt x="74" y="56"/>
                </a:lnTo>
                <a:close/>
                <a:moveTo>
                  <a:pt x="35" y="43"/>
                </a:moveTo>
                <a:cubicBezTo>
                  <a:pt x="35" y="42"/>
                  <a:pt x="35" y="41"/>
                  <a:pt x="34" y="41"/>
                </a:cubicBezTo>
                <a:cubicBezTo>
                  <a:pt x="34" y="40"/>
                  <a:pt x="34" y="39"/>
                  <a:pt x="34" y="39"/>
                </a:cubicBezTo>
                <a:cubicBezTo>
                  <a:pt x="33" y="38"/>
                  <a:pt x="33" y="38"/>
                  <a:pt x="32" y="38"/>
                </a:cubicBezTo>
                <a:cubicBezTo>
                  <a:pt x="32" y="37"/>
                  <a:pt x="31" y="37"/>
                  <a:pt x="31" y="37"/>
                </a:cubicBezTo>
                <a:cubicBezTo>
                  <a:pt x="31" y="36"/>
                  <a:pt x="30" y="36"/>
                  <a:pt x="29" y="36"/>
                </a:cubicBezTo>
                <a:cubicBezTo>
                  <a:pt x="29" y="36"/>
                  <a:pt x="28" y="36"/>
                  <a:pt x="28" y="36"/>
                </a:cubicBezTo>
                <a:cubicBezTo>
                  <a:pt x="27" y="36"/>
                  <a:pt x="27" y="36"/>
                  <a:pt x="26" y="36"/>
                </a:cubicBezTo>
                <a:cubicBezTo>
                  <a:pt x="25" y="36"/>
                  <a:pt x="25" y="37"/>
                  <a:pt x="24" y="37"/>
                </a:cubicBezTo>
                <a:cubicBezTo>
                  <a:pt x="24" y="37"/>
                  <a:pt x="23" y="38"/>
                  <a:pt x="23" y="38"/>
                </a:cubicBezTo>
                <a:cubicBezTo>
                  <a:pt x="23" y="38"/>
                  <a:pt x="22" y="39"/>
                  <a:pt x="22" y="40"/>
                </a:cubicBezTo>
                <a:cubicBezTo>
                  <a:pt x="22" y="40"/>
                  <a:pt x="21" y="41"/>
                  <a:pt x="21" y="41"/>
                </a:cubicBezTo>
                <a:cubicBezTo>
                  <a:pt x="21" y="42"/>
                  <a:pt x="21" y="43"/>
                  <a:pt x="20" y="43"/>
                </a:cubicBezTo>
                <a:cubicBezTo>
                  <a:pt x="20" y="44"/>
                  <a:pt x="20" y="45"/>
                  <a:pt x="20" y="46"/>
                </a:cubicBezTo>
                <a:cubicBezTo>
                  <a:pt x="20" y="46"/>
                  <a:pt x="20" y="47"/>
                  <a:pt x="20" y="48"/>
                </a:cubicBezTo>
                <a:cubicBezTo>
                  <a:pt x="20" y="49"/>
                  <a:pt x="20" y="50"/>
                  <a:pt x="20" y="51"/>
                </a:cubicBezTo>
                <a:cubicBezTo>
                  <a:pt x="20" y="51"/>
                  <a:pt x="20" y="52"/>
                  <a:pt x="20" y="53"/>
                </a:cubicBezTo>
                <a:cubicBezTo>
                  <a:pt x="21" y="54"/>
                  <a:pt x="21" y="54"/>
                  <a:pt x="21" y="55"/>
                </a:cubicBezTo>
                <a:cubicBezTo>
                  <a:pt x="21" y="56"/>
                  <a:pt x="22" y="56"/>
                  <a:pt x="22" y="57"/>
                </a:cubicBezTo>
                <a:cubicBezTo>
                  <a:pt x="22" y="57"/>
                  <a:pt x="23" y="58"/>
                  <a:pt x="23" y="58"/>
                </a:cubicBezTo>
                <a:cubicBezTo>
                  <a:pt x="24" y="59"/>
                  <a:pt x="24" y="59"/>
                  <a:pt x="25" y="59"/>
                </a:cubicBezTo>
                <a:cubicBezTo>
                  <a:pt x="25" y="59"/>
                  <a:pt x="25" y="60"/>
                  <a:pt x="26" y="60"/>
                </a:cubicBezTo>
                <a:cubicBezTo>
                  <a:pt x="26" y="60"/>
                  <a:pt x="27" y="60"/>
                  <a:pt x="28" y="60"/>
                </a:cubicBezTo>
                <a:cubicBezTo>
                  <a:pt x="28" y="60"/>
                  <a:pt x="29" y="60"/>
                  <a:pt x="29" y="60"/>
                </a:cubicBezTo>
                <a:cubicBezTo>
                  <a:pt x="30" y="60"/>
                  <a:pt x="30" y="60"/>
                  <a:pt x="31" y="59"/>
                </a:cubicBezTo>
                <a:cubicBezTo>
                  <a:pt x="31" y="59"/>
                  <a:pt x="32" y="59"/>
                  <a:pt x="32" y="58"/>
                </a:cubicBezTo>
                <a:cubicBezTo>
                  <a:pt x="33" y="58"/>
                  <a:pt x="33" y="58"/>
                  <a:pt x="33" y="57"/>
                </a:cubicBezTo>
                <a:cubicBezTo>
                  <a:pt x="34" y="57"/>
                  <a:pt x="34" y="56"/>
                  <a:pt x="34" y="55"/>
                </a:cubicBezTo>
                <a:cubicBezTo>
                  <a:pt x="35" y="55"/>
                  <a:pt x="35" y="54"/>
                  <a:pt x="35" y="53"/>
                </a:cubicBezTo>
                <a:cubicBezTo>
                  <a:pt x="35" y="53"/>
                  <a:pt x="35" y="52"/>
                  <a:pt x="36" y="51"/>
                </a:cubicBezTo>
                <a:cubicBezTo>
                  <a:pt x="36" y="50"/>
                  <a:pt x="36" y="49"/>
                  <a:pt x="36" y="48"/>
                </a:cubicBezTo>
                <a:cubicBezTo>
                  <a:pt x="36" y="47"/>
                  <a:pt x="36" y="46"/>
                  <a:pt x="36" y="45"/>
                </a:cubicBezTo>
                <a:cubicBezTo>
                  <a:pt x="36" y="44"/>
                  <a:pt x="35" y="44"/>
                  <a:pt x="35" y="43"/>
                </a:cubicBezTo>
                <a:close/>
                <a:moveTo>
                  <a:pt x="56" y="0"/>
                </a:moveTo>
                <a:cubicBezTo>
                  <a:pt x="56" y="96"/>
                  <a:pt x="56" y="96"/>
                  <a:pt x="56" y="96"/>
                </a:cubicBezTo>
                <a:cubicBezTo>
                  <a:pt x="0" y="83"/>
                  <a:pt x="0" y="83"/>
                  <a:pt x="0" y="83"/>
                </a:cubicBezTo>
                <a:cubicBezTo>
                  <a:pt x="0" y="13"/>
                  <a:pt x="0" y="13"/>
                  <a:pt x="0" y="13"/>
                </a:cubicBezTo>
                <a:lnTo>
                  <a:pt x="56" y="0"/>
                </a:lnTo>
                <a:close/>
                <a:moveTo>
                  <a:pt x="44" y="48"/>
                </a:moveTo>
                <a:cubicBezTo>
                  <a:pt x="44" y="46"/>
                  <a:pt x="44" y="45"/>
                  <a:pt x="44" y="43"/>
                </a:cubicBezTo>
                <a:cubicBezTo>
                  <a:pt x="44" y="42"/>
                  <a:pt x="44" y="41"/>
                  <a:pt x="43" y="39"/>
                </a:cubicBezTo>
                <a:cubicBezTo>
                  <a:pt x="43" y="38"/>
                  <a:pt x="42" y="37"/>
                  <a:pt x="42" y="36"/>
                </a:cubicBezTo>
                <a:cubicBezTo>
                  <a:pt x="41" y="35"/>
                  <a:pt x="40" y="34"/>
                  <a:pt x="40" y="33"/>
                </a:cubicBezTo>
                <a:cubicBezTo>
                  <a:pt x="39" y="32"/>
                  <a:pt x="38" y="31"/>
                  <a:pt x="37" y="31"/>
                </a:cubicBezTo>
                <a:cubicBezTo>
                  <a:pt x="36" y="30"/>
                  <a:pt x="35" y="29"/>
                  <a:pt x="34" y="29"/>
                </a:cubicBezTo>
                <a:cubicBezTo>
                  <a:pt x="33" y="29"/>
                  <a:pt x="32" y="28"/>
                  <a:pt x="31" y="28"/>
                </a:cubicBezTo>
                <a:cubicBezTo>
                  <a:pt x="30" y="28"/>
                  <a:pt x="29" y="28"/>
                  <a:pt x="28" y="28"/>
                </a:cubicBezTo>
                <a:cubicBezTo>
                  <a:pt x="27" y="28"/>
                  <a:pt x="26" y="28"/>
                  <a:pt x="24" y="29"/>
                </a:cubicBezTo>
                <a:cubicBezTo>
                  <a:pt x="23" y="29"/>
                  <a:pt x="22" y="29"/>
                  <a:pt x="21" y="30"/>
                </a:cubicBezTo>
                <a:cubicBezTo>
                  <a:pt x="20" y="30"/>
                  <a:pt x="20" y="31"/>
                  <a:pt x="19" y="32"/>
                </a:cubicBezTo>
                <a:cubicBezTo>
                  <a:pt x="18" y="32"/>
                  <a:pt x="17" y="33"/>
                  <a:pt x="16" y="34"/>
                </a:cubicBezTo>
                <a:cubicBezTo>
                  <a:pt x="16" y="35"/>
                  <a:pt x="15" y="36"/>
                  <a:pt x="15" y="37"/>
                </a:cubicBezTo>
                <a:cubicBezTo>
                  <a:pt x="14" y="38"/>
                  <a:pt x="14" y="39"/>
                  <a:pt x="13" y="41"/>
                </a:cubicBezTo>
                <a:cubicBezTo>
                  <a:pt x="13" y="42"/>
                  <a:pt x="13" y="43"/>
                  <a:pt x="13" y="44"/>
                </a:cubicBezTo>
                <a:cubicBezTo>
                  <a:pt x="12" y="46"/>
                  <a:pt x="12" y="47"/>
                  <a:pt x="12" y="48"/>
                </a:cubicBezTo>
                <a:cubicBezTo>
                  <a:pt x="12" y="50"/>
                  <a:pt x="12" y="51"/>
                  <a:pt x="13" y="52"/>
                </a:cubicBezTo>
                <a:cubicBezTo>
                  <a:pt x="13" y="54"/>
                  <a:pt x="13" y="55"/>
                  <a:pt x="13" y="56"/>
                </a:cubicBezTo>
                <a:cubicBezTo>
                  <a:pt x="14" y="57"/>
                  <a:pt x="14" y="58"/>
                  <a:pt x="15" y="59"/>
                </a:cubicBezTo>
                <a:cubicBezTo>
                  <a:pt x="15" y="60"/>
                  <a:pt x="16" y="61"/>
                  <a:pt x="17" y="62"/>
                </a:cubicBezTo>
                <a:cubicBezTo>
                  <a:pt x="17" y="63"/>
                  <a:pt x="18" y="64"/>
                  <a:pt x="19" y="64"/>
                </a:cubicBezTo>
                <a:cubicBezTo>
                  <a:pt x="20" y="65"/>
                  <a:pt x="20" y="66"/>
                  <a:pt x="21" y="66"/>
                </a:cubicBezTo>
                <a:cubicBezTo>
                  <a:pt x="22" y="67"/>
                  <a:pt x="23" y="67"/>
                  <a:pt x="24" y="67"/>
                </a:cubicBezTo>
                <a:cubicBezTo>
                  <a:pt x="25" y="68"/>
                  <a:pt x="26" y="68"/>
                  <a:pt x="27" y="68"/>
                </a:cubicBezTo>
                <a:cubicBezTo>
                  <a:pt x="29" y="68"/>
                  <a:pt x="30" y="68"/>
                  <a:pt x="31" y="68"/>
                </a:cubicBezTo>
                <a:cubicBezTo>
                  <a:pt x="32" y="68"/>
                  <a:pt x="33" y="67"/>
                  <a:pt x="34" y="67"/>
                </a:cubicBezTo>
                <a:cubicBezTo>
                  <a:pt x="35" y="66"/>
                  <a:pt x="36" y="66"/>
                  <a:pt x="37" y="65"/>
                </a:cubicBezTo>
                <a:cubicBezTo>
                  <a:pt x="38" y="65"/>
                  <a:pt x="39" y="64"/>
                  <a:pt x="39" y="63"/>
                </a:cubicBezTo>
                <a:cubicBezTo>
                  <a:pt x="40" y="62"/>
                  <a:pt x="41" y="61"/>
                  <a:pt x="42" y="60"/>
                </a:cubicBezTo>
                <a:cubicBezTo>
                  <a:pt x="42" y="59"/>
                  <a:pt x="43" y="58"/>
                  <a:pt x="43" y="56"/>
                </a:cubicBezTo>
                <a:cubicBezTo>
                  <a:pt x="44" y="55"/>
                  <a:pt x="44" y="54"/>
                  <a:pt x="44" y="52"/>
                </a:cubicBezTo>
                <a:cubicBezTo>
                  <a:pt x="44" y="51"/>
                  <a:pt x="44" y="49"/>
                  <a:pt x="44" y="48"/>
                </a:cubicBezTo>
                <a:close/>
                <a:moveTo>
                  <a:pt x="157" y="48"/>
                </a:moveTo>
                <a:cubicBezTo>
                  <a:pt x="157" y="51"/>
                  <a:pt x="156" y="54"/>
                  <a:pt x="155" y="57"/>
                </a:cubicBezTo>
                <a:cubicBezTo>
                  <a:pt x="154" y="60"/>
                  <a:pt x="152" y="62"/>
                  <a:pt x="149" y="63"/>
                </a:cubicBezTo>
                <a:cubicBezTo>
                  <a:pt x="147" y="65"/>
                  <a:pt x="144" y="65"/>
                  <a:pt x="141" y="65"/>
                </a:cubicBezTo>
                <a:cubicBezTo>
                  <a:pt x="138" y="65"/>
                  <a:pt x="135" y="65"/>
                  <a:pt x="133" y="63"/>
                </a:cubicBezTo>
                <a:cubicBezTo>
                  <a:pt x="130" y="62"/>
                  <a:pt x="128" y="60"/>
                  <a:pt x="127" y="57"/>
                </a:cubicBezTo>
                <a:cubicBezTo>
                  <a:pt x="126" y="55"/>
                  <a:pt x="125" y="52"/>
                  <a:pt x="125" y="48"/>
                </a:cubicBezTo>
                <a:cubicBezTo>
                  <a:pt x="125" y="45"/>
                  <a:pt x="126" y="42"/>
                  <a:pt x="127" y="39"/>
                </a:cubicBezTo>
                <a:cubicBezTo>
                  <a:pt x="128" y="36"/>
                  <a:pt x="130" y="34"/>
                  <a:pt x="133" y="33"/>
                </a:cubicBezTo>
                <a:cubicBezTo>
                  <a:pt x="135" y="31"/>
                  <a:pt x="138" y="31"/>
                  <a:pt x="141" y="31"/>
                </a:cubicBezTo>
                <a:cubicBezTo>
                  <a:pt x="144" y="31"/>
                  <a:pt x="147" y="31"/>
                  <a:pt x="149" y="33"/>
                </a:cubicBezTo>
                <a:cubicBezTo>
                  <a:pt x="152" y="34"/>
                  <a:pt x="154" y="36"/>
                  <a:pt x="155" y="39"/>
                </a:cubicBezTo>
                <a:cubicBezTo>
                  <a:pt x="156" y="41"/>
                  <a:pt x="157" y="44"/>
                  <a:pt x="157" y="48"/>
                </a:cubicBezTo>
                <a:close/>
                <a:moveTo>
                  <a:pt x="153" y="48"/>
                </a:moveTo>
                <a:cubicBezTo>
                  <a:pt x="153" y="44"/>
                  <a:pt x="152" y="40"/>
                  <a:pt x="150" y="38"/>
                </a:cubicBezTo>
                <a:cubicBezTo>
                  <a:pt x="148" y="35"/>
                  <a:pt x="145" y="34"/>
                  <a:pt x="141" y="34"/>
                </a:cubicBezTo>
                <a:cubicBezTo>
                  <a:pt x="139" y="34"/>
                  <a:pt x="137" y="35"/>
                  <a:pt x="135" y="36"/>
                </a:cubicBezTo>
                <a:cubicBezTo>
                  <a:pt x="133" y="37"/>
                  <a:pt x="132" y="39"/>
                  <a:pt x="131" y="41"/>
                </a:cubicBezTo>
                <a:cubicBezTo>
                  <a:pt x="130" y="43"/>
                  <a:pt x="129" y="45"/>
                  <a:pt x="129" y="48"/>
                </a:cubicBezTo>
                <a:cubicBezTo>
                  <a:pt x="129" y="51"/>
                  <a:pt x="130" y="53"/>
                  <a:pt x="131" y="55"/>
                </a:cubicBezTo>
                <a:cubicBezTo>
                  <a:pt x="132" y="57"/>
                  <a:pt x="133" y="59"/>
                  <a:pt x="135" y="60"/>
                </a:cubicBezTo>
                <a:cubicBezTo>
                  <a:pt x="137" y="61"/>
                  <a:pt x="139" y="62"/>
                  <a:pt x="141" y="62"/>
                </a:cubicBezTo>
                <a:cubicBezTo>
                  <a:pt x="145" y="62"/>
                  <a:pt x="147" y="61"/>
                  <a:pt x="150" y="58"/>
                </a:cubicBezTo>
                <a:cubicBezTo>
                  <a:pt x="152" y="56"/>
                  <a:pt x="153" y="52"/>
                  <a:pt x="153" y="48"/>
                </a:cubicBezTo>
                <a:close/>
                <a:moveTo>
                  <a:pt x="181" y="65"/>
                </a:moveTo>
                <a:cubicBezTo>
                  <a:pt x="177" y="65"/>
                  <a:pt x="177" y="65"/>
                  <a:pt x="177" y="65"/>
                </a:cubicBezTo>
                <a:cubicBezTo>
                  <a:pt x="177" y="61"/>
                  <a:pt x="177" y="61"/>
                  <a:pt x="177" y="61"/>
                </a:cubicBezTo>
                <a:cubicBezTo>
                  <a:pt x="177" y="61"/>
                  <a:pt x="177" y="61"/>
                  <a:pt x="177" y="61"/>
                </a:cubicBezTo>
                <a:cubicBezTo>
                  <a:pt x="175" y="64"/>
                  <a:pt x="173" y="65"/>
                  <a:pt x="170" y="65"/>
                </a:cubicBezTo>
                <a:cubicBezTo>
                  <a:pt x="164" y="65"/>
                  <a:pt x="161" y="62"/>
                  <a:pt x="161" y="55"/>
                </a:cubicBezTo>
                <a:cubicBezTo>
                  <a:pt x="161" y="41"/>
                  <a:pt x="161" y="41"/>
                  <a:pt x="161" y="41"/>
                </a:cubicBezTo>
                <a:cubicBezTo>
                  <a:pt x="165" y="41"/>
                  <a:pt x="165" y="41"/>
                  <a:pt x="165" y="41"/>
                </a:cubicBezTo>
                <a:cubicBezTo>
                  <a:pt x="165" y="55"/>
                  <a:pt x="165" y="55"/>
                  <a:pt x="165" y="55"/>
                </a:cubicBezTo>
                <a:cubicBezTo>
                  <a:pt x="165" y="60"/>
                  <a:pt x="167" y="62"/>
                  <a:pt x="171" y="62"/>
                </a:cubicBezTo>
                <a:cubicBezTo>
                  <a:pt x="173" y="62"/>
                  <a:pt x="174" y="61"/>
                  <a:pt x="175" y="60"/>
                </a:cubicBezTo>
                <a:cubicBezTo>
                  <a:pt x="177" y="59"/>
                  <a:pt x="177" y="57"/>
                  <a:pt x="177" y="55"/>
                </a:cubicBezTo>
                <a:cubicBezTo>
                  <a:pt x="177" y="41"/>
                  <a:pt x="177" y="41"/>
                  <a:pt x="177" y="41"/>
                </a:cubicBezTo>
                <a:cubicBezTo>
                  <a:pt x="181" y="41"/>
                  <a:pt x="181" y="41"/>
                  <a:pt x="181" y="41"/>
                </a:cubicBezTo>
                <a:lnTo>
                  <a:pt x="181" y="65"/>
                </a:lnTo>
                <a:close/>
                <a:moveTo>
                  <a:pt x="199" y="65"/>
                </a:moveTo>
                <a:cubicBezTo>
                  <a:pt x="198" y="65"/>
                  <a:pt x="196" y="65"/>
                  <a:pt x="195" y="65"/>
                </a:cubicBezTo>
                <a:cubicBezTo>
                  <a:pt x="191" y="65"/>
                  <a:pt x="189" y="63"/>
                  <a:pt x="189" y="58"/>
                </a:cubicBezTo>
                <a:cubicBezTo>
                  <a:pt x="189" y="44"/>
                  <a:pt x="189" y="44"/>
                  <a:pt x="189" y="44"/>
                </a:cubicBezTo>
                <a:cubicBezTo>
                  <a:pt x="185" y="44"/>
                  <a:pt x="185" y="44"/>
                  <a:pt x="185" y="44"/>
                </a:cubicBezTo>
                <a:cubicBezTo>
                  <a:pt x="185" y="41"/>
                  <a:pt x="185" y="41"/>
                  <a:pt x="185" y="41"/>
                </a:cubicBezTo>
                <a:cubicBezTo>
                  <a:pt x="189" y="41"/>
                  <a:pt x="189" y="41"/>
                  <a:pt x="189" y="41"/>
                </a:cubicBezTo>
                <a:cubicBezTo>
                  <a:pt x="189" y="35"/>
                  <a:pt x="189" y="35"/>
                  <a:pt x="189" y="35"/>
                </a:cubicBezTo>
                <a:cubicBezTo>
                  <a:pt x="193" y="34"/>
                  <a:pt x="193" y="34"/>
                  <a:pt x="193" y="34"/>
                </a:cubicBezTo>
                <a:cubicBezTo>
                  <a:pt x="193" y="41"/>
                  <a:pt x="193" y="41"/>
                  <a:pt x="193" y="41"/>
                </a:cubicBezTo>
                <a:cubicBezTo>
                  <a:pt x="199" y="41"/>
                  <a:pt x="199" y="41"/>
                  <a:pt x="199" y="41"/>
                </a:cubicBezTo>
                <a:cubicBezTo>
                  <a:pt x="199" y="44"/>
                  <a:pt x="199" y="44"/>
                  <a:pt x="199" y="44"/>
                </a:cubicBezTo>
                <a:cubicBezTo>
                  <a:pt x="193" y="44"/>
                  <a:pt x="193" y="44"/>
                  <a:pt x="193" y="44"/>
                </a:cubicBezTo>
                <a:cubicBezTo>
                  <a:pt x="193" y="58"/>
                  <a:pt x="193" y="58"/>
                  <a:pt x="193" y="58"/>
                </a:cubicBezTo>
                <a:cubicBezTo>
                  <a:pt x="193" y="59"/>
                  <a:pt x="193" y="60"/>
                  <a:pt x="193" y="61"/>
                </a:cubicBezTo>
                <a:cubicBezTo>
                  <a:pt x="194" y="62"/>
                  <a:pt x="195" y="62"/>
                  <a:pt x="196" y="62"/>
                </a:cubicBezTo>
                <a:cubicBezTo>
                  <a:pt x="197" y="62"/>
                  <a:pt x="198" y="62"/>
                  <a:pt x="199" y="61"/>
                </a:cubicBezTo>
                <a:lnTo>
                  <a:pt x="199" y="65"/>
                </a:lnTo>
                <a:close/>
                <a:moveTo>
                  <a:pt x="206" y="65"/>
                </a:moveTo>
                <a:cubicBezTo>
                  <a:pt x="202" y="65"/>
                  <a:pt x="202" y="65"/>
                  <a:pt x="202" y="65"/>
                </a:cubicBezTo>
                <a:cubicBezTo>
                  <a:pt x="202" y="29"/>
                  <a:pt x="202" y="29"/>
                  <a:pt x="202" y="29"/>
                </a:cubicBezTo>
                <a:cubicBezTo>
                  <a:pt x="206" y="29"/>
                  <a:pt x="206" y="29"/>
                  <a:pt x="206" y="29"/>
                </a:cubicBezTo>
                <a:lnTo>
                  <a:pt x="206" y="65"/>
                </a:lnTo>
                <a:close/>
                <a:moveTo>
                  <a:pt x="235" y="53"/>
                </a:moveTo>
                <a:cubicBezTo>
                  <a:pt x="235" y="57"/>
                  <a:pt x="234" y="60"/>
                  <a:pt x="231" y="62"/>
                </a:cubicBezTo>
                <a:cubicBezTo>
                  <a:pt x="229" y="64"/>
                  <a:pt x="226" y="65"/>
                  <a:pt x="223" y="65"/>
                </a:cubicBezTo>
                <a:cubicBezTo>
                  <a:pt x="219" y="65"/>
                  <a:pt x="216" y="64"/>
                  <a:pt x="214" y="62"/>
                </a:cubicBezTo>
                <a:cubicBezTo>
                  <a:pt x="212" y="60"/>
                  <a:pt x="211" y="57"/>
                  <a:pt x="211" y="53"/>
                </a:cubicBezTo>
                <a:cubicBezTo>
                  <a:pt x="211" y="49"/>
                  <a:pt x="212" y="46"/>
                  <a:pt x="214" y="44"/>
                </a:cubicBezTo>
                <a:cubicBezTo>
                  <a:pt x="216" y="41"/>
                  <a:pt x="219" y="40"/>
                  <a:pt x="223" y="40"/>
                </a:cubicBezTo>
                <a:cubicBezTo>
                  <a:pt x="227" y="40"/>
                  <a:pt x="230" y="41"/>
                  <a:pt x="232" y="44"/>
                </a:cubicBezTo>
                <a:cubicBezTo>
                  <a:pt x="234" y="46"/>
                  <a:pt x="235" y="49"/>
                  <a:pt x="235" y="53"/>
                </a:cubicBezTo>
                <a:close/>
                <a:moveTo>
                  <a:pt x="231" y="53"/>
                </a:moveTo>
                <a:cubicBezTo>
                  <a:pt x="231" y="50"/>
                  <a:pt x="230" y="48"/>
                  <a:pt x="229" y="46"/>
                </a:cubicBezTo>
                <a:cubicBezTo>
                  <a:pt x="227" y="44"/>
                  <a:pt x="225" y="44"/>
                  <a:pt x="223" y="44"/>
                </a:cubicBezTo>
                <a:cubicBezTo>
                  <a:pt x="220" y="44"/>
                  <a:pt x="218" y="44"/>
                  <a:pt x="217" y="46"/>
                </a:cubicBezTo>
                <a:cubicBezTo>
                  <a:pt x="216" y="48"/>
                  <a:pt x="215" y="50"/>
                  <a:pt x="215" y="53"/>
                </a:cubicBezTo>
                <a:cubicBezTo>
                  <a:pt x="215" y="56"/>
                  <a:pt x="216" y="58"/>
                  <a:pt x="217" y="60"/>
                </a:cubicBezTo>
                <a:cubicBezTo>
                  <a:pt x="219" y="61"/>
                  <a:pt x="220" y="62"/>
                  <a:pt x="223" y="62"/>
                </a:cubicBezTo>
                <a:cubicBezTo>
                  <a:pt x="225" y="62"/>
                  <a:pt x="227" y="61"/>
                  <a:pt x="229" y="60"/>
                </a:cubicBezTo>
                <a:cubicBezTo>
                  <a:pt x="230" y="58"/>
                  <a:pt x="231" y="56"/>
                  <a:pt x="231" y="53"/>
                </a:cubicBezTo>
                <a:close/>
                <a:moveTo>
                  <a:pt x="261" y="53"/>
                </a:moveTo>
                <a:cubicBezTo>
                  <a:pt x="261" y="57"/>
                  <a:pt x="260" y="60"/>
                  <a:pt x="258" y="62"/>
                </a:cubicBezTo>
                <a:cubicBezTo>
                  <a:pt x="256" y="64"/>
                  <a:pt x="253" y="65"/>
                  <a:pt x="249" y="65"/>
                </a:cubicBezTo>
                <a:cubicBezTo>
                  <a:pt x="246" y="65"/>
                  <a:pt x="243" y="64"/>
                  <a:pt x="241" y="62"/>
                </a:cubicBezTo>
                <a:cubicBezTo>
                  <a:pt x="238" y="60"/>
                  <a:pt x="237" y="57"/>
                  <a:pt x="237" y="53"/>
                </a:cubicBezTo>
                <a:cubicBezTo>
                  <a:pt x="237" y="49"/>
                  <a:pt x="238" y="46"/>
                  <a:pt x="241" y="44"/>
                </a:cubicBezTo>
                <a:cubicBezTo>
                  <a:pt x="243" y="41"/>
                  <a:pt x="246" y="40"/>
                  <a:pt x="250" y="40"/>
                </a:cubicBezTo>
                <a:cubicBezTo>
                  <a:pt x="253" y="40"/>
                  <a:pt x="256" y="41"/>
                  <a:pt x="258" y="44"/>
                </a:cubicBezTo>
                <a:cubicBezTo>
                  <a:pt x="260" y="46"/>
                  <a:pt x="261" y="49"/>
                  <a:pt x="261" y="53"/>
                </a:cubicBezTo>
                <a:close/>
                <a:moveTo>
                  <a:pt x="257" y="53"/>
                </a:moveTo>
                <a:cubicBezTo>
                  <a:pt x="257" y="50"/>
                  <a:pt x="256" y="48"/>
                  <a:pt x="255" y="46"/>
                </a:cubicBezTo>
                <a:cubicBezTo>
                  <a:pt x="254" y="44"/>
                  <a:pt x="252" y="44"/>
                  <a:pt x="249" y="44"/>
                </a:cubicBezTo>
                <a:cubicBezTo>
                  <a:pt x="247" y="44"/>
                  <a:pt x="245" y="44"/>
                  <a:pt x="244" y="46"/>
                </a:cubicBezTo>
                <a:cubicBezTo>
                  <a:pt x="242" y="48"/>
                  <a:pt x="241" y="50"/>
                  <a:pt x="241" y="53"/>
                </a:cubicBezTo>
                <a:cubicBezTo>
                  <a:pt x="241" y="56"/>
                  <a:pt x="242" y="58"/>
                  <a:pt x="244" y="60"/>
                </a:cubicBezTo>
                <a:cubicBezTo>
                  <a:pt x="245" y="61"/>
                  <a:pt x="247" y="62"/>
                  <a:pt x="249" y="62"/>
                </a:cubicBezTo>
                <a:cubicBezTo>
                  <a:pt x="252" y="62"/>
                  <a:pt x="254" y="61"/>
                  <a:pt x="255" y="60"/>
                </a:cubicBezTo>
                <a:cubicBezTo>
                  <a:pt x="256" y="58"/>
                  <a:pt x="257" y="56"/>
                  <a:pt x="257" y="53"/>
                </a:cubicBezTo>
                <a:close/>
                <a:moveTo>
                  <a:pt x="286" y="65"/>
                </a:moveTo>
                <a:cubicBezTo>
                  <a:pt x="280" y="65"/>
                  <a:pt x="280" y="65"/>
                  <a:pt x="280" y="65"/>
                </a:cubicBezTo>
                <a:cubicBezTo>
                  <a:pt x="270" y="53"/>
                  <a:pt x="270" y="53"/>
                  <a:pt x="270" y="53"/>
                </a:cubicBezTo>
                <a:cubicBezTo>
                  <a:pt x="270" y="53"/>
                  <a:pt x="270" y="53"/>
                  <a:pt x="270" y="53"/>
                </a:cubicBezTo>
                <a:cubicBezTo>
                  <a:pt x="270" y="65"/>
                  <a:pt x="270" y="65"/>
                  <a:pt x="270" y="65"/>
                </a:cubicBezTo>
                <a:cubicBezTo>
                  <a:pt x="266" y="65"/>
                  <a:pt x="266" y="65"/>
                  <a:pt x="266" y="65"/>
                </a:cubicBezTo>
                <a:cubicBezTo>
                  <a:pt x="266" y="29"/>
                  <a:pt x="266" y="29"/>
                  <a:pt x="266" y="29"/>
                </a:cubicBezTo>
                <a:cubicBezTo>
                  <a:pt x="270" y="29"/>
                  <a:pt x="270" y="29"/>
                  <a:pt x="270" y="29"/>
                </a:cubicBezTo>
                <a:cubicBezTo>
                  <a:pt x="270" y="52"/>
                  <a:pt x="270" y="52"/>
                  <a:pt x="270" y="52"/>
                </a:cubicBezTo>
                <a:cubicBezTo>
                  <a:pt x="270" y="52"/>
                  <a:pt x="270" y="52"/>
                  <a:pt x="270" y="52"/>
                </a:cubicBezTo>
                <a:cubicBezTo>
                  <a:pt x="280" y="41"/>
                  <a:pt x="280" y="41"/>
                  <a:pt x="280" y="41"/>
                </a:cubicBezTo>
                <a:cubicBezTo>
                  <a:pt x="285" y="41"/>
                  <a:pt x="285" y="41"/>
                  <a:pt x="285" y="41"/>
                </a:cubicBezTo>
                <a:cubicBezTo>
                  <a:pt x="274" y="52"/>
                  <a:pt x="274" y="52"/>
                  <a:pt x="274" y="52"/>
                </a:cubicBezTo>
                <a:lnTo>
                  <a:pt x="286" y="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75" name="Freeform 35"/>
          <p:cNvSpPr>
            <a:spLocks noChangeAspect="1" noEditPoints="1"/>
          </p:cNvSpPr>
          <p:nvPr/>
        </p:nvSpPr>
        <p:spPr bwMode="auto">
          <a:xfrm>
            <a:off x="2295680" y="3991222"/>
            <a:ext cx="1295457" cy="362409"/>
          </a:xfrm>
          <a:custGeom>
            <a:avLst/>
            <a:gdLst>
              <a:gd name="T0" fmla="*/ 128 w 344"/>
              <a:gd name="T1" fmla="*/ 52 h 96"/>
              <a:gd name="T2" fmla="*/ 133 w 344"/>
              <a:gd name="T3" fmla="*/ 31 h 96"/>
              <a:gd name="T4" fmla="*/ 133 w 344"/>
              <a:gd name="T5" fmla="*/ 34 h 96"/>
              <a:gd name="T6" fmla="*/ 139 w 344"/>
              <a:gd name="T7" fmla="*/ 46 h 96"/>
              <a:gd name="T8" fmla="*/ 157 w 344"/>
              <a:gd name="T9" fmla="*/ 65 h 96"/>
              <a:gd name="T10" fmla="*/ 158 w 344"/>
              <a:gd name="T11" fmla="*/ 40 h 96"/>
              <a:gd name="T12" fmla="*/ 163 w 344"/>
              <a:gd name="T13" fmla="*/ 45 h 96"/>
              <a:gd name="T14" fmla="*/ 152 w 344"/>
              <a:gd name="T15" fmla="*/ 59 h 96"/>
              <a:gd name="T16" fmla="*/ 204 w 344"/>
              <a:gd name="T17" fmla="*/ 40 h 96"/>
              <a:gd name="T18" fmla="*/ 188 w 344"/>
              <a:gd name="T19" fmla="*/ 45 h 96"/>
              <a:gd name="T20" fmla="*/ 178 w 344"/>
              <a:gd name="T21" fmla="*/ 64 h 96"/>
              <a:gd name="T22" fmla="*/ 180 w 344"/>
              <a:gd name="T23" fmla="*/ 61 h 96"/>
              <a:gd name="T24" fmla="*/ 190 w 344"/>
              <a:gd name="T25" fmla="*/ 40 h 96"/>
              <a:gd name="T26" fmla="*/ 196 w 344"/>
              <a:gd name="T27" fmla="*/ 58 h 96"/>
              <a:gd name="T28" fmla="*/ 210 w 344"/>
              <a:gd name="T29" fmla="*/ 53 h 96"/>
              <a:gd name="T30" fmla="*/ 225 w 344"/>
              <a:gd name="T31" fmla="*/ 63 h 96"/>
              <a:gd name="T32" fmla="*/ 207 w 344"/>
              <a:gd name="T33" fmla="*/ 46 h 96"/>
              <a:gd name="T34" fmla="*/ 227 w 344"/>
              <a:gd name="T35" fmla="*/ 51 h 96"/>
              <a:gd name="T36" fmla="*/ 217 w 344"/>
              <a:gd name="T37" fmla="*/ 43 h 96"/>
              <a:gd name="T38" fmla="*/ 243 w 344"/>
              <a:gd name="T39" fmla="*/ 44 h 96"/>
              <a:gd name="T40" fmla="*/ 235 w 344"/>
              <a:gd name="T41" fmla="*/ 64 h 96"/>
              <a:gd name="T42" fmla="*/ 235 w 344"/>
              <a:gd name="T43" fmla="*/ 45 h 96"/>
              <a:gd name="T44" fmla="*/ 243 w 344"/>
              <a:gd name="T45" fmla="*/ 40 h 96"/>
              <a:gd name="T46" fmla="*/ 255 w 344"/>
              <a:gd name="T47" fmla="*/ 52 h 96"/>
              <a:gd name="T48" fmla="*/ 247 w 344"/>
              <a:gd name="T49" fmla="*/ 31 h 96"/>
              <a:gd name="T50" fmla="*/ 263 w 344"/>
              <a:gd name="T51" fmla="*/ 41 h 96"/>
              <a:gd name="T52" fmla="*/ 255 w 344"/>
              <a:gd name="T53" fmla="*/ 48 h 96"/>
              <a:gd name="T54" fmla="*/ 289 w 344"/>
              <a:gd name="T55" fmla="*/ 61 h 96"/>
              <a:gd name="T56" fmla="*/ 271 w 344"/>
              <a:gd name="T57" fmla="*/ 43 h 96"/>
              <a:gd name="T58" fmla="*/ 288 w 344"/>
              <a:gd name="T59" fmla="*/ 52 h 96"/>
              <a:gd name="T60" fmla="*/ 272 w 344"/>
              <a:gd name="T61" fmla="*/ 53 h 96"/>
              <a:gd name="T62" fmla="*/ 288 w 344"/>
              <a:gd name="T63" fmla="*/ 52 h 96"/>
              <a:gd name="T64" fmla="*/ 297 w 344"/>
              <a:gd name="T65" fmla="*/ 34 h 96"/>
              <a:gd name="T66" fmla="*/ 300 w 344"/>
              <a:gd name="T67" fmla="*/ 30 h 96"/>
              <a:gd name="T68" fmla="*/ 297 w 344"/>
              <a:gd name="T69" fmla="*/ 40 h 96"/>
              <a:gd name="T70" fmla="*/ 323 w 344"/>
              <a:gd name="T71" fmla="*/ 64 h 96"/>
              <a:gd name="T72" fmla="*/ 311 w 344"/>
              <a:gd name="T73" fmla="*/ 51 h 96"/>
              <a:gd name="T74" fmla="*/ 311 w 344"/>
              <a:gd name="T75" fmla="*/ 40 h 96"/>
              <a:gd name="T76" fmla="*/ 325 w 344"/>
              <a:gd name="T77" fmla="*/ 42 h 96"/>
              <a:gd name="T78" fmla="*/ 340 w 344"/>
              <a:gd name="T79" fmla="*/ 65 h 96"/>
              <a:gd name="T80" fmla="*/ 330 w 344"/>
              <a:gd name="T81" fmla="*/ 40 h 96"/>
              <a:gd name="T82" fmla="*/ 338 w 344"/>
              <a:gd name="T83" fmla="*/ 40 h 96"/>
              <a:gd name="T84" fmla="*/ 338 w 344"/>
              <a:gd name="T85" fmla="*/ 57 h 96"/>
              <a:gd name="T86" fmla="*/ 344 w 344"/>
              <a:gd name="T87" fmla="*/ 64 h 96"/>
              <a:gd name="T88" fmla="*/ 31 w 344"/>
              <a:gd name="T89" fmla="*/ 45 h 96"/>
              <a:gd name="T90" fmla="*/ 23 w 344"/>
              <a:gd name="T91" fmla="*/ 47 h 96"/>
              <a:gd name="T92" fmla="*/ 31 w 344"/>
              <a:gd name="T93" fmla="*/ 36 h 96"/>
              <a:gd name="T94" fmla="*/ 0 w 344"/>
              <a:gd name="T95" fmla="*/ 83 h 96"/>
              <a:gd name="T96" fmla="*/ 40 w 344"/>
              <a:gd name="T97" fmla="*/ 34 h 96"/>
              <a:gd name="T98" fmla="*/ 16 w 344"/>
              <a:gd name="T99" fmla="*/ 28 h 96"/>
              <a:gd name="T100" fmla="*/ 27 w 344"/>
              <a:gd name="T101" fmla="*/ 54 h 96"/>
              <a:gd name="T102" fmla="*/ 37 w 344"/>
              <a:gd name="T103" fmla="*/ 50 h 96"/>
              <a:gd name="T104" fmla="*/ 41 w 344"/>
              <a:gd name="T105" fmla="*/ 40 h 96"/>
              <a:gd name="T106" fmla="*/ 60 w 344"/>
              <a:gd name="T107" fmla="*/ 84 h 96"/>
              <a:gd name="T108" fmla="*/ 60 w 344"/>
              <a:gd name="T109" fmla="*/ 72 h 96"/>
              <a:gd name="T110" fmla="*/ 60 w 344"/>
              <a:gd name="T111" fmla="*/ 60 h 96"/>
              <a:gd name="T112" fmla="*/ 79 w 344"/>
              <a:gd name="T113" fmla="*/ 40 h 96"/>
              <a:gd name="T114" fmla="*/ 60 w 344"/>
              <a:gd name="T115" fmla="*/ 50 h 96"/>
              <a:gd name="T116" fmla="*/ 72 w 344"/>
              <a:gd name="T117" fmla="*/ 2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44" h="96">
                <a:moveTo>
                  <a:pt x="145" y="41"/>
                </a:moveTo>
                <a:cubicBezTo>
                  <a:pt x="145" y="44"/>
                  <a:pt x="144" y="47"/>
                  <a:pt x="141" y="49"/>
                </a:cubicBezTo>
                <a:cubicBezTo>
                  <a:pt x="139" y="51"/>
                  <a:pt x="136" y="52"/>
                  <a:pt x="133" y="52"/>
                </a:cubicBezTo>
                <a:cubicBezTo>
                  <a:pt x="128" y="52"/>
                  <a:pt x="128" y="52"/>
                  <a:pt x="128" y="52"/>
                </a:cubicBezTo>
                <a:cubicBezTo>
                  <a:pt x="128" y="64"/>
                  <a:pt x="128" y="64"/>
                  <a:pt x="128" y="64"/>
                </a:cubicBezTo>
                <a:cubicBezTo>
                  <a:pt x="124" y="64"/>
                  <a:pt x="124" y="64"/>
                  <a:pt x="124" y="64"/>
                </a:cubicBezTo>
                <a:cubicBezTo>
                  <a:pt x="124" y="31"/>
                  <a:pt x="124" y="31"/>
                  <a:pt x="124" y="31"/>
                </a:cubicBezTo>
                <a:cubicBezTo>
                  <a:pt x="133" y="31"/>
                  <a:pt x="133" y="31"/>
                  <a:pt x="133" y="31"/>
                </a:cubicBezTo>
                <a:cubicBezTo>
                  <a:pt x="137" y="31"/>
                  <a:pt x="140" y="32"/>
                  <a:pt x="142" y="33"/>
                </a:cubicBezTo>
                <a:cubicBezTo>
                  <a:pt x="144" y="35"/>
                  <a:pt x="145" y="38"/>
                  <a:pt x="145" y="41"/>
                </a:cubicBezTo>
                <a:close/>
                <a:moveTo>
                  <a:pt x="141" y="41"/>
                </a:moveTo>
                <a:cubicBezTo>
                  <a:pt x="141" y="37"/>
                  <a:pt x="138" y="34"/>
                  <a:pt x="133" y="34"/>
                </a:cubicBezTo>
                <a:cubicBezTo>
                  <a:pt x="128" y="34"/>
                  <a:pt x="128" y="34"/>
                  <a:pt x="128" y="34"/>
                </a:cubicBezTo>
                <a:cubicBezTo>
                  <a:pt x="128" y="48"/>
                  <a:pt x="128" y="48"/>
                  <a:pt x="128" y="48"/>
                </a:cubicBezTo>
                <a:cubicBezTo>
                  <a:pt x="132" y="48"/>
                  <a:pt x="132" y="48"/>
                  <a:pt x="132" y="48"/>
                </a:cubicBezTo>
                <a:cubicBezTo>
                  <a:pt x="135" y="48"/>
                  <a:pt x="137" y="48"/>
                  <a:pt x="139" y="46"/>
                </a:cubicBezTo>
                <a:cubicBezTo>
                  <a:pt x="140" y="45"/>
                  <a:pt x="141" y="43"/>
                  <a:pt x="141" y="41"/>
                </a:cubicBezTo>
                <a:close/>
                <a:moveTo>
                  <a:pt x="169" y="52"/>
                </a:moveTo>
                <a:cubicBezTo>
                  <a:pt x="169" y="56"/>
                  <a:pt x="168" y="59"/>
                  <a:pt x="166" y="61"/>
                </a:cubicBezTo>
                <a:cubicBezTo>
                  <a:pt x="164" y="64"/>
                  <a:pt x="161" y="65"/>
                  <a:pt x="157" y="65"/>
                </a:cubicBezTo>
                <a:cubicBezTo>
                  <a:pt x="154" y="65"/>
                  <a:pt x="151" y="64"/>
                  <a:pt x="149" y="62"/>
                </a:cubicBezTo>
                <a:cubicBezTo>
                  <a:pt x="147" y="59"/>
                  <a:pt x="146" y="56"/>
                  <a:pt x="146" y="53"/>
                </a:cubicBezTo>
                <a:cubicBezTo>
                  <a:pt x="146" y="49"/>
                  <a:pt x="147" y="46"/>
                  <a:pt x="149" y="43"/>
                </a:cubicBezTo>
                <a:cubicBezTo>
                  <a:pt x="151" y="41"/>
                  <a:pt x="154" y="40"/>
                  <a:pt x="158" y="40"/>
                </a:cubicBezTo>
                <a:cubicBezTo>
                  <a:pt x="162" y="40"/>
                  <a:pt x="164" y="41"/>
                  <a:pt x="166" y="43"/>
                </a:cubicBezTo>
                <a:cubicBezTo>
                  <a:pt x="168" y="45"/>
                  <a:pt x="169" y="48"/>
                  <a:pt x="169" y="52"/>
                </a:cubicBezTo>
                <a:close/>
                <a:moveTo>
                  <a:pt x="165" y="52"/>
                </a:moveTo>
                <a:cubicBezTo>
                  <a:pt x="165" y="49"/>
                  <a:pt x="165" y="47"/>
                  <a:pt x="163" y="45"/>
                </a:cubicBezTo>
                <a:cubicBezTo>
                  <a:pt x="162" y="44"/>
                  <a:pt x="160" y="43"/>
                  <a:pt x="158" y="43"/>
                </a:cubicBezTo>
                <a:cubicBezTo>
                  <a:pt x="155" y="43"/>
                  <a:pt x="153" y="44"/>
                  <a:pt x="152" y="46"/>
                </a:cubicBezTo>
                <a:cubicBezTo>
                  <a:pt x="150" y="47"/>
                  <a:pt x="150" y="50"/>
                  <a:pt x="150" y="53"/>
                </a:cubicBezTo>
                <a:cubicBezTo>
                  <a:pt x="150" y="55"/>
                  <a:pt x="150" y="58"/>
                  <a:pt x="152" y="59"/>
                </a:cubicBezTo>
                <a:cubicBezTo>
                  <a:pt x="153" y="61"/>
                  <a:pt x="155" y="62"/>
                  <a:pt x="158" y="62"/>
                </a:cubicBezTo>
                <a:cubicBezTo>
                  <a:pt x="160" y="62"/>
                  <a:pt x="162" y="61"/>
                  <a:pt x="163" y="59"/>
                </a:cubicBezTo>
                <a:cubicBezTo>
                  <a:pt x="165" y="58"/>
                  <a:pt x="165" y="55"/>
                  <a:pt x="165" y="52"/>
                </a:cubicBezTo>
                <a:close/>
                <a:moveTo>
                  <a:pt x="204" y="40"/>
                </a:moveTo>
                <a:cubicBezTo>
                  <a:pt x="197" y="64"/>
                  <a:pt x="197" y="64"/>
                  <a:pt x="197" y="64"/>
                </a:cubicBezTo>
                <a:cubicBezTo>
                  <a:pt x="193" y="64"/>
                  <a:pt x="193" y="64"/>
                  <a:pt x="193" y="64"/>
                </a:cubicBezTo>
                <a:cubicBezTo>
                  <a:pt x="188" y="47"/>
                  <a:pt x="188" y="47"/>
                  <a:pt x="188" y="47"/>
                </a:cubicBezTo>
                <a:cubicBezTo>
                  <a:pt x="188" y="47"/>
                  <a:pt x="188" y="46"/>
                  <a:pt x="188" y="45"/>
                </a:cubicBezTo>
                <a:cubicBezTo>
                  <a:pt x="188" y="45"/>
                  <a:pt x="188" y="45"/>
                  <a:pt x="188" y="45"/>
                </a:cubicBezTo>
                <a:cubicBezTo>
                  <a:pt x="188" y="46"/>
                  <a:pt x="187" y="46"/>
                  <a:pt x="187" y="47"/>
                </a:cubicBezTo>
                <a:cubicBezTo>
                  <a:pt x="182" y="64"/>
                  <a:pt x="182" y="64"/>
                  <a:pt x="182" y="64"/>
                </a:cubicBezTo>
                <a:cubicBezTo>
                  <a:pt x="178" y="64"/>
                  <a:pt x="178" y="64"/>
                  <a:pt x="178" y="64"/>
                </a:cubicBezTo>
                <a:cubicBezTo>
                  <a:pt x="171" y="40"/>
                  <a:pt x="171" y="40"/>
                  <a:pt x="171" y="40"/>
                </a:cubicBezTo>
                <a:cubicBezTo>
                  <a:pt x="175" y="40"/>
                  <a:pt x="175" y="40"/>
                  <a:pt x="175" y="40"/>
                </a:cubicBezTo>
                <a:cubicBezTo>
                  <a:pt x="180" y="58"/>
                  <a:pt x="180" y="58"/>
                  <a:pt x="180" y="58"/>
                </a:cubicBezTo>
                <a:cubicBezTo>
                  <a:pt x="180" y="59"/>
                  <a:pt x="180" y="60"/>
                  <a:pt x="180" y="61"/>
                </a:cubicBezTo>
                <a:cubicBezTo>
                  <a:pt x="180" y="61"/>
                  <a:pt x="180" y="61"/>
                  <a:pt x="180" y="61"/>
                </a:cubicBezTo>
                <a:cubicBezTo>
                  <a:pt x="180" y="60"/>
                  <a:pt x="180" y="59"/>
                  <a:pt x="181" y="58"/>
                </a:cubicBezTo>
                <a:cubicBezTo>
                  <a:pt x="186" y="40"/>
                  <a:pt x="186" y="40"/>
                  <a:pt x="186" y="40"/>
                </a:cubicBezTo>
                <a:cubicBezTo>
                  <a:pt x="190" y="40"/>
                  <a:pt x="190" y="40"/>
                  <a:pt x="190" y="40"/>
                </a:cubicBezTo>
                <a:cubicBezTo>
                  <a:pt x="195" y="58"/>
                  <a:pt x="195" y="58"/>
                  <a:pt x="195" y="58"/>
                </a:cubicBezTo>
                <a:cubicBezTo>
                  <a:pt x="195" y="59"/>
                  <a:pt x="195" y="60"/>
                  <a:pt x="195" y="61"/>
                </a:cubicBezTo>
                <a:cubicBezTo>
                  <a:pt x="195" y="61"/>
                  <a:pt x="195" y="61"/>
                  <a:pt x="195" y="61"/>
                </a:cubicBezTo>
                <a:cubicBezTo>
                  <a:pt x="195" y="60"/>
                  <a:pt x="195" y="59"/>
                  <a:pt x="196" y="58"/>
                </a:cubicBezTo>
                <a:cubicBezTo>
                  <a:pt x="200" y="40"/>
                  <a:pt x="200" y="40"/>
                  <a:pt x="200" y="40"/>
                </a:cubicBezTo>
                <a:lnTo>
                  <a:pt x="204" y="40"/>
                </a:lnTo>
                <a:close/>
                <a:moveTo>
                  <a:pt x="227" y="53"/>
                </a:moveTo>
                <a:cubicBezTo>
                  <a:pt x="210" y="53"/>
                  <a:pt x="210" y="53"/>
                  <a:pt x="210" y="53"/>
                </a:cubicBezTo>
                <a:cubicBezTo>
                  <a:pt x="210" y="56"/>
                  <a:pt x="210" y="58"/>
                  <a:pt x="212" y="60"/>
                </a:cubicBezTo>
                <a:cubicBezTo>
                  <a:pt x="213" y="61"/>
                  <a:pt x="215" y="62"/>
                  <a:pt x="217" y="62"/>
                </a:cubicBezTo>
                <a:cubicBezTo>
                  <a:pt x="220" y="62"/>
                  <a:pt x="223" y="61"/>
                  <a:pt x="225" y="59"/>
                </a:cubicBezTo>
                <a:cubicBezTo>
                  <a:pt x="225" y="63"/>
                  <a:pt x="225" y="63"/>
                  <a:pt x="225" y="63"/>
                </a:cubicBezTo>
                <a:cubicBezTo>
                  <a:pt x="223" y="64"/>
                  <a:pt x="220" y="65"/>
                  <a:pt x="216" y="65"/>
                </a:cubicBezTo>
                <a:cubicBezTo>
                  <a:pt x="213" y="65"/>
                  <a:pt x="210" y="64"/>
                  <a:pt x="208" y="62"/>
                </a:cubicBezTo>
                <a:cubicBezTo>
                  <a:pt x="207" y="59"/>
                  <a:pt x="206" y="56"/>
                  <a:pt x="206" y="52"/>
                </a:cubicBezTo>
                <a:cubicBezTo>
                  <a:pt x="206" y="50"/>
                  <a:pt x="206" y="48"/>
                  <a:pt x="207" y="46"/>
                </a:cubicBezTo>
                <a:cubicBezTo>
                  <a:pt x="208" y="44"/>
                  <a:pt x="209" y="42"/>
                  <a:pt x="211" y="41"/>
                </a:cubicBezTo>
                <a:cubicBezTo>
                  <a:pt x="213" y="40"/>
                  <a:pt x="215" y="40"/>
                  <a:pt x="217" y="40"/>
                </a:cubicBezTo>
                <a:cubicBezTo>
                  <a:pt x="220" y="40"/>
                  <a:pt x="222" y="41"/>
                  <a:pt x="224" y="43"/>
                </a:cubicBezTo>
                <a:cubicBezTo>
                  <a:pt x="226" y="45"/>
                  <a:pt x="227" y="48"/>
                  <a:pt x="227" y="51"/>
                </a:cubicBezTo>
                <a:lnTo>
                  <a:pt x="227" y="53"/>
                </a:lnTo>
                <a:close/>
                <a:moveTo>
                  <a:pt x="223" y="50"/>
                </a:moveTo>
                <a:cubicBezTo>
                  <a:pt x="223" y="48"/>
                  <a:pt x="222" y="46"/>
                  <a:pt x="221" y="45"/>
                </a:cubicBezTo>
                <a:cubicBezTo>
                  <a:pt x="220" y="44"/>
                  <a:pt x="218" y="43"/>
                  <a:pt x="217" y="43"/>
                </a:cubicBezTo>
                <a:cubicBezTo>
                  <a:pt x="215" y="43"/>
                  <a:pt x="213" y="44"/>
                  <a:pt x="212" y="45"/>
                </a:cubicBezTo>
                <a:cubicBezTo>
                  <a:pt x="211" y="46"/>
                  <a:pt x="210" y="48"/>
                  <a:pt x="210" y="50"/>
                </a:cubicBezTo>
                <a:lnTo>
                  <a:pt x="223" y="50"/>
                </a:lnTo>
                <a:close/>
                <a:moveTo>
                  <a:pt x="243" y="44"/>
                </a:moveTo>
                <a:cubicBezTo>
                  <a:pt x="243" y="44"/>
                  <a:pt x="242" y="44"/>
                  <a:pt x="240" y="44"/>
                </a:cubicBezTo>
                <a:cubicBezTo>
                  <a:pt x="239" y="44"/>
                  <a:pt x="237" y="44"/>
                  <a:pt x="236" y="46"/>
                </a:cubicBezTo>
                <a:cubicBezTo>
                  <a:pt x="235" y="48"/>
                  <a:pt x="235" y="50"/>
                  <a:pt x="235" y="52"/>
                </a:cubicBezTo>
                <a:cubicBezTo>
                  <a:pt x="235" y="64"/>
                  <a:pt x="235" y="64"/>
                  <a:pt x="235" y="64"/>
                </a:cubicBezTo>
                <a:cubicBezTo>
                  <a:pt x="231" y="64"/>
                  <a:pt x="231" y="64"/>
                  <a:pt x="231" y="64"/>
                </a:cubicBezTo>
                <a:cubicBezTo>
                  <a:pt x="231" y="40"/>
                  <a:pt x="231" y="40"/>
                  <a:pt x="231" y="40"/>
                </a:cubicBezTo>
                <a:cubicBezTo>
                  <a:pt x="235" y="40"/>
                  <a:pt x="235" y="40"/>
                  <a:pt x="235" y="40"/>
                </a:cubicBezTo>
                <a:cubicBezTo>
                  <a:pt x="235" y="45"/>
                  <a:pt x="235" y="45"/>
                  <a:pt x="235" y="45"/>
                </a:cubicBezTo>
                <a:cubicBezTo>
                  <a:pt x="235" y="45"/>
                  <a:pt x="235" y="45"/>
                  <a:pt x="235" y="45"/>
                </a:cubicBezTo>
                <a:cubicBezTo>
                  <a:pt x="235" y="44"/>
                  <a:pt x="236" y="42"/>
                  <a:pt x="237" y="41"/>
                </a:cubicBezTo>
                <a:cubicBezTo>
                  <a:pt x="238" y="40"/>
                  <a:pt x="240" y="40"/>
                  <a:pt x="241" y="40"/>
                </a:cubicBezTo>
                <a:cubicBezTo>
                  <a:pt x="242" y="40"/>
                  <a:pt x="243" y="40"/>
                  <a:pt x="243" y="40"/>
                </a:cubicBezTo>
                <a:lnTo>
                  <a:pt x="243" y="44"/>
                </a:lnTo>
                <a:close/>
                <a:moveTo>
                  <a:pt x="267" y="41"/>
                </a:moveTo>
                <a:cubicBezTo>
                  <a:pt x="267" y="44"/>
                  <a:pt x="266" y="47"/>
                  <a:pt x="264" y="49"/>
                </a:cubicBezTo>
                <a:cubicBezTo>
                  <a:pt x="262" y="51"/>
                  <a:pt x="259" y="52"/>
                  <a:pt x="255" y="52"/>
                </a:cubicBezTo>
                <a:cubicBezTo>
                  <a:pt x="251" y="52"/>
                  <a:pt x="251" y="52"/>
                  <a:pt x="251" y="52"/>
                </a:cubicBezTo>
                <a:cubicBezTo>
                  <a:pt x="251" y="64"/>
                  <a:pt x="251" y="64"/>
                  <a:pt x="251" y="64"/>
                </a:cubicBezTo>
                <a:cubicBezTo>
                  <a:pt x="247" y="64"/>
                  <a:pt x="247" y="64"/>
                  <a:pt x="247" y="64"/>
                </a:cubicBezTo>
                <a:cubicBezTo>
                  <a:pt x="247" y="31"/>
                  <a:pt x="247" y="31"/>
                  <a:pt x="247" y="31"/>
                </a:cubicBezTo>
                <a:cubicBezTo>
                  <a:pt x="256" y="31"/>
                  <a:pt x="256" y="31"/>
                  <a:pt x="256" y="31"/>
                </a:cubicBezTo>
                <a:cubicBezTo>
                  <a:pt x="260" y="31"/>
                  <a:pt x="262" y="32"/>
                  <a:pt x="264" y="33"/>
                </a:cubicBezTo>
                <a:cubicBezTo>
                  <a:pt x="266" y="35"/>
                  <a:pt x="267" y="38"/>
                  <a:pt x="267" y="41"/>
                </a:cubicBezTo>
                <a:close/>
                <a:moveTo>
                  <a:pt x="263" y="41"/>
                </a:moveTo>
                <a:cubicBezTo>
                  <a:pt x="263" y="37"/>
                  <a:pt x="261" y="34"/>
                  <a:pt x="255" y="34"/>
                </a:cubicBezTo>
                <a:cubicBezTo>
                  <a:pt x="251" y="34"/>
                  <a:pt x="251" y="34"/>
                  <a:pt x="251" y="34"/>
                </a:cubicBezTo>
                <a:cubicBezTo>
                  <a:pt x="251" y="48"/>
                  <a:pt x="251" y="48"/>
                  <a:pt x="251" y="48"/>
                </a:cubicBezTo>
                <a:cubicBezTo>
                  <a:pt x="255" y="48"/>
                  <a:pt x="255" y="48"/>
                  <a:pt x="255" y="48"/>
                </a:cubicBezTo>
                <a:cubicBezTo>
                  <a:pt x="258" y="48"/>
                  <a:pt x="260" y="48"/>
                  <a:pt x="261" y="46"/>
                </a:cubicBezTo>
                <a:cubicBezTo>
                  <a:pt x="262" y="45"/>
                  <a:pt x="263" y="43"/>
                  <a:pt x="263" y="41"/>
                </a:cubicBezTo>
                <a:close/>
                <a:moveTo>
                  <a:pt x="292" y="52"/>
                </a:moveTo>
                <a:cubicBezTo>
                  <a:pt x="292" y="56"/>
                  <a:pt x="291" y="59"/>
                  <a:pt x="289" y="61"/>
                </a:cubicBezTo>
                <a:cubicBezTo>
                  <a:pt x="286" y="64"/>
                  <a:pt x="284" y="65"/>
                  <a:pt x="280" y="65"/>
                </a:cubicBezTo>
                <a:cubicBezTo>
                  <a:pt x="276" y="65"/>
                  <a:pt x="274" y="64"/>
                  <a:pt x="271" y="62"/>
                </a:cubicBezTo>
                <a:cubicBezTo>
                  <a:pt x="269" y="59"/>
                  <a:pt x="268" y="56"/>
                  <a:pt x="268" y="53"/>
                </a:cubicBezTo>
                <a:cubicBezTo>
                  <a:pt x="268" y="49"/>
                  <a:pt x="269" y="46"/>
                  <a:pt x="271" y="43"/>
                </a:cubicBezTo>
                <a:cubicBezTo>
                  <a:pt x="274" y="41"/>
                  <a:pt x="277" y="40"/>
                  <a:pt x="280" y="40"/>
                </a:cubicBezTo>
                <a:cubicBezTo>
                  <a:pt x="284" y="40"/>
                  <a:pt x="287" y="41"/>
                  <a:pt x="289" y="43"/>
                </a:cubicBezTo>
                <a:cubicBezTo>
                  <a:pt x="291" y="45"/>
                  <a:pt x="292" y="48"/>
                  <a:pt x="292" y="52"/>
                </a:cubicBezTo>
                <a:close/>
                <a:moveTo>
                  <a:pt x="288" y="52"/>
                </a:moveTo>
                <a:cubicBezTo>
                  <a:pt x="288" y="49"/>
                  <a:pt x="287" y="47"/>
                  <a:pt x="286" y="45"/>
                </a:cubicBezTo>
                <a:cubicBezTo>
                  <a:pt x="285" y="44"/>
                  <a:pt x="283" y="43"/>
                  <a:pt x="280" y="43"/>
                </a:cubicBezTo>
                <a:cubicBezTo>
                  <a:pt x="278" y="43"/>
                  <a:pt x="276" y="44"/>
                  <a:pt x="274" y="46"/>
                </a:cubicBezTo>
                <a:cubicBezTo>
                  <a:pt x="273" y="47"/>
                  <a:pt x="272" y="50"/>
                  <a:pt x="272" y="53"/>
                </a:cubicBezTo>
                <a:cubicBezTo>
                  <a:pt x="272" y="55"/>
                  <a:pt x="273" y="58"/>
                  <a:pt x="274" y="59"/>
                </a:cubicBezTo>
                <a:cubicBezTo>
                  <a:pt x="276" y="61"/>
                  <a:pt x="278" y="62"/>
                  <a:pt x="280" y="62"/>
                </a:cubicBezTo>
                <a:cubicBezTo>
                  <a:pt x="283" y="62"/>
                  <a:pt x="285" y="61"/>
                  <a:pt x="286" y="59"/>
                </a:cubicBezTo>
                <a:cubicBezTo>
                  <a:pt x="287" y="58"/>
                  <a:pt x="288" y="55"/>
                  <a:pt x="288" y="52"/>
                </a:cubicBezTo>
                <a:close/>
                <a:moveTo>
                  <a:pt x="301" y="32"/>
                </a:moveTo>
                <a:cubicBezTo>
                  <a:pt x="301" y="33"/>
                  <a:pt x="301" y="33"/>
                  <a:pt x="300" y="34"/>
                </a:cubicBezTo>
                <a:cubicBezTo>
                  <a:pt x="300" y="34"/>
                  <a:pt x="299" y="34"/>
                  <a:pt x="298" y="34"/>
                </a:cubicBezTo>
                <a:cubicBezTo>
                  <a:pt x="298" y="34"/>
                  <a:pt x="297" y="34"/>
                  <a:pt x="297" y="34"/>
                </a:cubicBezTo>
                <a:cubicBezTo>
                  <a:pt x="296" y="33"/>
                  <a:pt x="296" y="33"/>
                  <a:pt x="296" y="32"/>
                </a:cubicBezTo>
                <a:cubicBezTo>
                  <a:pt x="296" y="31"/>
                  <a:pt x="296" y="31"/>
                  <a:pt x="297" y="30"/>
                </a:cubicBezTo>
                <a:cubicBezTo>
                  <a:pt x="297" y="30"/>
                  <a:pt x="298" y="29"/>
                  <a:pt x="298" y="29"/>
                </a:cubicBezTo>
                <a:cubicBezTo>
                  <a:pt x="299" y="29"/>
                  <a:pt x="300" y="30"/>
                  <a:pt x="300" y="30"/>
                </a:cubicBezTo>
                <a:cubicBezTo>
                  <a:pt x="301" y="31"/>
                  <a:pt x="301" y="31"/>
                  <a:pt x="301" y="32"/>
                </a:cubicBezTo>
                <a:close/>
                <a:moveTo>
                  <a:pt x="300" y="64"/>
                </a:moveTo>
                <a:cubicBezTo>
                  <a:pt x="297" y="64"/>
                  <a:pt x="297" y="64"/>
                  <a:pt x="297" y="64"/>
                </a:cubicBezTo>
                <a:cubicBezTo>
                  <a:pt x="297" y="40"/>
                  <a:pt x="297" y="40"/>
                  <a:pt x="297" y="40"/>
                </a:cubicBezTo>
                <a:cubicBezTo>
                  <a:pt x="300" y="40"/>
                  <a:pt x="300" y="40"/>
                  <a:pt x="300" y="40"/>
                </a:cubicBezTo>
                <a:lnTo>
                  <a:pt x="300" y="64"/>
                </a:lnTo>
                <a:close/>
                <a:moveTo>
                  <a:pt x="327" y="64"/>
                </a:moveTo>
                <a:cubicBezTo>
                  <a:pt x="323" y="64"/>
                  <a:pt x="323" y="64"/>
                  <a:pt x="323" y="64"/>
                </a:cubicBezTo>
                <a:cubicBezTo>
                  <a:pt x="323" y="51"/>
                  <a:pt x="323" y="51"/>
                  <a:pt x="323" y="51"/>
                </a:cubicBezTo>
                <a:cubicBezTo>
                  <a:pt x="323" y="46"/>
                  <a:pt x="321" y="43"/>
                  <a:pt x="317" y="43"/>
                </a:cubicBezTo>
                <a:cubicBezTo>
                  <a:pt x="315" y="43"/>
                  <a:pt x="314" y="44"/>
                  <a:pt x="313" y="45"/>
                </a:cubicBezTo>
                <a:cubicBezTo>
                  <a:pt x="311" y="47"/>
                  <a:pt x="311" y="48"/>
                  <a:pt x="311" y="51"/>
                </a:cubicBezTo>
                <a:cubicBezTo>
                  <a:pt x="311" y="64"/>
                  <a:pt x="311" y="64"/>
                  <a:pt x="311" y="64"/>
                </a:cubicBezTo>
                <a:cubicBezTo>
                  <a:pt x="307" y="64"/>
                  <a:pt x="307" y="64"/>
                  <a:pt x="307" y="64"/>
                </a:cubicBezTo>
                <a:cubicBezTo>
                  <a:pt x="307" y="40"/>
                  <a:pt x="307" y="40"/>
                  <a:pt x="307" y="40"/>
                </a:cubicBezTo>
                <a:cubicBezTo>
                  <a:pt x="311" y="40"/>
                  <a:pt x="311" y="40"/>
                  <a:pt x="311" y="40"/>
                </a:cubicBezTo>
                <a:cubicBezTo>
                  <a:pt x="311" y="44"/>
                  <a:pt x="311" y="44"/>
                  <a:pt x="311" y="44"/>
                </a:cubicBezTo>
                <a:cubicBezTo>
                  <a:pt x="311" y="44"/>
                  <a:pt x="311" y="44"/>
                  <a:pt x="311" y="44"/>
                </a:cubicBezTo>
                <a:cubicBezTo>
                  <a:pt x="313" y="41"/>
                  <a:pt x="315" y="40"/>
                  <a:pt x="319" y="40"/>
                </a:cubicBezTo>
                <a:cubicBezTo>
                  <a:pt x="321" y="40"/>
                  <a:pt x="323" y="41"/>
                  <a:pt x="325" y="42"/>
                </a:cubicBezTo>
                <a:cubicBezTo>
                  <a:pt x="326" y="44"/>
                  <a:pt x="327" y="47"/>
                  <a:pt x="327" y="50"/>
                </a:cubicBezTo>
                <a:lnTo>
                  <a:pt x="327" y="64"/>
                </a:lnTo>
                <a:close/>
                <a:moveTo>
                  <a:pt x="344" y="64"/>
                </a:moveTo>
                <a:cubicBezTo>
                  <a:pt x="343" y="65"/>
                  <a:pt x="342" y="65"/>
                  <a:pt x="340" y="65"/>
                </a:cubicBezTo>
                <a:cubicBezTo>
                  <a:pt x="336" y="65"/>
                  <a:pt x="334" y="63"/>
                  <a:pt x="334" y="58"/>
                </a:cubicBezTo>
                <a:cubicBezTo>
                  <a:pt x="334" y="44"/>
                  <a:pt x="334" y="44"/>
                  <a:pt x="334" y="44"/>
                </a:cubicBezTo>
                <a:cubicBezTo>
                  <a:pt x="330" y="44"/>
                  <a:pt x="330" y="44"/>
                  <a:pt x="330" y="44"/>
                </a:cubicBezTo>
                <a:cubicBezTo>
                  <a:pt x="330" y="40"/>
                  <a:pt x="330" y="40"/>
                  <a:pt x="330" y="40"/>
                </a:cubicBezTo>
                <a:cubicBezTo>
                  <a:pt x="334" y="40"/>
                  <a:pt x="334" y="40"/>
                  <a:pt x="334" y="40"/>
                </a:cubicBezTo>
                <a:cubicBezTo>
                  <a:pt x="334" y="35"/>
                  <a:pt x="334" y="35"/>
                  <a:pt x="334" y="35"/>
                </a:cubicBezTo>
                <a:cubicBezTo>
                  <a:pt x="338" y="33"/>
                  <a:pt x="338" y="33"/>
                  <a:pt x="338" y="33"/>
                </a:cubicBezTo>
                <a:cubicBezTo>
                  <a:pt x="338" y="40"/>
                  <a:pt x="338" y="40"/>
                  <a:pt x="338" y="40"/>
                </a:cubicBezTo>
                <a:cubicBezTo>
                  <a:pt x="344" y="40"/>
                  <a:pt x="344" y="40"/>
                  <a:pt x="344" y="40"/>
                </a:cubicBezTo>
                <a:cubicBezTo>
                  <a:pt x="344" y="44"/>
                  <a:pt x="344" y="44"/>
                  <a:pt x="344" y="44"/>
                </a:cubicBezTo>
                <a:cubicBezTo>
                  <a:pt x="338" y="44"/>
                  <a:pt x="338" y="44"/>
                  <a:pt x="338" y="44"/>
                </a:cubicBezTo>
                <a:cubicBezTo>
                  <a:pt x="338" y="57"/>
                  <a:pt x="338" y="57"/>
                  <a:pt x="338" y="57"/>
                </a:cubicBezTo>
                <a:cubicBezTo>
                  <a:pt x="338" y="59"/>
                  <a:pt x="338" y="60"/>
                  <a:pt x="339" y="61"/>
                </a:cubicBezTo>
                <a:cubicBezTo>
                  <a:pt x="339" y="61"/>
                  <a:pt x="340" y="62"/>
                  <a:pt x="341" y="62"/>
                </a:cubicBezTo>
                <a:cubicBezTo>
                  <a:pt x="342" y="62"/>
                  <a:pt x="343" y="61"/>
                  <a:pt x="344" y="61"/>
                </a:cubicBezTo>
                <a:lnTo>
                  <a:pt x="344" y="64"/>
                </a:lnTo>
                <a:close/>
                <a:moveTo>
                  <a:pt x="32" y="38"/>
                </a:moveTo>
                <a:cubicBezTo>
                  <a:pt x="32" y="39"/>
                  <a:pt x="33" y="40"/>
                  <a:pt x="33" y="41"/>
                </a:cubicBezTo>
                <a:cubicBezTo>
                  <a:pt x="33" y="42"/>
                  <a:pt x="32" y="43"/>
                  <a:pt x="32" y="43"/>
                </a:cubicBezTo>
                <a:cubicBezTo>
                  <a:pt x="32" y="44"/>
                  <a:pt x="32" y="45"/>
                  <a:pt x="31" y="45"/>
                </a:cubicBezTo>
                <a:cubicBezTo>
                  <a:pt x="30" y="46"/>
                  <a:pt x="30" y="46"/>
                  <a:pt x="29" y="47"/>
                </a:cubicBezTo>
                <a:cubicBezTo>
                  <a:pt x="28" y="47"/>
                  <a:pt x="27" y="47"/>
                  <a:pt x="26" y="47"/>
                </a:cubicBezTo>
                <a:cubicBezTo>
                  <a:pt x="23" y="47"/>
                  <a:pt x="23" y="47"/>
                  <a:pt x="23" y="47"/>
                </a:cubicBezTo>
                <a:cubicBezTo>
                  <a:pt x="23" y="47"/>
                  <a:pt x="23" y="47"/>
                  <a:pt x="23" y="47"/>
                </a:cubicBezTo>
                <a:cubicBezTo>
                  <a:pt x="23" y="35"/>
                  <a:pt x="23" y="35"/>
                  <a:pt x="23" y="35"/>
                </a:cubicBezTo>
                <a:cubicBezTo>
                  <a:pt x="26" y="35"/>
                  <a:pt x="26" y="35"/>
                  <a:pt x="26" y="35"/>
                </a:cubicBezTo>
                <a:cubicBezTo>
                  <a:pt x="27" y="35"/>
                  <a:pt x="28" y="35"/>
                  <a:pt x="29" y="35"/>
                </a:cubicBezTo>
                <a:cubicBezTo>
                  <a:pt x="30" y="35"/>
                  <a:pt x="30" y="35"/>
                  <a:pt x="31" y="36"/>
                </a:cubicBezTo>
                <a:cubicBezTo>
                  <a:pt x="32" y="36"/>
                  <a:pt x="32" y="37"/>
                  <a:pt x="32" y="38"/>
                </a:cubicBezTo>
                <a:close/>
                <a:moveTo>
                  <a:pt x="56" y="0"/>
                </a:moveTo>
                <a:cubicBezTo>
                  <a:pt x="56" y="96"/>
                  <a:pt x="56" y="96"/>
                  <a:pt x="56" y="96"/>
                </a:cubicBezTo>
                <a:cubicBezTo>
                  <a:pt x="0" y="83"/>
                  <a:pt x="0" y="83"/>
                  <a:pt x="0" y="83"/>
                </a:cubicBezTo>
                <a:cubicBezTo>
                  <a:pt x="0" y="13"/>
                  <a:pt x="0" y="13"/>
                  <a:pt x="0" y="13"/>
                </a:cubicBezTo>
                <a:lnTo>
                  <a:pt x="56" y="0"/>
                </a:lnTo>
                <a:close/>
                <a:moveTo>
                  <a:pt x="41" y="40"/>
                </a:moveTo>
                <a:cubicBezTo>
                  <a:pt x="41" y="38"/>
                  <a:pt x="41" y="36"/>
                  <a:pt x="40" y="34"/>
                </a:cubicBezTo>
                <a:cubicBezTo>
                  <a:pt x="40" y="33"/>
                  <a:pt x="39" y="31"/>
                  <a:pt x="38" y="30"/>
                </a:cubicBezTo>
                <a:cubicBezTo>
                  <a:pt x="37" y="29"/>
                  <a:pt x="35" y="29"/>
                  <a:pt x="33" y="28"/>
                </a:cubicBezTo>
                <a:cubicBezTo>
                  <a:pt x="32" y="28"/>
                  <a:pt x="30" y="28"/>
                  <a:pt x="28" y="28"/>
                </a:cubicBezTo>
                <a:cubicBezTo>
                  <a:pt x="16" y="28"/>
                  <a:pt x="16" y="28"/>
                  <a:pt x="16" y="28"/>
                </a:cubicBezTo>
                <a:cubicBezTo>
                  <a:pt x="16" y="67"/>
                  <a:pt x="16" y="67"/>
                  <a:pt x="16" y="67"/>
                </a:cubicBezTo>
                <a:cubicBezTo>
                  <a:pt x="23" y="68"/>
                  <a:pt x="23" y="68"/>
                  <a:pt x="23" y="68"/>
                </a:cubicBezTo>
                <a:cubicBezTo>
                  <a:pt x="23" y="54"/>
                  <a:pt x="23" y="54"/>
                  <a:pt x="23" y="54"/>
                </a:cubicBezTo>
                <a:cubicBezTo>
                  <a:pt x="27" y="54"/>
                  <a:pt x="27" y="54"/>
                  <a:pt x="27" y="54"/>
                </a:cubicBezTo>
                <a:cubicBezTo>
                  <a:pt x="28" y="54"/>
                  <a:pt x="29" y="54"/>
                  <a:pt x="30" y="54"/>
                </a:cubicBezTo>
                <a:cubicBezTo>
                  <a:pt x="31" y="53"/>
                  <a:pt x="32" y="53"/>
                  <a:pt x="33" y="53"/>
                </a:cubicBezTo>
                <a:cubicBezTo>
                  <a:pt x="34" y="53"/>
                  <a:pt x="34" y="52"/>
                  <a:pt x="35" y="52"/>
                </a:cubicBezTo>
                <a:cubicBezTo>
                  <a:pt x="36" y="51"/>
                  <a:pt x="37" y="51"/>
                  <a:pt x="37" y="50"/>
                </a:cubicBezTo>
                <a:cubicBezTo>
                  <a:pt x="38" y="49"/>
                  <a:pt x="39" y="49"/>
                  <a:pt x="39" y="48"/>
                </a:cubicBezTo>
                <a:cubicBezTo>
                  <a:pt x="39" y="47"/>
                  <a:pt x="40" y="46"/>
                  <a:pt x="40" y="46"/>
                </a:cubicBezTo>
                <a:cubicBezTo>
                  <a:pt x="41" y="45"/>
                  <a:pt x="41" y="44"/>
                  <a:pt x="41" y="43"/>
                </a:cubicBezTo>
                <a:cubicBezTo>
                  <a:pt x="41" y="42"/>
                  <a:pt x="41" y="41"/>
                  <a:pt x="41" y="40"/>
                </a:cubicBezTo>
                <a:close/>
                <a:moveTo>
                  <a:pt x="96" y="16"/>
                </a:moveTo>
                <a:cubicBezTo>
                  <a:pt x="96" y="80"/>
                  <a:pt x="96" y="80"/>
                  <a:pt x="96" y="80"/>
                </a:cubicBezTo>
                <a:cubicBezTo>
                  <a:pt x="96" y="81"/>
                  <a:pt x="93" y="84"/>
                  <a:pt x="92" y="84"/>
                </a:cubicBezTo>
                <a:cubicBezTo>
                  <a:pt x="60" y="84"/>
                  <a:pt x="60" y="84"/>
                  <a:pt x="60" y="84"/>
                </a:cubicBezTo>
                <a:cubicBezTo>
                  <a:pt x="60" y="76"/>
                  <a:pt x="60" y="76"/>
                  <a:pt x="60" y="76"/>
                </a:cubicBezTo>
                <a:cubicBezTo>
                  <a:pt x="84" y="76"/>
                  <a:pt x="84" y="76"/>
                  <a:pt x="84" y="76"/>
                </a:cubicBezTo>
                <a:cubicBezTo>
                  <a:pt x="84" y="72"/>
                  <a:pt x="84" y="72"/>
                  <a:pt x="84" y="72"/>
                </a:cubicBezTo>
                <a:cubicBezTo>
                  <a:pt x="60" y="72"/>
                  <a:pt x="60" y="72"/>
                  <a:pt x="60" y="72"/>
                </a:cubicBezTo>
                <a:cubicBezTo>
                  <a:pt x="60" y="64"/>
                  <a:pt x="60" y="64"/>
                  <a:pt x="60" y="64"/>
                </a:cubicBezTo>
                <a:cubicBezTo>
                  <a:pt x="84" y="64"/>
                  <a:pt x="84" y="64"/>
                  <a:pt x="84" y="64"/>
                </a:cubicBezTo>
                <a:cubicBezTo>
                  <a:pt x="84" y="60"/>
                  <a:pt x="84" y="60"/>
                  <a:pt x="84" y="60"/>
                </a:cubicBezTo>
                <a:cubicBezTo>
                  <a:pt x="60" y="60"/>
                  <a:pt x="60" y="60"/>
                  <a:pt x="60" y="60"/>
                </a:cubicBezTo>
                <a:cubicBezTo>
                  <a:pt x="60" y="12"/>
                  <a:pt x="60" y="12"/>
                  <a:pt x="60" y="12"/>
                </a:cubicBezTo>
                <a:cubicBezTo>
                  <a:pt x="92" y="12"/>
                  <a:pt x="92" y="12"/>
                  <a:pt x="92" y="12"/>
                </a:cubicBezTo>
                <a:cubicBezTo>
                  <a:pt x="93" y="12"/>
                  <a:pt x="96" y="14"/>
                  <a:pt x="96" y="16"/>
                </a:cubicBezTo>
                <a:close/>
                <a:moveTo>
                  <a:pt x="79" y="40"/>
                </a:moveTo>
                <a:cubicBezTo>
                  <a:pt x="68" y="40"/>
                  <a:pt x="68" y="40"/>
                  <a:pt x="68" y="40"/>
                </a:cubicBezTo>
                <a:cubicBezTo>
                  <a:pt x="67" y="28"/>
                  <a:pt x="67" y="28"/>
                  <a:pt x="67" y="28"/>
                </a:cubicBezTo>
                <a:cubicBezTo>
                  <a:pt x="65" y="28"/>
                  <a:pt x="62" y="28"/>
                  <a:pt x="60" y="29"/>
                </a:cubicBezTo>
                <a:cubicBezTo>
                  <a:pt x="60" y="50"/>
                  <a:pt x="60" y="50"/>
                  <a:pt x="60" y="50"/>
                </a:cubicBezTo>
                <a:cubicBezTo>
                  <a:pt x="62" y="51"/>
                  <a:pt x="64" y="52"/>
                  <a:pt x="66" y="52"/>
                </a:cubicBezTo>
                <a:cubicBezTo>
                  <a:pt x="73" y="52"/>
                  <a:pt x="79" y="46"/>
                  <a:pt x="79" y="40"/>
                </a:cubicBezTo>
                <a:close/>
                <a:moveTo>
                  <a:pt x="84" y="36"/>
                </a:moveTo>
                <a:cubicBezTo>
                  <a:pt x="84" y="29"/>
                  <a:pt x="78" y="24"/>
                  <a:pt x="72" y="24"/>
                </a:cubicBezTo>
                <a:cubicBezTo>
                  <a:pt x="72" y="36"/>
                  <a:pt x="72" y="36"/>
                  <a:pt x="72" y="36"/>
                </a:cubicBezTo>
                <a:lnTo>
                  <a:pt x="84" y="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nvGrpSpPr>
          <p:cNvPr id="576" name="Group 53"/>
          <p:cNvGrpSpPr>
            <a:grpSpLocks noChangeAspect="1"/>
          </p:cNvGrpSpPr>
          <p:nvPr/>
        </p:nvGrpSpPr>
        <p:grpSpPr bwMode="auto">
          <a:xfrm>
            <a:off x="2295680" y="4427438"/>
            <a:ext cx="940111" cy="359526"/>
            <a:chOff x="3453" y="2013"/>
            <a:chExt cx="774" cy="296"/>
          </a:xfrm>
        </p:grpSpPr>
        <p:sp>
          <p:nvSpPr>
            <p:cNvPr id="578" name="Freeform 54"/>
            <p:cNvSpPr>
              <a:spLocks noEditPoints="1"/>
            </p:cNvSpPr>
            <p:nvPr/>
          </p:nvSpPr>
          <p:spPr bwMode="auto">
            <a:xfrm>
              <a:off x="3834" y="2108"/>
              <a:ext cx="60" cy="102"/>
            </a:xfrm>
            <a:custGeom>
              <a:avLst/>
              <a:gdLst>
                <a:gd name="T0" fmla="*/ 25 w 25"/>
                <a:gd name="T1" fmla="*/ 13 h 42"/>
                <a:gd name="T2" fmla="*/ 21 w 25"/>
                <a:gd name="T3" fmla="*/ 22 h 42"/>
                <a:gd name="T4" fmla="*/ 10 w 25"/>
                <a:gd name="T5" fmla="*/ 26 h 42"/>
                <a:gd name="T6" fmla="*/ 5 w 25"/>
                <a:gd name="T7" fmla="*/ 26 h 42"/>
                <a:gd name="T8" fmla="*/ 5 w 25"/>
                <a:gd name="T9" fmla="*/ 42 h 42"/>
                <a:gd name="T10" fmla="*/ 0 w 25"/>
                <a:gd name="T11" fmla="*/ 42 h 42"/>
                <a:gd name="T12" fmla="*/ 0 w 25"/>
                <a:gd name="T13" fmla="*/ 0 h 42"/>
                <a:gd name="T14" fmla="*/ 11 w 25"/>
                <a:gd name="T15" fmla="*/ 0 h 42"/>
                <a:gd name="T16" fmla="*/ 22 w 25"/>
                <a:gd name="T17" fmla="*/ 3 h 42"/>
                <a:gd name="T18" fmla="*/ 25 w 25"/>
                <a:gd name="T19" fmla="*/ 13 h 42"/>
                <a:gd name="T20" fmla="*/ 20 w 25"/>
                <a:gd name="T21" fmla="*/ 13 h 42"/>
                <a:gd name="T22" fmla="*/ 10 w 25"/>
                <a:gd name="T23" fmla="*/ 5 h 42"/>
                <a:gd name="T24" fmla="*/ 5 w 25"/>
                <a:gd name="T25" fmla="*/ 5 h 42"/>
                <a:gd name="T26" fmla="*/ 5 w 25"/>
                <a:gd name="T27" fmla="*/ 22 h 42"/>
                <a:gd name="T28" fmla="*/ 10 w 25"/>
                <a:gd name="T29" fmla="*/ 22 h 42"/>
                <a:gd name="T30" fmla="*/ 18 w 25"/>
                <a:gd name="T31" fmla="*/ 19 h 42"/>
                <a:gd name="T32" fmla="*/ 20 w 25"/>
                <a:gd name="T33" fmla="*/ 1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42">
                  <a:moveTo>
                    <a:pt x="25" y="13"/>
                  </a:moveTo>
                  <a:cubicBezTo>
                    <a:pt x="25" y="17"/>
                    <a:pt x="24" y="20"/>
                    <a:pt x="21" y="22"/>
                  </a:cubicBezTo>
                  <a:cubicBezTo>
                    <a:pt x="18" y="25"/>
                    <a:pt x="15" y="26"/>
                    <a:pt x="10" y="26"/>
                  </a:cubicBezTo>
                  <a:cubicBezTo>
                    <a:pt x="5" y="26"/>
                    <a:pt x="5" y="26"/>
                    <a:pt x="5" y="26"/>
                  </a:cubicBezTo>
                  <a:cubicBezTo>
                    <a:pt x="5" y="42"/>
                    <a:pt x="5" y="42"/>
                    <a:pt x="5" y="42"/>
                  </a:cubicBezTo>
                  <a:cubicBezTo>
                    <a:pt x="0" y="42"/>
                    <a:pt x="0" y="42"/>
                    <a:pt x="0" y="42"/>
                  </a:cubicBezTo>
                  <a:cubicBezTo>
                    <a:pt x="0" y="0"/>
                    <a:pt x="0" y="0"/>
                    <a:pt x="0" y="0"/>
                  </a:cubicBezTo>
                  <a:cubicBezTo>
                    <a:pt x="11" y="0"/>
                    <a:pt x="11" y="0"/>
                    <a:pt x="11" y="0"/>
                  </a:cubicBezTo>
                  <a:cubicBezTo>
                    <a:pt x="16" y="0"/>
                    <a:pt x="19" y="1"/>
                    <a:pt x="22" y="3"/>
                  </a:cubicBezTo>
                  <a:cubicBezTo>
                    <a:pt x="24" y="6"/>
                    <a:pt x="25" y="9"/>
                    <a:pt x="25" y="13"/>
                  </a:cubicBezTo>
                  <a:close/>
                  <a:moveTo>
                    <a:pt x="20" y="13"/>
                  </a:moveTo>
                  <a:cubicBezTo>
                    <a:pt x="20" y="7"/>
                    <a:pt x="17" y="5"/>
                    <a:pt x="10" y="5"/>
                  </a:cubicBezTo>
                  <a:cubicBezTo>
                    <a:pt x="5" y="5"/>
                    <a:pt x="5" y="5"/>
                    <a:pt x="5" y="5"/>
                  </a:cubicBezTo>
                  <a:cubicBezTo>
                    <a:pt x="5" y="22"/>
                    <a:pt x="5" y="22"/>
                    <a:pt x="5" y="22"/>
                  </a:cubicBezTo>
                  <a:cubicBezTo>
                    <a:pt x="10" y="22"/>
                    <a:pt x="10" y="22"/>
                    <a:pt x="10" y="22"/>
                  </a:cubicBezTo>
                  <a:cubicBezTo>
                    <a:pt x="13" y="22"/>
                    <a:pt x="16" y="21"/>
                    <a:pt x="18" y="19"/>
                  </a:cubicBezTo>
                  <a:cubicBezTo>
                    <a:pt x="19" y="18"/>
                    <a:pt x="20" y="16"/>
                    <a:pt x="20"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79" name="Freeform 55"/>
            <p:cNvSpPr>
              <a:spLocks/>
            </p:cNvSpPr>
            <p:nvPr/>
          </p:nvSpPr>
          <p:spPr bwMode="auto">
            <a:xfrm>
              <a:off x="3908" y="2137"/>
              <a:ext cx="38" cy="73"/>
            </a:xfrm>
            <a:custGeom>
              <a:avLst/>
              <a:gdLst>
                <a:gd name="T0" fmla="*/ 16 w 16"/>
                <a:gd name="T1" fmla="*/ 5 h 30"/>
                <a:gd name="T2" fmla="*/ 12 w 16"/>
                <a:gd name="T3" fmla="*/ 4 h 30"/>
                <a:gd name="T4" fmla="*/ 7 w 16"/>
                <a:gd name="T5" fmla="*/ 7 h 30"/>
                <a:gd name="T6" fmla="*/ 5 w 16"/>
                <a:gd name="T7" fmla="*/ 15 h 30"/>
                <a:gd name="T8" fmla="*/ 5 w 16"/>
                <a:gd name="T9" fmla="*/ 30 h 30"/>
                <a:gd name="T10" fmla="*/ 0 w 16"/>
                <a:gd name="T11" fmla="*/ 30 h 30"/>
                <a:gd name="T12" fmla="*/ 0 w 16"/>
                <a:gd name="T13" fmla="*/ 0 h 30"/>
                <a:gd name="T14" fmla="*/ 5 w 16"/>
                <a:gd name="T15" fmla="*/ 0 h 30"/>
                <a:gd name="T16" fmla="*/ 5 w 16"/>
                <a:gd name="T17" fmla="*/ 6 h 30"/>
                <a:gd name="T18" fmla="*/ 5 w 16"/>
                <a:gd name="T19" fmla="*/ 6 h 30"/>
                <a:gd name="T20" fmla="*/ 8 w 16"/>
                <a:gd name="T21" fmla="*/ 1 h 30"/>
                <a:gd name="T22" fmla="*/ 13 w 16"/>
                <a:gd name="T23" fmla="*/ 0 h 30"/>
                <a:gd name="T24" fmla="*/ 16 w 16"/>
                <a:gd name="T25" fmla="*/ 0 h 30"/>
                <a:gd name="T26" fmla="*/ 16 w 16"/>
                <a:gd name="T27"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30">
                  <a:moveTo>
                    <a:pt x="16" y="5"/>
                  </a:moveTo>
                  <a:cubicBezTo>
                    <a:pt x="15" y="4"/>
                    <a:pt x="14" y="4"/>
                    <a:pt x="12" y="4"/>
                  </a:cubicBezTo>
                  <a:cubicBezTo>
                    <a:pt x="10" y="4"/>
                    <a:pt x="8" y="5"/>
                    <a:pt x="7" y="7"/>
                  </a:cubicBezTo>
                  <a:cubicBezTo>
                    <a:pt x="5" y="9"/>
                    <a:pt x="5" y="12"/>
                    <a:pt x="5" y="15"/>
                  </a:cubicBezTo>
                  <a:cubicBezTo>
                    <a:pt x="5" y="30"/>
                    <a:pt x="5" y="30"/>
                    <a:pt x="5" y="30"/>
                  </a:cubicBezTo>
                  <a:cubicBezTo>
                    <a:pt x="0" y="30"/>
                    <a:pt x="0" y="30"/>
                    <a:pt x="0" y="30"/>
                  </a:cubicBezTo>
                  <a:cubicBezTo>
                    <a:pt x="0" y="0"/>
                    <a:pt x="0" y="0"/>
                    <a:pt x="0" y="0"/>
                  </a:cubicBezTo>
                  <a:cubicBezTo>
                    <a:pt x="5" y="0"/>
                    <a:pt x="5" y="0"/>
                    <a:pt x="5" y="0"/>
                  </a:cubicBezTo>
                  <a:cubicBezTo>
                    <a:pt x="5" y="6"/>
                    <a:pt x="5" y="6"/>
                    <a:pt x="5" y="6"/>
                  </a:cubicBezTo>
                  <a:cubicBezTo>
                    <a:pt x="5" y="6"/>
                    <a:pt x="5" y="6"/>
                    <a:pt x="5" y="6"/>
                  </a:cubicBezTo>
                  <a:cubicBezTo>
                    <a:pt x="6" y="4"/>
                    <a:pt x="7" y="3"/>
                    <a:pt x="8" y="1"/>
                  </a:cubicBezTo>
                  <a:cubicBezTo>
                    <a:pt x="9" y="0"/>
                    <a:pt x="11" y="0"/>
                    <a:pt x="13" y="0"/>
                  </a:cubicBezTo>
                  <a:cubicBezTo>
                    <a:pt x="14" y="0"/>
                    <a:pt x="15" y="0"/>
                    <a:pt x="16" y="0"/>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80" name="Freeform 56"/>
            <p:cNvSpPr>
              <a:spLocks noEditPoints="1"/>
            </p:cNvSpPr>
            <p:nvPr/>
          </p:nvSpPr>
          <p:spPr bwMode="auto">
            <a:xfrm>
              <a:off x="3946" y="2134"/>
              <a:ext cx="72" cy="78"/>
            </a:xfrm>
            <a:custGeom>
              <a:avLst/>
              <a:gdLst>
                <a:gd name="T0" fmla="*/ 30 w 30"/>
                <a:gd name="T1" fmla="*/ 16 h 32"/>
                <a:gd name="T2" fmla="*/ 26 w 30"/>
                <a:gd name="T3" fmla="*/ 27 h 32"/>
                <a:gd name="T4" fmla="*/ 15 w 30"/>
                <a:gd name="T5" fmla="*/ 32 h 32"/>
                <a:gd name="T6" fmla="*/ 4 w 30"/>
                <a:gd name="T7" fmla="*/ 28 h 32"/>
                <a:gd name="T8" fmla="*/ 0 w 30"/>
                <a:gd name="T9" fmla="*/ 16 h 32"/>
                <a:gd name="T10" fmla="*/ 4 w 30"/>
                <a:gd name="T11" fmla="*/ 5 h 32"/>
                <a:gd name="T12" fmla="*/ 15 w 30"/>
                <a:gd name="T13" fmla="*/ 0 h 32"/>
                <a:gd name="T14" fmla="*/ 26 w 30"/>
                <a:gd name="T15" fmla="*/ 5 h 32"/>
                <a:gd name="T16" fmla="*/ 30 w 30"/>
                <a:gd name="T17" fmla="*/ 16 h 32"/>
                <a:gd name="T18" fmla="*/ 25 w 30"/>
                <a:gd name="T19" fmla="*/ 16 h 32"/>
                <a:gd name="T20" fmla="*/ 22 w 30"/>
                <a:gd name="T21" fmla="*/ 7 h 32"/>
                <a:gd name="T22" fmla="*/ 15 w 30"/>
                <a:gd name="T23" fmla="*/ 4 h 32"/>
                <a:gd name="T24" fmla="*/ 8 w 30"/>
                <a:gd name="T25" fmla="*/ 8 h 32"/>
                <a:gd name="T26" fmla="*/ 5 w 30"/>
                <a:gd name="T27" fmla="*/ 16 h 32"/>
                <a:gd name="T28" fmla="*/ 8 w 30"/>
                <a:gd name="T29" fmla="*/ 25 h 32"/>
                <a:gd name="T30" fmla="*/ 15 w 30"/>
                <a:gd name="T31" fmla="*/ 28 h 32"/>
                <a:gd name="T32" fmla="*/ 22 w 30"/>
                <a:gd name="T33" fmla="*/ 25 h 32"/>
                <a:gd name="T34" fmla="*/ 25 w 30"/>
                <a:gd name="T35"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32">
                  <a:moveTo>
                    <a:pt x="30" y="16"/>
                  </a:moveTo>
                  <a:cubicBezTo>
                    <a:pt x="30" y="21"/>
                    <a:pt x="28" y="25"/>
                    <a:pt x="26" y="27"/>
                  </a:cubicBezTo>
                  <a:cubicBezTo>
                    <a:pt x="23" y="30"/>
                    <a:pt x="19" y="32"/>
                    <a:pt x="15" y="32"/>
                  </a:cubicBezTo>
                  <a:cubicBezTo>
                    <a:pt x="10" y="32"/>
                    <a:pt x="7" y="30"/>
                    <a:pt x="4" y="28"/>
                  </a:cubicBezTo>
                  <a:cubicBezTo>
                    <a:pt x="2" y="25"/>
                    <a:pt x="0" y="21"/>
                    <a:pt x="0" y="16"/>
                  </a:cubicBezTo>
                  <a:cubicBezTo>
                    <a:pt x="0" y="11"/>
                    <a:pt x="2" y="8"/>
                    <a:pt x="4" y="5"/>
                  </a:cubicBezTo>
                  <a:cubicBezTo>
                    <a:pt x="7" y="2"/>
                    <a:pt x="11" y="0"/>
                    <a:pt x="15" y="0"/>
                  </a:cubicBezTo>
                  <a:cubicBezTo>
                    <a:pt x="20" y="0"/>
                    <a:pt x="23" y="2"/>
                    <a:pt x="26" y="5"/>
                  </a:cubicBezTo>
                  <a:cubicBezTo>
                    <a:pt x="28" y="7"/>
                    <a:pt x="30" y="11"/>
                    <a:pt x="30" y="16"/>
                  </a:cubicBezTo>
                  <a:close/>
                  <a:moveTo>
                    <a:pt x="25" y="16"/>
                  </a:moveTo>
                  <a:cubicBezTo>
                    <a:pt x="25" y="12"/>
                    <a:pt x="24" y="9"/>
                    <a:pt x="22" y="7"/>
                  </a:cubicBezTo>
                  <a:cubicBezTo>
                    <a:pt x="21" y="5"/>
                    <a:pt x="18" y="4"/>
                    <a:pt x="15" y="4"/>
                  </a:cubicBezTo>
                  <a:cubicBezTo>
                    <a:pt x="12" y="4"/>
                    <a:pt x="10" y="5"/>
                    <a:pt x="8" y="8"/>
                  </a:cubicBezTo>
                  <a:cubicBezTo>
                    <a:pt x="6" y="10"/>
                    <a:pt x="5" y="12"/>
                    <a:pt x="5" y="16"/>
                  </a:cubicBezTo>
                  <a:cubicBezTo>
                    <a:pt x="5" y="20"/>
                    <a:pt x="6" y="23"/>
                    <a:pt x="8" y="25"/>
                  </a:cubicBezTo>
                  <a:cubicBezTo>
                    <a:pt x="10" y="27"/>
                    <a:pt x="12" y="28"/>
                    <a:pt x="15" y="28"/>
                  </a:cubicBezTo>
                  <a:cubicBezTo>
                    <a:pt x="18" y="28"/>
                    <a:pt x="21" y="27"/>
                    <a:pt x="22" y="25"/>
                  </a:cubicBezTo>
                  <a:cubicBezTo>
                    <a:pt x="24" y="23"/>
                    <a:pt x="25" y="20"/>
                    <a:pt x="25"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81" name="Freeform 57"/>
            <p:cNvSpPr>
              <a:spLocks noEditPoints="1"/>
            </p:cNvSpPr>
            <p:nvPr/>
          </p:nvSpPr>
          <p:spPr bwMode="auto">
            <a:xfrm>
              <a:off x="4006" y="2103"/>
              <a:ext cx="38" cy="141"/>
            </a:xfrm>
            <a:custGeom>
              <a:avLst/>
              <a:gdLst>
                <a:gd name="T0" fmla="*/ 15 w 16"/>
                <a:gd name="T1" fmla="*/ 43 h 58"/>
                <a:gd name="T2" fmla="*/ 12 w 16"/>
                <a:gd name="T3" fmla="*/ 54 h 58"/>
                <a:gd name="T4" fmla="*/ 4 w 16"/>
                <a:gd name="T5" fmla="*/ 58 h 58"/>
                <a:gd name="T6" fmla="*/ 0 w 16"/>
                <a:gd name="T7" fmla="*/ 57 h 58"/>
                <a:gd name="T8" fmla="*/ 0 w 16"/>
                <a:gd name="T9" fmla="*/ 53 h 58"/>
                <a:gd name="T10" fmla="*/ 4 w 16"/>
                <a:gd name="T11" fmla="*/ 54 h 58"/>
                <a:gd name="T12" fmla="*/ 11 w 16"/>
                <a:gd name="T13" fmla="*/ 44 h 58"/>
                <a:gd name="T14" fmla="*/ 11 w 16"/>
                <a:gd name="T15" fmla="*/ 14 h 58"/>
                <a:gd name="T16" fmla="*/ 15 w 16"/>
                <a:gd name="T17" fmla="*/ 14 h 58"/>
                <a:gd name="T18" fmla="*/ 15 w 16"/>
                <a:gd name="T19" fmla="*/ 43 h 58"/>
                <a:gd name="T20" fmla="*/ 16 w 16"/>
                <a:gd name="T21" fmla="*/ 3 h 58"/>
                <a:gd name="T22" fmla="*/ 15 w 16"/>
                <a:gd name="T23" fmla="*/ 6 h 58"/>
                <a:gd name="T24" fmla="*/ 13 w 16"/>
                <a:gd name="T25" fmla="*/ 6 h 58"/>
                <a:gd name="T26" fmla="*/ 11 w 16"/>
                <a:gd name="T27" fmla="*/ 6 h 58"/>
                <a:gd name="T28" fmla="*/ 10 w 16"/>
                <a:gd name="T29" fmla="*/ 3 h 58"/>
                <a:gd name="T30" fmla="*/ 11 w 16"/>
                <a:gd name="T31" fmla="*/ 1 h 58"/>
                <a:gd name="T32" fmla="*/ 13 w 16"/>
                <a:gd name="T33" fmla="*/ 0 h 58"/>
                <a:gd name="T34" fmla="*/ 15 w 16"/>
                <a:gd name="T35" fmla="*/ 1 h 58"/>
                <a:gd name="T36" fmla="*/ 16 w 16"/>
                <a:gd name="T37" fmla="*/ 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58">
                  <a:moveTo>
                    <a:pt x="15" y="43"/>
                  </a:moveTo>
                  <a:cubicBezTo>
                    <a:pt x="15" y="48"/>
                    <a:pt x="14" y="52"/>
                    <a:pt x="12" y="54"/>
                  </a:cubicBezTo>
                  <a:cubicBezTo>
                    <a:pt x="10" y="57"/>
                    <a:pt x="8" y="58"/>
                    <a:pt x="4" y="58"/>
                  </a:cubicBezTo>
                  <a:cubicBezTo>
                    <a:pt x="2" y="58"/>
                    <a:pt x="1" y="58"/>
                    <a:pt x="0" y="57"/>
                  </a:cubicBezTo>
                  <a:cubicBezTo>
                    <a:pt x="0" y="53"/>
                    <a:pt x="0" y="53"/>
                    <a:pt x="0" y="53"/>
                  </a:cubicBezTo>
                  <a:cubicBezTo>
                    <a:pt x="1" y="54"/>
                    <a:pt x="3" y="54"/>
                    <a:pt x="4" y="54"/>
                  </a:cubicBezTo>
                  <a:cubicBezTo>
                    <a:pt x="8" y="54"/>
                    <a:pt x="11" y="51"/>
                    <a:pt x="11" y="44"/>
                  </a:cubicBezTo>
                  <a:cubicBezTo>
                    <a:pt x="11" y="14"/>
                    <a:pt x="11" y="14"/>
                    <a:pt x="11" y="14"/>
                  </a:cubicBezTo>
                  <a:cubicBezTo>
                    <a:pt x="15" y="14"/>
                    <a:pt x="15" y="14"/>
                    <a:pt x="15" y="14"/>
                  </a:cubicBezTo>
                  <a:lnTo>
                    <a:pt x="15" y="43"/>
                  </a:lnTo>
                  <a:close/>
                  <a:moveTo>
                    <a:pt x="16" y="3"/>
                  </a:moveTo>
                  <a:cubicBezTo>
                    <a:pt x="16" y="4"/>
                    <a:pt x="16" y="5"/>
                    <a:pt x="15" y="6"/>
                  </a:cubicBezTo>
                  <a:cubicBezTo>
                    <a:pt x="15" y="6"/>
                    <a:pt x="14" y="6"/>
                    <a:pt x="13" y="6"/>
                  </a:cubicBezTo>
                  <a:cubicBezTo>
                    <a:pt x="12" y="6"/>
                    <a:pt x="11" y="6"/>
                    <a:pt x="11" y="6"/>
                  </a:cubicBezTo>
                  <a:cubicBezTo>
                    <a:pt x="10" y="5"/>
                    <a:pt x="10" y="4"/>
                    <a:pt x="10" y="3"/>
                  </a:cubicBezTo>
                  <a:cubicBezTo>
                    <a:pt x="10" y="2"/>
                    <a:pt x="10" y="2"/>
                    <a:pt x="11" y="1"/>
                  </a:cubicBezTo>
                  <a:cubicBezTo>
                    <a:pt x="11" y="1"/>
                    <a:pt x="12" y="0"/>
                    <a:pt x="13" y="0"/>
                  </a:cubicBezTo>
                  <a:cubicBezTo>
                    <a:pt x="14" y="0"/>
                    <a:pt x="15" y="1"/>
                    <a:pt x="15" y="1"/>
                  </a:cubicBezTo>
                  <a:cubicBezTo>
                    <a:pt x="16" y="2"/>
                    <a:pt x="16" y="2"/>
                    <a:pt x="16"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82" name="Freeform 58"/>
            <p:cNvSpPr>
              <a:spLocks noEditPoints="1"/>
            </p:cNvSpPr>
            <p:nvPr/>
          </p:nvSpPr>
          <p:spPr bwMode="auto">
            <a:xfrm>
              <a:off x="4056" y="2134"/>
              <a:ext cx="62" cy="78"/>
            </a:xfrm>
            <a:custGeom>
              <a:avLst/>
              <a:gdLst>
                <a:gd name="T0" fmla="*/ 26 w 26"/>
                <a:gd name="T1" fmla="*/ 17 h 32"/>
                <a:gd name="T2" fmla="*/ 5 w 26"/>
                <a:gd name="T3" fmla="*/ 17 h 32"/>
                <a:gd name="T4" fmla="*/ 8 w 26"/>
                <a:gd name="T5" fmla="*/ 25 h 32"/>
                <a:gd name="T6" fmla="*/ 15 w 26"/>
                <a:gd name="T7" fmla="*/ 28 h 32"/>
                <a:gd name="T8" fmla="*/ 24 w 26"/>
                <a:gd name="T9" fmla="*/ 24 h 32"/>
                <a:gd name="T10" fmla="*/ 24 w 26"/>
                <a:gd name="T11" fmla="*/ 29 h 32"/>
                <a:gd name="T12" fmla="*/ 14 w 26"/>
                <a:gd name="T13" fmla="*/ 32 h 32"/>
                <a:gd name="T14" fmla="*/ 4 w 26"/>
                <a:gd name="T15" fmla="*/ 28 h 32"/>
                <a:gd name="T16" fmla="*/ 0 w 26"/>
                <a:gd name="T17" fmla="*/ 16 h 32"/>
                <a:gd name="T18" fmla="*/ 2 w 26"/>
                <a:gd name="T19" fmla="*/ 8 h 32"/>
                <a:gd name="T20" fmla="*/ 7 w 26"/>
                <a:gd name="T21" fmla="*/ 2 h 32"/>
                <a:gd name="T22" fmla="*/ 14 w 26"/>
                <a:gd name="T23" fmla="*/ 0 h 32"/>
                <a:gd name="T24" fmla="*/ 23 w 26"/>
                <a:gd name="T25" fmla="*/ 4 h 32"/>
                <a:gd name="T26" fmla="*/ 26 w 26"/>
                <a:gd name="T27" fmla="*/ 15 h 32"/>
                <a:gd name="T28" fmla="*/ 26 w 26"/>
                <a:gd name="T29" fmla="*/ 17 h 32"/>
                <a:gd name="T30" fmla="*/ 21 w 26"/>
                <a:gd name="T31" fmla="*/ 13 h 32"/>
                <a:gd name="T32" fmla="*/ 19 w 26"/>
                <a:gd name="T33" fmla="*/ 7 h 32"/>
                <a:gd name="T34" fmla="*/ 14 w 26"/>
                <a:gd name="T35" fmla="*/ 4 h 32"/>
                <a:gd name="T36" fmla="*/ 8 w 26"/>
                <a:gd name="T37" fmla="*/ 7 h 32"/>
                <a:gd name="T38" fmla="*/ 5 w 26"/>
                <a:gd name="T39" fmla="*/ 13 h 32"/>
                <a:gd name="T40" fmla="*/ 21 w 26"/>
                <a:gd name="T41" fmla="*/ 1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2">
                  <a:moveTo>
                    <a:pt x="26" y="17"/>
                  </a:moveTo>
                  <a:cubicBezTo>
                    <a:pt x="5" y="17"/>
                    <a:pt x="5" y="17"/>
                    <a:pt x="5" y="17"/>
                  </a:cubicBezTo>
                  <a:cubicBezTo>
                    <a:pt x="5" y="21"/>
                    <a:pt x="6" y="23"/>
                    <a:pt x="8" y="25"/>
                  </a:cubicBezTo>
                  <a:cubicBezTo>
                    <a:pt x="10" y="27"/>
                    <a:pt x="12" y="28"/>
                    <a:pt x="15" y="28"/>
                  </a:cubicBezTo>
                  <a:cubicBezTo>
                    <a:pt x="18" y="28"/>
                    <a:pt x="21" y="27"/>
                    <a:pt x="24" y="24"/>
                  </a:cubicBezTo>
                  <a:cubicBezTo>
                    <a:pt x="24" y="29"/>
                    <a:pt x="24" y="29"/>
                    <a:pt x="24" y="29"/>
                  </a:cubicBezTo>
                  <a:cubicBezTo>
                    <a:pt x="22" y="31"/>
                    <a:pt x="18" y="32"/>
                    <a:pt x="14" y="32"/>
                  </a:cubicBezTo>
                  <a:cubicBezTo>
                    <a:pt x="10" y="32"/>
                    <a:pt x="6" y="30"/>
                    <a:pt x="4" y="28"/>
                  </a:cubicBezTo>
                  <a:cubicBezTo>
                    <a:pt x="1" y="25"/>
                    <a:pt x="0" y="21"/>
                    <a:pt x="0" y="16"/>
                  </a:cubicBezTo>
                  <a:cubicBezTo>
                    <a:pt x="0" y="13"/>
                    <a:pt x="1" y="11"/>
                    <a:pt x="2" y="8"/>
                  </a:cubicBezTo>
                  <a:cubicBezTo>
                    <a:pt x="3" y="6"/>
                    <a:pt x="5" y="4"/>
                    <a:pt x="7" y="2"/>
                  </a:cubicBezTo>
                  <a:cubicBezTo>
                    <a:pt x="9" y="1"/>
                    <a:pt x="11" y="0"/>
                    <a:pt x="14" y="0"/>
                  </a:cubicBezTo>
                  <a:cubicBezTo>
                    <a:pt x="18" y="0"/>
                    <a:pt x="21" y="2"/>
                    <a:pt x="23" y="4"/>
                  </a:cubicBezTo>
                  <a:cubicBezTo>
                    <a:pt x="25" y="7"/>
                    <a:pt x="26" y="10"/>
                    <a:pt x="26" y="15"/>
                  </a:cubicBezTo>
                  <a:lnTo>
                    <a:pt x="26" y="17"/>
                  </a:lnTo>
                  <a:close/>
                  <a:moveTo>
                    <a:pt x="21" y="13"/>
                  </a:moveTo>
                  <a:cubicBezTo>
                    <a:pt x="21" y="10"/>
                    <a:pt x="21" y="8"/>
                    <a:pt x="19" y="7"/>
                  </a:cubicBezTo>
                  <a:cubicBezTo>
                    <a:pt x="18" y="5"/>
                    <a:pt x="16" y="4"/>
                    <a:pt x="14" y="4"/>
                  </a:cubicBezTo>
                  <a:cubicBezTo>
                    <a:pt x="12" y="4"/>
                    <a:pt x="10" y="5"/>
                    <a:pt x="8" y="7"/>
                  </a:cubicBezTo>
                  <a:cubicBezTo>
                    <a:pt x="7" y="8"/>
                    <a:pt x="6" y="11"/>
                    <a:pt x="5" y="13"/>
                  </a:cubicBezTo>
                  <a:lnTo>
                    <a:pt x="21"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83" name="Freeform 59"/>
            <p:cNvSpPr>
              <a:spLocks/>
            </p:cNvSpPr>
            <p:nvPr/>
          </p:nvSpPr>
          <p:spPr bwMode="auto">
            <a:xfrm>
              <a:off x="4125" y="2134"/>
              <a:ext cx="55" cy="78"/>
            </a:xfrm>
            <a:custGeom>
              <a:avLst/>
              <a:gdLst>
                <a:gd name="T0" fmla="*/ 23 w 23"/>
                <a:gd name="T1" fmla="*/ 30 h 32"/>
                <a:gd name="T2" fmla="*/ 15 w 23"/>
                <a:gd name="T3" fmla="*/ 32 h 32"/>
                <a:gd name="T4" fmla="*/ 7 w 23"/>
                <a:gd name="T5" fmla="*/ 30 h 32"/>
                <a:gd name="T6" fmla="*/ 2 w 23"/>
                <a:gd name="T7" fmla="*/ 25 h 32"/>
                <a:gd name="T8" fmla="*/ 0 w 23"/>
                <a:gd name="T9" fmla="*/ 17 h 32"/>
                <a:gd name="T10" fmla="*/ 5 w 23"/>
                <a:gd name="T11" fmla="*/ 5 h 32"/>
                <a:gd name="T12" fmla="*/ 16 w 23"/>
                <a:gd name="T13" fmla="*/ 0 h 32"/>
                <a:gd name="T14" fmla="*/ 23 w 23"/>
                <a:gd name="T15" fmla="*/ 2 h 32"/>
                <a:gd name="T16" fmla="*/ 23 w 23"/>
                <a:gd name="T17" fmla="*/ 7 h 32"/>
                <a:gd name="T18" fmla="*/ 16 w 23"/>
                <a:gd name="T19" fmla="*/ 4 h 32"/>
                <a:gd name="T20" fmla="*/ 8 w 23"/>
                <a:gd name="T21" fmla="*/ 8 h 32"/>
                <a:gd name="T22" fmla="*/ 5 w 23"/>
                <a:gd name="T23" fmla="*/ 16 h 32"/>
                <a:gd name="T24" fmla="*/ 8 w 23"/>
                <a:gd name="T25" fmla="*/ 25 h 32"/>
                <a:gd name="T26" fmla="*/ 16 w 23"/>
                <a:gd name="T27" fmla="*/ 28 h 32"/>
                <a:gd name="T28" fmla="*/ 23 w 23"/>
                <a:gd name="T29" fmla="*/ 25 h 32"/>
                <a:gd name="T30" fmla="*/ 23 w 23"/>
                <a:gd name="T31"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32">
                  <a:moveTo>
                    <a:pt x="23" y="30"/>
                  </a:moveTo>
                  <a:cubicBezTo>
                    <a:pt x="21" y="31"/>
                    <a:pt x="18" y="32"/>
                    <a:pt x="15" y="32"/>
                  </a:cubicBezTo>
                  <a:cubicBezTo>
                    <a:pt x="12" y="32"/>
                    <a:pt x="10" y="31"/>
                    <a:pt x="7" y="30"/>
                  </a:cubicBezTo>
                  <a:cubicBezTo>
                    <a:pt x="5" y="29"/>
                    <a:pt x="3" y="27"/>
                    <a:pt x="2" y="25"/>
                  </a:cubicBezTo>
                  <a:cubicBezTo>
                    <a:pt x="1" y="22"/>
                    <a:pt x="0" y="20"/>
                    <a:pt x="0" y="17"/>
                  </a:cubicBezTo>
                  <a:cubicBezTo>
                    <a:pt x="0" y="12"/>
                    <a:pt x="2" y="8"/>
                    <a:pt x="5" y="5"/>
                  </a:cubicBezTo>
                  <a:cubicBezTo>
                    <a:pt x="8" y="2"/>
                    <a:pt x="11" y="0"/>
                    <a:pt x="16" y="0"/>
                  </a:cubicBezTo>
                  <a:cubicBezTo>
                    <a:pt x="19" y="0"/>
                    <a:pt x="21" y="1"/>
                    <a:pt x="23" y="2"/>
                  </a:cubicBezTo>
                  <a:cubicBezTo>
                    <a:pt x="23" y="7"/>
                    <a:pt x="23" y="7"/>
                    <a:pt x="23" y="7"/>
                  </a:cubicBezTo>
                  <a:cubicBezTo>
                    <a:pt x="21" y="5"/>
                    <a:pt x="18" y="4"/>
                    <a:pt x="16" y="4"/>
                  </a:cubicBezTo>
                  <a:cubicBezTo>
                    <a:pt x="13" y="4"/>
                    <a:pt x="10" y="6"/>
                    <a:pt x="8" y="8"/>
                  </a:cubicBezTo>
                  <a:cubicBezTo>
                    <a:pt x="6" y="10"/>
                    <a:pt x="5" y="13"/>
                    <a:pt x="5" y="16"/>
                  </a:cubicBezTo>
                  <a:cubicBezTo>
                    <a:pt x="5" y="20"/>
                    <a:pt x="6" y="23"/>
                    <a:pt x="8" y="25"/>
                  </a:cubicBezTo>
                  <a:cubicBezTo>
                    <a:pt x="10" y="27"/>
                    <a:pt x="12" y="28"/>
                    <a:pt x="16" y="28"/>
                  </a:cubicBezTo>
                  <a:cubicBezTo>
                    <a:pt x="18" y="28"/>
                    <a:pt x="21" y="27"/>
                    <a:pt x="23" y="25"/>
                  </a:cubicBezTo>
                  <a:lnTo>
                    <a:pt x="23"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84" name="Freeform 60"/>
            <p:cNvSpPr>
              <a:spLocks/>
            </p:cNvSpPr>
            <p:nvPr/>
          </p:nvSpPr>
          <p:spPr bwMode="auto">
            <a:xfrm>
              <a:off x="4185" y="2115"/>
              <a:ext cx="42" cy="97"/>
            </a:xfrm>
            <a:custGeom>
              <a:avLst/>
              <a:gdLst>
                <a:gd name="T0" fmla="*/ 18 w 18"/>
                <a:gd name="T1" fmla="*/ 39 h 40"/>
                <a:gd name="T2" fmla="*/ 13 w 18"/>
                <a:gd name="T3" fmla="*/ 40 h 40"/>
                <a:gd name="T4" fmla="*/ 5 w 18"/>
                <a:gd name="T5" fmla="*/ 31 h 40"/>
                <a:gd name="T6" fmla="*/ 5 w 18"/>
                <a:gd name="T7" fmla="*/ 13 h 40"/>
                <a:gd name="T8" fmla="*/ 0 w 18"/>
                <a:gd name="T9" fmla="*/ 13 h 40"/>
                <a:gd name="T10" fmla="*/ 0 w 18"/>
                <a:gd name="T11" fmla="*/ 9 h 40"/>
                <a:gd name="T12" fmla="*/ 5 w 18"/>
                <a:gd name="T13" fmla="*/ 9 h 40"/>
                <a:gd name="T14" fmla="*/ 5 w 18"/>
                <a:gd name="T15" fmla="*/ 2 h 40"/>
                <a:gd name="T16" fmla="*/ 10 w 18"/>
                <a:gd name="T17" fmla="*/ 0 h 40"/>
                <a:gd name="T18" fmla="*/ 10 w 18"/>
                <a:gd name="T19" fmla="*/ 9 h 40"/>
                <a:gd name="T20" fmla="*/ 18 w 18"/>
                <a:gd name="T21" fmla="*/ 9 h 40"/>
                <a:gd name="T22" fmla="*/ 18 w 18"/>
                <a:gd name="T23" fmla="*/ 13 h 40"/>
                <a:gd name="T24" fmla="*/ 10 w 18"/>
                <a:gd name="T25" fmla="*/ 13 h 40"/>
                <a:gd name="T26" fmla="*/ 10 w 18"/>
                <a:gd name="T27" fmla="*/ 30 h 40"/>
                <a:gd name="T28" fmla="*/ 11 w 18"/>
                <a:gd name="T29" fmla="*/ 34 h 40"/>
                <a:gd name="T30" fmla="*/ 14 w 18"/>
                <a:gd name="T31" fmla="*/ 36 h 40"/>
                <a:gd name="T32" fmla="*/ 18 w 18"/>
                <a:gd name="T33" fmla="*/ 35 h 40"/>
                <a:gd name="T34" fmla="*/ 18 w 18"/>
                <a:gd name="T35"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40">
                  <a:moveTo>
                    <a:pt x="18" y="39"/>
                  </a:moveTo>
                  <a:cubicBezTo>
                    <a:pt x="16" y="39"/>
                    <a:pt x="15" y="40"/>
                    <a:pt x="13" y="40"/>
                  </a:cubicBezTo>
                  <a:cubicBezTo>
                    <a:pt x="8" y="40"/>
                    <a:pt x="5" y="37"/>
                    <a:pt x="5" y="31"/>
                  </a:cubicBezTo>
                  <a:cubicBezTo>
                    <a:pt x="5" y="13"/>
                    <a:pt x="5" y="13"/>
                    <a:pt x="5" y="13"/>
                  </a:cubicBezTo>
                  <a:cubicBezTo>
                    <a:pt x="0" y="13"/>
                    <a:pt x="0" y="13"/>
                    <a:pt x="0" y="13"/>
                  </a:cubicBezTo>
                  <a:cubicBezTo>
                    <a:pt x="0" y="9"/>
                    <a:pt x="0" y="9"/>
                    <a:pt x="0" y="9"/>
                  </a:cubicBezTo>
                  <a:cubicBezTo>
                    <a:pt x="5" y="9"/>
                    <a:pt x="5" y="9"/>
                    <a:pt x="5" y="9"/>
                  </a:cubicBezTo>
                  <a:cubicBezTo>
                    <a:pt x="5" y="2"/>
                    <a:pt x="5" y="2"/>
                    <a:pt x="5" y="2"/>
                  </a:cubicBezTo>
                  <a:cubicBezTo>
                    <a:pt x="10" y="0"/>
                    <a:pt x="10" y="0"/>
                    <a:pt x="10" y="0"/>
                  </a:cubicBezTo>
                  <a:cubicBezTo>
                    <a:pt x="10" y="9"/>
                    <a:pt x="10" y="9"/>
                    <a:pt x="10" y="9"/>
                  </a:cubicBezTo>
                  <a:cubicBezTo>
                    <a:pt x="18" y="9"/>
                    <a:pt x="18" y="9"/>
                    <a:pt x="18" y="9"/>
                  </a:cubicBezTo>
                  <a:cubicBezTo>
                    <a:pt x="18" y="13"/>
                    <a:pt x="18" y="13"/>
                    <a:pt x="18" y="13"/>
                  </a:cubicBezTo>
                  <a:cubicBezTo>
                    <a:pt x="10" y="13"/>
                    <a:pt x="10" y="13"/>
                    <a:pt x="10" y="13"/>
                  </a:cubicBezTo>
                  <a:cubicBezTo>
                    <a:pt x="10" y="30"/>
                    <a:pt x="10" y="30"/>
                    <a:pt x="10" y="30"/>
                  </a:cubicBezTo>
                  <a:cubicBezTo>
                    <a:pt x="10" y="32"/>
                    <a:pt x="10" y="34"/>
                    <a:pt x="11" y="34"/>
                  </a:cubicBezTo>
                  <a:cubicBezTo>
                    <a:pt x="12" y="35"/>
                    <a:pt x="13" y="36"/>
                    <a:pt x="14" y="36"/>
                  </a:cubicBezTo>
                  <a:cubicBezTo>
                    <a:pt x="16" y="36"/>
                    <a:pt x="17" y="35"/>
                    <a:pt x="18" y="35"/>
                  </a:cubicBezTo>
                  <a:lnTo>
                    <a:pt x="18" y="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85" name="Freeform 61"/>
            <p:cNvSpPr>
              <a:spLocks noEditPoints="1"/>
            </p:cNvSpPr>
            <p:nvPr/>
          </p:nvSpPr>
          <p:spPr bwMode="auto">
            <a:xfrm>
              <a:off x="3834" y="2108"/>
              <a:ext cx="60" cy="102"/>
            </a:xfrm>
            <a:custGeom>
              <a:avLst/>
              <a:gdLst>
                <a:gd name="T0" fmla="*/ 25 w 25"/>
                <a:gd name="T1" fmla="*/ 13 h 42"/>
                <a:gd name="T2" fmla="*/ 21 w 25"/>
                <a:gd name="T3" fmla="*/ 22 h 42"/>
                <a:gd name="T4" fmla="*/ 10 w 25"/>
                <a:gd name="T5" fmla="*/ 26 h 42"/>
                <a:gd name="T6" fmla="*/ 5 w 25"/>
                <a:gd name="T7" fmla="*/ 26 h 42"/>
                <a:gd name="T8" fmla="*/ 5 w 25"/>
                <a:gd name="T9" fmla="*/ 42 h 42"/>
                <a:gd name="T10" fmla="*/ 0 w 25"/>
                <a:gd name="T11" fmla="*/ 42 h 42"/>
                <a:gd name="T12" fmla="*/ 0 w 25"/>
                <a:gd name="T13" fmla="*/ 0 h 42"/>
                <a:gd name="T14" fmla="*/ 11 w 25"/>
                <a:gd name="T15" fmla="*/ 0 h 42"/>
                <a:gd name="T16" fmla="*/ 22 w 25"/>
                <a:gd name="T17" fmla="*/ 3 h 42"/>
                <a:gd name="T18" fmla="*/ 25 w 25"/>
                <a:gd name="T19" fmla="*/ 13 h 42"/>
                <a:gd name="T20" fmla="*/ 20 w 25"/>
                <a:gd name="T21" fmla="*/ 13 h 42"/>
                <a:gd name="T22" fmla="*/ 10 w 25"/>
                <a:gd name="T23" fmla="*/ 5 h 42"/>
                <a:gd name="T24" fmla="*/ 5 w 25"/>
                <a:gd name="T25" fmla="*/ 5 h 42"/>
                <a:gd name="T26" fmla="*/ 5 w 25"/>
                <a:gd name="T27" fmla="*/ 22 h 42"/>
                <a:gd name="T28" fmla="*/ 10 w 25"/>
                <a:gd name="T29" fmla="*/ 22 h 42"/>
                <a:gd name="T30" fmla="*/ 18 w 25"/>
                <a:gd name="T31" fmla="*/ 19 h 42"/>
                <a:gd name="T32" fmla="*/ 20 w 25"/>
                <a:gd name="T33" fmla="*/ 1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42">
                  <a:moveTo>
                    <a:pt x="25" y="13"/>
                  </a:moveTo>
                  <a:cubicBezTo>
                    <a:pt x="25" y="17"/>
                    <a:pt x="24" y="20"/>
                    <a:pt x="21" y="22"/>
                  </a:cubicBezTo>
                  <a:cubicBezTo>
                    <a:pt x="18" y="25"/>
                    <a:pt x="15" y="26"/>
                    <a:pt x="10" y="26"/>
                  </a:cubicBezTo>
                  <a:cubicBezTo>
                    <a:pt x="5" y="26"/>
                    <a:pt x="5" y="26"/>
                    <a:pt x="5" y="26"/>
                  </a:cubicBezTo>
                  <a:cubicBezTo>
                    <a:pt x="5" y="42"/>
                    <a:pt x="5" y="42"/>
                    <a:pt x="5" y="42"/>
                  </a:cubicBezTo>
                  <a:cubicBezTo>
                    <a:pt x="0" y="42"/>
                    <a:pt x="0" y="42"/>
                    <a:pt x="0" y="42"/>
                  </a:cubicBezTo>
                  <a:cubicBezTo>
                    <a:pt x="0" y="0"/>
                    <a:pt x="0" y="0"/>
                    <a:pt x="0" y="0"/>
                  </a:cubicBezTo>
                  <a:cubicBezTo>
                    <a:pt x="11" y="0"/>
                    <a:pt x="11" y="0"/>
                    <a:pt x="11" y="0"/>
                  </a:cubicBezTo>
                  <a:cubicBezTo>
                    <a:pt x="16" y="0"/>
                    <a:pt x="19" y="1"/>
                    <a:pt x="22" y="3"/>
                  </a:cubicBezTo>
                  <a:cubicBezTo>
                    <a:pt x="24" y="6"/>
                    <a:pt x="25" y="9"/>
                    <a:pt x="25" y="13"/>
                  </a:cubicBezTo>
                  <a:close/>
                  <a:moveTo>
                    <a:pt x="20" y="13"/>
                  </a:moveTo>
                  <a:cubicBezTo>
                    <a:pt x="20" y="7"/>
                    <a:pt x="17" y="5"/>
                    <a:pt x="10" y="5"/>
                  </a:cubicBezTo>
                  <a:cubicBezTo>
                    <a:pt x="5" y="5"/>
                    <a:pt x="5" y="5"/>
                    <a:pt x="5" y="5"/>
                  </a:cubicBezTo>
                  <a:cubicBezTo>
                    <a:pt x="5" y="22"/>
                    <a:pt x="5" y="22"/>
                    <a:pt x="5" y="22"/>
                  </a:cubicBezTo>
                  <a:cubicBezTo>
                    <a:pt x="10" y="22"/>
                    <a:pt x="10" y="22"/>
                    <a:pt x="10" y="22"/>
                  </a:cubicBezTo>
                  <a:cubicBezTo>
                    <a:pt x="13" y="22"/>
                    <a:pt x="16" y="21"/>
                    <a:pt x="18" y="19"/>
                  </a:cubicBezTo>
                  <a:cubicBezTo>
                    <a:pt x="19" y="18"/>
                    <a:pt x="20" y="16"/>
                    <a:pt x="20"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86" name="Freeform 62"/>
            <p:cNvSpPr>
              <a:spLocks/>
            </p:cNvSpPr>
            <p:nvPr/>
          </p:nvSpPr>
          <p:spPr bwMode="auto">
            <a:xfrm>
              <a:off x="3908" y="2137"/>
              <a:ext cx="38" cy="73"/>
            </a:xfrm>
            <a:custGeom>
              <a:avLst/>
              <a:gdLst>
                <a:gd name="T0" fmla="*/ 16 w 16"/>
                <a:gd name="T1" fmla="*/ 5 h 30"/>
                <a:gd name="T2" fmla="*/ 12 w 16"/>
                <a:gd name="T3" fmla="*/ 4 h 30"/>
                <a:gd name="T4" fmla="*/ 7 w 16"/>
                <a:gd name="T5" fmla="*/ 7 h 30"/>
                <a:gd name="T6" fmla="*/ 5 w 16"/>
                <a:gd name="T7" fmla="*/ 15 h 30"/>
                <a:gd name="T8" fmla="*/ 5 w 16"/>
                <a:gd name="T9" fmla="*/ 30 h 30"/>
                <a:gd name="T10" fmla="*/ 0 w 16"/>
                <a:gd name="T11" fmla="*/ 30 h 30"/>
                <a:gd name="T12" fmla="*/ 0 w 16"/>
                <a:gd name="T13" fmla="*/ 0 h 30"/>
                <a:gd name="T14" fmla="*/ 5 w 16"/>
                <a:gd name="T15" fmla="*/ 0 h 30"/>
                <a:gd name="T16" fmla="*/ 5 w 16"/>
                <a:gd name="T17" fmla="*/ 6 h 30"/>
                <a:gd name="T18" fmla="*/ 5 w 16"/>
                <a:gd name="T19" fmla="*/ 6 h 30"/>
                <a:gd name="T20" fmla="*/ 8 w 16"/>
                <a:gd name="T21" fmla="*/ 1 h 30"/>
                <a:gd name="T22" fmla="*/ 13 w 16"/>
                <a:gd name="T23" fmla="*/ 0 h 30"/>
                <a:gd name="T24" fmla="*/ 16 w 16"/>
                <a:gd name="T25" fmla="*/ 0 h 30"/>
                <a:gd name="T26" fmla="*/ 16 w 16"/>
                <a:gd name="T27"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30">
                  <a:moveTo>
                    <a:pt x="16" y="5"/>
                  </a:moveTo>
                  <a:cubicBezTo>
                    <a:pt x="15" y="4"/>
                    <a:pt x="14" y="4"/>
                    <a:pt x="12" y="4"/>
                  </a:cubicBezTo>
                  <a:cubicBezTo>
                    <a:pt x="10" y="4"/>
                    <a:pt x="8" y="5"/>
                    <a:pt x="7" y="7"/>
                  </a:cubicBezTo>
                  <a:cubicBezTo>
                    <a:pt x="5" y="9"/>
                    <a:pt x="5" y="12"/>
                    <a:pt x="5" y="15"/>
                  </a:cubicBezTo>
                  <a:cubicBezTo>
                    <a:pt x="5" y="30"/>
                    <a:pt x="5" y="30"/>
                    <a:pt x="5" y="30"/>
                  </a:cubicBezTo>
                  <a:cubicBezTo>
                    <a:pt x="0" y="30"/>
                    <a:pt x="0" y="30"/>
                    <a:pt x="0" y="30"/>
                  </a:cubicBezTo>
                  <a:cubicBezTo>
                    <a:pt x="0" y="0"/>
                    <a:pt x="0" y="0"/>
                    <a:pt x="0" y="0"/>
                  </a:cubicBezTo>
                  <a:cubicBezTo>
                    <a:pt x="5" y="0"/>
                    <a:pt x="5" y="0"/>
                    <a:pt x="5" y="0"/>
                  </a:cubicBezTo>
                  <a:cubicBezTo>
                    <a:pt x="5" y="6"/>
                    <a:pt x="5" y="6"/>
                    <a:pt x="5" y="6"/>
                  </a:cubicBezTo>
                  <a:cubicBezTo>
                    <a:pt x="5" y="6"/>
                    <a:pt x="5" y="6"/>
                    <a:pt x="5" y="6"/>
                  </a:cubicBezTo>
                  <a:cubicBezTo>
                    <a:pt x="6" y="4"/>
                    <a:pt x="7" y="3"/>
                    <a:pt x="8" y="1"/>
                  </a:cubicBezTo>
                  <a:cubicBezTo>
                    <a:pt x="9" y="0"/>
                    <a:pt x="11" y="0"/>
                    <a:pt x="13" y="0"/>
                  </a:cubicBezTo>
                  <a:cubicBezTo>
                    <a:pt x="14" y="0"/>
                    <a:pt x="15" y="0"/>
                    <a:pt x="16" y="0"/>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87" name="Freeform 63"/>
            <p:cNvSpPr>
              <a:spLocks noEditPoints="1"/>
            </p:cNvSpPr>
            <p:nvPr/>
          </p:nvSpPr>
          <p:spPr bwMode="auto">
            <a:xfrm>
              <a:off x="3946" y="2134"/>
              <a:ext cx="72" cy="78"/>
            </a:xfrm>
            <a:custGeom>
              <a:avLst/>
              <a:gdLst>
                <a:gd name="T0" fmla="*/ 30 w 30"/>
                <a:gd name="T1" fmla="*/ 16 h 32"/>
                <a:gd name="T2" fmla="*/ 26 w 30"/>
                <a:gd name="T3" fmla="*/ 27 h 32"/>
                <a:gd name="T4" fmla="*/ 15 w 30"/>
                <a:gd name="T5" fmla="*/ 32 h 32"/>
                <a:gd name="T6" fmla="*/ 4 w 30"/>
                <a:gd name="T7" fmla="*/ 28 h 32"/>
                <a:gd name="T8" fmla="*/ 0 w 30"/>
                <a:gd name="T9" fmla="*/ 16 h 32"/>
                <a:gd name="T10" fmla="*/ 4 w 30"/>
                <a:gd name="T11" fmla="*/ 5 h 32"/>
                <a:gd name="T12" fmla="*/ 15 w 30"/>
                <a:gd name="T13" fmla="*/ 0 h 32"/>
                <a:gd name="T14" fmla="*/ 26 w 30"/>
                <a:gd name="T15" fmla="*/ 5 h 32"/>
                <a:gd name="T16" fmla="*/ 30 w 30"/>
                <a:gd name="T17" fmla="*/ 16 h 32"/>
                <a:gd name="T18" fmla="*/ 25 w 30"/>
                <a:gd name="T19" fmla="*/ 16 h 32"/>
                <a:gd name="T20" fmla="*/ 22 w 30"/>
                <a:gd name="T21" fmla="*/ 7 h 32"/>
                <a:gd name="T22" fmla="*/ 15 w 30"/>
                <a:gd name="T23" fmla="*/ 4 h 32"/>
                <a:gd name="T24" fmla="*/ 8 w 30"/>
                <a:gd name="T25" fmla="*/ 8 h 32"/>
                <a:gd name="T26" fmla="*/ 5 w 30"/>
                <a:gd name="T27" fmla="*/ 16 h 32"/>
                <a:gd name="T28" fmla="*/ 8 w 30"/>
                <a:gd name="T29" fmla="*/ 25 h 32"/>
                <a:gd name="T30" fmla="*/ 15 w 30"/>
                <a:gd name="T31" fmla="*/ 28 h 32"/>
                <a:gd name="T32" fmla="*/ 22 w 30"/>
                <a:gd name="T33" fmla="*/ 25 h 32"/>
                <a:gd name="T34" fmla="*/ 25 w 30"/>
                <a:gd name="T35"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32">
                  <a:moveTo>
                    <a:pt x="30" y="16"/>
                  </a:moveTo>
                  <a:cubicBezTo>
                    <a:pt x="30" y="21"/>
                    <a:pt x="28" y="25"/>
                    <a:pt x="26" y="27"/>
                  </a:cubicBezTo>
                  <a:cubicBezTo>
                    <a:pt x="23" y="30"/>
                    <a:pt x="19" y="32"/>
                    <a:pt x="15" y="32"/>
                  </a:cubicBezTo>
                  <a:cubicBezTo>
                    <a:pt x="10" y="32"/>
                    <a:pt x="7" y="30"/>
                    <a:pt x="4" y="28"/>
                  </a:cubicBezTo>
                  <a:cubicBezTo>
                    <a:pt x="2" y="25"/>
                    <a:pt x="0" y="21"/>
                    <a:pt x="0" y="16"/>
                  </a:cubicBezTo>
                  <a:cubicBezTo>
                    <a:pt x="0" y="11"/>
                    <a:pt x="2" y="8"/>
                    <a:pt x="4" y="5"/>
                  </a:cubicBezTo>
                  <a:cubicBezTo>
                    <a:pt x="7" y="2"/>
                    <a:pt x="11" y="0"/>
                    <a:pt x="15" y="0"/>
                  </a:cubicBezTo>
                  <a:cubicBezTo>
                    <a:pt x="20" y="0"/>
                    <a:pt x="23" y="2"/>
                    <a:pt x="26" y="5"/>
                  </a:cubicBezTo>
                  <a:cubicBezTo>
                    <a:pt x="28" y="7"/>
                    <a:pt x="30" y="11"/>
                    <a:pt x="30" y="16"/>
                  </a:cubicBezTo>
                  <a:close/>
                  <a:moveTo>
                    <a:pt x="25" y="16"/>
                  </a:moveTo>
                  <a:cubicBezTo>
                    <a:pt x="25" y="12"/>
                    <a:pt x="24" y="9"/>
                    <a:pt x="22" y="7"/>
                  </a:cubicBezTo>
                  <a:cubicBezTo>
                    <a:pt x="21" y="5"/>
                    <a:pt x="18" y="4"/>
                    <a:pt x="15" y="4"/>
                  </a:cubicBezTo>
                  <a:cubicBezTo>
                    <a:pt x="12" y="4"/>
                    <a:pt x="10" y="5"/>
                    <a:pt x="8" y="8"/>
                  </a:cubicBezTo>
                  <a:cubicBezTo>
                    <a:pt x="6" y="10"/>
                    <a:pt x="5" y="12"/>
                    <a:pt x="5" y="16"/>
                  </a:cubicBezTo>
                  <a:cubicBezTo>
                    <a:pt x="5" y="20"/>
                    <a:pt x="6" y="23"/>
                    <a:pt x="8" y="25"/>
                  </a:cubicBezTo>
                  <a:cubicBezTo>
                    <a:pt x="10" y="27"/>
                    <a:pt x="12" y="28"/>
                    <a:pt x="15" y="28"/>
                  </a:cubicBezTo>
                  <a:cubicBezTo>
                    <a:pt x="18" y="28"/>
                    <a:pt x="21" y="27"/>
                    <a:pt x="22" y="25"/>
                  </a:cubicBezTo>
                  <a:cubicBezTo>
                    <a:pt x="24" y="23"/>
                    <a:pt x="25" y="20"/>
                    <a:pt x="25"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88" name="Freeform 64"/>
            <p:cNvSpPr>
              <a:spLocks noEditPoints="1"/>
            </p:cNvSpPr>
            <p:nvPr/>
          </p:nvSpPr>
          <p:spPr bwMode="auto">
            <a:xfrm>
              <a:off x="4006" y="2103"/>
              <a:ext cx="38" cy="141"/>
            </a:xfrm>
            <a:custGeom>
              <a:avLst/>
              <a:gdLst>
                <a:gd name="T0" fmla="*/ 15 w 16"/>
                <a:gd name="T1" fmla="*/ 43 h 58"/>
                <a:gd name="T2" fmla="*/ 12 w 16"/>
                <a:gd name="T3" fmla="*/ 54 h 58"/>
                <a:gd name="T4" fmla="*/ 4 w 16"/>
                <a:gd name="T5" fmla="*/ 58 h 58"/>
                <a:gd name="T6" fmla="*/ 0 w 16"/>
                <a:gd name="T7" fmla="*/ 57 h 58"/>
                <a:gd name="T8" fmla="*/ 0 w 16"/>
                <a:gd name="T9" fmla="*/ 53 h 58"/>
                <a:gd name="T10" fmla="*/ 4 w 16"/>
                <a:gd name="T11" fmla="*/ 54 h 58"/>
                <a:gd name="T12" fmla="*/ 11 w 16"/>
                <a:gd name="T13" fmla="*/ 44 h 58"/>
                <a:gd name="T14" fmla="*/ 11 w 16"/>
                <a:gd name="T15" fmla="*/ 14 h 58"/>
                <a:gd name="T16" fmla="*/ 15 w 16"/>
                <a:gd name="T17" fmla="*/ 14 h 58"/>
                <a:gd name="T18" fmla="*/ 15 w 16"/>
                <a:gd name="T19" fmla="*/ 43 h 58"/>
                <a:gd name="T20" fmla="*/ 16 w 16"/>
                <a:gd name="T21" fmla="*/ 3 h 58"/>
                <a:gd name="T22" fmla="*/ 15 w 16"/>
                <a:gd name="T23" fmla="*/ 6 h 58"/>
                <a:gd name="T24" fmla="*/ 13 w 16"/>
                <a:gd name="T25" fmla="*/ 6 h 58"/>
                <a:gd name="T26" fmla="*/ 11 w 16"/>
                <a:gd name="T27" fmla="*/ 6 h 58"/>
                <a:gd name="T28" fmla="*/ 10 w 16"/>
                <a:gd name="T29" fmla="*/ 3 h 58"/>
                <a:gd name="T30" fmla="*/ 11 w 16"/>
                <a:gd name="T31" fmla="*/ 1 h 58"/>
                <a:gd name="T32" fmla="*/ 13 w 16"/>
                <a:gd name="T33" fmla="*/ 0 h 58"/>
                <a:gd name="T34" fmla="*/ 15 w 16"/>
                <a:gd name="T35" fmla="*/ 1 h 58"/>
                <a:gd name="T36" fmla="*/ 16 w 16"/>
                <a:gd name="T37" fmla="*/ 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58">
                  <a:moveTo>
                    <a:pt x="15" y="43"/>
                  </a:moveTo>
                  <a:cubicBezTo>
                    <a:pt x="15" y="48"/>
                    <a:pt x="14" y="52"/>
                    <a:pt x="12" y="54"/>
                  </a:cubicBezTo>
                  <a:cubicBezTo>
                    <a:pt x="10" y="57"/>
                    <a:pt x="8" y="58"/>
                    <a:pt x="4" y="58"/>
                  </a:cubicBezTo>
                  <a:cubicBezTo>
                    <a:pt x="2" y="58"/>
                    <a:pt x="1" y="58"/>
                    <a:pt x="0" y="57"/>
                  </a:cubicBezTo>
                  <a:cubicBezTo>
                    <a:pt x="0" y="53"/>
                    <a:pt x="0" y="53"/>
                    <a:pt x="0" y="53"/>
                  </a:cubicBezTo>
                  <a:cubicBezTo>
                    <a:pt x="1" y="54"/>
                    <a:pt x="3" y="54"/>
                    <a:pt x="4" y="54"/>
                  </a:cubicBezTo>
                  <a:cubicBezTo>
                    <a:pt x="8" y="54"/>
                    <a:pt x="11" y="51"/>
                    <a:pt x="11" y="44"/>
                  </a:cubicBezTo>
                  <a:cubicBezTo>
                    <a:pt x="11" y="14"/>
                    <a:pt x="11" y="14"/>
                    <a:pt x="11" y="14"/>
                  </a:cubicBezTo>
                  <a:cubicBezTo>
                    <a:pt x="15" y="14"/>
                    <a:pt x="15" y="14"/>
                    <a:pt x="15" y="14"/>
                  </a:cubicBezTo>
                  <a:lnTo>
                    <a:pt x="15" y="43"/>
                  </a:lnTo>
                  <a:close/>
                  <a:moveTo>
                    <a:pt x="16" y="3"/>
                  </a:moveTo>
                  <a:cubicBezTo>
                    <a:pt x="16" y="4"/>
                    <a:pt x="16" y="5"/>
                    <a:pt x="15" y="6"/>
                  </a:cubicBezTo>
                  <a:cubicBezTo>
                    <a:pt x="15" y="6"/>
                    <a:pt x="14" y="6"/>
                    <a:pt x="13" y="6"/>
                  </a:cubicBezTo>
                  <a:cubicBezTo>
                    <a:pt x="12" y="6"/>
                    <a:pt x="11" y="6"/>
                    <a:pt x="11" y="6"/>
                  </a:cubicBezTo>
                  <a:cubicBezTo>
                    <a:pt x="10" y="5"/>
                    <a:pt x="10" y="4"/>
                    <a:pt x="10" y="3"/>
                  </a:cubicBezTo>
                  <a:cubicBezTo>
                    <a:pt x="10" y="2"/>
                    <a:pt x="10" y="2"/>
                    <a:pt x="11" y="1"/>
                  </a:cubicBezTo>
                  <a:cubicBezTo>
                    <a:pt x="11" y="1"/>
                    <a:pt x="12" y="0"/>
                    <a:pt x="13" y="0"/>
                  </a:cubicBezTo>
                  <a:cubicBezTo>
                    <a:pt x="14" y="0"/>
                    <a:pt x="15" y="1"/>
                    <a:pt x="15" y="1"/>
                  </a:cubicBezTo>
                  <a:cubicBezTo>
                    <a:pt x="16" y="2"/>
                    <a:pt x="16" y="2"/>
                    <a:pt x="16"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89" name="Freeform 65"/>
            <p:cNvSpPr>
              <a:spLocks noEditPoints="1"/>
            </p:cNvSpPr>
            <p:nvPr/>
          </p:nvSpPr>
          <p:spPr bwMode="auto">
            <a:xfrm>
              <a:off x="4056" y="2134"/>
              <a:ext cx="62" cy="78"/>
            </a:xfrm>
            <a:custGeom>
              <a:avLst/>
              <a:gdLst>
                <a:gd name="T0" fmla="*/ 26 w 26"/>
                <a:gd name="T1" fmla="*/ 17 h 32"/>
                <a:gd name="T2" fmla="*/ 5 w 26"/>
                <a:gd name="T3" fmla="*/ 17 h 32"/>
                <a:gd name="T4" fmla="*/ 8 w 26"/>
                <a:gd name="T5" fmla="*/ 25 h 32"/>
                <a:gd name="T6" fmla="*/ 15 w 26"/>
                <a:gd name="T7" fmla="*/ 28 h 32"/>
                <a:gd name="T8" fmla="*/ 24 w 26"/>
                <a:gd name="T9" fmla="*/ 24 h 32"/>
                <a:gd name="T10" fmla="*/ 24 w 26"/>
                <a:gd name="T11" fmla="*/ 29 h 32"/>
                <a:gd name="T12" fmla="*/ 14 w 26"/>
                <a:gd name="T13" fmla="*/ 32 h 32"/>
                <a:gd name="T14" fmla="*/ 4 w 26"/>
                <a:gd name="T15" fmla="*/ 28 h 32"/>
                <a:gd name="T16" fmla="*/ 0 w 26"/>
                <a:gd name="T17" fmla="*/ 16 h 32"/>
                <a:gd name="T18" fmla="*/ 2 w 26"/>
                <a:gd name="T19" fmla="*/ 8 h 32"/>
                <a:gd name="T20" fmla="*/ 7 w 26"/>
                <a:gd name="T21" fmla="*/ 2 h 32"/>
                <a:gd name="T22" fmla="*/ 14 w 26"/>
                <a:gd name="T23" fmla="*/ 0 h 32"/>
                <a:gd name="T24" fmla="*/ 23 w 26"/>
                <a:gd name="T25" fmla="*/ 4 h 32"/>
                <a:gd name="T26" fmla="*/ 26 w 26"/>
                <a:gd name="T27" fmla="*/ 15 h 32"/>
                <a:gd name="T28" fmla="*/ 26 w 26"/>
                <a:gd name="T29" fmla="*/ 17 h 32"/>
                <a:gd name="T30" fmla="*/ 21 w 26"/>
                <a:gd name="T31" fmla="*/ 13 h 32"/>
                <a:gd name="T32" fmla="*/ 19 w 26"/>
                <a:gd name="T33" fmla="*/ 7 h 32"/>
                <a:gd name="T34" fmla="*/ 14 w 26"/>
                <a:gd name="T35" fmla="*/ 4 h 32"/>
                <a:gd name="T36" fmla="*/ 8 w 26"/>
                <a:gd name="T37" fmla="*/ 7 h 32"/>
                <a:gd name="T38" fmla="*/ 5 w 26"/>
                <a:gd name="T39" fmla="*/ 13 h 32"/>
                <a:gd name="T40" fmla="*/ 21 w 26"/>
                <a:gd name="T41" fmla="*/ 1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2">
                  <a:moveTo>
                    <a:pt x="26" y="17"/>
                  </a:moveTo>
                  <a:cubicBezTo>
                    <a:pt x="5" y="17"/>
                    <a:pt x="5" y="17"/>
                    <a:pt x="5" y="17"/>
                  </a:cubicBezTo>
                  <a:cubicBezTo>
                    <a:pt x="5" y="21"/>
                    <a:pt x="6" y="23"/>
                    <a:pt x="8" y="25"/>
                  </a:cubicBezTo>
                  <a:cubicBezTo>
                    <a:pt x="10" y="27"/>
                    <a:pt x="12" y="28"/>
                    <a:pt x="15" y="28"/>
                  </a:cubicBezTo>
                  <a:cubicBezTo>
                    <a:pt x="18" y="28"/>
                    <a:pt x="21" y="27"/>
                    <a:pt x="24" y="24"/>
                  </a:cubicBezTo>
                  <a:cubicBezTo>
                    <a:pt x="24" y="29"/>
                    <a:pt x="24" y="29"/>
                    <a:pt x="24" y="29"/>
                  </a:cubicBezTo>
                  <a:cubicBezTo>
                    <a:pt x="22" y="31"/>
                    <a:pt x="18" y="32"/>
                    <a:pt x="14" y="32"/>
                  </a:cubicBezTo>
                  <a:cubicBezTo>
                    <a:pt x="10" y="32"/>
                    <a:pt x="6" y="30"/>
                    <a:pt x="4" y="28"/>
                  </a:cubicBezTo>
                  <a:cubicBezTo>
                    <a:pt x="1" y="25"/>
                    <a:pt x="0" y="21"/>
                    <a:pt x="0" y="16"/>
                  </a:cubicBezTo>
                  <a:cubicBezTo>
                    <a:pt x="0" y="13"/>
                    <a:pt x="1" y="11"/>
                    <a:pt x="2" y="8"/>
                  </a:cubicBezTo>
                  <a:cubicBezTo>
                    <a:pt x="3" y="6"/>
                    <a:pt x="5" y="4"/>
                    <a:pt x="7" y="2"/>
                  </a:cubicBezTo>
                  <a:cubicBezTo>
                    <a:pt x="9" y="1"/>
                    <a:pt x="11" y="0"/>
                    <a:pt x="14" y="0"/>
                  </a:cubicBezTo>
                  <a:cubicBezTo>
                    <a:pt x="18" y="0"/>
                    <a:pt x="21" y="2"/>
                    <a:pt x="23" y="4"/>
                  </a:cubicBezTo>
                  <a:cubicBezTo>
                    <a:pt x="25" y="7"/>
                    <a:pt x="26" y="10"/>
                    <a:pt x="26" y="15"/>
                  </a:cubicBezTo>
                  <a:lnTo>
                    <a:pt x="26" y="17"/>
                  </a:lnTo>
                  <a:close/>
                  <a:moveTo>
                    <a:pt x="21" y="13"/>
                  </a:moveTo>
                  <a:cubicBezTo>
                    <a:pt x="21" y="10"/>
                    <a:pt x="21" y="8"/>
                    <a:pt x="19" y="7"/>
                  </a:cubicBezTo>
                  <a:cubicBezTo>
                    <a:pt x="18" y="5"/>
                    <a:pt x="16" y="4"/>
                    <a:pt x="14" y="4"/>
                  </a:cubicBezTo>
                  <a:cubicBezTo>
                    <a:pt x="12" y="4"/>
                    <a:pt x="10" y="5"/>
                    <a:pt x="8" y="7"/>
                  </a:cubicBezTo>
                  <a:cubicBezTo>
                    <a:pt x="7" y="8"/>
                    <a:pt x="6" y="11"/>
                    <a:pt x="5" y="13"/>
                  </a:cubicBezTo>
                  <a:lnTo>
                    <a:pt x="21"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90" name="Freeform 66"/>
            <p:cNvSpPr>
              <a:spLocks/>
            </p:cNvSpPr>
            <p:nvPr/>
          </p:nvSpPr>
          <p:spPr bwMode="auto">
            <a:xfrm>
              <a:off x="4125" y="2134"/>
              <a:ext cx="55" cy="78"/>
            </a:xfrm>
            <a:custGeom>
              <a:avLst/>
              <a:gdLst>
                <a:gd name="T0" fmla="*/ 23 w 23"/>
                <a:gd name="T1" fmla="*/ 30 h 32"/>
                <a:gd name="T2" fmla="*/ 15 w 23"/>
                <a:gd name="T3" fmla="*/ 32 h 32"/>
                <a:gd name="T4" fmla="*/ 7 w 23"/>
                <a:gd name="T5" fmla="*/ 30 h 32"/>
                <a:gd name="T6" fmla="*/ 2 w 23"/>
                <a:gd name="T7" fmla="*/ 25 h 32"/>
                <a:gd name="T8" fmla="*/ 0 w 23"/>
                <a:gd name="T9" fmla="*/ 17 h 32"/>
                <a:gd name="T10" fmla="*/ 5 w 23"/>
                <a:gd name="T11" fmla="*/ 5 h 32"/>
                <a:gd name="T12" fmla="*/ 16 w 23"/>
                <a:gd name="T13" fmla="*/ 0 h 32"/>
                <a:gd name="T14" fmla="*/ 23 w 23"/>
                <a:gd name="T15" fmla="*/ 2 h 32"/>
                <a:gd name="T16" fmla="*/ 23 w 23"/>
                <a:gd name="T17" fmla="*/ 7 h 32"/>
                <a:gd name="T18" fmla="*/ 16 w 23"/>
                <a:gd name="T19" fmla="*/ 4 h 32"/>
                <a:gd name="T20" fmla="*/ 8 w 23"/>
                <a:gd name="T21" fmla="*/ 8 h 32"/>
                <a:gd name="T22" fmla="*/ 5 w 23"/>
                <a:gd name="T23" fmla="*/ 16 h 32"/>
                <a:gd name="T24" fmla="*/ 8 w 23"/>
                <a:gd name="T25" fmla="*/ 25 h 32"/>
                <a:gd name="T26" fmla="*/ 16 w 23"/>
                <a:gd name="T27" fmla="*/ 28 h 32"/>
                <a:gd name="T28" fmla="*/ 23 w 23"/>
                <a:gd name="T29" fmla="*/ 25 h 32"/>
                <a:gd name="T30" fmla="*/ 23 w 23"/>
                <a:gd name="T31"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32">
                  <a:moveTo>
                    <a:pt x="23" y="30"/>
                  </a:moveTo>
                  <a:cubicBezTo>
                    <a:pt x="21" y="31"/>
                    <a:pt x="18" y="32"/>
                    <a:pt x="15" y="32"/>
                  </a:cubicBezTo>
                  <a:cubicBezTo>
                    <a:pt x="12" y="32"/>
                    <a:pt x="10" y="31"/>
                    <a:pt x="7" y="30"/>
                  </a:cubicBezTo>
                  <a:cubicBezTo>
                    <a:pt x="5" y="29"/>
                    <a:pt x="3" y="27"/>
                    <a:pt x="2" y="25"/>
                  </a:cubicBezTo>
                  <a:cubicBezTo>
                    <a:pt x="1" y="22"/>
                    <a:pt x="0" y="20"/>
                    <a:pt x="0" y="17"/>
                  </a:cubicBezTo>
                  <a:cubicBezTo>
                    <a:pt x="0" y="12"/>
                    <a:pt x="2" y="8"/>
                    <a:pt x="5" y="5"/>
                  </a:cubicBezTo>
                  <a:cubicBezTo>
                    <a:pt x="8" y="2"/>
                    <a:pt x="11" y="0"/>
                    <a:pt x="16" y="0"/>
                  </a:cubicBezTo>
                  <a:cubicBezTo>
                    <a:pt x="19" y="0"/>
                    <a:pt x="21" y="1"/>
                    <a:pt x="23" y="2"/>
                  </a:cubicBezTo>
                  <a:cubicBezTo>
                    <a:pt x="23" y="7"/>
                    <a:pt x="23" y="7"/>
                    <a:pt x="23" y="7"/>
                  </a:cubicBezTo>
                  <a:cubicBezTo>
                    <a:pt x="21" y="5"/>
                    <a:pt x="18" y="4"/>
                    <a:pt x="16" y="4"/>
                  </a:cubicBezTo>
                  <a:cubicBezTo>
                    <a:pt x="13" y="4"/>
                    <a:pt x="10" y="6"/>
                    <a:pt x="8" y="8"/>
                  </a:cubicBezTo>
                  <a:cubicBezTo>
                    <a:pt x="6" y="10"/>
                    <a:pt x="5" y="13"/>
                    <a:pt x="5" y="16"/>
                  </a:cubicBezTo>
                  <a:cubicBezTo>
                    <a:pt x="5" y="20"/>
                    <a:pt x="6" y="23"/>
                    <a:pt x="8" y="25"/>
                  </a:cubicBezTo>
                  <a:cubicBezTo>
                    <a:pt x="10" y="27"/>
                    <a:pt x="12" y="28"/>
                    <a:pt x="16" y="28"/>
                  </a:cubicBezTo>
                  <a:cubicBezTo>
                    <a:pt x="18" y="28"/>
                    <a:pt x="21" y="27"/>
                    <a:pt x="23" y="25"/>
                  </a:cubicBezTo>
                  <a:lnTo>
                    <a:pt x="23"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91" name="Freeform 67"/>
            <p:cNvSpPr>
              <a:spLocks/>
            </p:cNvSpPr>
            <p:nvPr/>
          </p:nvSpPr>
          <p:spPr bwMode="auto">
            <a:xfrm>
              <a:off x="4185" y="2115"/>
              <a:ext cx="42" cy="97"/>
            </a:xfrm>
            <a:custGeom>
              <a:avLst/>
              <a:gdLst>
                <a:gd name="T0" fmla="*/ 18 w 18"/>
                <a:gd name="T1" fmla="*/ 39 h 40"/>
                <a:gd name="T2" fmla="*/ 13 w 18"/>
                <a:gd name="T3" fmla="*/ 40 h 40"/>
                <a:gd name="T4" fmla="*/ 5 w 18"/>
                <a:gd name="T5" fmla="*/ 31 h 40"/>
                <a:gd name="T6" fmla="*/ 5 w 18"/>
                <a:gd name="T7" fmla="*/ 13 h 40"/>
                <a:gd name="T8" fmla="*/ 0 w 18"/>
                <a:gd name="T9" fmla="*/ 13 h 40"/>
                <a:gd name="T10" fmla="*/ 0 w 18"/>
                <a:gd name="T11" fmla="*/ 9 h 40"/>
                <a:gd name="T12" fmla="*/ 5 w 18"/>
                <a:gd name="T13" fmla="*/ 9 h 40"/>
                <a:gd name="T14" fmla="*/ 5 w 18"/>
                <a:gd name="T15" fmla="*/ 2 h 40"/>
                <a:gd name="T16" fmla="*/ 10 w 18"/>
                <a:gd name="T17" fmla="*/ 0 h 40"/>
                <a:gd name="T18" fmla="*/ 10 w 18"/>
                <a:gd name="T19" fmla="*/ 9 h 40"/>
                <a:gd name="T20" fmla="*/ 18 w 18"/>
                <a:gd name="T21" fmla="*/ 9 h 40"/>
                <a:gd name="T22" fmla="*/ 18 w 18"/>
                <a:gd name="T23" fmla="*/ 13 h 40"/>
                <a:gd name="T24" fmla="*/ 10 w 18"/>
                <a:gd name="T25" fmla="*/ 13 h 40"/>
                <a:gd name="T26" fmla="*/ 10 w 18"/>
                <a:gd name="T27" fmla="*/ 30 h 40"/>
                <a:gd name="T28" fmla="*/ 11 w 18"/>
                <a:gd name="T29" fmla="*/ 34 h 40"/>
                <a:gd name="T30" fmla="*/ 14 w 18"/>
                <a:gd name="T31" fmla="*/ 36 h 40"/>
                <a:gd name="T32" fmla="*/ 18 w 18"/>
                <a:gd name="T33" fmla="*/ 35 h 40"/>
                <a:gd name="T34" fmla="*/ 18 w 18"/>
                <a:gd name="T35"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40">
                  <a:moveTo>
                    <a:pt x="18" y="39"/>
                  </a:moveTo>
                  <a:cubicBezTo>
                    <a:pt x="16" y="39"/>
                    <a:pt x="15" y="40"/>
                    <a:pt x="13" y="40"/>
                  </a:cubicBezTo>
                  <a:cubicBezTo>
                    <a:pt x="8" y="40"/>
                    <a:pt x="5" y="37"/>
                    <a:pt x="5" y="31"/>
                  </a:cubicBezTo>
                  <a:cubicBezTo>
                    <a:pt x="5" y="13"/>
                    <a:pt x="5" y="13"/>
                    <a:pt x="5" y="13"/>
                  </a:cubicBezTo>
                  <a:cubicBezTo>
                    <a:pt x="0" y="13"/>
                    <a:pt x="0" y="13"/>
                    <a:pt x="0" y="13"/>
                  </a:cubicBezTo>
                  <a:cubicBezTo>
                    <a:pt x="0" y="9"/>
                    <a:pt x="0" y="9"/>
                    <a:pt x="0" y="9"/>
                  </a:cubicBezTo>
                  <a:cubicBezTo>
                    <a:pt x="5" y="9"/>
                    <a:pt x="5" y="9"/>
                    <a:pt x="5" y="9"/>
                  </a:cubicBezTo>
                  <a:cubicBezTo>
                    <a:pt x="5" y="2"/>
                    <a:pt x="5" y="2"/>
                    <a:pt x="5" y="2"/>
                  </a:cubicBezTo>
                  <a:cubicBezTo>
                    <a:pt x="10" y="0"/>
                    <a:pt x="10" y="0"/>
                    <a:pt x="10" y="0"/>
                  </a:cubicBezTo>
                  <a:cubicBezTo>
                    <a:pt x="10" y="9"/>
                    <a:pt x="10" y="9"/>
                    <a:pt x="10" y="9"/>
                  </a:cubicBezTo>
                  <a:cubicBezTo>
                    <a:pt x="18" y="9"/>
                    <a:pt x="18" y="9"/>
                    <a:pt x="18" y="9"/>
                  </a:cubicBezTo>
                  <a:cubicBezTo>
                    <a:pt x="18" y="13"/>
                    <a:pt x="18" y="13"/>
                    <a:pt x="18" y="13"/>
                  </a:cubicBezTo>
                  <a:cubicBezTo>
                    <a:pt x="10" y="13"/>
                    <a:pt x="10" y="13"/>
                    <a:pt x="10" y="13"/>
                  </a:cubicBezTo>
                  <a:cubicBezTo>
                    <a:pt x="10" y="30"/>
                    <a:pt x="10" y="30"/>
                    <a:pt x="10" y="30"/>
                  </a:cubicBezTo>
                  <a:cubicBezTo>
                    <a:pt x="10" y="32"/>
                    <a:pt x="10" y="34"/>
                    <a:pt x="11" y="34"/>
                  </a:cubicBezTo>
                  <a:cubicBezTo>
                    <a:pt x="12" y="35"/>
                    <a:pt x="13" y="36"/>
                    <a:pt x="14" y="36"/>
                  </a:cubicBezTo>
                  <a:cubicBezTo>
                    <a:pt x="16" y="36"/>
                    <a:pt x="17" y="35"/>
                    <a:pt x="18" y="35"/>
                  </a:cubicBezTo>
                  <a:lnTo>
                    <a:pt x="18" y="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92" name="Freeform 68"/>
            <p:cNvSpPr>
              <a:spLocks/>
            </p:cNvSpPr>
            <p:nvPr/>
          </p:nvSpPr>
          <p:spPr bwMode="auto">
            <a:xfrm>
              <a:off x="3634" y="2064"/>
              <a:ext cx="105" cy="194"/>
            </a:xfrm>
            <a:custGeom>
              <a:avLst/>
              <a:gdLst>
                <a:gd name="T0" fmla="*/ 40 w 44"/>
                <a:gd name="T1" fmla="*/ 0 h 80"/>
                <a:gd name="T2" fmla="*/ 0 w 44"/>
                <a:gd name="T3" fmla="*/ 0 h 80"/>
                <a:gd name="T4" fmla="*/ 0 w 44"/>
                <a:gd name="T5" fmla="*/ 12 h 80"/>
                <a:gd name="T6" fmla="*/ 24 w 44"/>
                <a:gd name="T7" fmla="*/ 12 h 80"/>
                <a:gd name="T8" fmla="*/ 32 w 44"/>
                <a:gd name="T9" fmla="*/ 12 h 80"/>
                <a:gd name="T10" fmla="*/ 32 w 44"/>
                <a:gd name="T11" fmla="*/ 20 h 80"/>
                <a:gd name="T12" fmla="*/ 32 w 44"/>
                <a:gd name="T13" fmla="*/ 32 h 80"/>
                <a:gd name="T14" fmla="*/ 36 w 44"/>
                <a:gd name="T15" fmla="*/ 32 h 80"/>
                <a:gd name="T16" fmla="*/ 40 w 44"/>
                <a:gd name="T17" fmla="*/ 34 h 80"/>
                <a:gd name="T18" fmla="*/ 28 w 44"/>
                <a:gd name="T19" fmla="*/ 48 h 80"/>
                <a:gd name="T20" fmla="*/ 16 w 44"/>
                <a:gd name="T21" fmla="*/ 34 h 80"/>
                <a:gd name="T22" fmla="*/ 20 w 44"/>
                <a:gd name="T23" fmla="*/ 32 h 80"/>
                <a:gd name="T24" fmla="*/ 24 w 44"/>
                <a:gd name="T25" fmla="*/ 32 h 80"/>
                <a:gd name="T26" fmla="*/ 24 w 44"/>
                <a:gd name="T27" fmla="*/ 20 h 80"/>
                <a:gd name="T28" fmla="*/ 0 w 44"/>
                <a:gd name="T29" fmla="*/ 20 h 80"/>
                <a:gd name="T30" fmla="*/ 0 w 44"/>
                <a:gd name="T31" fmla="*/ 56 h 80"/>
                <a:gd name="T32" fmla="*/ 12 w 44"/>
                <a:gd name="T33" fmla="*/ 44 h 80"/>
                <a:gd name="T34" fmla="*/ 26 w 44"/>
                <a:gd name="T35" fmla="*/ 58 h 80"/>
                <a:gd name="T36" fmla="*/ 12 w 44"/>
                <a:gd name="T37" fmla="*/ 72 h 80"/>
                <a:gd name="T38" fmla="*/ 0 w 44"/>
                <a:gd name="T39" fmla="*/ 60 h 80"/>
                <a:gd name="T40" fmla="*/ 0 w 44"/>
                <a:gd name="T41" fmla="*/ 80 h 80"/>
                <a:gd name="T42" fmla="*/ 40 w 44"/>
                <a:gd name="T43" fmla="*/ 80 h 80"/>
                <a:gd name="T44" fmla="*/ 44 w 44"/>
                <a:gd name="T45" fmla="*/ 76 h 80"/>
                <a:gd name="T46" fmla="*/ 44 w 44"/>
                <a:gd name="T47" fmla="*/ 4 h 80"/>
                <a:gd name="T48" fmla="*/ 40 w 44"/>
                <a:gd name="T4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 h="80">
                  <a:moveTo>
                    <a:pt x="40" y="0"/>
                  </a:moveTo>
                  <a:cubicBezTo>
                    <a:pt x="0" y="0"/>
                    <a:pt x="0" y="0"/>
                    <a:pt x="0" y="0"/>
                  </a:cubicBezTo>
                  <a:cubicBezTo>
                    <a:pt x="0" y="12"/>
                    <a:pt x="0" y="12"/>
                    <a:pt x="0" y="12"/>
                  </a:cubicBezTo>
                  <a:cubicBezTo>
                    <a:pt x="24" y="12"/>
                    <a:pt x="24" y="12"/>
                    <a:pt x="24" y="12"/>
                  </a:cubicBezTo>
                  <a:cubicBezTo>
                    <a:pt x="32" y="12"/>
                    <a:pt x="32" y="12"/>
                    <a:pt x="32" y="12"/>
                  </a:cubicBezTo>
                  <a:cubicBezTo>
                    <a:pt x="32" y="20"/>
                    <a:pt x="32" y="20"/>
                    <a:pt x="32" y="20"/>
                  </a:cubicBezTo>
                  <a:cubicBezTo>
                    <a:pt x="32" y="32"/>
                    <a:pt x="32" y="32"/>
                    <a:pt x="32" y="32"/>
                  </a:cubicBezTo>
                  <a:cubicBezTo>
                    <a:pt x="36" y="32"/>
                    <a:pt x="36" y="32"/>
                    <a:pt x="36" y="32"/>
                  </a:cubicBezTo>
                  <a:cubicBezTo>
                    <a:pt x="40" y="34"/>
                    <a:pt x="40" y="34"/>
                    <a:pt x="40" y="34"/>
                  </a:cubicBezTo>
                  <a:cubicBezTo>
                    <a:pt x="28" y="48"/>
                    <a:pt x="28" y="48"/>
                    <a:pt x="28" y="48"/>
                  </a:cubicBezTo>
                  <a:cubicBezTo>
                    <a:pt x="16" y="34"/>
                    <a:pt x="16" y="34"/>
                    <a:pt x="16" y="34"/>
                  </a:cubicBezTo>
                  <a:cubicBezTo>
                    <a:pt x="20" y="32"/>
                    <a:pt x="20" y="32"/>
                    <a:pt x="20" y="32"/>
                  </a:cubicBezTo>
                  <a:cubicBezTo>
                    <a:pt x="24" y="32"/>
                    <a:pt x="24" y="32"/>
                    <a:pt x="24" y="32"/>
                  </a:cubicBezTo>
                  <a:cubicBezTo>
                    <a:pt x="24" y="20"/>
                    <a:pt x="24" y="20"/>
                    <a:pt x="24" y="20"/>
                  </a:cubicBezTo>
                  <a:cubicBezTo>
                    <a:pt x="0" y="20"/>
                    <a:pt x="0" y="20"/>
                    <a:pt x="0" y="20"/>
                  </a:cubicBezTo>
                  <a:cubicBezTo>
                    <a:pt x="0" y="56"/>
                    <a:pt x="0" y="56"/>
                    <a:pt x="0" y="56"/>
                  </a:cubicBezTo>
                  <a:cubicBezTo>
                    <a:pt x="12" y="44"/>
                    <a:pt x="12" y="44"/>
                    <a:pt x="12" y="44"/>
                  </a:cubicBezTo>
                  <a:cubicBezTo>
                    <a:pt x="26" y="58"/>
                    <a:pt x="26" y="58"/>
                    <a:pt x="26" y="58"/>
                  </a:cubicBezTo>
                  <a:cubicBezTo>
                    <a:pt x="12" y="72"/>
                    <a:pt x="12" y="72"/>
                    <a:pt x="12" y="72"/>
                  </a:cubicBezTo>
                  <a:cubicBezTo>
                    <a:pt x="0" y="60"/>
                    <a:pt x="0" y="60"/>
                    <a:pt x="0" y="60"/>
                  </a:cubicBezTo>
                  <a:cubicBezTo>
                    <a:pt x="0" y="80"/>
                    <a:pt x="0" y="80"/>
                    <a:pt x="0" y="80"/>
                  </a:cubicBezTo>
                  <a:cubicBezTo>
                    <a:pt x="40" y="80"/>
                    <a:pt x="40" y="80"/>
                    <a:pt x="40" y="80"/>
                  </a:cubicBezTo>
                  <a:cubicBezTo>
                    <a:pt x="41" y="80"/>
                    <a:pt x="44" y="77"/>
                    <a:pt x="44" y="76"/>
                  </a:cubicBezTo>
                  <a:cubicBezTo>
                    <a:pt x="44" y="4"/>
                    <a:pt x="44" y="4"/>
                    <a:pt x="44" y="4"/>
                  </a:cubicBezTo>
                  <a:cubicBezTo>
                    <a:pt x="44" y="3"/>
                    <a:pt x="41" y="0"/>
                    <a:pt x="4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93" name="Freeform 69"/>
            <p:cNvSpPr>
              <a:spLocks noEditPoints="1"/>
            </p:cNvSpPr>
            <p:nvPr/>
          </p:nvSpPr>
          <p:spPr bwMode="auto">
            <a:xfrm>
              <a:off x="3453" y="2013"/>
              <a:ext cx="172" cy="296"/>
            </a:xfrm>
            <a:custGeom>
              <a:avLst/>
              <a:gdLst>
                <a:gd name="T0" fmla="*/ 0 w 72"/>
                <a:gd name="T1" fmla="*/ 17 h 122"/>
                <a:gd name="T2" fmla="*/ 0 w 72"/>
                <a:gd name="T3" fmla="*/ 105 h 122"/>
                <a:gd name="T4" fmla="*/ 72 w 72"/>
                <a:gd name="T5" fmla="*/ 122 h 122"/>
                <a:gd name="T6" fmla="*/ 72 w 72"/>
                <a:gd name="T7" fmla="*/ 0 h 122"/>
                <a:gd name="T8" fmla="*/ 0 w 72"/>
                <a:gd name="T9" fmla="*/ 17 h 122"/>
                <a:gd name="T10" fmla="*/ 52 w 72"/>
                <a:gd name="T11" fmla="*/ 55 h 122"/>
                <a:gd name="T12" fmla="*/ 51 w 72"/>
                <a:gd name="T13" fmla="*/ 58 h 122"/>
                <a:gd name="T14" fmla="*/ 49 w 72"/>
                <a:gd name="T15" fmla="*/ 61 h 122"/>
                <a:gd name="T16" fmla="*/ 47 w 72"/>
                <a:gd name="T17" fmla="*/ 64 h 122"/>
                <a:gd name="T18" fmla="*/ 44 w 72"/>
                <a:gd name="T19" fmla="*/ 66 h 122"/>
                <a:gd name="T20" fmla="*/ 41 w 72"/>
                <a:gd name="T21" fmla="*/ 68 h 122"/>
                <a:gd name="T22" fmla="*/ 38 w 72"/>
                <a:gd name="T23" fmla="*/ 68 h 122"/>
                <a:gd name="T24" fmla="*/ 34 w 72"/>
                <a:gd name="T25" fmla="*/ 69 h 122"/>
                <a:gd name="T26" fmla="*/ 29 w 72"/>
                <a:gd name="T27" fmla="*/ 69 h 122"/>
                <a:gd name="T28" fmla="*/ 29 w 72"/>
                <a:gd name="T29" fmla="*/ 86 h 122"/>
                <a:gd name="T30" fmla="*/ 20 w 72"/>
                <a:gd name="T31" fmla="*/ 85 h 122"/>
                <a:gd name="T32" fmla="*/ 20 w 72"/>
                <a:gd name="T33" fmla="*/ 37 h 122"/>
                <a:gd name="T34" fmla="*/ 35 w 72"/>
                <a:gd name="T35" fmla="*/ 36 h 122"/>
                <a:gd name="T36" fmla="*/ 42 w 72"/>
                <a:gd name="T37" fmla="*/ 36 h 122"/>
                <a:gd name="T38" fmla="*/ 47 w 72"/>
                <a:gd name="T39" fmla="*/ 39 h 122"/>
                <a:gd name="T40" fmla="*/ 51 w 72"/>
                <a:gd name="T41" fmla="*/ 44 h 122"/>
                <a:gd name="T42" fmla="*/ 52 w 72"/>
                <a:gd name="T43" fmla="*/ 51 h 122"/>
                <a:gd name="T44" fmla="*/ 52 w 72"/>
                <a:gd name="T45" fmla="*/ 5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2" h="122">
                  <a:moveTo>
                    <a:pt x="0" y="17"/>
                  </a:moveTo>
                  <a:cubicBezTo>
                    <a:pt x="0" y="105"/>
                    <a:pt x="0" y="105"/>
                    <a:pt x="0" y="105"/>
                  </a:cubicBezTo>
                  <a:cubicBezTo>
                    <a:pt x="72" y="122"/>
                    <a:pt x="72" y="122"/>
                    <a:pt x="72" y="122"/>
                  </a:cubicBezTo>
                  <a:cubicBezTo>
                    <a:pt x="72" y="0"/>
                    <a:pt x="72" y="0"/>
                    <a:pt x="72" y="0"/>
                  </a:cubicBezTo>
                  <a:lnTo>
                    <a:pt x="0" y="17"/>
                  </a:lnTo>
                  <a:close/>
                  <a:moveTo>
                    <a:pt x="52" y="55"/>
                  </a:moveTo>
                  <a:cubicBezTo>
                    <a:pt x="51" y="56"/>
                    <a:pt x="51" y="57"/>
                    <a:pt x="51" y="58"/>
                  </a:cubicBezTo>
                  <a:cubicBezTo>
                    <a:pt x="50" y="59"/>
                    <a:pt x="50" y="60"/>
                    <a:pt x="49" y="61"/>
                  </a:cubicBezTo>
                  <a:cubicBezTo>
                    <a:pt x="49" y="62"/>
                    <a:pt x="48" y="63"/>
                    <a:pt x="47" y="64"/>
                  </a:cubicBezTo>
                  <a:cubicBezTo>
                    <a:pt x="46" y="65"/>
                    <a:pt x="45" y="65"/>
                    <a:pt x="44" y="66"/>
                  </a:cubicBezTo>
                  <a:cubicBezTo>
                    <a:pt x="43" y="67"/>
                    <a:pt x="42" y="67"/>
                    <a:pt x="41" y="68"/>
                  </a:cubicBezTo>
                  <a:cubicBezTo>
                    <a:pt x="40" y="68"/>
                    <a:pt x="39" y="68"/>
                    <a:pt x="38" y="68"/>
                  </a:cubicBezTo>
                  <a:cubicBezTo>
                    <a:pt x="37" y="69"/>
                    <a:pt x="35" y="69"/>
                    <a:pt x="34" y="69"/>
                  </a:cubicBezTo>
                  <a:cubicBezTo>
                    <a:pt x="29" y="69"/>
                    <a:pt x="29" y="69"/>
                    <a:pt x="29" y="69"/>
                  </a:cubicBezTo>
                  <a:cubicBezTo>
                    <a:pt x="29" y="86"/>
                    <a:pt x="29" y="86"/>
                    <a:pt x="29" y="86"/>
                  </a:cubicBezTo>
                  <a:cubicBezTo>
                    <a:pt x="20" y="85"/>
                    <a:pt x="20" y="85"/>
                    <a:pt x="20" y="85"/>
                  </a:cubicBezTo>
                  <a:cubicBezTo>
                    <a:pt x="20" y="37"/>
                    <a:pt x="20" y="37"/>
                    <a:pt x="20" y="37"/>
                  </a:cubicBezTo>
                  <a:cubicBezTo>
                    <a:pt x="35" y="36"/>
                    <a:pt x="35" y="36"/>
                    <a:pt x="35" y="36"/>
                  </a:cubicBezTo>
                  <a:cubicBezTo>
                    <a:pt x="38" y="36"/>
                    <a:pt x="40" y="36"/>
                    <a:pt x="42" y="36"/>
                  </a:cubicBezTo>
                  <a:cubicBezTo>
                    <a:pt x="44" y="37"/>
                    <a:pt x="46" y="38"/>
                    <a:pt x="47" y="39"/>
                  </a:cubicBezTo>
                  <a:cubicBezTo>
                    <a:pt x="49" y="40"/>
                    <a:pt x="50" y="42"/>
                    <a:pt x="51" y="44"/>
                  </a:cubicBezTo>
                  <a:cubicBezTo>
                    <a:pt x="51" y="46"/>
                    <a:pt x="52" y="49"/>
                    <a:pt x="52" y="51"/>
                  </a:cubicBezTo>
                  <a:cubicBezTo>
                    <a:pt x="52" y="53"/>
                    <a:pt x="52" y="54"/>
                    <a:pt x="52" y="5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94" name="Freeform 70"/>
            <p:cNvSpPr>
              <a:spLocks/>
            </p:cNvSpPr>
            <p:nvPr/>
          </p:nvSpPr>
          <p:spPr bwMode="auto">
            <a:xfrm>
              <a:off x="3522" y="2120"/>
              <a:ext cx="29" cy="39"/>
            </a:xfrm>
            <a:custGeom>
              <a:avLst/>
              <a:gdLst>
                <a:gd name="T0" fmla="*/ 10 w 12"/>
                <a:gd name="T1" fmla="*/ 2 h 16"/>
                <a:gd name="T2" fmla="*/ 8 w 12"/>
                <a:gd name="T3" fmla="*/ 1 h 16"/>
                <a:gd name="T4" fmla="*/ 4 w 12"/>
                <a:gd name="T5" fmla="*/ 0 h 16"/>
                <a:gd name="T6" fmla="*/ 0 w 12"/>
                <a:gd name="T7" fmla="*/ 1 h 16"/>
                <a:gd name="T8" fmla="*/ 0 w 12"/>
                <a:gd name="T9" fmla="*/ 16 h 16"/>
                <a:gd name="T10" fmla="*/ 4 w 12"/>
                <a:gd name="T11" fmla="*/ 16 h 16"/>
                <a:gd name="T12" fmla="*/ 8 w 12"/>
                <a:gd name="T13" fmla="*/ 16 h 16"/>
                <a:gd name="T14" fmla="*/ 10 w 12"/>
                <a:gd name="T15" fmla="*/ 14 h 16"/>
                <a:gd name="T16" fmla="*/ 11 w 12"/>
                <a:gd name="T17" fmla="*/ 12 h 16"/>
                <a:gd name="T18" fmla="*/ 12 w 12"/>
                <a:gd name="T19" fmla="*/ 8 h 16"/>
                <a:gd name="T20" fmla="*/ 11 w 12"/>
                <a:gd name="T21" fmla="*/ 5 h 16"/>
                <a:gd name="T22" fmla="*/ 10 w 12"/>
                <a:gd name="T2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16">
                  <a:moveTo>
                    <a:pt x="10" y="2"/>
                  </a:moveTo>
                  <a:cubicBezTo>
                    <a:pt x="9" y="2"/>
                    <a:pt x="9" y="1"/>
                    <a:pt x="8" y="1"/>
                  </a:cubicBezTo>
                  <a:cubicBezTo>
                    <a:pt x="7" y="1"/>
                    <a:pt x="5" y="0"/>
                    <a:pt x="4" y="0"/>
                  </a:cubicBezTo>
                  <a:cubicBezTo>
                    <a:pt x="0" y="1"/>
                    <a:pt x="0" y="1"/>
                    <a:pt x="0" y="1"/>
                  </a:cubicBezTo>
                  <a:cubicBezTo>
                    <a:pt x="0" y="16"/>
                    <a:pt x="0" y="16"/>
                    <a:pt x="0" y="16"/>
                  </a:cubicBezTo>
                  <a:cubicBezTo>
                    <a:pt x="4" y="16"/>
                    <a:pt x="4" y="16"/>
                    <a:pt x="4" y="16"/>
                  </a:cubicBezTo>
                  <a:cubicBezTo>
                    <a:pt x="5" y="16"/>
                    <a:pt x="7" y="16"/>
                    <a:pt x="8" y="16"/>
                  </a:cubicBezTo>
                  <a:cubicBezTo>
                    <a:pt x="9" y="15"/>
                    <a:pt x="9" y="15"/>
                    <a:pt x="10" y="14"/>
                  </a:cubicBezTo>
                  <a:cubicBezTo>
                    <a:pt x="11" y="13"/>
                    <a:pt x="11" y="13"/>
                    <a:pt x="11" y="12"/>
                  </a:cubicBezTo>
                  <a:cubicBezTo>
                    <a:pt x="12" y="11"/>
                    <a:pt x="12" y="9"/>
                    <a:pt x="12" y="8"/>
                  </a:cubicBezTo>
                  <a:cubicBezTo>
                    <a:pt x="12" y="7"/>
                    <a:pt x="12" y="6"/>
                    <a:pt x="11" y="5"/>
                  </a:cubicBezTo>
                  <a:cubicBezTo>
                    <a:pt x="11" y="4"/>
                    <a:pt x="11" y="3"/>
                    <a:pt x="10"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nvGrpSpPr>
          <p:cNvPr id="595" name="Group 140"/>
          <p:cNvGrpSpPr>
            <a:grpSpLocks noChangeAspect="1"/>
          </p:cNvGrpSpPr>
          <p:nvPr/>
        </p:nvGrpSpPr>
        <p:grpSpPr bwMode="auto">
          <a:xfrm>
            <a:off x="2295680" y="4860771"/>
            <a:ext cx="1262681" cy="358036"/>
            <a:chOff x="562" y="2539"/>
            <a:chExt cx="791" cy="234"/>
          </a:xfrm>
        </p:grpSpPr>
        <p:sp>
          <p:nvSpPr>
            <p:cNvPr id="596" name="Freeform 141"/>
            <p:cNvSpPr>
              <a:spLocks/>
            </p:cNvSpPr>
            <p:nvPr/>
          </p:nvSpPr>
          <p:spPr bwMode="auto">
            <a:xfrm>
              <a:off x="705" y="2595"/>
              <a:ext cx="67" cy="120"/>
            </a:xfrm>
            <a:custGeom>
              <a:avLst/>
              <a:gdLst>
                <a:gd name="T0" fmla="*/ 4 w 28"/>
                <a:gd name="T1" fmla="*/ 0 h 49"/>
                <a:gd name="T2" fmla="*/ 0 w 28"/>
                <a:gd name="T3" fmla="*/ 1 h 49"/>
                <a:gd name="T4" fmla="*/ 0 w 28"/>
                <a:gd name="T5" fmla="*/ 5 h 49"/>
                <a:gd name="T6" fmla="*/ 4 w 28"/>
                <a:gd name="T7" fmla="*/ 5 h 49"/>
                <a:gd name="T8" fmla="*/ 24 w 28"/>
                <a:gd name="T9" fmla="*/ 25 h 49"/>
                <a:gd name="T10" fmla="*/ 4 w 28"/>
                <a:gd name="T11" fmla="*/ 45 h 49"/>
                <a:gd name="T12" fmla="*/ 0 w 28"/>
                <a:gd name="T13" fmla="*/ 44 h 49"/>
                <a:gd name="T14" fmla="*/ 0 w 28"/>
                <a:gd name="T15" fmla="*/ 49 h 49"/>
                <a:gd name="T16" fmla="*/ 4 w 28"/>
                <a:gd name="T17" fmla="*/ 49 h 49"/>
                <a:gd name="T18" fmla="*/ 28 w 28"/>
                <a:gd name="T19" fmla="*/ 25 h 49"/>
                <a:gd name="T20" fmla="*/ 4 w 28"/>
                <a:gd name="T21"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49">
                  <a:moveTo>
                    <a:pt x="4" y="0"/>
                  </a:moveTo>
                  <a:cubicBezTo>
                    <a:pt x="3" y="0"/>
                    <a:pt x="1" y="0"/>
                    <a:pt x="0" y="1"/>
                  </a:cubicBezTo>
                  <a:cubicBezTo>
                    <a:pt x="0" y="5"/>
                    <a:pt x="0" y="5"/>
                    <a:pt x="0" y="5"/>
                  </a:cubicBezTo>
                  <a:cubicBezTo>
                    <a:pt x="1" y="5"/>
                    <a:pt x="3" y="5"/>
                    <a:pt x="4" y="5"/>
                  </a:cubicBezTo>
                  <a:cubicBezTo>
                    <a:pt x="15" y="5"/>
                    <a:pt x="24" y="14"/>
                    <a:pt x="24" y="25"/>
                  </a:cubicBezTo>
                  <a:cubicBezTo>
                    <a:pt x="24" y="36"/>
                    <a:pt x="15" y="45"/>
                    <a:pt x="4" y="45"/>
                  </a:cubicBezTo>
                  <a:cubicBezTo>
                    <a:pt x="3" y="45"/>
                    <a:pt x="1" y="45"/>
                    <a:pt x="0" y="44"/>
                  </a:cubicBezTo>
                  <a:cubicBezTo>
                    <a:pt x="0" y="49"/>
                    <a:pt x="0" y="49"/>
                    <a:pt x="0" y="49"/>
                  </a:cubicBezTo>
                  <a:cubicBezTo>
                    <a:pt x="1" y="49"/>
                    <a:pt x="3" y="49"/>
                    <a:pt x="4" y="49"/>
                  </a:cubicBezTo>
                  <a:cubicBezTo>
                    <a:pt x="18" y="49"/>
                    <a:pt x="28" y="38"/>
                    <a:pt x="28" y="25"/>
                  </a:cubicBezTo>
                  <a:cubicBezTo>
                    <a:pt x="28" y="11"/>
                    <a:pt x="18" y="0"/>
                    <a:pt x="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97" name="Freeform 142"/>
            <p:cNvSpPr>
              <a:spLocks/>
            </p:cNvSpPr>
            <p:nvPr/>
          </p:nvSpPr>
          <p:spPr bwMode="auto">
            <a:xfrm>
              <a:off x="705" y="2685"/>
              <a:ext cx="33" cy="47"/>
            </a:xfrm>
            <a:custGeom>
              <a:avLst/>
              <a:gdLst>
                <a:gd name="T0" fmla="*/ 5 w 14"/>
                <a:gd name="T1" fmla="*/ 0 h 19"/>
                <a:gd name="T2" fmla="*/ 0 w 14"/>
                <a:gd name="T3" fmla="*/ 2 h 19"/>
                <a:gd name="T4" fmla="*/ 0 w 14"/>
                <a:gd name="T5" fmla="*/ 18 h 19"/>
                <a:gd name="T6" fmla="*/ 5 w 14"/>
                <a:gd name="T7" fmla="*/ 19 h 19"/>
                <a:gd name="T8" fmla="*/ 14 w 14"/>
                <a:gd name="T9" fmla="*/ 10 h 19"/>
                <a:gd name="T10" fmla="*/ 5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5" y="0"/>
                  </a:moveTo>
                  <a:cubicBezTo>
                    <a:pt x="3" y="0"/>
                    <a:pt x="1" y="1"/>
                    <a:pt x="0" y="2"/>
                  </a:cubicBezTo>
                  <a:cubicBezTo>
                    <a:pt x="0" y="18"/>
                    <a:pt x="0" y="18"/>
                    <a:pt x="0" y="18"/>
                  </a:cubicBezTo>
                  <a:cubicBezTo>
                    <a:pt x="1" y="19"/>
                    <a:pt x="3" y="19"/>
                    <a:pt x="5" y="19"/>
                  </a:cubicBezTo>
                  <a:cubicBezTo>
                    <a:pt x="10" y="19"/>
                    <a:pt x="14" y="15"/>
                    <a:pt x="14" y="10"/>
                  </a:cubicBezTo>
                  <a:cubicBezTo>
                    <a:pt x="14" y="5"/>
                    <a:pt x="10" y="0"/>
                    <a:pt x="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98" name="Freeform 143"/>
            <p:cNvSpPr>
              <a:spLocks/>
            </p:cNvSpPr>
            <p:nvPr/>
          </p:nvSpPr>
          <p:spPr bwMode="auto">
            <a:xfrm>
              <a:off x="705" y="2578"/>
              <a:ext cx="33" cy="49"/>
            </a:xfrm>
            <a:custGeom>
              <a:avLst/>
              <a:gdLst>
                <a:gd name="T0" fmla="*/ 4 w 14"/>
                <a:gd name="T1" fmla="*/ 0 h 20"/>
                <a:gd name="T2" fmla="*/ 0 w 14"/>
                <a:gd name="T3" fmla="*/ 2 h 20"/>
                <a:gd name="T4" fmla="*/ 0 w 14"/>
                <a:gd name="T5" fmla="*/ 18 h 20"/>
                <a:gd name="T6" fmla="*/ 4 w 14"/>
                <a:gd name="T7" fmla="*/ 20 h 20"/>
                <a:gd name="T8" fmla="*/ 14 w 14"/>
                <a:gd name="T9" fmla="*/ 10 h 20"/>
                <a:gd name="T10" fmla="*/ 4 w 14"/>
                <a:gd name="T11" fmla="*/ 0 h 20"/>
              </a:gdLst>
              <a:ahLst/>
              <a:cxnLst>
                <a:cxn ang="0">
                  <a:pos x="T0" y="T1"/>
                </a:cxn>
                <a:cxn ang="0">
                  <a:pos x="T2" y="T3"/>
                </a:cxn>
                <a:cxn ang="0">
                  <a:pos x="T4" y="T5"/>
                </a:cxn>
                <a:cxn ang="0">
                  <a:pos x="T6" y="T7"/>
                </a:cxn>
                <a:cxn ang="0">
                  <a:pos x="T8" y="T9"/>
                </a:cxn>
                <a:cxn ang="0">
                  <a:pos x="T10" y="T11"/>
                </a:cxn>
              </a:cxnLst>
              <a:rect l="0" t="0" r="r" b="b"/>
              <a:pathLst>
                <a:path w="14" h="20">
                  <a:moveTo>
                    <a:pt x="4" y="0"/>
                  </a:moveTo>
                  <a:cubicBezTo>
                    <a:pt x="3" y="0"/>
                    <a:pt x="1" y="1"/>
                    <a:pt x="0" y="2"/>
                  </a:cubicBezTo>
                  <a:cubicBezTo>
                    <a:pt x="0" y="18"/>
                    <a:pt x="0" y="18"/>
                    <a:pt x="0" y="18"/>
                  </a:cubicBezTo>
                  <a:cubicBezTo>
                    <a:pt x="1" y="19"/>
                    <a:pt x="3" y="20"/>
                    <a:pt x="4" y="20"/>
                  </a:cubicBezTo>
                  <a:cubicBezTo>
                    <a:pt x="10" y="20"/>
                    <a:pt x="14" y="15"/>
                    <a:pt x="14" y="10"/>
                  </a:cubicBezTo>
                  <a:cubicBezTo>
                    <a:pt x="14" y="5"/>
                    <a:pt x="10" y="0"/>
                    <a:pt x="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99" name="Oval 144"/>
            <p:cNvSpPr>
              <a:spLocks noChangeArrowheads="1"/>
            </p:cNvSpPr>
            <p:nvPr/>
          </p:nvSpPr>
          <p:spPr bwMode="auto">
            <a:xfrm>
              <a:off x="743" y="2629"/>
              <a:ext cx="45" cy="4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00" name="Freeform 145"/>
            <p:cNvSpPr>
              <a:spLocks noEditPoints="1"/>
            </p:cNvSpPr>
            <p:nvPr/>
          </p:nvSpPr>
          <p:spPr bwMode="auto">
            <a:xfrm>
              <a:off x="562" y="2539"/>
              <a:ext cx="133" cy="234"/>
            </a:xfrm>
            <a:custGeom>
              <a:avLst/>
              <a:gdLst>
                <a:gd name="T0" fmla="*/ 0 w 56"/>
                <a:gd name="T1" fmla="*/ 83 h 96"/>
                <a:gd name="T2" fmla="*/ 56 w 56"/>
                <a:gd name="T3" fmla="*/ 0 h 96"/>
                <a:gd name="T4" fmla="*/ 35 w 56"/>
                <a:gd name="T5" fmla="*/ 59 h 96"/>
                <a:gd name="T6" fmla="*/ 34 w 56"/>
                <a:gd name="T7" fmla="*/ 63 h 96"/>
                <a:gd name="T8" fmla="*/ 31 w 56"/>
                <a:gd name="T9" fmla="*/ 66 h 96"/>
                <a:gd name="T10" fmla="*/ 26 w 56"/>
                <a:gd name="T11" fmla="*/ 68 h 96"/>
                <a:gd name="T12" fmla="*/ 21 w 56"/>
                <a:gd name="T13" fmla="*/ 68 h 96"/>
                <a:gd name="T14" fmla="*/ 17 w 56"/>
                <a:gd name="T15" fmla="*/ 66 h 96"/>
                <a:gd name="T16" fmla="*/ 16 w 56"/>
                <a:gd name="T17" fmla="*/ 57 h 96"/>
                <a:gd name="T18" fmla="*/ 20 w 56"/>
                <a:gd name="T19" fmla="*/ 60 h 96"/>
                <a:gd name="T20" fmla="*/ 24 w 56"/>
                <a:gd name="T21" fmla="*/ 61 h 96"/>
                <a:gd name="T22" fmla="*/ 26 w 56"/>
                <a:gd name="T23" fmla="*/ 61 h 96"/>
                <a:gd name="T24" fmla="*/ 27 w 56"/>
                <a:gd name="T25" fmla="*/ 60 h 96"/>
                <a:gd name="T26" fmla="*/ 28 w 56"/>
                <a:gd name="T27" fmla="*/ 59 h 96"/>
                <a:gd name="T28" fmla="*/ 28 w 56"/>
                <a:gd name="T29" fmla="*/ 57 h 96"/>
                <a:gd name="T30" fmla="*/ 28 w 56"/>
                <a:gd name="T31" fmla="*/ 56 h 96"/>
                <a:gd name="T32" fmla="*/ 27 w 56"/>
                <a:gd name="T33" fmla="*/ 54 h 96"/>
                <a:gd name="T34" fmla="*/ 25 w 56"/>
                <a:gd name="T35" fmla="*/ 53 h 96"/>
                <a:gd name="T36" fmla="*/ 22 w 56"/>
                <a:gd name="T37" fmla="*/ 51 h 96"/>
                <a:gd name="T38" fmla="*/ 17 w 56"/>
                <a:gd name="T39" fmla="*/ 46 h 96"/>
                <a:gd name="T40" fmla="*/ 16 w 56"/>
                <a:gd name="T41" fmla="*/ 40 h 96"/>
                <a:gd name="T42" fmla="*/ 16 w 56"/>
                <a:gd name="T43" fmla="*/ 35 h 96"/>
                <a:gd name="T44" fmla="*/ 19 w 56"/>
                <a:gd name="T45" fmla="*/ 32 h 96"/>
                <a:gd name="T46" fmla="*/ 22 w 56"/>
                <a:gd name="T47" fmla="*/ 29 h 96"/>
                <a:gd name="T48" fmla="*/ 27 w 56"/>
                <a:gd name="T49" fmla="*/ 28 h 96"/>
                <a:gd name="T50" fmla="*/ 31 w 56"/>
                <a:gd name="T51" fmla="*/ 28 h 96"/>
                <a:gd name="T52" fmla="*/ 34 w 56"/>
                <a:gd name="T53" fmla="*/ 29 h 96"/>
                <a:gd name="T54" fmla="*/ 32 w 56"/>
                <a:gd name="T55" fmla="*/ 36 h 96"/>
                <a:gd name="T56" fmla="*/ 29 w 56"/>
                <a:gd name="T57" fmla="*/ 35 h 96"/>
                <a:gd name="T58" fmla="*/ 26 w 56"/>
                <a:gd name="T59" fmla="*/ 35 h 96"/>
                <a:gd name="T60" fmla="*/ 24 w 56"/>
                <a:gd name="T61" fmla="*/ 36 h 96"/>
                <a:gd name="T62" fmla="*/ 23 w 56"/>
                <a:gd name="T63" fmla="*/ 37 h 96"/>
                <a:gd name="T64" fmla="*/ 23 w 56"/>
                <a:gd name="T65" fmla="*/ 38 h 96"/>
                <a:gd name="T66" fmla="*/ 23 w 56"/>
                <a:gd name="T67" fmla="*/ 40 h 96"/>
                <a:gd name="T68" fmla="*/ 23 w 56"/>
                <a:gd name="T69" fmla="*/ 41 h 96"/>
                <a:gd name="T70" fmla="*/ 24 w 56"/>
                <a:gd name="T71" fmla="*/ 43 h 96"/>
                <a:gd name="T72" fmla="*/ 26 w 56"/>
                <a:gd name="T73" fmla="*/ 44 h 96"/>
                <a:gd name="T74" fmla="*/ 29 w 56"/>
                <a:gd name="T75" fmla="*/ 46 h 96"/>
                <a:gd name="T76" fmla="*/ 32 w 56"/>
                <a:gd name="T77" fmla="*/ 48 h 96"/>
                <a:gd name="T78" fmla="*/ 34 w 56"/>
                <a:gd name="T79" fmla="*/ 51 h 96"/>
                <a:gd name="T80" fmla="*/ 35 w 56"/>
                <a:gd name="T81" fmla="*/ 55 h 96"/>
                <a:gd name="T82" fmla="*/ 35 w 56"/>
                <a:gd name="T83" fmla="*/ 5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6" h="96">
                  <a:moveTo>
                    <a:pt x="0" y="13"/>
                  </a:moveTo>
                  <a:cubicBezTo>
                    <a:pt x="0" y="83"/>
                    <a:pt x="0" y="83"/>
                    <a:pt x="0" y="83"/>
                  </a:cubicBezTo>
                  <a:cubicBezTo>
                    <a:pt x="56" y="96"/>
                    <a:pt x="56" y="96"/>
                    <a:pt x="56" y="96"/>
                  </a:cubicBezTo>
                  <a:cubicBezTo>
                    <a:pt x="56" y="0"/>
                    <a:pt x="56" y="0"/>
                    <a:pt x="56" y="0"/>
                  </a:cubicBezTo>
                  <a:lnTo>
                    <a:pt x="0" y="13"/>
                  </a:lnTo>
                  <a:close/>
                  <a:moveTo>
                    <a:pt x="35" y="59"/>
                  </a:moveTo>
                  <a:cubicBezTo>
                    <a:pt x="35" y="60"/>
                    <a:pt x="35" y="61"/>
                    <a:pt x="35" y="61"/>
                  </a:cubicBezTo>
                  <a:cubicBezTo>
                    <a:pt x="35" y="62"/>
                    <a:pt x="34" y="63"/>
                    <a:pt x="34" y="63"/>
                  </a:cubicBezTo>
                  <a:cubicBezTo>
                    <a:pt x="34" y="64"/>
                    <a:pt x="33" y="64"/>
                    <a:pt x="33" y="65"/>
                  </a:cubicBezTo>
                  <a:cubicBezTo>
                    <a:pt x="32" y="65"/>
                    <a:pt x="32" y="66"/>
                    <a:pt x="31" y="66"/>
                  </a:cubicBezTo>
                  <a:cubicBezTo>
                    <a:pt x="30" y="67"/>
                    <a:pt x="30" y="67"/>
                    <a:pt x="29" y="67"/>
                  </a:cubicBezTo>
                  <a:cubicBezTo>
                    <a:pt x="28" y="68"/>
                    <a:pt x="27" y="68"/>
                    <a:pt x="26" y="68"/>
                  </a:cubicBezTo>
                  <a:cubicBezTo>
                    <a:pt x="25" y="68"/>
                    <a:pt x="24" y="68"/>
                    <a:pt x="23" y="68"/>
                  </a:cubicBezTo>
                  <a:cubicBezTo>
                    <a:pt x="23" y="68"/>
                    <a:pt x="22" y="68"/>
                    <a:pt x="21" y="68"/>
                  </a:cubicBezTo>
                  <a:cubicBezTo>
                    <a:pt x="21" y="68"/>
                    <a:pt x="20" y="67"/>
                    <a:pt x="19" y="67"/>
                  </a:cubicBezTo>
                  <a:cubicBezTo>
                    <a:pt x="19" y="67"/>
                    <a:pt x="18" y="67"/>
                    <a:pt x="17" y="66"/>
                  </a:cubicBezTo>
                  <a:cubicBezTo>
                    <a:pt x="17" y="66"/>
                    <a:pt x="16" y="66"/>
                    <a:pt x="16" y="65"/>
                  </a:cubicBezTo>
                  <a:cubicBezTo>
                    <a:pt x="16" y="57"/>
                    <a:pt x="16" y="57"/>
                    <a:pt x="16" y="57"/>
                  </a:cubicBezTo>
                  <a:cubicBezTo>
                    <a:pt x="16" y="58"/>
                    <a:pt x="17" y="58"/>
                    <a:pt x="18" y="59"/>
                  </a:cubicBezTo>
                  <a:cubicBezTo>
                    <a:pt x="18" y="59"/>
                    <a:pt x="19" y="60"/>
                    <a:pt x="20" y="60"/>
                  </a:cubicBezTo>
                  <a:cubicBezTo>
                    <a:pt x="20" y="60"/>
                    <a:pt x="21" y="61"/>
                    <a:pt x="21" y="61"/>
                  </a:cubicBezTo>
                  <a:cubicBezTo>
                    <a:pt x="22" y="61"/>
                    <a:pt x="23" y="61"/>
                    <a:pt x="24" y="61"/>
                  </a:cubicBezTo>
                  <a:cubicBezTo>
                    <a:pt x="24" y="61"/>
                    <a:pt x="24" y="61"/>
                    <a:pt x="25" y="61"/>
                  </a:cubicBezTo>
                  <a:cubicBezTo>
                    <a:pt x="25" y="61"/>
                    <a:pt x="25" y="61"/>
                    <a:pt x="26" y="61"/>
                  </a:cubicBezTo>
                  <a:cubicBezTo>
                    <a:pt x="26" y="61"/>
                    <a:pt x="26" y="61"/>
                    <a:pt x="26" y="61"/>
                  </a:cubicBezTo>
                  <a:cubicBezTo>
                    <a:pt x="27" y="60"/>
                    <a:pt x="27" y="60"/>
                    <a:pt x="27" y="60"/>
                  </a:cubicBezTo>
                  <a:cubicBezTo>
                    <a:pt x="27" y="60"/>
                    <a:pt x="27" y="60"/>
                    <a:pt x="27" y="59"/>
                  </a:cubicBezTo>
                  <a:cubicBezTo>
                    <a:pt x="28" y="59"/>
                    <a:pt x="28" y="59"/>
                    <a:pt x="28" y="59"/>
                  </a:cubicBezTo>
                  <a:cubicBezTo>
                    <a:pt x="28" y="59"/>
                    <a:pt x="28" y="58"/>
                    <a:pt x="28" y="58"/>
                  </a:cubicBezTo>
                  <a:cubicBezTo>
                    <a:pt x="28" y="58"/>
                    <a:pt x="28" y="58"/>
                    <a:pt x="28" y="57"/>
                  </a:cubicBezTo>
                  <a:cubicBezTo>
                    <a:pt x="28" y="57"/>
                    <a:pt x="28" y="57"/>
                    <a:pt x="28" y="56"/>
                  </a:cubicBezTo>
                  <a:cubicBezTo>
                    <a:pt x="28" y="56"/>
                    <a:pt x="28" y="56"/>
                    <a:pt x="28" y="56"/>
                  </a:cubicBezTo>
                  <a:cubicBezTo>
                    <a:pt x="28" y="55"/>
                    <a:pt x="27" y="55"/>
                    <a:pt x="27" y="55"/>
                  </a:cubicBezTo>
                  <a:cubicBezTo>
                    <a:pt x="27" y="54"/>
                    <a:pt x="27" y="54"/>
                    <a:pt x="27" y="54"/>
                  </a:cubicBezTo>
                  <a:cubicBezTo>
                    <a:pt x="26" y="54"/>
                    <a:pt x="26" y="53"/>
                    <a:pt x="26" y="53"/>
                  </a:cubicBezTo>
                  <a:cubicBezTo>
                    <a:pt x="26" y="53"/>
                    <a:pt x="25" y="53"/>
                    <a:pt x="25" y="53"/>
                  </a:cubicBezTo>
                  <a:cubicBezTo>
                    <a:pt x="25" y="52"/>
                    <a:pt x="24" y="52"/>
                    <a:pt x="24" y="52"/>
                  </a:cubicBezTo>
                  <a:cubicBezTo>
                    <a:pt x="23" y="51"/>
                    <a:pt x="23" y="51"/>
                    <a:pt x="22" y="51"/>
                  </a:cubicBezTo>
                  <a:cubicBezTo>
                    <a:pt x="21" y="50"/>
                    <a:pt x="20" y="49"/>
                    <a:pt x="19" y="49"/>
                  </a:cubicBezTo>
                  <a:cubicBezTo>
                    <a:pt x="19" y="48"/>
                    <a:pt x="18" y="47"/>
                    <a:pt x="17" y="46"/>
                  </a:cubicBezTo>
                  <a:cubicBezTo>
                    <a:pt x="17" y="45"/>
                    <a:pt x="16" y="44"/>
                    <a:pt x="16" y="43"/>
                  </a:cubicBezTo>
                  <a:cubicBezTo>
                    <a:pt x="16" y="42"/>
                    <a:pt x="16" y="41"/>
                    <a:pt x="16" y="40"/>
                  </a:cubicBezTo>
                  <a:cubicBezTo>
                    <a:pt x="16" y="39"/>
                    <a:pt x="16" y="38"/>
                    <a:pt x="16" y="37"/>
                  </a:cubicBezTo>
                  <a:cubicBezTo>
                    <a:pt x="16" y="37"/>
                    <a:pt x="16" y="36"/>
                    <a:pt x="16" y="35"/>
                  </a:cubicBezTo>
                  <a:cubicBezTo>
                    <a:pt x="17" y="35"/>
                    <a:pt x="17" y="34"/>
                    <a:pt x="17" y="33"/>
                  </a:cubicBezTo>
                  <a:cubicBezTo>
                    <a:pt x="18" y="33"/>
                    <a:pt x="18" y="32"/>
                    <a:pt x="19" y="32"/>
                  </a:cubicBezTo>
                  <a:cubicBezTo>
                    <a:pt x="19" y="31"/>
                    <a:pt x="20" y="31"/>
                    <a:pt x="20" y="30"/>
                  </a:cubicBezTo>
                  <a:cubicBezTo>
                    <a:pt x="21" y="30"/>
                    <a:pt x="21" y="29"/>
                    <a:pt x="22" y="29"/>
                  </a:cubicBezTo>
                  <a:cubicBezTo>
                    <a:pt x="23" y="29"/>
                    <a:pt x="23" y="29"/>
                    <a:pt x="24" y="28"/>
                  </a:cubicBezTo>
                  <a:cubicBezTo>
                    <a:pt x="25" y="28"/>
                    <a:pt x="26" y="28"/>
                    <a:pt x="27" y="28"/>
                  </a:cubicBezTo>
                  <a:cubicBezTo>
                    <a:pt x="27" y="28"/>
                    <a:pt x="28" y="28"/>
                    <a:pt x="29" y="28"/>
                  </a:cubicBezTo>
                  <a:cubicBezTo>
                    <a:pt x="29" y="28"/>
                    <a:pt x="30" y="28"/>
                    <a:pt x="31" y="28"/>
                  </a:cubicBezTo>
                  <a:cubicBezTo>
                    <a:pt x="31" y="28"/>
                    <a:pt x="32" y="28"/>
                    <a:pt x="32" y="28"/>
                  </a:cubicBezTo>
                  <a:cubicBezTo>
                    <a:pt x="33" y="29"/>
                    <a:pt x="34" y="29"/>
                    <a:pt x="34" y="29"/>
                  </a:cubicBezTo>
                  <a:cubicBezTo>
                    <a:pt x="34" y="37"/>
                    <a:pt x="34" y="37"/>
                    <a:pt x="34" y="37"/>
                  </a:cubicBezTo>
                  <a:cubicBezTo>
                    <a:pt x="34" y="37"/>
                    <a:pt x="33" y="36"/>
                    <a:pt x="32" y="36"/>
                  </a:cubicBezTo>
                  <a:cubicBezTo>
                    <a:pt x="32" y="36"/>
                    <a:pt x="31" y="36"/>
                    <a:pt x="31" y="35"/>
                  </a:cubicBezTo>
                  <a:cubicBezTo>
                    <a:pt x="30" y="35"/>
                    <a:pt x="29" y="35"/>
                    <a:pt x="29" y="35"/>
                  </a:cubicBezTo>
                  <a:cubicBezTo>
                    <a:pt x="28" y="35"/>
                    <a:pt x="28" y="35"/>
                    <a:pt x="27" y="35"/>
                  </a:cubicBezTo>
                  <a:cubicBezTo>
                    <a:pt x="27" y="35"/>
                    <a:pt x="26" y="35"/>
                    <a:pt x="26" y="35"/>
                  </a:cubicBezTo>
                  <a:cubicBezTo>
                    <a:pt x="26" y="35"/>
                    <a:pt x="25" y="35"/>
                    <a:pt x="25" y="35"/>
                  </a:cubicBezTo>
                  <a:cubicBezTo>
                    <a:pt x="25" y="35"/>
                    <a:pt x="25" y="35"/>
                    <a:pt x="24" y="36"/>
                  </a:cubicBezTo>
                  <a:cubicBezTo>
                    <a:pt x="24" y="36"/>
                    <a:pt x="24" y="36"/>
                    <a:pt x="24" y="36"/>
                  </a:cubicBezTo>
                  <a:cubicBezTo>
                    <a:pt x="24" y="36"/>
                    <a:pt x="23" y="36"/>
                    <a:pt x="23" y="37"/>
                  </a:cubicBezTo>
                  <a:cubicBezTo>
                    <a:pt x="23" y="37"/>
                    <a:pt x="23" y="37"/>
                    <a:pt x="23" y="37"/>
                  </a:cubicBezTo>
                  <a:cubicBezTo>
                    <a:pt x="23" y="38"/>
                    <a:pt x="23" y="38"/>
                    <a:pt x="23" y="38"/>
                  </a:cubicBezTo>
                  <a:cubicBezTo>
                    <a:pt x="23" y="38"/>
                    <a:pt x="23" y="39"/>
                    <a:pt x="23" y="39"/>
                  </a:cubicBezTo>
                  <a:cubicBezTo>
                    <a:pt x="23" y="39"/>
                    <a:pt x="23" y="40"/>
                    <a:pt x="23" y="40"/>
                  </a:cubicBezTo>
                  <a:cubicBezTo>
                    <a:pt x="23" y="40"/>
                    <a:pt x="23" y="40"/>
                    <a:pt x="23" y="41"/>
                  </a:cubicBezTo>
                  <a:cubicBezTo>
                    <a:pt x="23" y="41"/>
                    <a:pt x="23" y="41"/>
                    <a:pt x="23" y="41"/>
                  </a:cubicBezTo>
                  <a:cubicBezTo>
                    <a:pt x="23" y="42"/>
                    <a:pt x="23" y="42"/>
                    <a:pt x="24" y="42"/>
                  </a:cubicBezTo>
                  <a:cubicBezTo>
                    <a:pt x="24" y="42"/>
                    <a:pt x="24" y="42"/>
                    <a:pt x="24" y="43"/>
                  </a:cubicBezTo>
                  <a:cubicBezTo>
                    <a:pt x="24" y="43"/>
                    <a:pt x="25" y="43"/>
                    <a:pt x="25" y="43"/>
                  </a:cubicBezTo>
                  <a:cubicBezTo>
                    <a:pt x="25" y="43"/>
                    <a:pt x="26" y="44"/>
                    <a:pt x="26" y="44"/>
                  </a:cubicBezTo>
                  <a:cubicBezTo>
                    <a:pt x="26" y="44"/>
                    <a:pt x="27" y="44"/>
                    <a:pt x="27" y="45"/>
                  </a:cubicBezTo>
                  <a:cubicBezTo>
                    <a:pt x="28" y="45"/>
                    <a:pt x="29" y="46"/>
                    <a:pt x="29" y="46"/>
                  </a:cubicBezTo>
                  <a:cubicBezTo>
                    <a:pt x="30" y="46"/>
                    <a:pt x="30" y="47"/>
                    <a:pt x="31" y="47"/>
                  </a:cubicBezTo>
                  <a:cubicBezTo>
                    <a:pt x="31" y="48"/>
                    <a:pt x="32" y="48"/>
                    <a:pt x="32" y="48"/>
                  </a:cubicBezTo>
                  <a:cubicBezTo>
                    <a:pt x="33" y="49"/>
                    <a:pt x="33" y="49"/>
                    <a:pt x="33" y="50"/>
                  </a:cubicBezTo>
                  <a:cubicBezTo>
                    <a:pt x="34" y="50"/>
                    <a:pt x="34" y="51"/>
                    <a:pt x="34" y="51"/>
                  </a:cubicBezTo>
                  <a:cubicBezTo>
                    <a:pt x="35" y="52"/>
                    <a:pt x="35" y="52"/>
                    <a:pt x="35" y="53"/>
                  </a:cubicBezTo>
                  <a:cubicBezTo>
                    <a:pt x="35" y="53"/>
                    <a:pt x="35" y="54"/>
                    <a:pt x="35" y="55"/>
                  </a:cubicBezTo>
                  <a:cubicBezTo>
                    <a:pt x="35" y="55"/>
                    <a:pt x="36" y="56"/>
                    <a:pt x="36" y="57"/>
                  </a:cubicBezTo>
                  <a:cubicBezTo>
                    <a:pt x="36" y="58"/>
                    <a:pt x="35" y="58"/>
                    <a:pt x="35" y="5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01" name="Freeform 146"/>
            <p:cNvSpPr>
              <a:spLocks/>
            </p:cNvSpPr>
            <p:nvPr/>
          </p:nvSpPr>
          <p:spPr bwMode="auto">
            <a:xfrm>
              <a:off x="858" y="2615"/>
              <a:ext cx="45" cy="85"/>
            </a:xfrm>
            <a:custGeom>
              <a:avLst/>
              <a:gdLst>
                <a:gd name="T0" fmla="*/ 19 w 19"/>
                <a:gd name="T1" fmla="*/ 26 h 35"/>
                <a:gd name="T2" fmla="*/ 16 w 19"/>
                <a:gd name="T3" fmla="*/ 32 h 35"/>
                <a:gd name="T4" fmla="*/ 8 w 19"/>
                <a:gd name="T5" fmla="*/ 35 h 35"/>
                <a:gd name="T6" fmla="*/ 3 w 19"/>
                <a:gd name="T7" fmla="*/ 34 h 35"/>
                <a:gd name="T8" fmla="*/ 0 w 19"/>
                <a:gd name="T9" fmla="*/ 33 h 35"/>
                <a:gd name="T10" fmla="*/ 0 w 19"/>
                <a:gd name="T11" fmla="*/ 28 h 35"/>
                <a:gd name="T12" fmla="*/ 4 w 19"/>
                <a:gd name="T13" fmla="*/ 30 h 35"/>
                <a:gd name="T14" fmla="*/ 8 w 19"/>
                <a:gd name="T15" fmla="*/ 31 h 35"/>
                <a:gd name="T16" fmla="*/ 15 w 19"/>
                <a:gd name="T17" fmla="*/ 26 h 35"/>
                <a:gd name="T18" fmla="*/ 13 w 19"/>
                <a:gd name="T19" fmla="*/ 22 h 35"/>
                <a:gd name="T20" fmla="*/ 8 w 19"/>
                <a:gd name="T21" fmla="*/ 18 h 35"/>
                <a:gd name="T22" fmla="*/ 2 w 19"/>
                <a:gd name="T23" fmla="*/ 14 h 35"/>
                <a:gd name="T24" fmla="*/ 0 w 19"/>
                <a:gd name="T25" fmla="*/ 9 h 35"/>
                <a:gd name="T26" fmla="*/ 3 w 19"/>
                <a:gd name="T27" fmla="*/ 2 h 35"/>
                <a:gd name="T28" fmla="*/ 11 w 19"/>
                <a:gd name="T29" fmla="*/ 0 h 35"/>
                <a:gd name="T30" fmla="*/ 17 w 19"/>
                <a:gd name="T31" fmla="*/ 1 h 35"/>
                <a:gd name="T32" fmla="*/ 17 w 19"/>
                <a:gd name="T33" fmla="*/ 5 h 35"/>
                <a:gd name="T34" fmla="*/ 11 w 19"/>
                <a:gd name="T35" fmla="*/ 3 h 35"/>
                <a:gd name="T36" fmla="*/ 6 w 19"/>
                <a:gd name="T37" fmla="*/ 5 h 35"/>
                <a:gd name="T38" fmla="*/ 4 w 19"/>
                <a:gd name="T39" fmla="*/ 8 h 35"/>
                <a:gd name="T40" fmla="*/ 5 w 19"/>
                <a:gd name="T41" fmla="*/ 11 h 35"/>
                <a:gd name="T42" fmla="*/ 7 w 19"/>
                <a:gd name="T43" fmla="*/ 13 h 35"/>
                <a:gd name="T44" fmla="*/ 11 w 19"/>
                <a:gd name="T45" fmla="*/ 16 h 35"/>
                <a:gd name="T46" fmla="*/ 17 w 19"/>
                <a:gd name="T47" fmla="*/ 20 h 35"/>
                <a:gd name="T48" fmla="*/ 19 w 19"/>
                <a:gd name="T49" fmla="*/ 2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35">
                  <a:moveTo>
                    <a:pt x="19" y="26"/>
                  </a:moveTo>
                  <a:cubicBezTo>
                    <a:pt x="19" y="28"/>
                    <a:pt x="18" y="31"/>
                    <a:pt x="16" y="32"/>
                  </a:cubicBezTo>
                  <a:cubicBezTo>
                    <a:pt x="14" y="34"/>
                    <a:pt x="11" y="35"/>
                    <a:pt x="8" y="35"/>
                  </a:cubicBezTo>
                  <a:cubicBezTo>
                    <a:pt x="6" y="35"/>
                    <a:pt x="5" y="34"/>
                    <a:pt x="3" y="34"/>
                  </a:cubicBezTo>
                  <a:cubicBezTo>
                    <a:pt x="2" y="34"/>
                    <a:pt x="1" y="33"/>
                    <a:pt x="0" y="33"/>
                  </a:cubicBezTo>
                  <a:cubicBezTo>
                    <a:pt x="0" y="28"/>
                    <a:pt x="0" y="28"/>
                    <a:pt x="0" y="28"/>
                  </a:cubicBezTo>
                  <a:cubicBezTo>
                    <a:pt x="1" y="29"/>
                    <a:pt x="2" y="30"/>
                    <a:pt x="4" y="30"/>
                  </a:cubicBezTo>
                  <a:cubicBezTo>
                    <a:pt x="5" y="31"/>
                    <a:pt x="7" y="31"/>
                    <a:pt x="8" y="31"/>
                  </a:cubicBezTo>
                  <a:cubicBezTo>
                    <a:pt x="12" y="31"/>
                    <a:pt x="15" y="29"/>
                    <a:pt x="15" y="26"/>
                  </a:cubicBezTo>
                  <a:cubicBezTo>
                    <a:pt x="15" y="25"/>
                    <a:pt x="14" y="23"/>
                    <a:pt x="13" y="22"/>
                  </a:cubicBezTo>
                  <a:cubicBezTo>
                    <a:pt x="12" y="21"/>
                    <a:pt x="10" y="20"/>
                    <a:pt x="8" y="18"/>
                  </a:cubicBezTo>
                  <a:cubicBezTo>
                    <a:pt x="5" y="17"/>
                    <a:pt x="3" y="15"/>
                    <a:pt x="2" y="14"/>
                  </a:cubicBezTo>
                  <a:cubicBezTo>
                    <a:pt x="1" y="13"/>
                    <a:pt x="0" y="11"/>
                    <a:pt x="0" y="9"/>
                  </a:cubicBezTo>
                  <a:cubicBezTo>
                    <a:pt x="0" y="6"/>
                    <a:pt x="1" y="4"/>
                    <a:pt x="3" y="2"/>
                  </a:cubicBezTo>
                  <a:cubicBezTo>
                    <a:pt x="5" y="1"/>
                    <a:pt x="8" y="0"/>
                    <a:pt x="11" y="0"/>
                  </a:cubicBezTo>
                  <a:cubicBezTo>
                    <a:pt x="14" y="0"/>
                    <a:pt x="16" y="0"/>
                    <a:pt x="17" y="1"/>
                  </a:cubicBezTo>
                  <a:cubicBezTo>
                    <a:pt x="17" y="5"/>
                    <a:pt x="17" y="5"/>
                    <a:pt x="17" y="5"/>
                  </a:cubicBezTo>
                  <a:cubicBezTo>
                    <a:pt x="16" y="4"/>
                    <a:pt x="13" y="3"/>
                    <a:pt x="11" y="3"/>
                  </a:cubicBezTo>
                  <a:cubicBezTo>
                    <a:pt x="9" y="3"/>
                    <a:pt x="7" y="4"/>
                    <a:pt x="6" y="5"/>
                  </a:cubicBezTo>
                  <a:cubicBezTo>
                    <a:pt x="5" y="6"/>
                    <a:pt x="4" y="7"/>
                    <a:pt x="4" y="8"/>
                  </a:cubicBezTo>
                  <a:cubicBezTo>
                    <a:pt x="4" y="10"/>
                    <a:pt x="4" y="10"/>
                    <a:pt x="5" y="11"/>
                  </a:cubicBezTo>
                  <a:cubicBezTo>
                    <a:pt x="5" y="12"/>
                    <a:pt x="6" y="12"/>
                    <a:pt x="7" y="13"/>
                  </a:cubicBezTo>
                  <a:cubicBezTo>
                    <a:pt x="7" y="14"/>
                    <a:pt x="9" y="15"/>
                    <a:pt x="11" y="16"/>
                  </a:cubicBezTo>
                  <a:cubicBezTo>
                    <a:pt x="14" y="17"/>
                    <a:pt x="16" y="19"/>
                    <a:pt x="17" y="20"/>
                  </a:cubicBezTo>
                  <a:cubicBezTo>
                    <a:pt x="18" y="22"/>
                    <a:pt x="19" y="24"/>
                    <a:pt x="19"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02" name="Freeform 147"/>
            <p:cNvSpPr>
              <a:spLocks/>
            </p:cNvSpPr>
            <p:nvPr/>
          </p:nvSpPr>
          <p:spPr bwMode="auto">
            <a:xfrm>
              <a:off x="915" y="2612"/>
              <a:ext cx="47" cy="85"/>
            </a:xfrm>
            <a:custGeom>
              <a:avLst/>
              <a:gdLst>
                <a:gd name="T0" fmla="*/ 20 w 20"/>
                <a:gd name="T1" fmla="*/ 35 h 35"/>
                <a:gd name="T2" fmla="*/ 16 w 20"/>
                <a:gd name="T3" fmla="*/ 35 h 35"/>
                <a:gd name="T4" fmla="*/ 16 w 20"/>
                <a:gd name="T5" fmla="*/ 21 h 35"/>
                <a:gd name="T6" fmla="*/ 10 w 20"/>
                <a:gd name="T7" fmla="*/ 14 h 35"/>
                <a:gd name="T8" fmla="*/ 5 w 20"/>
                <a:gd name="T9" fmla="*/ 16 h 35"/>
                <a:gd name="T10" fmla="*/ 4 w 20"/>
                <a:gd name="T11" fmla="*/ 21 h 35"/>
                <a:gd name="T12" fmla="*/ 4 w 20"/>
                <a:gd name="T13" fmla="*/ 35 h 35"/>
                <a:gd name="T14" fmla="*/ 0 w 20"/>
                <a:gd name="T15" fmla="*/ 35 h 35"/>
                <a:gd name="T16" fmla="*/ 0 w 20"/>
                <a:gd name="T17" fmla="*/ 0 h 35"/>
                <a:gd name="T18" fmla="*/ 4 w 20"/>
                <a:gd name="T19" fmla="*/ 0 h 35"/>
                <a:gd name="T20" fmla="*/ 4 w 20"/>
                <a:gd name="T21" fmla="*/ 15 h 35"/>
                <a:gd name="T22" fmla="*/ 4 w 20"/>
                <a:gd name="T23" fmla="*/ 15 h 35"/>
                <a:gd name="T24" fmla="*/ 11 w 20"/>
                <a:gd name="T25" fmla="*/ 10 h 35"/>
                <a:gd name="T26" fmla="*/ 20 w 20"/>
                <a:gd name="T27" fmla="*/ 20 h 35"/>
                <a:gd name="T28" fmla="*/ 20 w 20"/>
                <a:gd name="T2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35">
                  <a:moveTo>
                    <a:pt x="20" y="35"/>
                  </a:moveTo>
                  <a:cubicBezTo>
                    <a:pt x="16" y="35"/>
                    <a:pt x="16" y="35"/>
                    <a:pt x="16" y="35"/>
                  </a:cubicBezTo>
                  <a:cubicBezTo>
                    <a:pt x="16" y="21"/>
                    <a:pt x="16" y="21"/>
                    <a:pt x="16" y="21"/>
                  </a:cubicBezTo>
                  <a:cubicBezTo>
                    <a:pt x="16" y="16"/>
                    <a:pt x="14" y="14"/>
                    <a:pt x="10" y="14"/>
                  </a:cubicBezTo>
                  <a:cubicBezTo>
                    <a:pt x="8" y="14"/>
                    <a:pt x="7" y="14"/>
                    <a:pt x="5" y="16"/>
                  </a:cubicBezTo>
                  <a:cubicBezTo>
                    <a:pt x="4" y="17"/>
                    <a:pt x="4" y="19"/>
                    <a:pt x="4" y="21"/>
                  </a:cubicBezTo>
                  <a:cubicBezTo>
                    <a:pt x="4" y="35"/>
                    <a:pt x="4" y="35"/>
                    <a:pt x="4" y="35"/>
                  </a:cubicBezTo>
                  <a:cubicBezTo>
                    <a:pt x="0" y="35"/>
                    <a:pt x="0" y="35"/>
                    <a:pt x="0" y="35"/>
                  </a:cubicBezTo>
                  <a:cubicBezTo>
                    <a:pt x="0" y="0"/>
                    <a:pt x="0" y="0"/>
                    <a:pt x="0" y="0"/>
                  </a:cubicBezTo>
                  <a:cubicBezTo>
                    <a:pt x="4" y="0"/>
                    <a:pt x="4" y="0"/>
                    <a:pt x="4" y="0"/>
                  </a:cubicBezTo>
                  <a:cubicBezTo>
                    <a:pt x="4" y="15"/>
                    <a:pt x="4" y="15"/>
                    <a:pt x="4" y="15"/>
                  </a:cubicBezTo>
                  <a:cubicBezTo>
                    <a:pt x="4" y="15"/>
                    <a:pt x="4" y="15"/>
                    <a:pt x="4" y="15"/>
                  </a:cubicBezTo>
                  <a:cubicBezTo>
                    <a:pt x="5" y="12"/>
                    <a:pt x="8" y="10"/>
                    <a:pt x="11" y="10"/>
                  </a:cubicBezTo>
                  <a:cubicBezTo>
                    <a:pt x="17" y="10"/>
                    <a:pt x="20" y="14"/>
                    <a:pt x="20" y="20"/>
                  </a:cubicBezTo>
                  <a:lnTo>
                    <a:pt x="20"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03" name="Freeform 148"/>
            <p:cNvSpPr>
              <a:spLocks noEditPoints="1"/>
            </p:cNvSpPr>
            <p:nvPr/>
          </p:nvSpPr>
          <p:spPr bwMode="auto">
            <a:xfrm>
              <a:off x="972" y="2637"/>
              <a:ext cx="45" cy="63"/>
            </a:xfrm>
            <a:custGeom>
              <a:avLst/>
              <a:gdLst>
                <a:gd name="T0" fmla="*/ 19 w 19"/>
                <a:gd name="T1" fmla="*/ 25 h 26"/>
                <a:gd name="T2" fmla="*/ 15 w 19"/>
                <a:gd name="T3" fmla="*/ 25 h 26"/>
                <a:gd name="T4" fmla="*/ 15 w 19"/>
                <a:gd name="T5" fmla="*/ 21 h 26"/>
                <a:gd name="T6" fmla="*/ 15 w 19"/>
                <a:gd name="T7" fmla="*/ 21 h 26"/>
                <a:gd name="T8" fmla="*/ 7 w 19"/>
                <a:gd name="T9" fmla="*/ 26 h 26"/>
                <a:gd name="T10" fmla="*/ 2 w 19"/>
                <a:gd name="T11" fmla="*/ 24 h 26"/>
                <a:gd name="T12" fmla="*/ 0 w 19"/>
                <a:gd name="T13" fmla="*/ 19 h 26"/>
                <a:gd name="T14" fmla="*/ 8 w 19"/>
                <a:gd name="T15" fmla="*/ 11 h 26"/>
                <a:gd name="T16" fmla="*/ 15 w 19"/>
                <a:gd name="T17" fmla="*/ 10 h 26"/>
                <a:gd name="T18" fmla="*/ 10 w 19"/>
                <a:gd name="T19" fmla="*/ 4 h 26"/>
                <a:gd name="T20" fmla="*/ 2 w 19"/>
                <a:gd name="T21" fmla="*/ 7 h 26"/>
                <a:gd name="T22" fmla="*/ 2 w 19"/>
                <a:gd name="T23" fmla="*/ 3 h 26"/>
                <a:gd name="T24" fmla="*/ 6 w 19"/>
                <a:gd name="T25" fmla="*/ 1 h 26"/>
                <a:gd name="T26" fmla="*/ 10 w 19"/>
                <a:gd name="T27" fmla="*/ 0 h 26"/>
                <a:gd name="T28" fmla="*/ 19 w 19"/>
                <a:gd name="T29" fmla="*/ 9 h 26"/>
                <a:gd name="T30" fmla="*/ 19 w 19"/>
                <a:gd name="T31" fmla="*/ 25 h 26"/>
                <a:gd name="T32" fmla="*/ 15 w 19"/>
                <a:gd name="T33" fmla="*/ 13 h 26"/>
                <a:gd name="T34" fmla="*/ 9 w 19"/>
                <a:gd name="T35" fmla="*/ 14 h 26"/>
                <a:gd name="T36" fmla="*/ 5 w 19"/>
                <a:gd name="T37" fmla="*/ 15 h 26"/>
                <a:gd name="T38" fmla="*/ 4 w 19"/>
                <a:gd name="T39" fmla="*/ 18 h 26"/>
                <a:gd name="T40" fmla="*/ 5 w 19"/>
                <a:gd name="T41" fmla="*/ 21 h 26"/>
                <a:gd name="T42" fmla="*/ 8 w 19"/>
                <a:gd name="T43" fmla="*/ 22 h 26"/>
                <a:gd name="T44" fmla="*/ 13 w 19"/>
                <a:gd name="T45" fmla="*/ 20 h 26"/>
                <a:gd name="T46" fmla="*/ 15 w 19"/>
                <a:gd name="T47" fmla="*/ 15 h 26"/>
                <a:gd name="T48" fmla="*/ 15 w 19"/>
                <a:gd name="T49" fmla="*/ 1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26">
                  <a:moveTo>
                    <a:pt x="19" y="25"/>
                  </a:moveTo>
                  <a:cubicBezTo>
                    <a:pt x="15" y="25"/>
                    <a:pt x="15" y="25"/>
                    <a:pt x="15" y="25"/>
                  </a:cubicBezTo>
                  <a:cubicBezTo>
                    <a:pt x="15" y="21"/>
                    <a:pt x="15" y="21"/>
                    <a:pt x="15" y="21"/>
                  </a:cubicBezTo>
                  <a:cubicBezTo>
                    <a:pt x="15" y="21"/>
                    <a:pt x="15" y="21"/>
                    <a:pt x="15" y="21"/>
                  </a:cubicBezTo>
                  <a:cubicBezTo>
                    <a:pt x="13" y="24"/>
                    <a:pt x="10" y="26"/>
                    <a:pt x="7" y="26"/>
                  </a:cubicBezTo>
                  <a:cubicBezTo>
                    <a:pt x="5" y="26"/>
                    <a:pt x="3" y="25"/>
                    <a:pt x="2" y="24"/>
                  </a:cubicBezTo>
                  <a:cubicBezTo>
                    <a:pt x="0" y="22"/>
                    <a:pt x="0" y="21"/>
                    <a:pt x="0" y="19"/>
                  </a:cubicBezTo>
                  <a:cubicBezTo>
                    <a:pt x="0" y="14"/>
                    <a:pt x="2" y="12"/>
                    <a:pt x="8" y="11"/>
                  </a:cubicBezTo>
                  <a:cubicBezTo>
                    <a:pt x="15" y="10"/>
                    <a:pt x="15" y="10"/>
                    <a:pt x="15" y="10"/>
                  </a:cubicBezTo>
                  <a:cubicBezTo>
                    <a:pt x="15" y="6"/>
                    <a:pt x="13" y="4"/>
                    <a:pt x="10" y="4"/>
                  </a:cubicBezTo>
                  <a:cubicBezTo>
                    <a:pt x="7" y="4"/>
                    <a:pt x="4" y="5"/>
                    <a:pt x="2" y="7"/>
                  </a:cubicBezTo>
                  <a:cubicBezTo>
                    <a:pt x="2" y="3"/>
                    <a:pt x="2" y="3"/>
                    <a:pt x="2" y="3"/>
                  </a:cubicBezTo>
                  <a:cubicBezTo>
                    <a:pt x="3" y="2"/>
                    <a:pt x="4" y="2"/>
                    <a:pt x="6" y="1"/>
                  </a:cubicBezTo>
                  <a:cubicBezTo>
                    <a:pt x="7" y="1"/>
                    <a:pt x="9" y="0"/>
                    <a:pt x="10" y="0"/>
                  </a:cubicBezTo>
                  <a:cubicBezTo>
                    <a:pt x="16" y="0"/>
                    <a:pt x="19" y="3"/>
                    <a:pt x="19" y="9"/>
                  </a:cubicBezTo>
                  <a:lnTo>
                    <a:pt x="19" y="25"/>
                  </a:lnTo>
                  <a:close/>
                  <a:moveTo>
                    <a:pt x="15" y="13"/>
                  </a:moveTo>
                  <a:cubicBezTo>
                    <a:pt x="9" y="14"/>
                    <a:pt x="9" y="14"/>
                    <a:pt x="9" y="14"/>
                  </a:cubicBezTo>
                  <a:cubicBezTo>
                    <a:pt x="7" y="14"/>
                    <a:pt x="6" y="14"/>
                    <a:pt x="5" y="15"/>
                  </a:cubicBezTo>
                  <a:cubicBezTo>
                    <a:pt x="4" y="16"/>
                    <a:pt x="4" y="17"/>
                    <a:pt x="4" y="18"/>
                  </a:cubicBezTo>
                  <a:cubicBezTo>
                    <a:pt x="4" y="20"/>
                    <a:pt x="4" y="21"/>
                    <a:pt x="5" y="21"/>
                  </a:cubicBezTo>
                  <a:cubicBezTo>
                    <a:pt x="6" y="22"/>
                    <a:pt x="7" y="22"/>
                    <a:pt x="8" y="22"/>
                  </a:cubicBezTo>
                  <a:cubicBezTo>
                    <a:pt x="10" y="22"/>
                    <a:pt x="12" y="22"/>
                    <a:pt x="13" y="20"/>
                  </a:cubicBezTo>
                  <a:cubicBezTo>
                    <a:pt x="14" y="19"/>
                    <a:pt x="15" y="17"/>
                    <a:pt x="15" y="15"/>
                  </a:cubicBezTo>
                  <a:lnTo>
                    <a:pt x="15"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04" name="Freeform 149"/>
            <p:cNvSpPr>
              <a:spLocks/>
            </p:cNvSpPr>
            <p:nvPr/>
          </p:nvSpPr>
          <p:spPr bwMode="auto">
            <a:xfrm>
              <a:off x="1029" y="2639"/>
              <a:ext cx="31" cy="58"/>
            </a:xfrm>
            <a:custGeom>
              <a:avLst/>
              <a:gdLst>
                <a:gd name="T0" fmla="*/ 13 w 13"/>
                <a:gd name="T1" fmla="*/ 4 h 24"/>
                <a:gd name="T2" fmla="*/ 10 w 13"/>
                <a:gd name="T3" fmla="*/ 3 h 24"/>
                <a:gd name="T4" fmla="*/ 6 w 13"/>
                <a:gd name="T5" fmla="*/ 6 h 24"/>
                <a:gd name="T6" fmla="*/ 4 w 13"/>
                <a:gd name="T7" fmla="*/ 12 h 24"/>
                <a:gd name="T8" fmla="*/ 4 w 13"/>
                <a:gd name="T9" fmla="*/ 24 h 24"/>
                <a:gd name="T10" fmla="*/ 0 w 13"/>
                <a:gd name="T11" fmla="*/ 24 h 24"/>
                <a:gd name="T12" fmla="*/ 0 w 13"/>
                <a:gd name="T13" fmla="*/ 0 h 24"/>
                <a:gd name="T14" fmla="*/ 4 w 13"/>
                <a:gd name="T15" fmla="*/ 0 h 24"/>
                <a:gd name="T16" fmla="*/ 4 w 13"/>
                <a:gd name="T17" fmla="*/ 5 h 24"/>
                <a:gd name="T18" fmla="*/ 4 w 13"/>
                <a:gd name="T19" fmla="*/ 5 h 24"/>
                <a:gd name="T20" fmla="*/ 7 w 13"/>
                <a:gd name="T21" fmla="*/ 1 h 24"/>
                <a:gd name="T22" fmla="*/ 11 w 13"/>
                <a:gd name="T23" fmla="*/ 0 h 24"/>
                <a:gd name="T24" fmla="*/ 13 w 13"/>
                <a:gd name="T25" fmla="*/ 0 h 24"/>
                <a:gd name="T26" fmla="*/ 13 w 13"/>
                <a:gd name="T27"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24">
                  <a:moveTo>
                    <a:pt x="13" y="4"/>
                  </a:moveTo>
                  <a:cubicBezTo>
                    <a:pt x="12" y="3"/>
                    <a:pt x="11" y="3"/>
                    <a:pt x="10" y="3"/>
                  </a:cubicBezTo>
                  <a:cubicBezTo>
                    <a:pt x="8" y="3"/>
                    <a:pt x="7" y="4"/>
                    <a:pt x="6" y="6"/>
                  </a:cubicBezTo>
                  <a:cubicBezTo>
                    <a:pt x="5" y="7"/>
                    <a:pt x="4" y="9"/>
                    <a:pt x="4" y="12"/>
                  </a:cubicBezTo>
                  <a:cubicBezTo>
                    <a:pt x="4" y="24"/>
                    <a:pt x="4" y="24"/>
                    <a:pt x="4" y="24"/>
                  </a:cubicBezTo>
                  <a:cubicBezTo>
                    <a:pt x="0" y="24"/>
                    <a:pt x="0" y="24"/>
                    <a:pt x="0" y="24"/>
                  </a:cubicBezTo>
                  <a:cubicBezTo>
                    <a:pt x="0" y="0"/>
                    <a:pt x="0" y="0"/>
                    <a:pt x="0" y="0"/>
                  </a:cubicBezTo>
                  <a:cubicBezTo>
                    <a:pt x="4" y="0"/>
                    <a:pt x="4" y="0"/>
                    <a:pt x="4" y="0"/>
                  </a:cubicBezTo>
                  <a:cubicBezTo>
                    <a:pt x="4" y="5"/>
                    <a:pt x="4" y="5"/>
                    <a:pt x="4" y="5"/>
                  </a:cubicBezTo>
                  <a:cubicBezTo>
                    <a:pt x="4" y="5"/>
                    <a:pt x="4" y="5"/>
                    <a:pt x="4" y="5"/>
                  </a:cubicBezTo>
                  <a:cubicBezTo>
                    <a:pt x="5" y="3"/>
                    <a:pt x="6" y="2"/>
                    <a:pt x="7" y="1"/>
                  </a:cubicBezTo>
                  <a:cubicBezTo>
                    <a:pt x="8" y="0"/>
                    <a:pt x="9" y="0"/>
                    <a:pt x="11" y="0"/>
                  </a:cubicBezTo>
                  <a:cubicBezTo>
                    <a:pt x="12" y="0"/>
                    <a:pt x="12" y="0"/>
                    <a:pt x="13" y="0"/>
                  </a:cubicBezTo>
                  <a:lnTo>
                    <a:pt x="13"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05" name="Freeform 150"/>
            <p:cNvSpPr>
              <a:spLocks noEditPoints="1"/>
            </p:cNvSpPr>
            <p:nvPr/>
          </p:nvSpPr>
          <p:spPr bwMode="auto">
            <a:xfrm>
              <a:off x="1060" y="2637"/>
              <a:ext cx="50" cy="63"/>
            </a:xfrm>
            <a:custGeom>
              <a:avLst/>
              <a:gdLst>
                <a:gd name="T0" fmla="*/ 21 w 21"/>
                <a:gd name="T1" fmla="*/ 14 h 26"/>
                <a:gd name="T2" fmla="*/ 4 w 21"/>
                <a:gd name="T3" fmla="*/ 14 h 26"/>
                <a:gd name="T4" fmla="*/ 7 w 21"/>
                <a:gd name="T5" fmla="*/ 20 h 26"/>
                <a:gd name="T6" fmla="*/ 12 w 21"/>
                <a:gd name="T7" fmla="*/ 22 h 26"/>
                <a:gd name="T8" fmla="*/ 20 w 21"/>
                <a:gd name="T9" fmla="*/ 20 h 26"/>
                <a:gd name="T10" fmla="*/ 20 w 21"/>
                <a:gd name="T11" fmla="*/ 23 h 26"/>
                <a:gd name="T12" fmla="*/ 11 w 21"/>
                <a:gd name="T13" fmla="*/ 26 h 26"/>
                <a:gd name="T14" fmla="*/ 3 w 21"/>
                <a:gd name="T15" fmla="*/ 22 h 26"/>
                <a:gd name="T16" fmla="*/ 0 w 21"/>
                <a:gd name="T17" fmla="*/ 13 h 26"/>
                <a:gd name="T18" fmla="*/ 2 w 21"/>
                <a:gd name="T19" fmla="*/ 7 h 26"/>
                <a:gd name="T20" fmla="*/ 6 w 21"/>
                <a:gd name="T21" fmla="*/ 2 h 26"/>
                <a:gd name="T22" fmla="*/ 11 w 21"/>
                <a:gd name="T23" fmla="*/ 0 h 26"/>
                <a:gd name="T24" fmla="*/ 19 w 21"/>
                <a:gd name="T25" fmla="*/ 3 h 26"/>
                <a:gd name="T26" fmla="*/ 21 w 21"/>
                <a:gd name="T27" fmla="*/ 12 h 26"/>
                <a:gd name="T28" fmla="*/ 21 w 21"/>
                <a:gd name="T29" fmla="*/ 14 h 26"/>
                <a:gd name="T30" fmla="*/ 17 w 21"/>
                <a:gd name="T31" fmla="*/ 11 h 26"/>
                <a:gd name="T32" fmla="*/ 16 w 21"/>
                <a:gd name="T33" fmla="*/ 6 h 26"/>
                <a:gd name="T34" fmla="*/ 11 w 21"/>
                <a:gd name="T35" fmla="*/ 4 h 26"/>
                <a:gd name="T36" fmla="*/ 7 w 21"/>
                <a:gd name="T37" fmla="*/ 6 h 26"/>
                <a:gd name="T38" fmla="*/ 4 w 21"/>
                <a:gd name="T39" fmla="*/ 11 h 26"/>
                <a:gd name="T40" fmla="*/ 17 w 21"/>
                <a:gd name="T41" fmla="*/ 1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 h="26">
                  <a:moveTo>
                    <a:pt x="21" y="14"/>
                  </a:moveTo>
                  <a:cubicBezTo>
                    <a:pt x="4" y="14"/>
                    <a:pt x="4" y="14"/>
                    <a:pt x="4" y="14"/>
                  </a:cubicBezTo>
                  <a:cubicBezTo>
                    <a:pt x="4" y="17"/>
                    <a:pt x="5" y="19"/>
                    <a:pt x="7" y="20"/>
                  </a:cubicBezTo>
                  <a:cubicBezTo>
                    <a:pt x="8" y="22"/>
                    <a:pt x="10" y="22"/>
                    <a:pt x="12" y="22"/>
                  </a:cubicBezTo>
                  <a:cubicBezTo>
                    <a:pt x="15" y="22"/>
                    <a:pt x="17" y="21"/>
                    <a:pt x="20" y="20"/>
                  </a:cubicBezTo>
                  <a:cubicBezTo>
                    <a:pt x="20" y="23"/>
                    <a:pt x="20" y="23"/>
                    <a:pt x="20" y="23"/>
                  </a:cubicBezTo>
                  <a:cubicBezTo>
                    <a:pt x="18" y="25"/>
                    <a:pt x="15" y="26"/>
                    <a:pt x="11" y="26"/>
                  </a:cubicBezTo>
                  <a:cubicBezTo>
                    <a:pt x="8" y="26"/>
                    <a:pt x="5" y="25"/>
                    <a:pt x="3" y="22"/>
                  </a:cubicBezTo>
                  <a:cubicBezTo>
                    <a:pt x="1" y="20"/>
                    <a:pt x="0" y="17"/>
                    <a:pt x="0" y="13"/>
                  </a:cubicBezTo>
                  <a:cubicBezTo>
                    <a:pt x="0" y="11"/>
                    <a:pt x="1" y="9"/>
                    <a:pt x="2" y="7"/>
                  </a:cubicBezTo>
                  <a:cubicBezTo>
                    <a:pt x="3" y="5"/>
                    <a:pt x="4" y="3"/>
                    <a:pt x="6" y="2"/>
                  </a:cubicBezTo>
                  <a:cubicBezTo>
                    <a:pt x="8" y="1"/>
                    <a:pt x="9" y="0"/>
                    <a:pt x="11" y="0"/>
                  </a:cubicBezTo>
                  <a:cubicBezTo>
                    <a:pt x="15" y="0"/>
                    <a:pt x="17" y="1"/>
                    <a:pt x="19" y="3"/>
                  </a:cubicBezTo>
                  <a:cubicBezTo>
                    <a:pt x="21" y="6"/>
                    <a:pt x="21" y="8"/>
                    <a:pt x="21" y="12"/>
                  </a:cubicBezTo>
                  <a:lnTo>
                    <a:pt x="21" y="14"/>
                  </a:lnTo>
                  <a:close/>
                  <a:moveTo>
                    <a:pt x="17" y="11"/>
                  </a:moveTo>
                  <a:cubicBezTo>
                    <a:pt x="17" y="9"/>
                    <a:pt x="17" y="7"/>
                    <a:pt x="16" y="6"/>
                  </a:cubicBezTo>
                  <a:cubicBezTo>
                    <a:pt x="15" y="4"/>
                    <a:pt x="13" y="4"/>
                    <a:pt x="11" y="4"/>
                  </a:cubicBezTo>
                  <a:cubicBezTo>
                    <a:pt x="10" y="4"/>
                    <a:pt x="8" y="4"/>
                    <a:pt x="7" y="6"/>
                  </a:cubicBezTo>
                  <a:cubicBezTo>
                    <a:pt x="6" y="7"/>
                    <a:pt x="5" y="9"/>
                    <a:pt x="4" y="11"/>
                  </a:cubicBezTo>
                  <a:lnTo>
                    <a:pt x="17"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06" name="Freeform 151"/>
            <p:cNvSpPr>
              <a:spLocks noEditPoints="1"/>
            </p:cNvSpPr>
            <p:nvPr/>
          </p:nvSpPr>
          <p:spPr bwMode="auto">
            <a:xfrm>
              <a:off x="1122" y="2615"/>
              <a:ext cx="50" cy="82"/>
            </a:xfrm>
            <a:custGeom>
              <a:avLst/>
              <a:gdLst>
                <a:gd name="T0" fmla="*/ 21 w 21"/>
                <a:gd name="T1" fmla="*/ 10 h 34"/>
                <a:gd name="T2" fmla="*/ 17 w 21"/>
                <a:gd name="T3" fmla="*/ 18 h 34"/>
                <a:gd name="T4" fmla="*/ 9 w 21"/>
                <a:gd name="T5" fmla="*/ 21 h 34"/>
                <a:gd name="T6" fmla="*/ 4 w 21"/>
                <a:gd name="T7" fmla="*/ 21 h 34"/>
                <a:gd name="T8" fmla="*/ 4 w 21"/>
                <a:gd name="T9" fmla="*/ 34 h 34"/>
                <a:gd name="T10" fmla="*/ 0 w 21"/>
                <a:gd name="T11" fmla="*/ 34 h 34"/>
                <a:gd name="T12" fmla="*/ 0 w 21"/>
                <a:gd name="T13" fmla="*/ 0 h 34"/>
                <a:gd name="T14" fmla="*/ 9 w 21"/>
                <a:gd name="T15" fmla="*/ 0 h 34"/>
                <a:gd name="T16" fmla="*/ 18 w 21"/>
                <a:gd name="T17" fmla="*/ 3 h 34"/>
                <a:gd name="T18" fmla="*/ 21 w 21"/>
                <a:gd name="T19" fmla="*/ 10 h 34"/>
                <a:gd name="T20" fmla="*/ 17 w 21"/>
                <a:gd name="T21" fmla="*/ 11 h 34"/>
                <a:gd name="T22" fmla="*/ 9 w 21"/>
                <a:gd name="T23" fmla="*/ 4 h 34"/>
                <a:gd name="T24" fmla="*/ 4 w 21"/>
                <a:gd name="T25" fmla="*/ 4 h 34"/>
                <a:gd name="T26" fmla="*/ 4 w 21"/>
                <a:gd name="T27" fmla="*/ 18 h 34"/>
                <a:gd name="T28" fmla="*/ 8 w 21"/>
                <a:gd name="T29" fmla="*/ 18 h 34"/>
                <a:gd name="T30" fmla="*/ 14 w 21"/>
                <a:gd name="T31" fmla="*/ 16 h 34"/>
                <a:gd name="T32" fmla="*/ 17 w 21"/>
                <a:gd name="T33" fmla="*/ 1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 h="34">
                  <a:moveTo>
                    <a:pt x="21" y="10"/>
                  </a:moveTo>
                  <a:cubicBezTo>
                    <a:pt x="21" y="14"/>
                    <a:pt x="20" y="16"/>
                    <a:pt x="17" y="18"/>
                  </a:cubicBezTo>
                  <a:cubicBezTo>
                    <a:pt x="15" y="20"/>
                    <a:pt x="12" y="21"/>
                    <a:pt x="9" y="21"/>
                  </a:cubicBezTo>
                  <a:cubicBezTo>
                    <a:pt x="4" y="21"/>
                    <a:pt x="4" y="21"/>
                    <a:pt x="4" y="21"/>
                  </a:cubicBezTo>
                  <a:cubicBezTo>
                    <a:pt x="4" y="34"/>
                    <a:pt x="4" y="34"/>
                    <a:pt x="4" y="34"/>
                  </a:cubicBezTo>
                  <a:cubicBezTo>
                    <a:pt x="0" y="34"/>
                    <a:pt x="0" y="34"/>
                    <a:pt x="0" y="34"/>
                  </a:cubicBezTo>
                  <a:cubicBezTo>
                    <a:pt x="0" y="0"/>
                    <a:pt x="0" y="0"/>
                    <a:pt x="0" y="0"/>
                  </a:cubicBezTo>
                  <a:cubicBezTo>
                    <a:pt x="9" y="0"/>
                    <a:pt x="9" y="0"/>
                    <a:pt x="9" y="0"/>
                  </a:cubicBezTo>
                  <a:cubicBezTo>
                    <a:pt x="13" y="0"/>
                    <a:pt x="16" y="1"/>
                    <a:pt x="18" y="3"/>
                  </a:cubicBezTo>
                  <a:cubicBezTo>
                    <a:pt x="20" y="5"/>
                    <a:pt x="21" y="7"/>
                    <a:pt x="21" y="10"/>
                  </a:cubicBezTo>
                  <a:close/>
                  <a:moveTo>
                    <a:pt x="17" y="11"/>
                  </a:moveTo>
                  <a:cubicBezTo>
                    <a:pt x="17" y="6"/>
                    <a:pt x="14" y="4"/>
                    <a:pt x="9" y="4"/>
                  </a:cubicBezTo>
                  <a:cubicBezTo>
                    <a:pt x="4" y="4"/>
                    <a:pt x="4" y="4"/>
                    <a:pt x="4" y="4"/>
                  </a:cubicBezTo>
                  <a:cubicBezTo>
                    <a:pt x="4" y="18"/>
                    <a:pt x="4" y="18"/>
                    <a:pt x="4" y="18"/>
                  </a:cubicBezTo>
                  <a:cubicBezTo>
                    <a:pt x="8" y="18"/>
                    <a:pt x="8" y="18"/>
                    <a:pt x="8" y="18"/>
                  </a:cubicBezTo>
                  <a:cubicBezTo>
                    <a:pt x="11" y="18"/>
                    <a:pt x="13" y="17"/>
                    <a:pt x="14" y="16"/>
                  </a:cubicBezTo>
                  <a:cubicBezTo>
                    <a:pt x="16" y="15"/>
                    <a:pt x="17" y="13"/>
                    <a:pt x="17"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07" name="Freeform 152"/>
            <p:cNvSpPr>
              <a:spLocks noEditPoints="1"/>
            </p:cNvSpPr>
            <p:nvPr/>
          </p:nvSpPr>
          <p:spPr bwMode="auto">
            <a:xfrm>
              <a:off x="1175" y="2637"/>
              <a:ext cx="54" cy="63"/>
            </a:xfrm>
            <a:custGeom>
              <a:avLst/>
              <a:gdLst>
                <a:gd name="T0" fmla="*/ 23 w 23"/>
                <a:gd name="T1" fmla="*/ 13 h 26"/>
                <a:gd name="T2" fmla="*/ 20 w 23"/>
                <a:gd name="T3" fmla="*/ 22 h 26"/>
                <a:gd name="T4" fmla="*/ 11 w 23"/>
                <a:gd name="T5" fmla="*/ 26 h 26"/>
                <a:gd name="T6" fmla="*/ 3 w 23"/>
                <a:gd name="T7" fmla="*/ 22 h 26"/>
                <a:gd name="T8" fmla="*/ 0 w 23"/>
                <a:gd name="T9" fmla="*/ 13 h 26"/>
                <a:gd name="T10" fmla="*/ 3 w 23"/>
                <a:gd name="T11" fmla="*/ 4 h 26"/>
                <a:gd name="T12" fmla="*/ 12 w 23"/>
                <a:gd name="T13" fmla="*/ 0 h 26"/>
                <a:gd name="T14" fmla="*/ 20 w 23"/>
                <a:gd name="T15" fmla="*/ 4 h 26"/>
                <a:gd name="T16" fmla="*/ 23 w 23"/>
                <a:gd name="T17" fmla="*/ 13 h 26"/>
                <a:gd name="T18" fmla="*/ 19 w 23"/>
                <a:gd name="T19" fmla="*/ 13 h 26"/>
                <a:gd name="T20" fmla="*/ 17 w 23"/>
                <a:gd name="T21" fmla="*/ 6 h 26"/>
                <a:gd name="T22" fmla="*/ 12 w 23"/>
                <a:gd name="T23" fmla="*/ 4 h 26"/>
                <a:gd name="T24" fmla="*/ 6 w 23"/>
                <a:gd name="T25" fmla="*/ 6 h 26"/>
                <a:gd name="T26" fmla="*/ 4 w 23"/>
                <a:gd name="T27" fmla="*/ 13 h 26"/>
                <a:gd name="T28" fmla="*/ 6 w 23"/>
                <a:gd name="T29" fmla="*/ 20 h 26"/>
                <a:gd name="T30" fmla="*/ 12 w 23"/>
                <a:gd name="T31" fmla="*/ 22 h 26"/>
                <a:gd name="T32" fmla="*/ 17 w 23"/>
                <a:gd name="T33" fmla="*/ 20 h 26"/>
                <a:gd name="T34" fmla="*/ 19 w 23"/>
                <a:gd name="T35" fmla="*/ 1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 h="26">
                  <a:moveTo>
                    <a:pt x="23" y="13"/>
                  </a:moveTo>
                  <a:cubicBezTo>
                    <a:pt x="23" y="17"/>
                    <a:pt x="22" y="20"/>
                    <a:pt x="20" y="22"/>
                  </a:cubicBezTo>
                  <a:cubicBezTo>
                    <a:pt x="18" y="24"/>
                    <a:pt x="15" y="26"/>
                    <a:pt x="11" y="26"/>
                  </a:cubicBezTo>
                  <a:cubicBezTo>
                    <a:pt x="8" y="26"/>
                    <a:pt x="5" y="24"/>
                    <a:pt x="3" y="22"/>
                  </a:cubicBezTo>
                  <a:cubicBezTo>
                    <a:pt x="1" y="20"/>
                    <a:pt x="0" y="17"/>
                    <a:pt x="0" y="13"/>
                  </a:cubicBezTo>
                  <a:cubicBezTo>
                    <a:pt x="0" y="9"/>
                    <a:pt x="1" y="6"/>
                    <a:pt x="3" y="4"/>
                  </a:cubicBezTo>
                  <a:cubicBezTo>
                    <a:pt x="5" y="2"/>
                    <a:pt x="8" y="0"/>
                    <a:pt x="12" y="0"/>
                  </a:cubicBezTo>
                  <a:cubicBezTo>
                    <a:pt x="15" y="0"/>
                    <a:pt x="18" y="2"/>
                    <a:pt x="20" y="4"/>
                  </a:cubicBezTo>
                  <a:cubicBezTo>
                    <a:pt x="22" y="6"/>
                    <a:pt x="23" y="9"/>
                    <a:pt x="23" y="13"/>
                  </a:cubicBezTo>
                  <a:close/>
                  <a:moveTo>
                    <a:pt x="19" y="13"/>
                  </a:moveTo>
                  <a:cubicBezTo>
                    <a:pt x="19" y="10"/>
                    <a:pt x="19" y="8"/>
                    <a:pt x="17" y="6"/>
                  </a:cubicBezTo>
                  <a:cubicBezTo>
                    <a:pt x="16" y="5"/>
                    <a:pt x="14" y="4"/>
                    <a:pt x="12" y="4"/>
                  </a:cubicBezTo>
                  <a:cubicBezTo>
                    <a:pt x="9" y="4"/>
                    <a:pt x="7" y="5"/>
                    <a:pt x="6" y="6"/>
                  </a:cubicBezTo>
                  <a:cubicBezTo>
                    <a:pt x="4" y="8"/>
                    <a:pt x="4" y="10"/>
                    <a:pt x="4" y="13"/>
                  </a:cubicBezTo>
                  <a:cubicBezTo>
                    <a:pt x="4" y="16"/>
                    <a:pt x="4" y="18"/>
                    <a:pt x="6" y="20"/>
                  </a:cubicBezTo>
                  <a:cubicBezTo>
                    <a:pt x="7" y="22"/>
                    <a:pt x="9" y="22"/>
                    <a:pt x="12" y="22"/>
                  </a:cubicBezTo>
                  <a:cubicBezTo>
                    <a:pt x="14" y="22"/>
                    <a:pt x="16" y="22"/>
                    <a:pt x="17" y="20"/>
                  </a:cubicBezTo>
                  <a:cubicBezTo>
                    <a:pt x="19" y="18"/>
                    <a:pt x="19" y="16"/>
                    <a:pt x="19"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08" name="Freeform 153"/>
            <p:cNvSpPr>
              <a:spLocks noEditPoints="1"/>
            </p:cNvSpPr>
            <p:nvPr/>
          </p:nvSpPr>
          <p:spPr bwMode="auto">
            <a:xfrm>
              <a:off x="1239" y="2612"/>
              <a:ext cx="12" cy="85"/>
            </a:xfrm>
            <a:custGeom>
              <a:avLst/>
              <a:gdLst>
                <a:gd name="T0" fmla="*/ 5 w 5"/>
                <a:gd name="T1" fmla="*/ 2 h 35"/>
                <a:gd name="T2" fmla="*/ 5 w 5"/>
                <a:gd name="T3" fmla="*/ 4 h 35"/>
                <a:gd name="T4" fmla="*/ 3 w 5"/>
                <a:gd name="T5" fmla="*/ 5 h 35"/>
                <a:gd name="T6" fmla="*/ 1 w 5"/>
                <a:gd name="T7" fmla="*/ 4 h 35"/>
                <a:gd name="T8" fmla="*/ 0 w 5"/>
                <a:gd name="T9" fmla="*/ 2 h 35"/>
                <a:gd name="T10" fmla="*/ 1 w 5"/>
                <a:gd name="T11" fmla="*/ 1 h 35"/>
                <a:gd name="T12" fmla="*/ 3 w 5"/>
                <a:gd name="T13" fmla="*/ 0 h 35"/>
                <a:gd name="T14" fmla="*/ 5 w 5"/>
                <a:gd name="T15" fmla="*/ 1 h 35"/>
                <a:gd name="T16" fmla="*/ 5 w 5"/>
                <a:gd name="T17" fmla="*/ 2 h 35"/>
                <a:gd name="T18" fmla="*/ 5 w 5"/>
                <a:gd name="T19" fmla="*/ 35 h 35"/>
                <a:gd name="T20" fmla="*/ 1 w 5"/>
                <a:gd name="T21" fmla="*/ 35 h 35"/>
                <a:gd name="T22" fmla="*/ 1 w 5"/>
                <a:gd name="T23" fmla="*/ 11 h 35"/>
                <a:gd name="T24" fmla="*/ 5 w 5"/>
                <a:gd name="T25" fmla="*/ 11 h 35"/>
                <a:gd name="T26" fmla="*/ 5 w 5"/>
                <a:gd name="T27"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35">
                  <a:moveTo>
                    <a:pt x="5" y="2"/>
                  </a:moveTo>
                  <a:cubicBezTo>
                    <a:pt x="5" y="3"/>
                    <a:pt x="5" y="4"/>
                    <a:pt x="5" y="4"/>
                  </a:cubicBezTo>
                  <a:cubicBezTo>
                    <a:pt x="4" y="5"/>
                    <a:pt x="4" y="5"/>
                    <a:pt x="3" y="5"/>
                  </a:cubicBezTo>
                  <a:cubicBezTo>
                    <a:pt x="2" y="5"/>
                    <a:pt x="2" y="5"/>
                    <a:pt x="1" y="4"/>
                  </a:cubicBezTo>
                  <a:cubicBezTo>
                    <a:pt x="1" y="4"/>
                    <a:pt x="0" y="3"/>
                    <a:pt x="0" y="2"/>
                  </a:cubicBezTo>
                  <a:cubicBezTo>
                    <a:pt x="0" y="2"/>
                    <a:pt x="1" y="1"/>
                    <a:pt x="1" y="1"/>
                  </a:cubicBezTo>
                  <a:cubicBezTo>
                    <a:pt x="2" y="0"/>
                    <a:pt x="2" y="0"/>
                    <a:pt x="3" y="0"/>
                  </a:cubicBezTo>
                  <a:cubicBezTo>
                    <a:pt x="4" y="0"/>
                    <a:pt x="4" y="0"/>
                    <a:pt x="5" y="1"/>
                  </a:cubicBezTo>
                  <a:cubicBezTo>
                    <a:pt x="5" y="1"/>
                    <a:pt x="5" y="2"/>
                    <a:pt x="5" y="2"/>
                  </a:cubicBezTo>
                  <a:close/>
                  <a:moveTo>
                    <a:pt x="5" y="35"/>
                  </a:moveTo>
                  <a:cubicBezTo>
                    <a:pt x="1" y="35"/>
                    <a:pt x="1" y="35"/>
                    <a:pt x="1" y="35"/>
                  </a:cubicBezTo>
                  <a:cubicBezTo>
                    <a:pt x="1" y="11"/>
                    <a:pt x="1" y="11"/>
                    <a:pt x="1" y="11"/>
                  </a:cubicBezTo>
                  <a:cubicBezTo>
                    <a:pt x="5" y="11"/>
                    <a:pt x="5" y="11"/>
                    <a:pt x="5" y="11"/>
                  </a:cubicBezTo>
                  <a:lnTo>
                    <a:pt x="5"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09" name="Freeform 154"/>
            <p:cNvSpPr>
              <a:spLocks/>
            </p:cNvSpPr>
            <p:nvPr/>
          </p:nvSpPr>
          <p:spPr bwMode="auto">
            <a:xfrm>
              <a:off x="1265" y="2637"/>
              <a:ext cx="48" cy="60"/>
            </a:xfrm>
            <a:custGeom>
              <a:avLst/>
              <a:gdLst>
                <a:gd name="T0" fmla="*/ 20 w 20"/>
                <a:gd name="T1" fmla="*/ 25 h 25"/>
                <a:gd name="T2" fmla="*/ 16 w 20"/>
                <a:gd name="T3" fmla="*/ 25 h 25"/>
                <a:gd name="T4" fmla="*/ 16 w 20"/>
                <a:gd name="T5" fmla="*/ 11 h 25"/>
                <a:gd name="T6" fmla="*/ 11 w 20"/>
                <a:gd name="T7" fmla="*/ 4 h 25"/>
                <a:gd name="T8" fmla="*/ 6 w 20"/>
                <a:gd name="T9" fmla="*/ 6 h 25"/>
                <a:gd name="T10" fmla="*/ 4 w 20"/>
                <a:gd name="T11" fmla="*/ 11 h 25"/>
                <a:gd name="T12" fmla="*/ 4 w 20"/>
                <a:gd name="T13" fmla="*/ 25 h 25"/>
                <a:gd name="T14" fmla="*/ 0 w 20"/>
                <a:gd name="T15" fmla="*/ 25 h 25"/>
                <a:gd name="T16" fmla="*/ 0 w 20"/>
                <a:gd name="T17" fmla="*/ 1 h 25"/>
                <a:gd name="T18" fmla="*/ 4 w 20"/>
                <a:gd name="T19" fmla="*/ 1 h 25"/>
                <a:gd name="T20" fmla="*/ 4 w 20"/>
                <a:gd name="T21" fmla="*/ 5 h 25"/>
                <a:gd name="T22" fmla="*/ 4 w 20"/>
                <a:gd name="T23" fmla="*/ 5 h 25"/>
                <a:gd name="T24" fmla="*/ 12 w 20"/>
                <a:gd name="T25" fmla="*/ 0 h 25"/>
                <a:gd name="T26" fmla="*/ 18 w 20"/>
                <a:gd name="T27" fmla="*/ 3 h 25"/>
                <a:gd name="T28" fmla="*/ 20 w 20"/>
                <a:gd name="T29" fmla="*/ 10 h 25"/>
                <a:gd name="T30" fmla="*/ 20 w 20"/>
                <a:gd name="T31"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 h="25">
                  <a:moveTo>
                    <a:pt x="20" y="25"/>
                  </a:moveTo>
                  <a:cubicBezTo>
                    <a:pt x="16" y="25"/>
                    <a:pt x="16" y="25"/>
                    <a:pt x="16" y="25"/>
                  </a:cubicBezTo>
                  <a:cubicBezTo>
                    <a:pt x="16" y="11"/>
                    <a:pt x="16" y="11"/>
                    <a:pt x="16" y="11"/>
                  </a:cubicBezTo>
                  <a:cubicBezTo>
                    <a:pt x="16" y="6"/>
                    <a:pt x="15" y="4"/>
                    <a:pt x="11" y="4"/>
                  </a:cubicBezTo>
                  <a:cubicBezTo>
                    <a:pt x="9" y="4"/>
                    <a:pt x="7" y="4"/>
                    <a:pt x="6" y="6"/>
                  </a:cubicBezTo>
                  <a:cubicBezTo>
                    <a:pt x="5" y="7"/>
                    <a:pt x="4" y="9"/>
                    <a:pt x="4" y="11"/>
                  </a:cubicBezTo>
                  <a:cubicBezTo>
                    <a:pt x="4" y="25"/>
                    <a:pt x="4" y="25"/>
                    <a:pt x="4" y="25"/>
                  </a:cubicBezTo>
                  <a:cubicBezTo>
                    <a:pt x="0" y="25"/>
                    <a:pt x="0" y="25"/>
                    <a:pt x="0" y="25"/>
                  </a:cubicBezTo>
                  <a:cubicBezTo>
                    <a:pt x="0" y="1"/>
                    <a:pt x="0" y="1"/>
                    <a:pt x="0" y="1"/>
                  </a:cubicBezTo>
                  <a:cubicBezTo>
                    <a:pt x="4" y="1"/>
                    <a:pt x="4" y="1"/>
                    <a:pt x="4" y="1"/>
                  </a:cubicBezTo>
                  <a:cubicBezTo>
                    <a:pt x="4" y="5"/>
                    <a:pt x="4" y="5"/>
                    <a:pt x="4" y="5"/>
                  </a:cubicBezTo>
                  <a:cubicBezTo>
                    <a:pt x="4" y="5"/>
                    <a:pt x="4" y="5"/>
                    <a:pt x="4" y="5"/>
                  </a:cubicBezTo>
                  <a:cubicBezTo>
                    <a:pt x="6" y="2"/>
                    <a:pt x="9" y="0"/>
                    <a:pt x="12" y="0"/>
                  </a:cubicBezTo>
                  <a:cubicBezTo>
                    <a:pt x="15" y="0"/>
                    <a:pt x="17" y="1"/>
                    <a:pt x="18" y="3"/>
                  </a:cubicBezTo>
                  <a:cubicBezTo>
                    <a:pt x="20" y="5"/>
                    <a:pt x="20" y="7"/>
                    <a:pt x="20" y="10"/>
                  </a:cubicBezTo>
                  <a:lnTo>
                    <a:pt x="2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10" name="Freeform 155"/>
            <p:cNvSpPr>
              <a:spLocks/>
            </p:cNvSpPr>
            <p:nvPr/>
          </p:nvSpPr>
          <p:spPr bwMode="auto">
            <a:xfrm>
              <a:off x="1320" y="2622"/>
              <a:ext cx="33" cy="78"/>
            </a:xfrm>
            <a:custGeom>
              <a:avLst/>
              <a:gdLst>
                <a:gd name="T0" fmla="*/ 14 w 14"/>
                <a:gd name="T1" fmla="*/ 31 h 32"/>
                <a:gd name="T2" fmla="*/ 11 w 14"/>
                <a:gd name="T3" fmla="*/ 32 h 32"/>
                <a:gd name="T4" fmla="*/ 4 w 14"/>
                <a:gd name="T5" fmla="*/ 25 h 32"/>
                <a:gd name="T6" fmla="*/ 4 w 14"/>
                <a:gd name="T7" fmla="*/ 10 h 32"/>
                <a:gd name="T8" fmla="*/ 0 w 14"/>
                <a:gd name="T9" fmla="*/ 10 h 32"/>
                <a:gd name="T10" fmla="*/ 0 w 14"/>
                <a:gd name="T11" fmla="*/ 7 h 32"/>
                <a:gd name="T12" fmla="*/ 4 w 14"/>
                <a:gd name="T13" fmla="*/ 7 h 32"/>
                <a:gd name="T14" fmla="*/ 4 w 14"/>
                <a:gd name="T15" fmla="*/ 1 h 32"/>
                <a:gd name="T16" fmla="*/ 8 w 14"/>
                <a:gd name="T17" fmla="*/ 0 h 32"/>
                <a:gd name="T18" fmla="*/ 8 w 14"/>
                <a:gd name="T19" fmla="*/ 7 h 32"/>
                <a:gd name="T20" fmla="*/ 14 w 14"/>
                <a:gd name="T21" fmla="*/ 7 h 32"/>
                <a:gd name="T22" fmla="*/ 14 w 14"/>
                <a:gd name="T23" fmla="*/ 10 h 32"/>
                <a:gd name="T24" fmla="*/ 8 w 14"/>
                <a:gd name="T25" fmla="*/ 10 h 32"/>
                <a:gd name="T26" fmla="*/ 8 w 14"/>
                <a:gd name="T27" fmla="*/ 24 h 32"/>
                <a:gd name="T28" fmla="*/ 9 w 14"/>
                <a:gd name="T29" fmla="*/ 27 h 32"/>
                <a:gd name="T30" fmla="*/ 12 w 14"/>
                <a:gd name="T31" fmla="*/ 28 h 32"/>
                <a:gd name="T32" fmla="*/ 14 w 14"/>
                <a:gd name="T33" fmla="*/ 28 h 32"/>
                <a:gd name="T34" fmla="*/ 14 w 14"/>
                <a:gd name="T35" fmla="*/ 3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 h="32">
                  <a:moveTo>
                    <a:pt x="14" y="31"/>
                  </a:moveTo>
                  <a:cubicBezTo>
                    <a:pt x="13" y="31"/>
                    <a:pt x="12" y="32"/>
                    <a:pt x="11" y="32"/>
                  </a:cubicBezTo>
                  <a:cubicBezTo>
                    <a:pt x="6" y="32"/>
                    <a:pt x="4" y="29"/>
                    <a:pt x="4" y="25"/>
                  </a:cubicBezTo>
                  <a:cubicBezTo>
                    <a:pt x="4" y="10"/>
                    <a:pt x="4" y="10"/>
                    <a:pt x="4" y="10"/>
                  </a:cubicBezTo>
                  <a:cubicBezTo>
                    <a:pt x="0" y="10"/>
                    <a:pt x="0" y="10"/>
                    <a:pt x="0" y="10"/>
                  </a:cubicBezTo>
                  <a:cubicBezTo>
                    <a:pt x="0" y="7"/>
                    <a:pt x="0" y="7"/>
                    <a:pt x="0" y="7"/>
                  </a:cubicBezTo>
                  <a:cubicBezTo>
                    <a:pt x="4" y="7"/>
                    <a:pt x="4" y="7"/>
                    <a:pt x="4" y="7"/>
                  </a:cubicBezTo>
                  <a:cubicBezTo>
                    <a:pt x="4" y="1"/>
                    <a:pt x="4" y="1"/>
                    <a:pt x="4" y="1"/>
                  </a:cubicBezTo>
                  <a:cubicBezTo>
                    <a:pt x="8" y="0"/>
                    <a:pt x="8" y="0"/>
                    <a:pt x="8" y="0"/>
                  </a:cubicBezTo>
                  <a:cubicBezTo>
                    <a:pt x="8" y="7"/>
                    <a:pt x="8" y="7"/>
                    <a:pt x="8" y="7"/>
                  </a:cubicBezTo>
                  <a:cubicBezTo>
                    <a:pt x="14" y="7"/>
                    <a:pt x="14" y="7"/>
                    <a:pt x="14" y="7"/>
                  </a:cubicBezTo>
                  <a:cubicBezTo>
                    <a:pt x="14" y="10"/>
                    <a:pt x="14" y="10"/>
                    <a:pt x="14" y="10"/>
                  </a:cubicBezTo>
                  <a:cubicBezTo>
                    <a:pt x="8" y="10"/>
                    <a:pt x="8" y="10"/>
                    <a:pt x="8" y="10"/>
                  </a:cubicBezTo>
                  <a:cubicBezTo>
                    <a:pt x="8" y="24"/>
                    <a:pt x="8" y="24"/>
                    <a:pt x="8" y="24"/>
                  </a:cubicBezTo>
                  <a:cubicBezTo>
                    <a:pt x="8" y="25"/>
                    <a:pt x="9" y="27"/>
                    <a:pt x="9" y="27"/>
                  </a:cubicBezTo>
                  <a:cubicBezTo>
                    <a:pt x="10" y="28"/>
                    <a:pt x="11" y="28"/>
                    <a:pt x="12" y="28"/>
                  </a:cubicBezTo>
                  <a:cubicBezTo>
                    <a:pt x="13" y="28"/>
                    <a:pt x="14" y="28"/>
                    <a:pt x="14" y="28"/>
                  </a:cubicBezTo>
                  <a:lnTo>
                    <a:pt x="14" y="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sp>
        <p:nvSpPr>
          <p:cNvPr id="611" name="Freeform 33"/>
          <p:cNvSpPr>
            <a:spLocks noChangeAspect="1" noEditPoints="1"/>
          </p:cNvSpPr>
          <p:nvPr/>
        </p:nvSpPr>
        <p:spPr bwMode="auto">
          <a:xfrm>
            <a:off x="2295681" y="5688845"/>
            <a:ext cx="820818" cy="340266"/>
          </a:xfrm>
          <a:custGeom>
            <a:avLst/>
            <a:gdLst>
              <a:gd name="T0" fmla="*/ 88 w 232"/>
              <a:gd name="T1" fmla="*/ 84 h 96"/>
              <a:gd name="T2" fmla="*/ 84 w 232"/>
              <a:gd name="T3" fmla="*/ 72 h 96"/>
              <a:gd name="T4" fmla="*/ 60 w 232"/>
              <a:gd name="T5" fmla="*/ 60 h 96"/>
              <a:gd name="T6" fmla="*/ 60 w 232"/>
              <a:gd name="T7" fmla="*/ 56 h 96"/>
              <a:gd name="T8" fmla="*/ 84 w 232"/>
              <a:gd name="T9" fmla="*/ 44 h 96"/>
              <a:gd name="T10" fmla="*/ 84 w 232"/>
              <a:gd name="T11" fmla="*/ 36 h 96"/>
              <a:gd name="T12" fmla="*/ 60 w 232"/>
              <a:gd name="T13" fmla="*/ 24 h 96"/>
              <a:gd name="T14" fmla="*/ 60 w 232"/>
              <a:gd name="T15" fmla="*/ 20 h 96"/>
              <a:gd name="T16" fmla="*/ 92 w 232"/>
              <a:gd name="T17" fmla="*/ 16 h 96"/>
              <a:gd name="T18" fmla="*/ 0 w 232"/>
              <a:gd name="T19" fmla="*/ 83 h 96"/>
              <a:gd name="T20" fmla="*/ 48 w 232"/>
              <a:gd name="T21" fmla="*/ 28 h 96"/>
              <a:gd name="T22" fmla="*/ 36 w 232"/>
              <a:gd name="T23" fmla="*/ 53 h 96"/>
              <a:gd name="T24" fmla="*/ 36 w 232"/>
              <a:gd name="T25" fmla="*/ 56 h 96"/>
              <a:gd name="T26" fmla="*/ 35 w 232"/>
              <a:gd name="T27" fmla="*/ 54 h 96"/>
              <a:gd name="T28" fmla="*/ 30 w 232"/>
              <a:gd name="T29" fmla="*/ 29 h 96"/>
              <a:gd name="T30" fmla="*/ 18 w 232"/>
              <a:gd name="T31" fmla="*/ 53 h 96"/>
              <a:gd name="T32" fmla="*/ 18 w 232"/>
              <a:gd name="T33" fmla="*/ 56 h 96"/>
              <a:gd name="T34" fmla="*/ 18 w 232"/>
              <a:gd name="T35" fmla="*/ 53 h 96"/>
              <a:gd name="T36" fmla="*/ 14 w 232"/>
              <a:gd name="T37" fmla="*/ 30 h 96"/>
              <a:gd name="T38" fmla="*/ 21 w 232"/>
              <a:gd name="T39" fmla="*/ 63 h 96"/>
              <a:gd name="T40" fmla="*/ 26 w 232"/>
              <a:gd name="T41" fmla="*/ 40 h 96"/>
              <a:gd name="T42" fmla="*/ 26 w 232"/>
              <a:gd name="T43" fmla="*/ 38 h 96"/>
              <a:gd name="T44" fmla="*/ 27 w 232"/>
              <a:gd name="T45" fmla="*/ 41 h 96"/>
              <a:gd name="T46" fmla="*/ 39 w 232"/>
              <a:gd name="T47" fmla="*/ 64 h 96"/>
              <a:gd name="T48" fmla="*/ 159 w 232"/>
              <a:gd name="T49" fmla="*/ 65 h 96"/>
              <a:gd name="T50" fmla="*/ 147 w 232"/>
              <a:gd name="T51" fmla="*/ 37 h 96"/>
              <a:gd name="T52" fmla="*/ 139 w 232"/>
              <a:gd name="T53" fmla="*/ 65 h 96"/>
              <a:gd name="T54" fmla="*/ 129 w 232"/>
              <a:gd name="T55" fmla="*/ 31 h 96"/>
              <a:gd name="T56" fmla="*/ 137 w 232"/>
              <a:gd name="T57" fmla="*/ 61 h 96"/>
              <a:gd name="T58" fmla="*/ 149 w 232"/>
              <a:gd name="T59" fmla="*/ 31 h 96"/>
              <a:gd name="T60" fmla="*/ 156 w 232"/>
              <a:gd name="T61" fmla="*/ 61 h 96"/>
              <a:gd name="T62" fmla="*/ 168 w 232"/>
              <a:gd name="T63" fmla="*/ 31 h 96"/>
              <a:gd name="T64" fmla="*/ 180 w 232"/>
              <a:gd name="T65" fmla="*/ 66 h 96"/>
              <a:gd name="T66" fmla="*/ 172 w 232"/>
              <a:gd name="T67" fmla="*/ 44 h 96"/>
              <a:gd name="T68" fmla="*/ 192 w 232"/>
              <a:gd name="T69" fmla="*/ 53 h 96"/>
              <a:gd name="T70" fmla="*/ 180 w 232"/>
              <a:gd name="T71" fmla="*/ 44 h 96"/>
              <a:gd name="T72" fmla="*/ 174 w 232"/>
              <a:gd name="T73" fmla="*/ 60 h 96"/>
              <a:gd name="T74" fmla="*/ 188 w 232"/>
              <a:gd name="T75" fmla="*/ 53 h 96"/>
              <a:gd name="T76" fmla="*/ 202 w 232"/>
              <a:gd name="T77" fmla="*/ 47 h 96"/>
              <a:gd name="T78" fmla="*/ 197 w 232"/>
              <a:gd name="T79" fmla="*/ 65 h 96"/>
              <a:gd name="T80" fmla="*/ 200 w 232"/>
              <a:gd name="T81" fmla="*/ 46 h 96"/>
              <a:gd name="T82" fmla="*/ 207 w 232"/>
              <a:gd name="T83" fmla="*/ 41 h 96"/>
              <a:gd name="T84" fmla="*/ 232 w 232"/>
              <a:gd name="T85" fmla="*/ 65 h 96"/>
              <a:gd name="T86" fmla="*/ 228 w 232"/>
              <a:gd name="T87" fmla="*/ 61 h 96"/>
              <a:gd name="T88" fmla="*/ 210 w 232"/>
              <a:gd name="T89" fmla="*/ 54 h 96"/>
              <a:gd name="T90" fmla="*/ 228 w 232"/>
              <a:gd name="T91" fmla="*/ 44 h 96"/>
              <a:gd name="T92" fmla="*/ 232 w 232"/>
              <a:gd name="T93" fmla="*/ 29 h 96"/>
              <a:gd name="T94" fmla="*/ 228 w 232"/>
              <a:gd name="T95" fmla="*/ 51 h 96"/>
              <a:gd name="T96" fmla="*/ 216 w 232"/>
              <a:gd name="T97" fmla="*/ 46 h 96"/>
              <a:gd name="T98" fmla="*/ 221 w 232"/>
              <a:gd name="T99" fmla="*/ 6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32" h="96">
                <a:moveTo>
                  <a:pt x="92" y="16"/>
                </a:moveTo>
                <a:cubicBezTo>
                  <a:pt x="92" y="80"/>
                  <a:pt x="92" y="80"/>
                  <a:pt x="92" y="80"/>
                </a:cubicBezTo>
                <a:cubicBezTo>
                  <a:pt x="92" y="83"/>
                  <a:pt x="90" y="84"/>
                  <a:pt x="88" y="84"/>
                </a:cubicBezTo>
                <a:cubicBezTo>
                  <a:pt x="60" y="84"/>
                  <a:pt x="60" y="84"/>
                  <a:pt x="60" y="84"/>
                </a:cubicBezTo>
                <a:cubicBezTo>
                  <a:pt x="60" y="72"/>
                  <a:pt x="60" y="72"/>
                  <a:pt x="60" y="72"/>
                </a:cubicBezTo>
                <a:cubicBezTo>
                  <a:pt x="84" y="72"/>
                  <a:pt x="84" y="72"/>
                  <a:pt x="84" y="72"/>
                </a:cubicBezTo>
                <a:cubicBezTo>
                  <a:pt x="84" y="68"/>
                  <a:pt x="84" y="68"/>
                  <a:pt x="84" y="68"/>
                </a:cubicBezTo>
                <a:cubicBezTo>
                  <a:pt x="60" y="68"/>
                  <a:pt x="60" y="68"/>
                  <a:pt x="60" y="68"/>
                </a:cubicBezTo>
                <a:cubicBezTo>
                  <a:pt x="60" y="60"/>
                  <a:pt x="60" y="60"/>
                  <a:pt x="60" y="60"/>
                </a:cubicBezTo>
                <a:cubicBezTo>
                  <a:pt x="84" y="60"/>
                  <a:pt x="84" y="60"/>
                  <a:pt x="84" y="60"/>
                </a:cubicBezTo>
                <a:cubicBezTo>
                  <a:pt x="84" y="56"/>
                  <a:pt x="84" y="56"/>
                  <a:pt x="84" y="56"/>
                </a:cubicBezTo>
                <a:cubicBezTo>
                  <a:pt x="60" y="56"/>
                  <a:pt x="60" y="56"/>
                  <a:pt x="60" y="56"/>
                </a:cubicBezTo>
                <a:cubicBezTo>
                  <a:pt x="60" y="48"/>
                  <a:pt x="60" y="48"/>
                  <a:pt x="60" y="48"/>
                </a:cubicBezTo>
                <a:cubicBezTo>
                  <a:pt x="84" y="48"/>
                  <a:pt x="84" y="48"/>
                  <a:pt x="84" y="48"/>
                </a:cubicBezTo>
                <a:cubicBezTo>
                  <a:pt x="84" y="44"/>
                  <a:pt x="84" y="44"/>
                  <a:pt x="84" y="44"/>
                </a:cubicBezTo>
                <a:cubicBezTo>
                  <a:pt x="60" y="44"/>
                  <a:pt x="60" y="44"/>
                  <a:pt x="60" y="44"/>
                </a:cubicBezTo>
                <a:cubicBezTo>
                  <a:pt x="60" y="36"/>
                  <a:pt x="60" y="36"/>
                  <a:pt x="60" y="36"/>
                </a:cubicBezTo>
                <a:cubicBezTo>
                  <a:pt x="84" y="36"/>
                  <a:pt x="84" y="36"/>
                  <a:pt x="84" y="36"/>
                </a:cubicBezTo>
                <a:cubicBezTo>
                  <a:pt x="84" y="32"/>
                  <a:pt x="84" y="32"/>
                  <a:pt x="84" y="32"/>
                </a:cubicBezTo>
                <a:cubicBezTo>
                  <a:pt x="60" y="32"/>
                  <a:pt x="60" y="32"/>
                  <a:pt x="60" y="32"/>
                </a:cubicBezTo>
                <a:cubicBezTo>
                  <a:pt x="60" y="24"/>
                  <a:pt x="60" y="24"/>
                  <a:pt x="60" y="24"/>
                </a:cubicBezTo>
                <a:cubicBezTo>
                  <a:pt x="84" y="24"/>
                  <a:pt x="84" y="24"/>
                  <a:pt x="84" y="24"/>
                </a:cubicBezTo>
                <a:cubicBezTo>
                  <a:pt x="84" y="20"/>
                  <a:pt x="84" y="20"/>
                  <a:pt x="84" y="20"/>
                </a:cubicBezTo>
                <a:cubicBezTo>
                  <a:pt x="60" y="20"/>
                  <a:pt x="60" y="20"/>
                  <a:pt x="60" y="20"/>
                </a:cubicBezTo>
                <a:cubicBezTo>
                  <a:pt x="60" y="12"/>
                  <a:pt x="60" y="12"/>
                  <a:pt x="60" y="12"/>
                </a:cubicBezTo>
                <a:cubicBezTo>
                  <a:pt x="88" y="12"/>
                  <a:pt x="88" y="12"/>
                  <a:pt x="88" y="12"/>
                </a:cubicBezTo>
                <a:cubicBezTo>
                  <a:pt x="90" y="12"/>
                  <a:pt x="92" y="14"/>
                  <a:pt x="92" y="16"/>
                </a:cubicBezTo>
                <a:close/>
                <a:moveTo>
                  <a:pt x="56" y="0"/>
                </a:moveTo>
                <a:cubicBezTo>
                  <a:pt x="56" y="96"/>
                  <a:pt x="56" y="96"/>
                  <a:pt x="56" y="96"/>
                </a:cubicBezTo>
                <a:cubicBezTo>
                  <a:pt x="0" y="83"/>
                  <a:pt x="0" y="83"/>
                  <a:pt x="0" y="83"/>
                </a:cubicBezTo>
                <a:cubicBezTo>
                  <a:pt x="0" y="13"/>
                  <a:pt x="0" y="13"/>
                  <a:pt x="0" y="13"/>
                </a:cubicBezTo>
                <a:lnTo>
                  <a:pt x="56" y="0"/>
                </a:lnTo>
                <a:close/>
                <a:moveTo>
                  <a:pt x="48" y="28"/>
                </a:moveTo>
                <a:cubicBezTo>
                  <a:pt x="40" y="29"/>
                  <a:pt x="40" y="29"/>
                  <a:pt x="40" y="29"/>
                </a:cubicBezTo>
                <a:cubicBezTo>
                  <a:pt x="36" y="52"/>
                  <a:pt x="36" y="52"/>
                  <a:pt x="36" y="52"/>
                </a:cubicBezTo>
                <a:cubicBezTo>
                  <a:pt x="36" y="53"/>
                  <a:pt x="36" y="53"/>
                  <a:pt x="36" y="53"/>
                </a:cubicBezTo>
                <a:cubicBezTo>
                  <a:pt x="36" y="54"/>
                  <a:pt x="36" y="54"/>
                  <a:pt x="36" y="54"/>
                </a:cubicBezTo>
                <a:cubicBezTo>
                  <a:pt x="36" y="55"/>
                  <a:pt x="36" y="55"/>
                  <a:pt x="36" y="55"/>
                </a:cubicBezTo>
                <a:cubicBezTo>
                  <a:pt x="36" y="56"/>
                  <a:pt x="36" y="56"/>
                  <a:pt x="36" y="56"/>
                </a:cubicBezTo>
                <a:cubicBezTo>
                  <a:pt x="36" y="56"/>
                  <a:pt x="36" y="56"/>
                  <a:pt x="36" y="56"/>
                </a:cubicBezTo>
                <a:cubicBezTo>
                  <a:pt x="36" y="56"/>
                  <a:pt x="35" y="55"/>
                  <a:pt x="35" y="55"/>
                </a:cubicBezTo>
                <a:cubicBezTo>
                  <a:pt x="35" y="55"/>
                  <a:pt x="35" y="54"/>
                  <a:pt x="35" y="54"/>
                </a:cubicBezTo>
                <a:cubicBezTo>
                  <a:pt x="35" y="54"/>
                  <a:pt x="35" y="53"/>
                  <a:pt x="35" y="53"/>
                </a:cubicBezTo>
                <a:cubicBezTo>
                  <a:pt x="35" y="53"/>
                  <a:pt x="35" y="53"/>
                  <a:pt x="35" y="52"/>
                </a:cubicBezTo>
                <a:cubicBezTo>
                  <a:pt x="30" y="29"/>
                  <a:pt x="30" y="29"/>
                  <a:pt x="30" y="29"/>
                </a:cubicBezTo>
                <a:cubicBezTo>
                  <a:pt x="23" y="30"/>
                  <a:pt x="23" y="30"/>
                  <a:pt x="23" y="30"/>
                </a:cubicBezTo>
                <a:cubicBezTo>
                  <a:pt x="18" y="52"/>
                  <a:pt x="18" y="52"/>
                  <a:pt x="18" y="52"/>
                </a:cubicBezTo>
                <a:cubicBezTo>
                  <a:pt x="18" y="52"/>
                  <a:pt x="18" y="52"/>
                  <a:pt x="18" y="53"/>
                </a:cubicBezTo>
                <a:cubicBezTo>
                  <a:pt x="18" y="53"/>
                  <a:pt x="18" y="53"/>
                  <a:pt x="18" y="54"/>
                </a:cubicBezTo>
                <a:cubicBezTo>
                  <a:pt x="18" y="54"/>
                  <a:pt x="18" y="54"/>
                  <a:pt x="18" y="55"/>
                </a:cubicBezTo>
                <a:cubicBezTo>
                  <a:pt x="18" y="55"/>
                  <a:pt x="18" y="55"/>
                  <a:pt x="18" y="56"/>
                </a:cubicBezTo>
                <a:cubicBezTo>
                  <a:pt x="18" y="56"/>
                  <a:pt x="18" y="56"/>
                  <a:pt x="18" y="56"/>
                </a:cubicBezTo>
                <a:cubicBezTo>
                  <a:pt x="18" y="55"/>
                  <a:pt x="18" y="55"/>
                  <a:pt x="18" y="54"/>
                </a:cubicBezTo>
                <a:cubicBezTo>
                  <a:pt x="18" y="54"/>
                  <a:pt x="18" y="54"/>
                  <a:pt x="18" y="53"/>
                </a:cubicBezTo>
                <a:cubicBezTo>
                  <a:pt x="18" y="53"/>
                  <a:pt x="18" y="53"/>
                  <a:pt x="18" y="53"/>
                </a:cubicBezTo>
                <a:cubicBezTo>
                  <a:pt x="18" y="52"/>
                  <a:pt x="18" y="52"/>
                  <a:pt x="17" y="52"/>
                </a:cubicBezTo>
                <a:cubicBezTo>
                  <a:pt x="14" y="30"/>
                  <a:pt x="14" y="30"/>
                  <a:pt x="14" y="30"/>
                </a:cubicBezTo>
                <a:cubicBezTo>
                  <a:pt x="8" y="31"/>
                  <a:pt x="8" y="31"/>
                  <a:pt x="8" y="31"/>
                </a:cubicBezTo>
                <a:cubicBezTo>
                  <a:pt x="14" y="63"/>
                  <a:pt x="14" y="63"/>
                  <a:pt x="14" y="63"/>
                </a:cubicBezTo>
                <a:cubicBezTo>
                  <a:pt x="21" y="63"/>
                  <a:pt x="21" y="63"/>
                  <a:pt x="21" y="63"/>
                </a:cubicBezTo>
                <a:cubicBezTo>
                  <a:pt x="26" y="42"/>
                  <a:pt x="26" y="42"/>
                  <a:pt x="26" y="42"/>
                </a:cubicBezTo>
                <a:cubicBezTo>
                  <a:pt x="26" y="41"/>
                  <a:pt x="26" y="41"/>
                  <a:pt x="26" y="41"/>
                </a:cubicBezTo>
                <a:cubicBezTo>
                  <a:pt x="26" y="40"/>
                  <a:pt x="26" y="40"/>
                  <a:pt x="26" y="40"/>
                </a:cubicBezTo>
                <a:cubicBezTo>
                  <a:pt x="26" y="40"/>
                  <a:pt x="26" y="39"/>
                  <a:pt x="26" y="39"/>
                </a:cubicBezTo>
                <a:cubicBezTo>
                  <a:pt x="26" y="39"/>
                  <a:pt x="26" y="38"/>
                  <a:pt x="26" y="38"/>
                </a:cubicBezTo>
                <a:cubicBezTo>
                  <a:pt x="26" y="38"/>
                  <a:pt x="26" y="38"/>
                  <a:pt x="26" y="38"/>
                </a:cubicBezTo>
                <a:cubicBezTo>
                  <a:pt x="26" y="38"/>
                  <a:pt x="26" y="38"/>
                  <a:pt x="26" y="39"/>
                </a:cubicBezTo>
                <a:cubicBezTo>
                  <a:pt x="27" y="39"/>
                  <a:pt x="27" y="39"/>
                  <a:pt x="27" y="40"/>
                </a:cubicBezTo>
                <a:cubicBezTo>
                  <a:pt x="27" y="40"/>
                  <a:pt x="27" y="40"/>
                  <a:pt x="27" y="41"/>
                </a:cubicBezTo>
                <a:cubicBezTo>
                  <a:pt x="27" y="41"/>
                  <a:pt x="27" y="41"/>
                  <a:pt x="27" y="42"/>
                </a:cubicBezTo>
                <a:cubicBezTo>
                  <a:pt x="32" y="64"/>
                  <a:pt x="32" y="64"/>
                  <a:pt x="32" y="64"/>
                </a:cubicBezTo>
                <a:cubicBezTo>
                  <a:pt x="39" y="64"/>
                  <a:pt x="39" y="64"/>
                  <a:pt x="39" y="64"/>
                </a:cubicBezTo>
                <a:lnTo>
                  <a:pt x="48" y="28"/>
                </a:lnTo>
                <a:close/>
                <a:moveTo>
                  <a:pt x="168" y="31"/>
                </a:moveTo>
                <a:cubicBezTo>
                  <a:pt x="159" y="65"/>
                  <a:pt x="159" y="65"/>
                  <a:pt x="159" y="65"/>
                </a:cubicBezTo>
                <a:cubicBezTo>
                  <a:pt x="154" y="65"/>
                  <a:pt x="154" y="65"/>
                  <a:pt x="154" y="65"/>
                </a:cubicBezTo>
                <a:cubicBezTo>
                  <a:pt x="147" y="40"/>
                  <a:pt x="147" y="40"/>
                  <a:pt x="147" y="40"/>
                </a:cubicBezTo>
                <a:cubicBezTo>
                  <a:pt x="147" y="40"/>
                  <a:pt x="147" y="38"/>
                  <a:pt x="147" y="37"/>
                </a:cubicBezTo>
                <a:cubicBezTo>
                  <a:pt x="146" y="37"/>
                  <a:pt x="146" y="37"/>
                  <a:pt x="146" y="37"/>
                </a:cubicBezTo>
                <a:cubicBezTo>
                  <a:pt x="146" y="38"/>
                  <a:pt x="146" y="39"/>
                  <a:pt x="146" y="40"/>
                </a:cubicBezTo>
                <a:cubicBezTo>
                  <a:pt x="139" y="65"/>
                  <a:pt x="139" y="65"/>
                  <a:pt x="139" y="65"/>
                </a:cubicBezTo>
                <a:cubicBezTo>
                  <a:pt x="134" y="65"/>
                  <a:pt x="134" y="65"/>
                  <a:pt x="134" y="65"/>
                </a:cubicBezTo>
                <a:cubicBezTo>
                  <a:pt x="124" y="31"/>
                  <a:pt x="124" y="31"/>
                  <a:pt x="124" y="31"/>
                </a:cubicBezTo>
                <a:cubicBezTo>
                  <a:pt x="129" y="31"/>
                  <a:pt x="129" y="31"/>
                  <a:pt x="129" y="31"/>
                </a:cubicBezTo>
                <a:cubicBezTo>
                  <a:pt x="136" y="57"/>
                  <a:pt x="136" y="57"/>
                  <a:pt x="136" y="57"/>
                </a:cubicBezTo>
                <a:cubicBezTo>
                  <a:pt x="136" y="58"/>
                  <a:pt x="136" y="59"/>
                  <a:pt x="137" y="61"/>
                </a:cubicBezTo>
                <a:cubicBezTo>
                  <a:pt x="137" y="61"/>
                  <a:pt x="137" y="61"/>
                  <a:pt x="137" y="61"/>
                </a:cubicBezTo>
                <a:cubicBezTo>
                  <a:pt x="137" y="60"/>
                  <a:pt x="137" y="58"/>
                  <a:pt x="137" y="57"/>
                </a:cubicBezTo>
                <a:cubicBezTo>
                  <a:pt x="145" y="31"/>
                  <a:pt x="145" y="31"/>
                  <a:pt x="145" y="31"/>
                </a:cubicBezTo>
                <a:cubicBezTo>
                  <a:pt x="149" y="31"/>
                  <a:pt x="149" y="31"/>
                  <a:pt x="149" y="31"/>
                </a:cubicBezTo>
                <a:cubicBezTo>
                  <a:pt x="156" y="57"/>
                  <a:pt x="156" y="57"/>
                  <a:pt x="156" y="57"/>
                </a:cubicBezTo>
                <a:cubicBezTo>
                  <a:pt x="156" y="58"/>
                  <a:pt x="156" y="59"/>
                  <a:pt x="156" y="61"/>
                </a:cubicBezTo>
                <a:cubicBezTo>
                  <a:pt x="156" y="61"/>
                  <a:pt x="156" y="61"/>
                  <a:pt x="156" y="61"/>
                </a:cubicBezTo>
                <a:cubicBezTo>
                  <a:pt x="156" y="60"/>
                  <a:pt x="157" y="59"/>
                  <a:pt x="157" y="57"/>
                </a:cubicBezTo>
                <a:cubicBezTo>
                  <a:pt x="164" y="31"/>
                  <a:pt x="164" y="31"/>
                  <a:pt x="164" y="31"/>
                </a:cubicBezTo>
                <a:lnTo>
                  <a:pt x="168" y="31"/>
                </a:lnTo>
                <a:close/>
                <a:moveTo>
                  <a:pt x="192" y="53"/>
                </a:moveTo>
                <a:cubicBezTo>
                  <a:pt x="192" y="57"/>
                  <a:pt x="191" y="60"/>
                  <a:pt x="189" y="62"/>
                </a:cubicBezTo>
                <a:cubicBezTo>
                  <a:pt x="187" y="64"/>
                  <a:pt x="184" y="66"/>
                  <a:pt x="180" y="66"/>
                </a:cubicBezTo>
                <a:cubicBezTo>
                  <a:pt x="176" y="66"/>
                  <a:pt x="174" y="64"/>
                  <a:pt x="171" y="62"/>
                </a:cubicBezTo>
                <a:cubicBezTo>
                  <a:pt x="169" y="60"/>
                  <a:pt x="168" y="57"/>
                  <a:pt x="168" y="53"/>
                </a:cubicBezTo>
                <a:cubicBezTo>
                  <a:pt x="168" y="49"/>
                  <a:pt x="169" y="46"/>
                  <a:pt x="172" y="44"/>
                </a:cubicBezTo>
                <a:cubicBezTo>
                  <a:pt x="174" y="42"/>
                  <a:pt x="177" y="40"/>
                  <a:pt x="181" y="40"/>
                </a:cubicBezTo>
                <a:cubicBezTo>
                  <a:pt x="184" y="40"/>
                  <a:pt x="187" y="42"/>
                  <a:pt x="189" y="44"/>
                </a:cubicBezTo>
                <a:cubicBezTo>
                  <a:pt x="191" y="46"/>
                  <a:pt x="192" y="49"/>
                  <a:pt x="192" y="53"/>
                </a:cubicBezTo>
                <a:close/>
                <a:moveTo>
                  <a:pt x="188" y="53"/>
                </a:moveTo>
                <a:cubicBezTo>
                  <a:pt x="188" y="50"/>
                  <a:pt x="187" y="48"/>
                  <a:pt x="186" y="46"/>
                </a:cubicBezTo>
                <a:cubicBezTo>
                  <a:pt x="185" y="45"/>
                  <a:pt x="183" y="44"/>
                  <a:pt x="180" y="44"/>
                </a:cubicBezTo>
                <a:cubicBezTo>
                  <a:pt x="178" y="44"/>
                  <a:pt x="176" y="45"/>
                  <a:pt x="174" y="46"/>
                </a:cubicBezTo>
                <a:cubicBezTo>
                  <a:pt x="173" y="48"/>
                  <a:pt x="172" y="50"/>
                  <a:pt x="172" y="53"/>
                </a:cubicBezTo>
                <a:cubicBezTo>
                  <a:pt x="172" y="56"/>
                  <a:pt x="173" y="58"/>
                  <a:pt x="174" y="60"/>
                </a:cubicBezTo>
                <a:cubicBezTo>
                  <a:pt x="176" y="62"/>
                  <a:pt x="178" y="62"/>
                  <a:pt x="180" y="62"/>
                </a:cubicBezTo>
                <a:cubicBezTo>
                  <a:pt x="183" y="62"/>
                  <a:pt x="185" y="62"/>
                  <a:pt x="186" y="60"/>
                </a:cubicBezTo>
                <a:cubicBezTo>
                  <a:pt x="187" y="58"/>
                  <a:pt x="188" y="56"/>
                  <a:pt x="188" y="53"/>
                </a:cubicBezTo>
                <a:close/>
                <a:moveTo>
                  <a:pt x="209" y="45"/>
                </a:moveTo>
                <a:cubicBezTo>
                  <a:pt x="208" y="44"/>
                  <a:pt x="207" y="44"/>
                  <a:pt x="206" y="44"/>
                </a:cubicBezTo>
                <a:cubicBezTo>
                  <a:pt x="204" y="44"/>
                  <a:pt x="203" y="45"/>
                  <a:pt x="202" y="47"/>
                </a:cubicBezTo>
                <a:cubicBezTo>
                  <a:pt x="201" y="48"/>
                  <a:pt x="200" y="50"/>
                  <a:pt x="200" y="53"/>
                </a:cubicBezTo>
                <a:cubicBezTo>
                  <a:pt x="200" y="65"/>
                  <a:pt x="200" y="65"/>
                  <a:pt x="200" y="65"/>
                </a:cubicBezTo>
                <a:cubicBezTo>
                  <a:pt x="197" y="65"/>
                  <a:pt x="197" y="65"/>
                  <a:pt x="197" y="65"/>
                </a:cubicBezTo>
                <a:cubicBezTo>
                  <a:pt x="197" y="41"/>
                  <a:pt x="197" y="41"/>
                  <a:pt x="197" y="41"/>
                </a:cubicBezTo>
                <a:cubicBezTo>
                  <a:pt x="200" y="41"/>
                  <a:pt x="200" y="41"/>
                  <a:pt x="200" y="41"/>
                </a:cubicBezTo>
                <a:cubicBezTo>
                  <a:pt x="200" y="46"/>
                  <a:pt x="200" y="46"/>
                  <a:pt x="200" y="46"/>
                </a:cubicBezTo>
                <a:cubicBezTo>
                  <a:pt x="201" y="46"/>
                  <a:pt x="201" y="46"/>
                  <a:pt x="201" y="46"/>
                </a:cubicBezTo>
                <a:cubicBezTo>
                  <a:pt x="201" y="44"/>
                  <a:pt x="202" y="43"/>
                  <a:pt x="203" y="42"/>
                </a:cubicBezTo>
                <a:cubicBezTo>
                  <a:pt x="204" y="41"/>
                  <a:pt x="205" y="41"/>
                  <a:pt x="207" y="41"/>
                </a:cubicBezTo>
                <a:cubicBezTo>
                  <a:pt x="208" y="41"/>
                  <a:pt x="209" y="41"/>
                  <a:pt x="209" y="41"/>
                </a:cubicBezTo>
                <a:lnTo>
                  <a:pt x="209" y="45"/>
                </a:lnTo>
                <a:close/>
                <a:moveTo>
                  <a:pt x="232" y="65"/>
                </a:moveTo>
                <a:cubicBezTo>
                  <a:pt x="228" y="65"/>
                  <a:pt x="228" y="65"/>
                  <a:pt x="228" y="65"/>
                </a:cubicBezTo>
                <a:cubicBezTo>
                  <a:pt x="228" y="61"/>
                  <a:pt x="228" y="61"/>
                  <a:pt x="228" y="61"/>
                </a:cubicBezTo>
                <a:cubicBezTo>
                  <a:pt x="228" y="61"/>
                  <a:pt x="228" y="61"/>
                  <a:pt x="228" y="61"/>
                </a:cubicBezTo>
                <a:cubicBezTo>
                  <a:pt x="226" y="64"/>
                  <a:pt x="223" y="66"/>
                  <a:pt x="219" y="66"/>
                </a:cubicBezTo>
                <a:cubicBezTo>
                  <a:pt x="216" y="66"/>
                  <a:pt x="214" y="65"/>
                  <a:pt x="212" y="62"/>
                </a:cubicBezTo>
                <a:cubicBezTo>
                  <a:pt x="210" y="60"/>
                  <a:pt x="210" y="57"/>
                  <a:pt x="210" y="54"/>
                </a:cubicBezTo>
                <a:cubicBezTo>
                  <a:pt x="210" y="50"/>
                  <a:pt x="211" y="46"/>
                  <a:pt x="213" y="44"/>
                </a:cubicBezTo>
                <a:cubicBezTo>
                  <a:pt x="215" y="42"/>
                  <a:pt x="217" y="40"/>
                  <a:pt x="221" y="40"/>
                </a:cubicBezTo>
                <a:cubicBezTo>
                  <a:pt x="224" y="40"/>
                  <a:pt x="226" y="42"/>
                  <a:pt x="228" y="44"/>
                </a:cubicBezTo>
                <a:cubicBezTo>
                  <a:pt x="228" y="44"/>
                  <a:pt x="228" y="44"/>
                  <a:pt x="228" y="44"/>
                </a:cubicBezTo>
                <a:cubicBezTo>
                  <a:pt x="228" y="29"/>
                  <a:pt x="228" y="29"/>
                  <a:pt x="228" y="29"/>
                </a:cubicBezTo>
                <a:cubicBezTo>
                  <a:pt x="232" y="29"/>
                  <a:pt x="232" y="29"/>
                  <a:pt x="232" y="29"/>
                </a:cubicBezTo>
                <a:lnTo>
                  <a:pt x="232" y="65"/>
                </a:lnTo>
                <a:close/>
                <a:moveTo>
                  <a:pt x="228" y="54"/>
                </a:moveTo>
                <a:cubicBezTo>
                  <a:pt x="228" y="51"/>
                  <a:pt x="228" y="51"/>
                  <a:pt x="228" y="51"/>
                </a:cubicBezTo>
                <a:cubicBezTo>
                  <a:pt x="228" y="49"/>
                  <a:pt x="227" y="47"/>
                  <a:pt x="226" y="46"/>
                </a:cubicBezTo>
                <a:cubicBezTo>
                  <a:pt x="225" y="44"/>
                  <a:pt x="223" y="44"/>
                  <a:pt x="221" y="44"/>
                </a:cubicBezTo>
                <a:cubicBezTo>
                  <a:pt x="219" y="44"/>
                  <a:pt x="217" y="45"/>
                  <a:pt x="216" y="46"/>
                </a:cubicBezTo>
                <a:cubicBezTo>
                  <a:pt x="214" y="48"/>
                  <a:pt x="213" y="50"/>
                  <a:pt x="213" y="53"/>
                </a:cubicBezTo>
                <a:cubicBezTo>
                  <a:pt x="213" y="56"/>
                  <a:pt x="214" y="58"/>
                  <a:pt x="215" y="60"/>
                </a:cubicBezTo>
                <a:cubicBezTo>
                  <a:pt x="217" y="62"/>
                  <a:pt x="218" y="62"/>
                  <a:pt x="221" y="62"/>
                </a:cubicBezTo>
                <a:cubicBezTo>
                  <a:pt x="223" y="62"/>
                  <a:pt x="224" y="62"/>
                  <a:pt x="226" y="60"/>
                </a:cubicBezTo>
                <a:cubicBezTo>
                  <a:pt x="227" y="59"/>
                  <a:pt x="228" y="57"/>
                  <a:pt x="228"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pic>
        <p:nvPicPr>
          <p:cNvPr id="612" name="Picture 61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295680" y="6102918"/>
            <a:ext cx="1037576" cy="250623"/>
          </a:xfrm>
          <a:prstGeom prst="rect">
            <a:avLst/>
          </a:prstGeom>
        </p:spPr>
      </p:pic>
      <p:sp>
        <p:nvSpPr>
          <p:cNvPr id="614" name="Rectangle 613"/>
          <p:cNvSpPr/>
          <p:nvPr/>
        </p:nvSpPr>
        <p:spPr bwMode="auto">
          <a:xfrm>
            <a:off x="4232707" y="2932402"/>
            <a:ext cx="3733596" cy="879077"/>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828" fontAlgn="base">
              <a:lnSpc>
                <a:spcPct val="90000"/>
              </a:lnSpc>
              <a:spcBef>
                <a:spcPct val="0"/>
              </a:spcBef>
              <a:spcAft>
                <a:spcPct val="0"/>
              </a:spcAft>
            </a:pPr>
            <a:endPar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endParaRPr>
          </a:p>
        </p:txBody>
      </p:sp>
      <p:sp>
        <p:nvSpPr>
          <p:cNvPr id="616" name="Rectangle 615"/>
          <p:cNvSpPr/>
          <p:nvPr/>
        </p:nvSpPr>
        <p:spPr bwMode="auto">
          <a:xfrm>
            <a:off x="4232707" y="2932402"/>
            <a:ext cx="3733596" cy="8790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828" fontAlgn="base">
              <a:lnSpc>
                <a:spcPct val="90000"/>
              </a:lnSpc>
              <a:spcBef>
                <a:spcPct val="0"/>
              </a:spcBef>
              <a:spcAft>
                <a:spcPct val="0"/>
              </a:spcAft>
            </a:pPr>
            <a: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CONNECT TO </a:t>
            </a:r>
            <a:b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br>
            <a: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OFFICE 365 SERVICES</a:t>
            </a:r>
          </a:p>
        </p:txBody>
      </p:sp>
      <p:grpSp>
        <p:nvGrpSpPr>
          <p:cNvPr id="2" name="Group 1"/>
          <p:cNvGrpSpPr/>
          <p:nvPr/>
        </p:nvGrpSpPr>
        <p:grpSpPr>
          <a:xfrm>
            <a:off x="4232707" y="3811479"/>
            <a:ext cx="3733596" cy="2776118"/>
            <a:chOff x="4318705" y="3887512"/>
            <a:chExt cx="3809455" cy="2832522"/>
          </a:xfrm>
        </p:grpSpPr>
        <p:sp>
          <p:nvSpPr>
            <p:cNvPr id="615" name="Rectangle 614"/>
            <p:cNvSpPr/>
            <p:nvPr/>
          </p:nvSpPr>
          <p:spPr bwMode="auto">
            <a:xfrm>
              <a:off x="4318705" y="3887512"/>
              <a:ext cx="3809455" cy="2806701"/>
            </a:xfrm>
            <a:prstGeom prst="rect">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617" name="Group 616"/>
            <p:cNvGrpSpPr/>
            <p:nvPr/>
          </p:nvGrpSpPr>
          <p:grpSpPr>
            <a:xfrm>
              <a:off x="4438782" y="4623735"/>
              <a:ext cx="3568568" cy="2096299"/>
              <a:chOff x="4438782" y="4444622"/>
              <a:chExt cx="3568568" cy="2096299"/>
            </a:xfrm>
          </p:grpSpPr>
          <p:sp>
            <p:nvSpPr>
              <p:cNvPr id="618" name="Freeform 5"/>
              <p:cNvSpPr>
                <a:spLocks noEditPoints="1"/>
              </p:cNvSpPr>
              <p:nvPr/>
            </p:nvSpPr>
            <p:spPr bwMode="auto">
              <a:xfrm>
                <a:off x="5569353" y="4911722"/>
                <a:ext cx="415730" cy="384482"/>
              </a:xfrm>
              <a:custGeom>
                <a:avLst/>
                <a:gdLst>
                  <a:gd name="T0" fmla="*/ 1446 w 2030"/>
                  <a:gd name="T1" fmla="*/ 1047 h 1877"/>
                  <a:gd name="T2" fmla="*/ 1218 w 2030"/>
                  <a:gd name="T3" fmla="*/ 583 h 1877"/>
                  <a:gd name="T4" fmla="*/ 901 w 2030"/>
                  <a:gd name="T5" fmla="*/ 375 h 1877"/>
                  <a:gd name="T6" fmla="*/ 773 w 2030"/>
                  <a:gd name="T7" fmla="*/ 109 h 1877"/>
                  <a:gd name="T8" fmla="*/ 555 w 2030"/>
                  <a:gd name="T9" fmla="*/ 109 h 1877"/>
                  <a:gd name="T10" fmla="*/ 317 w 2030"/>
                  <a:gd name="T11" fmla="*/ 593 h 1877"/>
                  <a:gd name="T12" fmla="*/ 0 w 2030"/>
                  <a:gd name="T13" fmla="*/ 810 h 1877"/>
                  <a:gd name="T14" fmla="*/ 317 w 2030"/>
                  <a:gd name="T15" fmla="*/ 1027 h 1877"/>
                  <a:gd name="T16" fmla="*/ 327 w 2030"/>
                  <a:gd name="T17" fmla="*/ 1531 h 1877"/>
                  <a:gd name="T18" fmla="*/ 1010 w 2030"/>
                  <a:gd name="T19" fmla="*/ 1531 h 1877"/>
                  <a:gd name="T20" fmla="*/ 1297 w 2030"/>
                  <a:gd name="T21" fmla="*/ 1462 h 1877"/>
                  <a:gd name="T22" fmla="*/ 2030 w 2030"/>
                  <a:gd name="T23" fmla="*/ 1353 h 1877"/>
                  <a:gd name="T24" fmla="*/ 703 w 2030"/>
                  <a:gd name="T25" fmla="*/ 1195 h 1877"/>
                  <a:gd name="T26" fmla="*/ 783 w 2030"/>
                  <a:gd name="T27" fmla="*/ 1067 h 1877"/>
                  <a:gd name="T28" fmla="*/ 703 w 2030"/>
                  <a:gd name="T29" fmla="*/ 1195 h 1877"/>
                  <a:gd name="T30" fmla="*/ 703 w 2030"/>
                  <a:gd name="T31" fmla="*/ 711 h 1877"/>
                  <a:gd name="T32" fmla="*/ 882 w 2030"/>
                  <a:gd name="T33" fmla="*/ 770 h 1877"/>
                  <a:gd name="T34" fmla="*/ 703 w 2030"/>
                  <a:gd name="T35" fmla="*/ 948 h 1877"/>
                  <a:gd name="T36" fmla="*/ 466 w 2030"/>
                  <a:gd name="T37" fmla="*/ 780 h 1877"/>
                  <a:gd name="T38" fmla="*/ 624 w 2030"/>
                  <a:gd name="T39" fmla="*/ 919 h 1877"/>
                  <a:gd name="T40" fmla="*/ 466 w 2030"/>
                  <a:gd name="T41" fmla="*/ 810 h 1877"/>
                  <a:gd name="T42" fmla="*/ 703 w 2030"/>
                  <a:gd name="T43" fmla="*/ 227 h 1877"/>
                  <a:gd name="T44" fmla="*/ 773 w 2030"/>
                  <a:gd name="T45" fmla="*/ 583 h 1877"/>
                  <a:gd name="T46" fmla="*/ 703 w 2030"/>
                  <a:gd name="T47" fmla="*/ 632 h 1877"/>
                  <a:gd name="T48" fmla="*/ 703 w 2030"/>
                  <a:gd name="T49" fmla="*/ 227 h 1877"/>
                  <a:gd name="T50" fmla="*/ 1000 w 2030"/>
                  <a:gd name="T51" fmla="*/ 800 h 1877"/>
                  <a:gd name="T52" fmla="*/ 1387 w 2030"/>
                  <a:gd name="T53" fmla="*/ 1096 h 1877"/>
                  <a:gd name="T54" fmla="*/ 882 w 2030"/>
                  <a:gd name="T55" fmla="*/ 1017 h 1877"/>
                  <a:gd name="T56" fmla="*/ 961 w 2030"/>
                  <a:gd name="T57" fmla="*/ 800 h 1877"/>
                  <a:gd name="T58" fmla="*/ 624 w 2030"/>
                  <a:gd name="T59" fmla="*/ 652 h 1877"/>
                  <a:gd name="T60" fmla="*/ 387 w 2030"/>
                  <a:gd name="T61" fmla="*/ 642 h 1877"/>
                  <a:gd name="T62" fmla="*/ 624 w 2030"/>
                  <a:gd name="T63" fmla="*/ 247 h 1877"/>
                  <a:gd name="T64" fmla="*/ 436 w 2030"/>
                  <a:gd name="T65" fmla="*/ 928 h 1877"/>
                  <a:gd name="T66" fmla="*/ 624 w 2030"/>
                  <a:gd name="T67" fmla="*/ 1195 h 1877"/>
                  <a:gd name="T68" fmla="*/ 387 w 2030"/>
                  <a:gd name="T69" fmla="*/ 988 h 1877"/>
                  <a:gd name="T70" fmla="*/ 990 w 2030"/>
                  <a:gd name="T71" fmla="*/ 1432 h 1877"/>
                  <a:gd name="T72" fmla="*/ 862 w 2030"/>
                  <a:gd name="T73" fmla="*/ 1096 h 1877"/>
                  <a:gd name="T74" fmla="*/ 1278 w 2030"/>
                  <a:gd name="T75" fmla="*/ 1353 h 1877"/>
                  <a:gd name="T76" fmla="*/ 990 w 2030"/>
                  <a:gd name="T77" fmla="*/ 1432 h 1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30" h="1877">
                    <a:moveTo>
                      <a:pt x="1654" y="978"/>
                    </a:moveTo>
                    <a:cubicBezTo>
                      <a:pt x="1575" y="978"/>
                      <a:pt x="1505" y="1007"/>
                      <a:pt x="1446" y="1047"/>
                    </a:cubicBezTo>
                    <a:cubicBezTo>
                      <a:pt x="1169" y="721"/>
                      <a:pt x="1169" y="721"/>
                      <a:pt x="1169" y="721"/>
                    </a:cubicBezTo>
                    <a:cubicBezTo>
                      <a:pt x="1198" y="681"/>
                      <a:pt x="1218" y="632"/>
                      <a:pt x="1218" y="583"/>
                    </a:cubicBezTo>
                    <a:cubicBezTo>
                      <a:pt x="1218" y="454"/>
                      <a:pt x="1119" y="355"/>
                      <a:pt x="1000" y="355"/>
                    </a:cubicBezTo>
                    <a:cubicBezTo>
                      <a:pt x="961" y="355"/>
                      <a:pt x="931" y="365"/>
                      <a:pt x="901" y="375"/>
                    </a:cubicBezTo>
                    <a:cubicBezTo>
                      <a:pt x="753" y="168"/>
                      <a:pt x="753" y="168"/>
                      <a:pt x="753" y="168"/>
                    </a:cubicBezTo>
                    <a:cubicBezTo>
                      <a:pt x="763" y="148"/>
                      <a:pt x="773" y="128"/>
                      <a:pt x="773" y="109"/>
                    </a:cubicBezTo>
                    <a:cubicBezTo>
                      <a:pt x="773" y="49"/>
                      <a:pt x="723" y="0"/>
                      <a:pt x="664" y="0"/>
                    </a:cubicBezTo>
                    <a:cubicBezTo>
                      <a:pt x="604" y="0"/>
                      <a:pt x="555" y="49"/>
                      <a:pt x="555" y="109"/>
                    </a:cubicBezTo>
                    <a:cubicBezTo>
                      <a:pt x="555" y="128"/>
                      <a:pt x="565" y="158"/>
                      <a:pt x="575" y="168"/>
                    </a:cubicBezTo>
                    <a:cubicBezTo>
                      <a:pt x="317" y="593"/>
                      <a:pt x="317" y="593"/>
                      <a:pt x="317" y="593"/>
                    </a:cubicBezTo>
                    <a:cubicBezTo>
                      <a:pt x="287" y="583"/>
                      <a:pt x="268" y="583"/>
                      <a:pt x="238" y="583"/>
                    </a:cubicBezTo>
                    <a:cubicBezTo>
                      <a:pt x="109" y="583"/>
                      <a:pt x="0" y="681"/>
                      <a:pt x="0" y="810"/>
                    </a:cubicBezTo>
                    <a:cubicBezTo>
                      <a:pt x="0" y="938"/>
                      <a:pt x="109" y="1047"/>
                      <a:pt x="238" y="1047"/>
                    </a:cubicBezTo>
                    <a:cubicBezTo>
                      <a:pt x="258" y="1047"/>
                      <a:pt x="287" y="1037"/>
                      <a:pt x="317" y="1027"/>
                    </a:cubicBezTo>
                    <a:cubicBezTo>
                      <a:pt x="456" y="1264"/>
                      <a:pt x="456" y="1264"/>
                      <a:pt x="456" y="1264"/>
                    </a:cubicBezTo>
                    <a:cubicBezTo>
                      <a:pt x="377" y="1323"/>
                      <a:pt x="327" y="1422"/>
                      <a:pt x="327" y="1531"/>
                    </a:cubicBezTo>
                    <a:cubicBezTo>
                      <a:pt x="327" y="1719"/>
                      <a:pt x="476" y="1877"/>
                      <a:pt x="664" y="1877"/>
                    </a:cubicBezTo>
                    <a:cubicBezTo>
                      <a:pt x="852" y="1877"/>
                      <a:pt x="1010" y="1719"/>
                      <a:pt x="1010" y="1531"/>
                    </a:cubicBezTo>
                    <a:cubicBezTo>
                      <a:pt x="1010" y="1531"/>
                      <a:pt x="1000" y="1521"/>
                      <a:pt x="1000" y="1511"/>
                    </a:cubicBezTo>
                    <a:cubicBezTo>
                      <a:pt x="1297" y="1462"/>
                      <a:pt x="1297" y="1462"/>
                      <a:pt x="1297" y="1462"/>
                    </a:cubicBezTo>
                    <a:cubicBezTo>
                      <a:pt x="1337" y="1620"/>
                      <a:pt x="1486" y="1728"/>
                      <a:pt x="1654" y="1728"/>
                    </a:cubicBezTo>
                    <a:cubicBezTo>
                      <a:pt x="1862" y="1728"/>
                      <a:pt x="2030" y="1561"/>
                      <a:pt x="2030" y="1353"/>
                    </a:cubicBezTo>
                    <a:cubicBezTo>
                      <a:pt x="2030" y="1146"/>
                      <a:pt x="1862" y="978"/>
                      <a:pt x="1654" y="978"/>
                    </a:cubicBezTo>
                    <a:close/>
                    <a:moveTo>
                      <a:pt x="703" y="1195"/>
                    </a:moveTo>
                    <a:cubicBezTo>
                      <a:pt x="703" y="1037"/>
                      <a:pt x="703" y="1037"/>
                      <a:pt x="703" y="1037"/>
                    </a:cubicBezTo>
                    <a:cubicBezTo>
                      <a:pt x="783" y="1067"/>
                      <a:pt x="783" y="1067"/>
                      <a:pt x="783" y="1067"/>
                    </a:cubicBezTo>
                    <a:cubicBezTo>
                      <a:pt x="733" y="1205"/>
                      <a:pt x="733" y="1205"/>
                      <a:pt x="733" y="1205"/>
                    </a:cubicBezTo>
                    <a:cubicBezTo>
                      <a:pt x="723" y="1195"/>
                      <a:pt x="713" y="1195"/>
                      <a:pt x="703" y="1195"/>
                    </a:cubicBezTo>
                    <a:close/>
                    <a:moveTo>
                      <a:pt x="703" y="948"/>
                    </a:moveTo>
                    <a:cubicBezTo>
                      <a:pt x="703" y="711"/>
                      <a:pt x="703" y="711"/>
                      <a:pt x="703" y="711"/>
                    </a:cubicBezTo>
                    <a:cubicBezTo>
                      <a:pt x="802" y="681"/>
                      <a:pt x="802" y="681"/>
                      <a:pt x="802" y="681"/>
                    </a:cubicBezTo>
                    <a:cubicBezTo>
                      <a:pt x="822" y="721"/>
                      <a:pt x="852" y="751"/>
                      <a:pt x="882" y="770"/>
                    </a:cubicBezTo>
                    <a:cubicBezTo>
                      <a:pt x="812" y="988"/>
                      <a:pt x="812" y="988"/>
                      <a:pt x="812" y="988"/>
                    </a:cubicBezTo>
                    <a:cubicBezTo>
                      <a:pt x="703" y="948"/>
                      <a:pt x="703" y="948"/>
                      <a:pt x="703" y="948"/>
                    </a:cubicBezTo>
                    <a:cubicBezTo>
                      <a:pt x="703" y="948"/>
                      <a:pt x="703" y="948"/>
                      <a:pt x="703" y="948"/>
                    </a:cubicBezTo>
                    <a:close/>
                    <a:moveTo>
                      <a:pt x="466" y="780"/>
                    </a:moveTo>
                    <a:cubicBezTo>
                      <a:pt x="624" y="731"/>
                      <a:pt x="624" y="731"/>
                      <a:pt x="624" y="731"/>
                    </a:cubicBezTo>
                    <a:cubicBezTo>
                      <a:pt x="624" y="919"/>
                      <a:pt x="624" y="919"/>
                      <a:pt x="624" y="919"/>
                    </a:cubicBezTo>
                    <a:cubicBezTo>
                      <a:pt x="466" y="859"/>
                      <a:pt x="466" y="859"/>
                      <a:pt x="466" y="859"/>
                    </a:cubicBezTo>
                    <a:cubicBezTo>
                      <a:pt x="466" y="839"/>
                      <a:pt x="466" y="830"/>
                      <a:pt x="466" y="810"/>
                    </a:cubicBezTo>
                    <a:cubicBezTo>
                      <a:pt x="466" y="800"/>
                      <a:pt x="466" y="790"/>
                      <a:pt x="466" y="780"/>
                    </a:cubicBezTo>
                    <a:close/>
                    <a:moveTo>
                      <a:pt x="703" y="227"/>
                    </a:moveTo>
                    <a:cubicBezTo>
                      <a:pt x="842" y="425"/>
                      <a:pt x="842" y="425"/>
                      <a:pt x="842" y="425"/>
                    </a:cubicBezTo>
                    <a:cubicBezTo>
                      <a:pt x="802" y="464"/>
                      <a:pt x="773" y="523"/>
                      <a:pt x="773" y="583"/>
                    </a:cubicBezTo>
                    <a:cubicBezTo>
                      <a:pt x="773" y="593"/>
                      <a:pt x="773" y="602"/>
                      <a:pt x="773" y="602"/>
                    </a:cubicBezTo>
                    <a:cubicBezTo>
                      <a:pt x="703" y="632"/>
                      <a:pt x="703" y="632"/>
                      <a:pt x="703" y="632"/>
                    </a:cubicBezTo>
                    <a:cubicBezTo>
                      <a:pt x="703" y="227"/>
                      <a:pt x="703" y="227"/>
                      <a:pt x="703" y="227"/>
                    </a:cubicBezTo>
                    <a:cubicBezTo>
                      <a:pt x="703" y="227"/>
                      <a:pt x="703" y="227"/>
                      <a:pt x="703" y="227"/>
                    </a:cubicBezTo>
                    <a:close/>
                    <a:moveTo>
                      <a:pt x="961" y="800"/>
                    </a:moveTo>
                    <a:cubicBezTo>
                      <a:pt x="971" y="800"/>
                      <a:pt x="981" y="800"/>
                      <a:pt x="1000" y="800"/>
                    </a:cubicBezTo>
                    <a:cubicBezTo>
                      <a:pt x="1040" y="800"/>
                      <a:pt x="1070" y="790"/>
                      <a:pt x="1109" y="770"/>
                    </a:cubicBezTo>
                    <a:cubicBezTo>
                      <a:pt x="1387" y="1096"/>
                      <a:pt x="1387" y="1096"/>
                      <a:pt x="1387" y="1096"/>
                    </a:cubicBezTo>
                    <a:cubicBezTo>
                      <a:pt x="1357" y="1126"/>
                      <a:pt x="1337" y="1156"/>
                      <a:pt x="1317" y="1185"/>
                    </a:cubicBezTo>
                    <a:cubicBezTo>
                      <a:pt x="882" y="1017"/>
                      <a:pt x="882" y="1017"/>
                      <a:pt x="882" y="1017"/>
                    </a:cubicBezTo>
                    <a:cubicBezTo>
                      <a:pt x="961" y="800"/>
                      <a:pt x="961" y="800"/>
                      <a:pt x="961" y="800"/>
                    </a:cubicBezTo>
                    <a:cubicBezTo>
                      <a:pt x="961" y="800"/>
                      <a:pt x="961" y="800"/>
                      <a:pt x="961" y="800"/>
                    </a:cubicBezTo>
                    <a:close/>
                    <a:moveTo>
                      <a:pt x="624" y="247"/>
                    </a:moveTo>
                    <a:cubicBezTo>
                      <a:pt x="624" y="652"/>
                      <a:pt x="624" y="652"/>
                      <a:pt x="624" y="652"/>
                    </a:cubicBezTo>
                    <a:cubicBezTo>
                      <a:pt x="436" y="711"/>
                      <a:pt x="436" y="711"/>
                      <a:pt x="436" y="711"/>
                    </a:cubicBezTo>
                    <a:cubicBezTo>
                      <a:pt x="426" y="681"/>
                      <a:pt x="406" y="662"/>
                      <a:pt x="387" y="642"/>
                    </a:cubicBezTo>
                    <a:cubicBezTo>
                      <a:pt x="624" y="247"/>
                      <a:pt x="624" y="247"/>
                      <a:pt x="624" y="247"/>
                    </a:cubicBezTo>
                    <a:cubicBezTo>
                      <a:pt x="624" y="247"/>
                      <a:pt x="624" y="247"/>
                      <a:pt x="624" y="247"/>
                    </a:cubicBezTo>
                    <a:close/>
                    <a:moveTo>
                      <a:pt x="387" y="988"/>
                    </a:moveTo>
                    <a:cubicBezTo>
                      <a:pt x="406" y="968"/>
                      <a:pt x="416" y="948"/>
                      <a:pt x="436" y="928"/>
                    </a:cubicBezTo>
                    <a:cubicBezTo>
                      <a:pt x="624" y="1007"/>
                      <a:pt x="624" y="1007"/>
                      <a:pt x="624" y="1007"/>
                    </a:cubicBezTo>
                    <a:cubicBezTo>
                      <a:pt x="624" y="1195"/>
                      <a:pt x="624" y="1195"/>
                      <a:pt x="624" y="1195"/>
                    </a:cubicBezTo>
                    <a:cubicBezTo>
                      <a:pt x="585" y="1195"/>
                      <a:pt x="555" y="1205"/>
                      <a:pt x="525" y="1225"/>
                    </a:cubicBezTo>
                    <a:cubicBezTo>
                      <a:pt x="387" y="988"/>
                      <a:pt x="387" y="988"/>
                      <a:pt x="387" y="988"/>
                    </a:cubicBezTo>
                    <a:cubicBezTo>
                      <a:pt x="387" y="988"/>
                      <a:pt x="387" y="988"/>
                      <a:pt x="387" y="988"/>
                    </a:cubicBezTo>
                    <a:close/>
                    <a:moveTo>
                      <a:pt x="990" y="1432"/>
                    </a:moveTo>
                    <a:cubicBezTo>
                      <a:pt x="961" y="1343"/>
                      <a:pt x="901" y="1264"/>
                      <a:pt x="812" y="1225"/>
                    </a:cubicBezTo>
                    <a:cubicBezTo>
                      <a:pt x="862" y="1096"/>
                      <a:pt x="862" y="1096"/>
                      <a:pt x="862" y="1096"/>
                    </a:cubicBezTo>
                    <a:cubicBezTo>
                      <a:pt x="1288" y="1254"/>
                      <a:pt x="1288" y="1254"/>
                      <a:pt x="1288" y="1254"/>
                    </a:cubicBezTo>
                    <a:cubicBezTo>
                      <a:pt x="1278" y="1294"/>
                      <a:pt x="1278" y="1323"/>
                      <a:pt x="1278" y="1353"/>
                    </a:cubicBezTo>
                    <a:cubicBezTo>
                      <a:pt x="1278" y="1363"/>
                      <a:pt x="1278" y="1373"/>
                      <a:pt x="1278" y="1383"/>
                    </a:cubicBezTo>
                    <a:cubicBezTo>
                      <a:pt x="990" y="1432"/>
                      <a:pt x="990" y="1432"/>
                      <a:pt x="990" y="1432"/>
                    </a:cubicBezTo>
                    <a:cubicBezTo>
                      <a:pt x="990" y="1432"/>
                      <a:pt x="990" y="1432"/>
                      <a:pt x="990" y="1432"/>
                    </a:cubicBezTo>
                    <a:close/>
                  </a:path>
                </a:pathLst>
              </a:cu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960">
                  <a:solidFill>
                    <a:srgbClr val="FFFFFF"/>
                  </a:solidFill>
                </a:endParaRPr>
              </a:p>
            </p:txBody>
          </p:sp>
          <p:grpSp>
            <p:nvGrpSpPr>
              <p:cNvPr id="619" name="Group 618"/>
              <p:cNvGrpSpPr/>
              <p:nvPr/>
            </p:nvGrpSpPr>
            <p:grpSpPr>
              <a:xfrm>
                <a:off x="4438782" y="4444622"/>
                <a:ext cx="3568568" cy="2096299"/>
                <a:chOff x="4438782" y="4444622"/>
                <a:chExt cx="3568568" cy="2096299"/>
              </a:xfrm>
            </p:grpSpPr>
            <p:sp>
              <p:nvSpPr>
                <p:cNvPr id="620" name="TextBox 619"/>
                <p:cNvSpPr txBox="1"/>
                <p:nvPr/>
              </p:nvSpPr>
              <p:spPr>
                <a:xfrm>
                  <a:off x="4487524" y="4444622"/>
                  <a:ext cx="812022" cy="312438"/>
                </a:xfrm>
                <a:prstGeom prst="rect">
                  <a:avLst/>
                </a:prstGeom>
                <a:noFill/>
              </p:spPr>
              <p:txBody>
                <a:bodyPr wrap="square" lIns="0" tIns="0" rIns="0" bIns="0" rtlCol="0">
                  <a:noAutofit/>
                </a:bodyPr>
                <a:lstStyle/>
                <a:p>
                  <a:pPr algn="ctr" defTabSz="914093">
                    <a:lnSpc>
                      <a:spcPct val="90000"/>
                    </a:lnSpc>
                    <a:spcAft>
                      <a:spcPts val="588"/>
                    </a:spcAft>
                  </a:pPr>
                  <a:r>
                    <a:rPr lang="en-US" sz="1176" dirty="0">
                      <a:gradFill>
                        <a:gsLst>
                          <a:gs pos="2917">
                            <a:srgbClr val="FFFFFF"/>
                          </a:gs>
                          <a:gs pos="30000">
                            <a:srgbClr val="FFFFFF"/>
                          </a:gs>
                        </a:gsLst>
                        <a:lin ang="5400000" scaled="0"/>
                      </a:gradFill>
                    </a:rPr>
                    <a:t>Users and </a:t>
                  </a:r>
                  <a:br>
                    <a:rPr lang="en-US" sz="1176" dirty="0">
                      <a:gradFill>
                        <a:gsLst>
                          <a:gs pos="2917">
                            <a:srgbClr val="FFFFFF"/>
                          </a:gs>
                          <a:gs pos="30000">
                            <a:srgbClr val="FFFFFF"/>
                          </a:gs>
                        </a:gsLst>
                        <a:lin ang="5400000" scaled="0"/>
                      </a:gradFill>
                    </a:rPr>
                  </a:br>
                  <a:r>
                    <a:rPr lang="en-US" sz="1176" dirty="0">
                      <a:gradFill>
                        <a:gsLst>
                          <a:gs pos="2917">
                            <a:srgbClr val="FFFFFF"/>
                          </a:gs>
                          <a:gs pos="30000">
                            <a:srgbClr val="FFFFFF"/>
                          </a:gs>
                        </a:gsLst>
                        <a:lin ang="5400000" scaled="0"/>
                      </a:gradFill>
                    </a:rPr>
                    <a:t>groups</a:t>
                  </a:r>
                </a:p>
              </p:txBody>
            </p:sp>
            <p:sp>
              <p:nvSpPr>
                <p:cNvPr id="621" name="TextBox 620"/>
                <p:cNvSpPr txBox="1"/>
                <p:nvPr/>
              </p:nvSpPr>
              <p:spPr>
                <a:xfrm>
                  <a:off x="5371207" y="4444622"/>
                  <a:ext cx="812022" cy="312438"/>
                </a:xfrm>
                <a:prstGeom prst="rect">
                  <a:avLst/>
                </a:prstGeom>
                <a:noFill/>
              </p:spPr>
              <p:txBody>
                <a:bodyPr wrap="square" lIns="0" tIns="0" rIns="0" bIns="0" rtlCol="0">
                  <a:noAutofit/>
                </a:bodyPr>
                <a:lstStyle>
                  <a:defPPr>
                    <a:defRPr lang="en-US"/>
                  </a:defPPr>
                  <a:lvl1pPr algn="ctr">
                    <a:lnSpc>
                      <a:spcPct val="90000"/>
                    </a:lnSpc>
                    <a:spcAft>
                      <a:spcPts val="600"/>
                    </a:spcAft>
                    <a:defRPr sz="1200">
                      <a:gradFill>
                        <a:gsLst>
                          <a:gs pos="2917">
                            <a:schemeClr val="tx1"/>
                          </a:gs>
                          <a:gs pos="30000">
                            <a:schemeClr val="tx1"/>
                          </a:gs>
                        </a:gsLst>
                        <a:lin ang="5400000" scaled="0"/>
                      </a:gradFill>
                    </a:defRPr>
                  </a:lvl1pPr>
                </a:lstStyle>
                <a:p>
                  <a:pPr defTabSz="914093"/>
                  <a:r>
                    <a:rPr lang="en-US" sz="1176" dirty="0">
                      <a:gradFill>
                        <a:gsLst>
                          <a:gs pos="2917">
                            <a:srgbClr val="FFFFFF"/>
                          </a:gs>
                          <a:gs pos="30000">
                            <a:srgbClr val="FFFFFF"/>
                          </a:gs>
                        </a:gsLst>
                        <a:lin ang="5400000" scaled="0"/>
                      </a:gradFill>
                    </a:rPr>
                    <a:t>Files</a:t>
                  </a:r>
                </a:p>
              </p:txBody>
            </p:sp>
            <p:sp>
              <p:nvSpPr>
                <p:cNvPr id="622" name="TextBox 621"/>
                <p:cNvSpPr txBox="1"/>
                <p:nvPr/>
              </p:nvSpPr>
              <p:spPr>
                <a:xfrm>
                  <a:off x="6270324" y="4444622"/>
                  <a:ext cx="812022" cy="312438"/>
                </a:xfrm>
                <a:prstGeom prst="rect">
                  <a:avLst/>
                </a:prstGeom>
                <a:noFill/>
              </p:spPr>
              <p:txBody>
                <a:bodyPr wrap="square" lIns="0" tIns="0" rIns="0" bIns="0" rtlCol="0">
                  <a:noAutofit/>
                </a:bodyPr>
                <a:lstStyle>
                  <a:defPPr>
                    <a:defRPr lang="en-US"/>
                  </a:defPPr>
                  <a:lvl1pPr algn="ctr">
                    <a:lnSpc>
                      <a:spcPct val="90000"/>
                    </a:lnSpc>
                    <a:spcAft>
                      <a:spcPts val="600"/>
                    </a:spcAft>
                    <a:defRPr sz="1200">
                      <a:gradFill>
                        <a:gsLst>
                          <a:gs pos="2917">
                            <a:schemeClr val="tx1"/>
                          </a:gs>
                          <a:gs pos="30000">
                            <a:schemeClr val="tx1"/>
                          </a:gs>
                        </a:gsLst>
                        <a:lin ang="5400000" scaled="0"/>
                      </a:gradFill>
                    </a:defRPr>
                  </a:lvl1pPr>
                </a:lstStyle>
                <a:p>
                  <a:pPr defTabSz="914093"/>
                  <a:r>
                    <a:rPr lang="en-US" sz="1176" dirty="0">
                      <a:gradFill>
                        <a:gsLst>
                          <a:gs pos="2917">
                            <a:srgbClr val="FFFFFF"/>
                          </a:gs>
                          <a:gs pos="30000">
                            <a:srgbClr val="FFFFFF"/>
                          </a:gs>
                        </a:gsLst>
                        <a:lin ang="5400000" scaled="0"/>
                      </a:gradFill>
                    </a:rPr>
                    <a:t>Mail</a:t>
                  </a:r>
                </a:p>
              </p:txBody>
            </p:sp>
            <p:sp>
              <p:nvSpPr>
                <p:cNvPr id="623" name="TextBox 622"/>
                <p:cNvSpPr txBox="1"/>
                <p:nvPr/>
              </p:nvSpPr>
              <p:spPr>
                <a:xfrm>
                  <a:off x="7195328" y="4444622"/>
                  <a:ext cx="812022" cy="312438"/>
                </a:xfrm>
                <a:prstGeom prst="rect">
                  <a:avLst/>
                </a:prstGeom>
                <a:noFill/>
              </p:spPr>
              <p:txBody>
                <a:bodyPr wrap="square" lIns="0" tIns="0" rIns="0" bIns="0" rtlCol="0">
                  <a:noAutofit/>
                </a:bodyPr>
                <a:lstStyle>
                  <a:defPPr>
                    <a:defRPr lang="en-US"/>
                  </a:defPPr>
                  <a:lvl1pPr algn="ctr">
                    <a:lnSpc>
                      <a:spcPct val="90000"/>
                    </a:lnSpc>
                    <a:spcAft>
                      <a:spcPts val="600"/>
                    </a:spcAft>
                    <a:defRPr sz="1200">
                      <a:gradFill>
                        <a:gsLst>
                          <a:gs pos="2917">
                            <a:schemeClr val="tx1"/>
                          </a:gs>
                          <a:gs pos="30000">
                            <a:schemeClr val="tx1"/>
                          </a:gs>
                        </a:gsLst>
                        <a:lin ang="5400000" scaled="0"/>
                      </a:gradFill>
                    </a:defRPr>
                  </a:lvl1pPr>
                </a:lstStyle>
                <a:p>
                  <a:pPr defTabSz="914093"/>
                  <a:r>
                    <a:rPr lang="en-US" sz="1176" dirty="0">
                      <a:gradFill>
                        <a:gsLst>
                          <a:gs pos="2917">
                            <a:srgbClr val="FFFFFF"/>
                          </a:gs>
                          <a:gs pos="30000">
                            <a:srgbClr val="FFFFFF"/>
                          </a:gs>
                        </a:gsLst>
                        <a:lin ang="5400000" scaled="0"/>
                      </a:gradFill>
                    </a:rPr>
                    <a:t>Calendar</a:t>
                  </a:r>
                </a:p>
              </p:txBody>
            </p:sp>
            <p:sp>
              <p:nvSpPr>
                <p:cNvPr id="624" name="TextBox 623"/>
                <p:cNvSpPr txBox="1"/>
                <p:nvPr/>
              </p:nvSpPr>
              <p:spPr>
                <a:xfrm>
                  <a:off x="4487524" y="5415577"/>
                  <a:ext cx="812022" cy="312438"/>
                </a:xfrm>
                <a:prstGeom prst="rect">
                  <a:avLst/>
                </a:prstGeom>
                <a:noFill/>
              </p:spPr>
              <p:txBody>
                <a:bodyPr wrap="square" lIns="0" tIns="0" rIns="0" bIns="0" rtlCol="0">
                  <a:noAutofit/>
                </a:bodyPr>
                <a:lstStyle/>
                <a:p>
                  <a:pPr algn="ctr" defTabSz="914093">
                    <a:lnSpc>
                      <a:spcPct val="90000"/>
                    </a:lnSpc>
                    <a:spcAft>
                      <a:spcPts val="588"/>
                    </a:spcAft>
                  </a:pPr>
                  <a:r>
                    <a:rPr lang="en-US" sz="1176" dirty="0">
                      <a:gradFill>
                        <a:gsLst>
                          <a:gs pos="2917">
                            <a:srgbClr val="FFFFFF"/>
                          </a:gs>
                          <a:gs pos="30000">
                            <a:srgbClr val="FFFFFF"/>
                          </a:gs>
                        </a:gsLst>
                        <a:lin ang="5400000" scaled="0"/>
                      </a:gradFill>
                    </a:rPr>
                    <a:t>Contacts</a:t>
                  </a:r>
                </a:p>
              </p:txBody>
            </p:sp>
            <p:sp>
              <p:nvSpPr>
                <p:cNvPr id="625" name="TextBox 624"/>
                <p:cNvSpPr txBox="1"/>
                <p:nvPr/>
              </p:nvSpPr>
              <p:spPr>
                <a:xfrm>
                  <a:off x="5077770" y="5415577"/>
                  <a:ext cx="1398896" cy="312438"/>
                </a:xfrm>
                <a:prstGeom prst="rect">
                  <a:avLst/>
                </a:prstGeom>
                <a:noFill/>
              </p:spPr>
              <p:txBody>
                <a:bodyPr wrap="square" lIns="0" tIns="0" rIns="0" bIns="0" rtlCol="0">
                  <a:noAutofit/>
                </a:bodyPr>
                <a:lstStyle/>
                <a:p>
                  <a:pPr algn="ctr" defTabSz="914093">
                    <a:lnSpc>
                      <a:spcPct val="90000"/>
                    </a:lnSpc>
                    <a:spcAft>
                      <a:spcPts val="588"/>
                    </a:spcAft>
                  </a:pPr>
                  <a:r>
                    <a:rPr lang="en-US" sz="1176" spc="-29" dirty="0">
                      <a:gradFill>
                        <a:gsLst>
                          <a:gs pos="2917">
                            <a:srgbClr val="FFFFFF"/>
                          </a:gs>
                          <a:gs pos="30000">
                            <a:srgbClr val="FFFFFF"/>
                          </a:gs>
                        </a:gsLst>
                        <a:lin ang="5400000" scaled="0"/>
                      </a:gradFill>
                    </a:rPr>
                    <a:t>Office Graph</a:t>
                  </a:r>
                </a:p>
              </p:txBody>
            </p:sp>
            <p:sp>
              <p:nvSpPr>
                <p:cNvPr id="626" name="TextBox 625"/>
                <p:cNvSpPr txBox="1"/>
                <p:nvPr/>
              </p:nvSpPr>
              <p:spPr>
                <a:xfrm>
                  <a:off x="7195328" y="5415577"/>
                  <a:ext cx="812022" cy="312438"/>
                </a:xfrm>
                <a:prstGeom prst="rect">
                  <a:avLst/>
                </a:prstGeom>
                <a:noFill/>
              </p:spPr>
              <p:txBody>
                <a:bodyPr wrap="square" lIns="0" tIns="0" rIns="0" bIns="0" rtlCol="0">
                  <a:noAutofit/>
                </a:bodyPr>
                <a:lstStyle/>
                <a:p>
                  <a:pPr algn="ctr" defTabSz="914093">
                    <a:lnSpc>
                      <a:spcPct val="90000"/>
                    </a:lnSpc>
                    <a:spcAft>
                      <a:spcPts val="588"/>
                    </a:spcAft>
                  </a:pPr>
                  <a:r>
                    <a:rPr lang="en-US" sz="1176" spc="-29" dirty="0">
                      <a:gradFill>
                        <a:gsLst>
                          <a:gs pos="2917">
                            <a:srgbClr val="FFFFFF"/>
                          </a:gs>
                          <a:gs pos="30000">
                            <a:srgbClr val="FFFFFF"/>
                          </a:gs>
                        </a:gsLst>
                        <a:lin ang="5400000" scaled="0"/>
                      </a:gradFill>
                    </a:rPr>
                    <a:t>Documents</a:t>
                  </a:r>
                </a:p>
              </p:txBody>
            </p:sp>
            <p:sp>
              <p:nvSpPr>
                <p:cNvPr id="627" name="TextBox 626"/>
                <p:cNvSpPr txBox="1"/>
                <p:nvPr/>
              </p:nvSpPr>
              <p:spPr>
                <a:xfrm>
                  <a:off x="6198803" y="5415577"/>
                  <a:ext cx="955064" cy="312438"/>
                </a:xfrm>
                <a:prstGeom prst="rect">
                  <a:avLst/>
                </a:prstGeom>
                <a:noFill/>
              </p:spPr>
              <p:txBody>
                <a:bodyPr wrap="square" lIns="0" tIns="0" rIns="0" bIns="0" rtlCol="0">
                  <a:noAutofit/>
                </a:bodyPr>
                <a:lstStyle/>
                <a:p>
                  <a:pPr algn="ctr" defTabSz="914093">
                    <a:lnSpc>
                      <a:spcPct val="90000"/>
                    </a:lnSpc>
                    <a:spcAft>
                      <a:spcPts val="588"/>
                    </a:spcAft>
                  </a:pPr>
                  <a:r>
                    <a:rPr lang="en-US" sz="1176" spc="-29" dirty="0">
                      <a:gradFill>
                        <a:gsLst>
                          <a:gs pos="2917">
                            <a:srgbClr val="FFFFFF"/>
                          </a:gs>
                          <a:gs pos="30000">
                            <a:srgbClr val="FFFFFF"/>
                          </a:gs>
                        </a:gsLst>
                        <a:lin ang="5400000" scaled="0"/>
                      </a:gradFill>
                    </a:rPr>
                    <a:t>Presentations</a:t>
                  </a:r>
                </a:p>
              </p:txBody>
            </p:sp>
            <p:sp>
              <p:nvSpPr>
                <p:cNvPr id="628" name="Freeform 7"/>
                <p:cNvSpPr>
                  <a:spLocks noChangeAspect="1" noEditPoints="1"/>
                </p:cNvSpPr>
                <p:nvPr/>
              </p:nvSpPr>
              <p:spPr bwMode="auto">
                <a:xfrm>
                  <a:off x="6462861" y="5731634"/>
                  <a:ext cx="446061" cy="468570"/>
                </a:xfrm>
                <a:custGeom>
                  <a:avLst/>
                  <a:gdLst>
                    <a:gd name="T0" fmla="*/ 92 w 92"/>
                    <a:gd name="T1" fmla="*/ 40 h 96"/>
                    <a:gd name="T2" fmla="*/ 84 w 92"/>
                    <a:gd name="T3" fmla="*/ 56 h 96"/>
                    <a:gd name="T4" fmla="*/ 84 w 92"/>
                    <a:gd name="T5" fmla="*/ 76 h 96"/>
                    <a:gd name="T6" fmla="*/ 92 w 92"/>
                    <a:gd name="T7" fmla="*/ 60 h 96"/>
                    <a:gd name="T8" fmla="*/ 84 w 92"/>
                    <a:gd name="T9" fmla="*/ 76 h 96"/>
                    <a:gd name="T10" fmla="*/ 80 w 92"/>
                    <a:gd name="T11" fmla="*/ 16 h 96"/>
                    <a:gd name="T12" fmla="*/ 60 w 92"/>
                    <a:gd name="T13" fmla="*/ 12 h 96"/>
                    <a:gd name="T14" fmla="*/ 72 w 92"/>
                    <a:gd name="T15" fmla="*/ 20 h 96"/>
                    <a:gd name="T16" fmla="*/ 60 w 92"/>
                    <a:gd name="T17" fmla="*/ 24 h 96"/>
                    <a:gd name="T18" fmla="*/ 72 w 92"/>
                    <a:gd name="T19" fmla="*/ 32 h 96"/>
                    <a:gd name="T20" fmla="*/ 60 w 92"/>
                    <a:gd name="T21" fmla="*/ 36 h 96"/>
                    <a:gd name="T22" fmla="*/ 72 w 92"/>
                    <a:gd name="T23" fmla="*/ 44 h 96"/>
                    <a:gd name="T24" fmla="*/ 60 w 92"/>
                    <a:gd name="T25" fmla="*/ 48 h 96"/>
                    <a:gd name="T26" fmla="*/ 72 w 92"/>
                    <a:gd name="T27" fmla="*/ 56 h 96"/>
                    <a:gd name="T28" fmla="*/ 60 w 92"/>
                    <a:gd name="T29" fmla="*/ 60 h 96"/>
                    <a:gd name="T30" fmla="*/ 72 w 92"/>
                    <a:gd name="T31" fmla="*/ 68 h 96"/>
                    <a:gd name="T32" fmla="*/ 60 w 92"/>
                    <a:gd name="T33" fmla="*/ 72 h 96"/>
                    <a:gd name="T34" fmla="*/ 76 w 92"/>
                    <a:gd name="T35" fmla="*/ 84 h 96"/>
                    <a:gd name="T36" fmla="*/ 80 w 92"/>
                    <a:gd name="T37" fmla="*/ 36 h 96"/>
                    <a:gd name="T38" fmla="*/ 92 w 92"/>
                    <a:gd name="T39" fmla="*/ 20 h 96"/>
                    <a:gd name="T40" fmla="*/ 56 w 92"/>
                    <a:gd name="T41" fmla="*/ 0 h 96"/>
                    <a:gd name="T42" fmla="*/ 0 w 92"/>
                    <a:gd name="T43" fmla="*/ 83 h 96"/>
                    <a:gd name="T44" fmla="*/ 56 w 92"/>
                    <a:gd name="T45" fmla="*/ 0 h 96"/>
                    <a:gd name="T46" fmla="*/ 36 w 92"/>
                    <a:gd name="T47" fmla="*/ 29 h 96"/>
                    <a:gd name="T48" fmla="*/ 37 w 92"/>
                    <a:gd name="T49" fmla="*/ 52 h 96"/>
                    <a:gd name="T50" fmla="*/ 37 w 92"/>
                    <a:gd name="T51" fmla="*/ 55 h 96"/>
                    <a:gd name="T52" fmla="*/ 37 w 92"/>
                    <a:gd name="T53" fmla="*/ 56 h 96"/>
                    <a:gd name="T54" fmla="*/ 36 w 92"/>
                    <a:gd name="T55" fmla="*/ 54 h 96"/>
                    <a:gd name="T56" fmla="*/ 35 w 92"/>
                    <a:gd name="T57" fmla="*/ 52 h 96"/>
                    <a:gd name="T58" fmla="*/ 13 w 92"/>
                    <a:gd name="T59" fmla="*/ 30 h 96"/>
                    <a:gd name="T60" fmla="*/ 20 w 92"/>
                    <a:gd name="T61" fmla="*/ 67 h 96"/>
                    <a:gd name="T62" fmla="*/ 20 w 92"/>
                    <a:gd name="T63" fmla="*/ 44 h 96"/>
                    <a:gd name="T64" fmla="*/ 20 w 92"/>
                    <a:gd name="T65" fmla="*/ 41 h 96"/>
                    <a:gd name="T66" fmla="*/ 20 w 92"/>
                    <a:gd name="T67" fmla="*/ 40 h 96"/>
                    <a:gd name="T68" fmla="*/ 21 w 92"/>
                    <a:gd name="T69" fmla="*/ 42 h 96"/>
                    <a:gd name="T70" fmla="*/ 22 w 92"/>
                    <a:gd name="T71" fmla="*/ 43 h 96"/>
                    <a:gd name="T72" fmla="*/ 44 w 92"/>
                    <a:gd name="T73" fmla="*/ 6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2" h="96">
                      <a:moveTo>
                        <a:pt x="84" y="40"/>
                      </a:moveTo>
                      <a:cubicBezTo>
                        <a:pt x="92" y="40"/>
                        <a:pt x="92" y="40"/>
                        <a:pt x="92" y="40"/>
                      </a:cubicBezTo>
                      <a:cubicBezTo>
                        <a:pt x="92" y="56"/>
                        <a:pt x="92" y="56"/>
                        <a:pt x="92" y="56"/>
                      </a:cubicBezTo>
                      <a:cubicBezTo>
                        <a:pt x="84" y="56"/>
                        <a:pt x="84" y="56"/>
                        <a:pt x="84" y="56"/>
                      </a:cubicBezTo>
                      <a:lnTo>
                        <a:pt x="84" y="40"/>
                      </a:lnTo>
                      <a:close/>
                      <a:moveTo>
                        <a:pt x="84" y="76"/>
                      </a:moveTo>
                      <a:cubicBezTo>
                        <a:pt x="92" y="76"/>
                        <a:pt x="92" y="76"/>
                        <a:pt x="92" y="76"/>
                      </a:cubicBezTo>
                      <a:cubicBezTo>
                        <a:pt x="92" y="60"/>
                        <a:pt x="92" y="60"/>
                        <a:pt x="92" y="60"/>
                      </a:cubicBezTo>
                      <a:cubicBezTo>
                        <a:pt x="84" y="60"/>
                        <a:pt x="84" y="60"/>
                        <a:pt x="84" y="60"/>
                      </a:cubicBezTo>
                      <a:lnTo>
                        <a:pt x="84" y="76"/>
                      </a:lnTo>
                      <a:close/>
                      <a:moveTo>
                        <a:pt x="80" y="20"/>
                      </a:moveTo>
                      <a:cubicBezTo>
                        <a:pt x="80" y="16"/>
                        <a:pt x="80" y="16"/>
                        <a:pt x="80" y="16"/>
                      </a:cubicBezTo>
                      <a:cubicBezTo>
                        <a:pt x="80" y="15"/>
                        <a:pt x="77" y="12"/>
                        <a:pt x="76" y="12"/>
                      </a:cubicBezTo>
                      <a:cubicBezTo>
                        <a:pt x="60" y="12"/>
                        <a:pt x="60" y="12"/>
                        <a:pt x="60" y="12"/>
                      </a:cubicBezTo>
                      <a:cubicBezTo>
                        <a:pt x="60" y="20"/>
                        <a:pt x="60" y="20"/>
                        <a:pt x="60" y="20"/>
                      </a:cubicBezTo>
                      <a:cubicBezTo>
                        <a:pt x="72" y="20"/>
                        <a:pt x="72" y="20"/>
                        <a:pt x="72" y="20"/>
                      </a:cubicBezTo>
                      <a:cubicBezTo>
                        <a:pt x="72" y="24"/>
                        <a:pt x="72" y="24"/>
                        <a:pt x="72" y="24"/>
                      </a:cubicBezTo>
                      <a:cubicBezTo>
                        <a:pt x="60" y="24"/>
                        <a:pt x="60" y="24"/>
                        <a:pt x="60" y="24"/>
                      </a:cubicBezTo>
                      <a:cubicBezTo>
                        <a:pt x="60" y="32"/>
                        <a:pt x="60" y="32"/>
                        <a:pt x="60" y="32"/>
                      </a:cubicBezTo>
                      <a:cubicBezTo>
                        <a:pt x="72" y="32"/>
                        <a:pt x="72" y="32"/>
                        <a:pt x="72" y="32"/>
                      </a:cubicBezTo>
                      <a:cubicBezTo>
                        <a:pt x="72" y="36"/>
                        <a:pt x="72" y="36"/>
                        <a:pt x="72" y="36"/>
                      </a:cubicBezTo>
                      <a:cubicBezTo>
                        <a:pt x="60" y="36"/>
                        <a:pt x="60" y="36"/>
                        <a:pt x="60" y="36"/>
                      </a:cubicBezTo>
                      <a:cubicBezTo>
                        <a:pt x="60" y="44"/>
                        <a:pt x="60" y="44"/>
                        <a:pt x="60" y="44"/>
                      </a:cubicBezTo>
                      <a:cubicBezTo>
                        <a:pt x="72" y="44"/>
                        <a:pt x="72" y="44"/>
                        <a:pt x="72" y="44"/>
                      </a:cubicBezTo>
                      <a:cubicBezTo>
                        <a:pt x="72" y="48"/>
                        <a:pt x="72" y="48"/>
                        <a:pt x="72" y="48"/>
                      </a:cubicBezTo>
                      <a:cubicBezTo>
                        <a:pt x="60" y="48"/>
                        <a:pt x="60" y="48"/>
                        <a:pt x="60" y="48"/>
                      </a:cubicBezTo>
                      <a:cubicBezTo>
                        <a:pt x="60" y="56"/>
                        <a:pt x="60" y="56"/>
                        <a:pt x="60" y="56"/>
                      </a:cubicBezTo>
                      <a:cubicBezTo>
                        <a:pt x="72" y="56"/>
                        <a:pt x="72" y="56"/>
                        <a:pt x="72" y="56"/>
                      </a:cubicBezTo>
                      <a:cubicBezTo>
                        <a:pt x="72" y="60"/>
                        <a:pt x="72" y="60"/>
                        <a:pt x="72" y="60"/>
                      </a:cubicBezTo>
                      <a:cubicBezTo>
                        <a:pt x="60" y="60"/>
                        <a:pt x="60" y="60"/>
                        <a:pt x="60" y="60"/>
                      </a:cubicBezTo>
                      <a:cubicBezTo>
                        <a:pt x="60" y="68"/>
                        <a:pt x="60" y="68"/>
                        <a:pt x="60" y="68"/>
                      </a:cubicBezTo>
                      <a:cubicBezTo>
                        <a:pt x="72" y="68"/>
                        <a:pt x="72" y="68"/>
                        <a:pt x="72" y="68"/>
                      </a:cubicBezTo>
                      <a:cubicBezTo>
                        <a:pt x="72" y="72"/>
                        <a:pt x="72" y="72"/>
                        <a:pt x="72" y="72"/>
                      </a:cubicBezTo>
                      <a:cubicBezTo>
                        <a:pt x="60" y="72"/>
                        <a:pt x="60" y="72"/>
                        <a:pt x="60" y="72"/>
                      </a:cubicBezTo>
                      <a:cubicBezTo>
                        <a:pt x="60" y="84"/>
                        <a:pt x="60" y="84"/>
                        <a:pt x="60" y="84"/>
                      </a:cubicBezTo>
                      <a:cubicBezTo>
                        <a:pt x="76" y="84"/>
                        <a:pt x="76" y="84"/>
                        <a:pt x="76" y="84"/>
                      </a:cubicBezTo>
                      <a:cubicBezTo>
                        <a:pt x="77" y="84"/>
                        <a:pt x="80" y="81"/>
                        <a:pt x="80" y="80"/>
                      </a:cubicBezTo>
                      <a:cubicBezTo>
                        <a:pt x="80" y="36"/>
                        <a:pt x="80" y="36"/>
                        <a:pt x="80" y="36"/>
                      </a:cubicBezTo>
                      <a:cubicBezTo>
                        <a:pt x="92" y="36"/>
                        <a:pt x="92" y="36"/>
                        <a:pt x="92" y="36"/>
                      </a:cubicBezTo>
                      <a:cubicBezTo>
                        <a:pt x="92" y="20"/>
                        <a:pt x="92" y="20"/>
                        <a:pt x="92" y="20"/>
                      </a:cubicBezTo>
                      <a:lnTo>
                        <a:pt x="80" y="20"/>
                      </a:lnTo>
                      <a:close/>
                      <a:moveTo>
                        <a:pt x="56" y="0"/>
                      </a:moveTo>
                      <a:cubicBezTo>
                        <a:pt x="56" y="96"/>
                        <a:pt x="56" y="96"/>
                        <a:pt x="56" y="96"/>
                      </a:cubicBezTo>
                      <a:cubicBezTo>
                        <a:pt x="0" y="83"/>
                        <a:pt x="0" y="83"/>
                        <a:pt x="0" y="83"/>
                      </a:cubicBezTo>
                      <a:cubicBezTo>
                        <a:pt x="0" y="13"/>
                        <a:pt x="0" y="13"/>
                        <a:pt x="0" y="13"/>
                      </a:cubicBezTo>
                      <a:lnTo>
                        <a:pt x="56" y="0"/>
                      </a:lnTo>
                      <a:close/>
                      <a:moveTo>
                        <a:pt x="44" y="28"/>
                      </a:moveTo>
                      <a:cubicBezTo>
                        <a:pt x="36" y="29"/>
                        <a:pt x="36" y="29"/>
                        <a:pt x="36" y="29"/>
                      </a:cubicBezTo>
                      <a:cubicBezTo>
                        <a:pt x="36" y="50"/>
                        <a:pt x="36" y="50"/>
                        <a:pt x="36" y="50"/>
                      </a:cubicBezTo>
                      <a:cubicBezTo>
                        <a:pt x="36" y="51"/>
                        <a:pt x="37" y="52"/>
                        <a:pt x="37" y="52"/>
                      </a:cubicBezTo>
                      <a:cubicBezTo>
                        <a:pt x="37" y="53"/>
                        <a:pt x="37" y="53"/>
                        <a:pt x="37" y="54"/>
                      </a:cubicBezTo>
                      <a:cubicBezTo>
                        <a:pt x="37" y="54"/>
                        <a:pt x="37" y="54"/>
                        <a:pt x="37" y="55"/>
                      </a:cubicBezTo>
                      <a:cubicBezTo>
                        <a:pt x="37" y="55"/>
                        <a:pt x="37" y="55"/>
                        <a:pt x="37" y="56"/>
                      </a:cubicBezTo>
                      <a:cubicBezTo>
                        <a:pt x="37" y="56"/>
                        <a:pt x="37" y="56"/>
                        <a:pt x="37" y="56"/>
                      </a:cubicBezTo>
                      <a:cubicBezTo>
                        <a:pt x="36" y="55"/>
                        <a:pt x="36" y="55"/>
                        <a:pt x="36" y="55"/>
                      </a:cubicBezTo>
                      <a:cubicBezTo>
                        <a:pt x="36" y="54"/>
                        <a:pt x="36" y="54"/>
                        <a:pt x="36" y="54"/>
                      </a:cubicBezTo>
                      <a:cubicBezTo>
                        <a:pt x="35" y="54"/>
                        <a:pt x="35" y="53"/>
                        <a:pt x="35" y="53"/>
                      </a:cubicBezTo>
                      <a:cubicBezTo>
                        <a:pt x="35" y="53"/>
                        <a:pt x="35" y="53"/>
                        <a:pt x="35" y="52"/>
                      </a:cubicBezTo>
                      <a:cubicBezTo>
                        <a:pt x="21" y="29"/>
                        <a:pt x="21" y="29"/>
                        <a:pt x="21" y="29"/>
                      </a:cubicBezTo>
                      <a:cubicBezTo>
                        <a:pt x="13" y="30"/>
                        <a:pt x="13" y="30"/>
                        <a:pt x="13" y="30"/>
                      </a:cubicBezTo>
                      <a:cubicBezTo>
                        <a:pt x="13" y="66"/>
                        <a:pt x="13" y="66"/>
                        <a:pt x="13" y="66"/>
                      </a:cubicBezTo>
                      <a:cubicBezTo>
                        <a:pt x="20" y="67"/>
                        <a:pt x="20" y="67"/>
                        <a:pt x="20" y="67"/>
                      </a:cubicBezTo>
                      <a:cubicBezTo>
                        <a:pt x="20" y="46"/>
                        <a:pt x="20" y="46"/>
                        <a:pt x="20" y="46"/>
                      </a:cubicBezTo>
                      <a:cubicBezTo>
                        <a:pt x="20" y="46"/>
                        <a:pt x="20" y="45"/>
                        <a:pt x="20" y="44"/>
                      </a:cubicBezTo>
                      <a:cubicBezTo>
                        <a:pt x="20" y="44"/>
                        <a:pt x="20" y="43"/>
                        <a:pt x="20" y="43"/>
                      </a:cubicBezTo>
                      <a:cubicBezTo>
                        <a:pt x="20" y="42"/>
                        <a:pt x="20" y="42"/>
                        <a:pt x="20" y="41"/>
                      </a:cubicBezTo>
                      <a:cubicBezTo>
                        <a:pt x="20" y="41"/>
                        <a:pt x="20" y="41"/>
                        <a:pt x="20" y="40"/>
                      </a:cubicBezTo>
                      <a:cubicBezTo>
                        <a:pt x="20" y="40"/>
                        <a:pt x="20" y="40"/>
                        <a:pt x="20" y="40"/>
                      </a:cubicBezTo>
                      <a:cubicBezTo>
                        <a:pt x="20" y="40"/>
                        <a:pt x="20" y="41"/>
                        <a:pt x="20" y="41"/>
                      </a:cubicBezTo>
                      <a:cubicBezTo>
                        <a:pt x="20" y="41"/>
                        <a:pt x="21" y="41"/>
                        <a:pt x="21" y="42"/>
                      </a:cubicBezTo>
                      <a:cubicBezTo>
                        <a:pt x="21" y="42"/>
                        <a:pt x="21" y="42"/>
                        <a:pt x="21" y="42"/>
                      </a:cubicBezTo>
                      <a:cubicBezTo>
                        <a:pt x="21" y="43"/>
                        <a:pt x="22" y="43"/>
                        <a:pt x="22" y="43"/>
                      </a:cubicBezTo>
                      <a:cubicBezTo>
                        <a:pt x="36" y="68"/>
                        <a:pt x="36" y="68"/>
                        <a:pt x="36" y="68"/>
                      </a:cubicBezTo>
                      <a:cubicBezTo>
                        <a:pt x="44" y="68"/>
                        <a:pt x="44" y="68"/>
                        <a:pt x="44" y="68"/>
                      </a:cubicBezTo>
                      <a:lnTo>
                        <a:pt x="44" y="28"/>
                      </a:lnTo>
                      <a:close/>
                    </a:path>
                  </a:pathLst>
                </a:custGeom>
                <a:solidFill>
                  <a:schemeClr val="tx1"/>
                </a:solidFill>
                <a:ln>
                  <a:noFill/>
                </a:ln>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29" name="Freeform 5"/>
                <p:cNvSpPr>
                  <a:spLocks noChangeAspect="1" noEditPoints="1"/>
                </p:cNvSpPr>
                <p:nvPr/>
              </p:nvSpPr>
              <p:spPr bwMode="auto">
                <a:xfrm>
                  <a:off x="5671185" y="5731634"/>
                  <a:ext cx="424574" cy="415227"/>
                </a:xfrm>
                <a:custGeom>
                  <a:avLst/>
                  <a:gdLst>
                    <a:gd name="T0" fmla="*/ 62 w 98"/>
                    <a:gd name="T1" fmla="*/ 26 h 96"/>
                    <a:gd name="T2" fmla="*/ 60 w 98"/>
                    <a:gd name="T3" fmla="*/ 23 h 96"/>
                    <a:gd name="T4" fmla="*/ 64 w 98"/>
                    <a:gd name="T5" fmla="*/ 19 h 96"/>
                    <a:gd name="T6" fmla="*/ 67 w 98"/>
                    <a:gd name="T7" fmla="*/ 20 h 96"/>
                    <a:gd name="T8" fmla="*/ 67 w 98"/>
                    <a:gd name="T9" fmla="*/ 20 h 96"/>
                    <a:gd name="T10" fmla="*/ 79 w 98"/>
                    <a:gd name="T11" fmla="*/ 36 h 96"/>
                    <a:gd name="T12" fmla="*/ 69 w 98"/>
                    <a:gd name="T13" fmla="*/ 36 h 96"/>
                    <a:gd name="T14" fmla="*/ 69 w 98"/>
                    <a:gd name="T15" fmla="*/ 36 h 96"/>
                    <a:gd name="T16" fmla="*/ 66 w 98"/>
                    <a:gd name="T17" fmla="*/ 36 h 96"/>
                    <a:gd name="T18" fmla="*/ 66 w 98"/>
                    <a:gd name="T19" fmla="*/ 36 h 96"/>
                    <a:gd name="T20" fmla="*/ 66 w 98"/>
                    <a:gd name="T21" fmla="*/ 36 h 96"/>
                    <a:gd name="T22" fmla="*/ 60 w 98"/>
                    <a:gd name="T23" fmla="*/ 38 h 96"/>
                    <a:gd name="T24" fmla="*/ 60 w 98"/>
                    <a:gd name="T25" fmla="*/ 29 h 96"/>
                    <a:gd name="T26" fmla="*/ 63 w 98"/>
                    <a:gd name="T27" fmla="*/ 28 h 96"/>
                    <a:gd name="T28" fmla="*/ 62 w 98"/>
                    <a:gd name="T29" fmla="*/ 26 h 96"/>
                    <a:gd name="T30" fmla="*/ 60 w 98"/>
                    <a:gd name="T31" fmla="*/ 64 h 96"/>
                    <a:gd name="T32" fmla="*/ 65 w 98"/>
                    <a:gd name="T33" fmla="*/ 65 h 96"/>
                    <a:gd name="T34" fmla="*/ 65 w 98"/>
                    <a:gd name="T35" fmla="*/ 66 h 96"/>
                    <a:gd name="T36" fmla="*/ 66 w 98"/>
                    <a:gd name="T37" fmla="*/ 66 h 96"/>
                    <a:gd name="T38" fmla="*/ 68 w 98"/>
                    <a:gd name="T39" fmla="*/ 66 h 96"/>
                    <a:gd name="T40" fmla="*/ 60 w 98"/>
                    <a:gd name="T41" fmla="*/ 55 h 96"/>
                    <a:gd name="T42" fmla="*/ 60 w 98"/>
                    <a:gd name="T43" fmla="*/ 64 h 96"/>
                    <a:gd name="T44" fmla="*/ 98 w 98"/>
                    <a:gd name="T45" fmla="*/ 47 h 96"/>
                    <a:gd name="T46" fmla="*/ 81 w 98"/>
                    <a:gd name="T47" fmla="*/ 28 h 96"/>
                    <a:gd name="T48" fmla="*/ 81 w 98"/>
                    <a:gd name="T49" fmla="*/ 28 h 96"/>
                    <a:gd name="T50" fmla="*/ 80 w 98"/>
                    <a:gd name="T51" fmla="*/ 28 h 96"/>
                    <a:gd name="T52" fmla="*/ 79 w 98"/>
                    <a:gd name="T53" fmla="*/ 28 h 96"/>
                    <a:gd name="T54" fmla="*/ 87 w 98"/>
                    <a:gd name="T55" fmla="*/ 39 h 96"/>
                    <a:gd name="T56" fmla="*/ 90 w 98"/>
                    <a:gd name="T57" fmla="*/ 47 h 96"/>
                    <a:gd name="T58" fmla="*/ 80 w 98"/>
                    <a:gd name="T59" fmla="*/ 58 h 96"/>
                    <a:gd name="T60" fmla="*/ 80 w 98"/>
                    <a:gd name="T61" fmla="*/ 58 h 96"/>
                    <a:gd name="T62" fmla="*/ 79 w 98"/>
                    <a:gd name="T63" fmla="*/ 58 h 96"/>
                    <a:gd name="T64" fmla="*/ 78 w 98"/>
                    <a:gd name="T65" fmla="*/ 58 h 96"/>
                    <a:gd name="T66" fmla="*/ 78 w 98"/>
                    <a:gd name="T67" fmla="*/ 58 h 96"/>
                    <a:gd name="T68" fmla="*/ 67 w 98"/>
                    <a:gd name="T69" fmla="*/ 58 h 96"/>
                    <a:gd name="T70" fmla="*/ 79 w 98"/>
                    <a:gd name="T71" fmla="*/ 73 h 96"/>
                    <a:gd name="T72" fmla="*/ 79 w 98"/>
                    <a:gd name="T73" fmla="*/ 73 h 96"/>
                    <a:gd name="T74" fmla="*/ 82 w 98"/>
                    <a:gd name="T75" fmla="*/ 75 h 96"/>
                    <a:gd name="T76" fmla="*/ 86 w 98"/>
                    <a:gd name="T77" fmla="*/ 70 h 96"/>
                    <a:gd name="T78" fmla="*/ 85 w 98"/>
                    <a:gd name="T79" fmla="*/ 68 h 96"/>
                    <a:gd name="T80" fmla="*/ 84 w 98"/>
                    <a:gd name="T81" fmla="*/ 66 h 96"/>
                    <a:gd name="T82" fmla="*/ 98 w 98"/>
                    <a:gd name="T83" fmla="*/ 47 h 96"/>
                    <a:gd name="T84" fmla="*/ 56 w 98"/>
                    <a:gd name="T85" fmla="*/ 0 h 96"/>
                    <a:gd name="T86" fmla="*/ 56 w 98"/>
                    <a:gd name="T87" fmla="*/ 96 h 96"/>
                    <a:gd name="T88" fmla="*/ 0 w 98"/>
                    <a:gd name="T89" fmla="*/ 83 h 96"/>
                    <a:gd name="T90" fmla="*/ 0 w 98"/>
                    <a:gd name="T91" fmla="*/ 13 h 96"/>
                    <a:gd name="T92" fmla="*/ 56 w 98"/>
                    <a:gd name="T93" fmla="*/ 0 h 96"/>
                    <a:gd name="T94" fmla="*/ 40 w 98"/>
                    <a:gd name="T95" fmla="*/ 60 h 96"/>
                    <a:gd name="T96" fmla="*/ 26 w 98"/>
                    <a:gd name="T97" fmla="*/ 60 h 96"/>
                    <a:gd name="T98" fmla="*/ 26 w 98"/>
                    <a:gd name="T99" fmla="*/ 28 h 96"/>
                    <a:gd name="T100" fmla="*/ 20 w 98"/>
                    <a:gd name="T101" fmla="*/ 28 h 96"/>
                    <a:gd name="T102" fmla="*/ 20 w 98"/>
                    <a:gd name="T103" fmla="*/ 66 h 96"/>
                    <a:gd name="T104" fmla="*/ 40 w 98"/>
                    <a:gd name="T105" fmla="*/ 67 h 96"/>
                    <a:gd name="T106" fmla="*/ 40 w 98"/>
                    <a:gd name="T107" fmla="*/ 6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8" h="96">
                      <a:moveTo>
                        <a:pt x="62" y="26"/>
                      </a:moveTo>
                      <a:cubicBezTo>
                        <a:pt x="61" y="25"/>
                        <a:pt x="60" y="24"/>
                        <a:pt x="60" y="23"/>
                      </a:cubicBezTo>
                      <a:cubicBezTo>
                        <a:pt x="60" y="20"/>
                        <a:pt x="62" y="19"/>
                        <a:pt x="64" y="19"/>
                      </a:cubicBezTo>
                      <a:cubicBezTo>
                        <a:pt x="66" y="19"/>
                        <a:pt x="67" y="19"/>
                        <a:pt x="67" y="20"/>
                      </a:cubicBezTo>
                      <a:cubicBezTo>
                        <a:pt x="67" y="20"/>
                        <a:pt x="67" y="20"/>
                        <a:pt x="67" y="20"/>
                      </a:cubicBezTo>
                      <a:cubicBezTo>
                        <a:pt x="79" y="36"/>
                        <a:pt x="79" y="36"/>
                        <a:pt x="79" y="36"/>
                      </a:cubicBezTo>
                      <a:cubicBezTo>
                        <a:pt x="69" y="36"/>
                        <a:pt x="69" y="36"/>
                        <a:pt x="69" y="36"/>
                      </a:cubicBezTo>
                      <a:cubicBezTo>
                        <a:pt x="69" y="36"/>
                        <a:pt x="69" y="36"/>
                        <a:pt x="69" y="36"/>
                      </a:cubicBezTo>
                      <a:cubicBezTo>
                        <a:pt x="66" y="36"/>
                        <a:pt x="66" y="36"/>
                        <a:pt x="66" y="36"/>
                      </a:cubicBezTo>
                      <a:cubicBezTo>
                        <a:pt x="66" y="36"/>
                        <a:pt x="66" y="36"/>
                        <a:pt x="66" y="36"/>
                      </a:cubicBezTo>
                      <a:cubicBezTo>
                        <a:pt x="66" y="36"/>
                        <a:pt x="66" y="36"/>
                        <a:pt x="66" y="36"/>
                      </a:cubicBezTo>
                      <a:cubicBezTo>
                        <a:pt x="63" y="36"/>
                        <a:pt x="61" y="37"/>
                        <a:pt x="60" y="38"/>
                      </a:cubicBezTo>
                      <a:cubicBezTo>
                        <a:pt x="60" y="29"/>
                        <a:pt x="60" y="29"/>
                        <a:pt x="60" y="29"/>
                      </a:cubicBezTo>
                      <a:cubicBezTo>
                        <a:pt x="61" y="28"/>
                        <a:pt x="62" y="28"/>
                        <a:pt x="63" y="28"/>
                      </a:cubicBezTo>
                      <a:lnTo>
                        <a:pt x="62" y="26"/>
                      </a:lnTo>
                      <a:close/>
                      <a:moveTo>
                        <a:pt x="60" y="64"/>
                      </a:moveTo>
                      <a:cubicBezTo>
                        <a:pt x="61" y="65"/>
                        <a:pt x="63" y="65"/>
                        <a:pt x="65" y="65"/>
                      </a:cubicBezTo>
                      <a:cubicBezTo>
                        <a:pt x="65" y="66"/>
                        <a:pt x="65" y="66"/>
                        <a:pt x="65" y="66"/>
                      </a:cubicBezTo>
                      <a:cubicBezTo>
                        <a:pt x="66" y="66"/>
                        <a:pt x="66" y="66"/>
                        <a:pt x="66" y="66"/>
                      </a:cubicBezTo>
                      <a:cubicBezTo>
                        <a:pt x="68" y="66"/>
                        <a:pt x="68" y="66"/>
                        <a:pt x="68" y="66"/>
                      </a:cubicBezTo>
                      <a:cubicBezTo>
                        <a:pt x="60" y="55"/>
                        <a:pt x="60" y="55"/>
                        <a:pt x="60" y="55"/>
                      </a:cubicBezTo>
                      <a:lnTo>
                        <a:pt x="60" y="64"/>
                      </a:lnTo>
                      <a:close/>
                      <a:moveTo>
                        <a:pt x="98" y="47"/>
                      </a:moveTo>
                      <a:cubicBezTo>
                        <a:pt x="98" y="37"/>
                        <a:pt x="91" y="28"/>
                        <a:pt x="81" y="28"/>
                      </a:cubicBezTo>
                      <a:cubicBezTo>
                        <a:pt x="81" y="28"/>
                        <a:pt x="81" y="28"/>
                        <a:pt x="81" y="28"/>
                      </a:cubicBezTo>
                      <a:cubicBezTo>
                        <a:pt x="80" y="28"/>
                        <a:pt x="80" y="28"/>
                        <a:pt x="80" y="28"/>
                      </a:cubicBezTo>
                      <a:cubicBezTo>
                        <a:pt x="79" y="28"/>
                        <a:pt x="79" y="28"/>
                        <a:pt x="79" y="28"/>
                      </a:cubicBezTo>
                      <a:cubicBezTo>
                        <a:pt x="87" y="39"/>
                        <a:pt x="87" y="39"/>
                        <a:pt x="87" y="39"/>
                      </a:cubicBezTo>
                      <a:cubicBezTo>
                        <a:pt x="89" y="41"/>
                        <a:pt x="90" y="44"/>
                        <a:pt x="90" y="47"/>
                      </a:cubicBezTo>
                      <a:cubicBezTo>
                        <a:pt x="90" y="53"/>
                        <a:pt x="86" y="57"/>
                        <a:pt x="80" y="58"/>
                      </a:cubicBezTo>
                      <a:cubicBezTo>
                        <a:pt x="80" y="58"/>
                        <a:pt x="80" y="58"/>
                        <a:pt x="80" y="58"/>
                      </a:cubicBezTo>
                      <a:cubicBezTo>
                        <a:pt x="79" y="58"/>
                        <a:pt x="79" y="58"/>
                        <a:pt x="79" y="58"/>
                      </a:cubicBezTo>
                      <a:cubicBezTo>
                        <a:pt x="78" y="58"/>
                        <a:pt x="78" y="58"/>
                        <a:pt x="78" y="58"/>
                      </a:cubicBezTo>
                      <a:cubicBezTo>
                        <a:pt x="78" y="58"/>
                        <a:pt x="78" y="58"/>
                        <a:pt x="78" y="58"/>
                      </a:cubicBezTo>
                      <a:cubicBezTo>
                        <a:pt x="67" y="58"/>
                        <a:pt x="67" y="58"/>
                        <a:pt x="67" y="58"/>
                      </a:cubicBezTo>
                      <a:cubicBezTo>
                        <a:pt x="79" y="73"/>
                        <a:pt x="79" y="73"/>
                        <a:pt x="79" y="73"/>
                      </a:cubicBezTo>
                      <a:cubicBezTo>
                        <a:pt x="79" y="73"/>
                        <a:pt x="79" y="73"/>
                        <a:pt x="79" y="73"/>
                      </a:cubicBezTo>
                      <a:cubicBezTo>
                        <a:pt x="80" y="74"/>
                        <a:pt x="81" y="75"/>
                        <a:pt x="82" y="75"/>
                      </a:cubicBezTo>
                      <a:cubicBezTo>
                        <a:pt x="85" y="75"/>
                        <a:pt x="86" y="73"/>
                        <a:pt x="86" y="70"/>
                      </a:cubicBezTo>
                      <a:cubicBezTo>
                        <a:pt x="86" y="69"/>
                        <a:pt x="86" y="68"/>
                        <a:pt x="85" y="68"/>
                      </a:cubicBezTo>
                      <a:cubicBezTo>
                        <a:pt x="84" y="66"/>
                        <a:pt x="84" y="66"/>
                        <a:pt x="84" y="66"/>
                      </a:cubicBezTo>
                      <a:cubicBezTo>
                        <a:pt x="93" y="64"/>
                        <a:pt x="98" y="56"/>
                        <a:pt x="98" y="47"/>
                      </a:cubicBezTo>
                      <a:close/>
                      <a:moveTo>
                        <a:pt x="56" y="0"/>
                      </a:moveTo>
                      <a:cubicBezTo>
                        <a:pt x="56" y="96"/>
                        <a:pt x="56" y="96"/>
                        <a:pt x="56" y="96"/>
                      </a:cubicBezTo>
                      <a:cubicBezTo>
                        <a:pt x="0" y="83"/>
                        <a:pt x="0" y="83"/>
                        <a:pt x="0" y="83"/>
                      </a:cubicBezTo>
                      <a:cubicBezTo>
                        <a:pt x="0" y="13"/>
                        <a:pt x="0" y="13"/>
                        <a:pt x="0" y="13"/>
                      </a:cubicBezTo>
                      <a:lnTo>
                        <a:pt x="56" y="0"/>
                      </a:lnTo>
                      <a:close/>
                      <a:moveTo>
                        <a:pt x="40" y="60"/>
                      </a:moveTo>
                      <a:cubicBezTo>
                        <a:pt x="26" y="60"/>
                        <a:pt x="26" y="60"/>
                        <a:pt x="26" y="60"/>
                      </a:cubicBezTo>
                      <a:cubicBezTo>
                        <a:pt x="26" y="28"/>
                        <a:pt x="26" y="28"/>
                        <a:pt x="26" y="28"/>
                      </a:cubicBezTo>
                      <a:cubicBezTo>
                        <a:pt x="20" y="28"/>
                        <a:pt x="20" y="28"/>
                        <a:pt x="20" y="28"/>
                      </a:cubicBezTo>
                      <a:cubicBezTo>
                        <a:pt x="20" y="66"/>
                        <a:pt x="20" y="66"/>
                        <a:pt x="20" y="66"/>
                      </a:cubicBezTo>
                      <a:cubicBezTo>
                        <a:pt x="40" y="67"/>
                        <a:pt x="40" y="67"/>
                        <a:pt x="40" y="67"/>
                      </a:cubicBezTo>
                      <a:lnTo>
                        <a:pt x="40" y="60"/>
                      </a:lnTo>
                      <a:close/>
                    </a:path>
                  </a:pathLst>
                </a:custGeom>
                <a:solidFill>
                  <a:schemeClr val="tx1"/>
                </a:solidFill>
                <a:ln>
                  <a:noFill/>
                </a:ln>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pic>
              <p:nvPicPr>
                <p:cNvPr id="630" name="Picture 629"/>
                <p:cNvPicPr>
                  <a:picLocks noChangeAspect="1"/>
                </p:cNvPicPr>
                <p:nvPr/>
              </p:nvPicPr>
              <p:blipFill>
                <a:blip r:embed="rId9" cstate="print">
                  <a:extLst>
                    <a:ext uri="{BEBA8EAE-BF5A-486C-A8C5-ECC9F3942E4B}">
                      <a14:imgProps xmlns:a14="http://schemas.microsoft.com/office/drawing/2010/main">
                        <a14:imgLayer r:embed="rId10">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a:xfrm>
                  <a:off x="7344756" y="5788784"/>
                  <a:ext cx="402632" cy="350470"/>
                </a:xfrm>
                <a:prstGeom prst="rect">
                  <a:avLst/>
                </a:prstGeom>
              </p:spPr>
            </p:pic>
            <p:grpSp>
              <p:nvGrpSpPr>
                <p:cNvPr id="631" name="Group 8"/>
                <p:cNvGrpSpPr>
                  <a:grpSpLocks noChangeAspect="1"/>
                </p:cNvGrpSpPr>
                <p:nvPr/>
              </p:nvGrpSpPr>
              <p:grpSpPr bwMode="auto">
                <a:xfrm>
                  <a:off x="7342345" y="4895634"/>
                  <a:ext cx="517988" cy="400570"/>
                  <a:chOff x="1226" y="121"/>
                  <a:chExt cx="5382" cy="4162"/>
                </a:xfrm>
                <a:solidFill>
                  <a:schemeClr val="tx1"/>
                </a:solidFill>
              </p:grpSpPr>
              <p:sp>
                <p:nvSpPr>
                  <p:cNvPr id="644" name="Freeform 9"/>
                  <p:cNvSpPr>
                    <a:spLocks/>
                  </p:cNvSpPr>
                  <p:nvPr/>
                </p:nvSpPr>
                <p:spPr bwMode="auto">
                  <a:xfrm>
                    <a:off x="1694" y="121"/>
                    <a:ext cx="4446" cy="1244"/>
                  </a:xfrm>
                  <a:custGeom>
                    <a:avLst/>
                    <a:gdLst>
                      <a:gd name="T0" fmla="*/ 1857 w 1880"/>
                      <a:gd name="T1" fmla="*/ 266 h 526"/>
                      <a:gd name="T2" fmla="*/ 1701 w 1880"/>
                      <a:gd name="T3" fmla="*/ 266 h 526"/>
                      <a:gd name="T4" fmla="*/ 1626 w 1880"/>
                      <a:gd name="T5" fmla="*/ 0 h 526"/>
                      <a:gd name="T6" fmla="*/ 689 w 1880"/>
                      <a:gd name="T7" fmla="*/ 266 h 526"/>
                      <a:gd name="T8" fmla="*/ 579 w 1880"/>
                      <a:gd name="T9" fmla="*/ 266 h 526"/>
                      <a:gd name="T10" fmla="*/ 457 w 1880"/>
                      <a:gd name="T11" fmla="*/ 162 h 526"/>
                      <a:gd name="T12" fmla="*/ 417 w 1880"/>
                      <a:gd name="T13" fmla="*/ 144 h 526"/>
                      <a:gd name="T14" fmla="*/ 24 w 1880"/>
                      <a:gd name="T15" fmla="*/ 144 h 526"/>
                      <a:gd name="T16" fmla="*/ 0 w 1880"/>
                      <a:gd name="T17" fmla="*/ 167 h 526"/>
                      <a:gd name="T18" fmla="*/ 0 w 1880"/>
                      <a:gd name="T19" fmla="*/ 526 h 526"/>
                      <a:gd name="T20" fmla="*/ 180 w 1880"/>
                      <a:gd name="T21" fmla="*/ 526 h 526"/>
                      <a:gd name="T22" fmla="*/ 1550 w 1880"/>
                      <a:gd name="T23" fmla="*/ 133 h 526"/>
                      <a:gd name="T24" fmla="*/ 1660 w 1880"/>
                      <a:gd name="T25" fmla="*/ 526 h 526"/>
                      <a:gd name="T26" fmla="*/ 1880 w 1880"/>
                      <a:gd name="T27" fmla="*/ 526 h 526"/>
                      <a:gd name="T28" fmla="*/ 1880 w 1880"/>
                      <a:gd name="T29" fmla="*/ 289 h 526"/>
                      <a:gd name="T30" fmla="*/ 1857 w 1880"/>
                      <a:gd name="T31" fmla="*/ 266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80" h="526">
                        <a:moveTo>
                          <a:pt x="1857" y="266"/>
                        </a:moveTo>
                        <a:cubicBezTo>
                          <a:pt x="1701" y="266"/>
                          <a:pt x="1701" y="266"/>
                          <a:pt x="1701" y="266"/>
                        </a:cubicBezTo>
                        <a:cubicBezTo>
                          <a:pt x="1626" y="0"/>
                          <a:pt x="1626" y="0"/>
                          <a:pt x="1626" y="0"/>
                        </a:cubicBezTo>
                        <a:cubicBezTo>
                          <a:pt x="689" y="266"/>
                          <a:pt x="689" y="266"/>
                          <a:pt x="689" y="266"/>
                        </a:cubicBezTo>
                        <a:cubicBezTo>
                          <a:pt x="579" y="266"/>
                          <a:pt x="579" y="266"/>
                          <a:pt x="579" y="266"/>
                        </a:cubicBezTo>
                        <a:cubicBezTo>
                          <a:pt x="457" y="162"/>
                          <a:pt x="457" y="162"/>
                          <a:pt x="457" y="162"/>
                        </a:cubicBezTo>
                        <a:cubicBezTo>
                          <a:pt x="452" y="150"/>
                          <a:pt x="428" y="144"/>
                          <a:pt x="417" y="144"/>
                        </a:cubicBezTo>
                        <a:cubicBezTo>
                          <a:pt x="24" y="144"/>
                          <a:pt x="24" y="144"/>
                          <a:pt x="24" y="144"/>
                        </a:cubicBezTo>
                        <a:cubicBezTo>
                          <a:pt x="12" y="144"/>
                          <a:pt x="0" y="156"/>
                          <a:pt x="0" y="167"/>
                        </a:cubicBezTo>
                        <a:cubicBezTo>
                          <a:pt x="0" y="526"/>
                          <a:pt x="0" y="526"/>
                          <a:pt x="0" y="526"/>
                        </a:cubicBezTo>
                        <a:cubicBezTo>
                          <a:pt x="180" y="526"/>
                          <a:pt x="180" y="526"/>
                          <a:pt x="180" y="526"/>
                        </a:cubicBezTo>
                        <a:cubicBezTo>
                          <a:pt x="1550" y="133"/>
                          <a:pt x="1550" y="133"/>
                          <a:pt x="1550" y="133"/>
                        </a:cubicBezTo>
                        <a:cubicBezTo>
                          <a:pt x="1660" y="526"/>
                          <a:pt x="1660" y="526"/>
                          <a:pt x="1660" y="526"/>
                        </a:cubicBezTo>
                        <a:cubicBezTo>
                          <a:pt x="1880" y="526"/>
                          <a:pt x="1880" y="526"/>
                          <a:pt x="1880" y="526"/>
                        </a:cubicBezTo>
                        <a:cubicBezTo>
                          <a:pt x="1880" y="289"/>
                          <a:pt x="1880" y="289"/>
                          <a:pt x="1880" y="289"/>
                        </a:cubicBezTo>
                        <a:cubicBezTo>
                          <a:pt x="1880" y="277"/>
                          <a:pt x="1868" y="266"/>
                          <a:pt x="1857" y="2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45" name="Freeform 10"/>
                  <p:cNvSpPr>
                    <a:spLocks/>
                  </p:cNvSpPr>
                  <p:nvPr/>
                </p:nvSpPr>
                <p:spPr bwMode="auto">
                  <a:xfrm>
                    <a:off x="1226" y="1559"/>
                    <a:ext cx="5382" cy="2724"/>
                  </a:xfrm>
                  <a:custGeom>
                    <a:avLst/>
                    <a:gdLst>
                      <a:gd name="T0" fmla="*/ 2259 w 2276"/>
                      <a:gd name="T1" fmla="*/ 0 h 1151"/>
                      <a:gd name="T2" fmla="*/ 23 w 2276"/>
                      <a:gd name="T3" fmla="*/ 0 h 1151"/>
                      <a:gd name="T4" fmla="*/ 0 w 2276"/>
                      <a:gd name="T5" fmla="*/ 23 h 1151"/>
                      <a:gd name="T6" fmla="*/ 191 w 2276"/>
                      <a:gd name="T7" fmla="*/ 1104 h 1151"/>
                      <a:gd name="T8" fmla="*/ 243 w 2276"/>
                      <a:gd name="T9" fmla="*/ 1151 h 1151"/>
                      <a:gd name="T10" fmla="*/ 2033 w 2276"/>
                      <a:gd name="T11" fmla="*/ 1151 h 1151"/>
                      <a:gd name="T12" fmla="*/ 2085 w 2276"/>
                      <a:gd name="T13" fmla="*/ 1104 h 1151"/>
                      <a:gd name="T14" fmla="*/ 2276 w 2276"/>
                      <a:gd name="T15" fmla="*/ 23 h 1151"/>
                      <a:gd name="T16" fmla="*/ 2259 w 2276"/>
                      <a:gd name="T17" fmla="*/ 0 h 1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76" h="1151">
                        <a:moveTo>
                          <a:pt x="2259" y="0"/>
                        </a:moveTo>
                        <a:cubicBezTo>
                          <a:pt x="23" y="0"/>
                          <a:pt x="23" y="0"/>
                          <a:pt x="23" y="0"/>
                        </a:cubicBezTo>
                        <a:cubicBezTo>
                          <a:pt x="6" y="0"/>
                          <a:pt x="0" y="11"/>
                          <a:pt x="0" y="23"/>
                        </a:cubicBezTo>
                        <a:cubicBezTo>
                          <a:pt x="191" y="1104"/>
                          <a:pt x="191" y="1104"/>
                          <a:pt x="191" y="1104"/>
                        </a:cubicBezTo>
                        <a:cubicBezTo>
                          <a:pt x="191" y="1133"/>
                          <a:pt x="220" y="1151"/>
                          <a:pt x="243" y="1151"/>
                        </a:cubicBezTo>
                        <a:cubicBezTo>
                          <a:pt x="2033" y="1151"/>
                          <a:pt x="2033" y="1151"/>
                          <a:pt x="2033" y="1151"/>
                        </a:cubicBezTo>
                        <a:cubicBezTo>
                          <a:pt x="2056" y="1151"/>
                          <a:pt x="2085" y="1133"/>
                          <a:pt x="2085" y="1104"/>
                        </a:cubicBezTo>
                        <a:cubicBezTo>
                          <a:pt x="2276" y="23"/>
                          <a:pt x="2276" y="23"/>
                          <a:pt x="2276" y="23"/>
                        </a:cubicBezTo>
                        <a:cubicBezTo>
                          <a:pt x="2276" y="11"/>
                          <a:pt x="2270" y="0"/>
                          <a:pt x="22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sp>
              <p:nvSpPr>
                <p:cNvPr id="632" name="Freeform 14"/>
                <p:cNvSpPr>
                  <a:spLocks noEditPoints="1"/>
                </p:cNvSpPr>
                <p:nvPr/>
              </p:nvSpPr>
              <p:spPr bwMode="auto">
                <a:xfrm>
                  <a:off x="6450910" y="4767442"/>
                  <a:ext cx="450850" cy="528762"/>
                </a:xfrm>
                <a:custGeom>
                  <a:avLst/>
                  <a:gdLst>
                    <a:gd name="T0" fmla="*/ 0 w 1834"/>
                    <a:gd name="T1" fmla="*/ 1186 h 2152"/>
                    <a:gd name="T2" fmla="*/ 1834 w 1834"/>
                    <a:gd name="T3" fmla="*/ 1186 h 2152"/>
                    <a:gd name="T4" fmla="*/ 1834 w 1834"/>
                    <a:gd name="T5" fmla="*/ 1962 h 2152"/>
                    <a:gd name="T6" fmla="*/ 1650 w 1834"/>
                    <a:gd name="T7" fmla="*/ 2152 h 2152"/>
                    <a:gd name="T8" fmla="*/ 189 w 1834"/>
                    <a:gd name="T9" fmla="*/ 2152 h 2152"/>
                    <a:gd name="T10" fmla="*/ 0 w 1834"/>
                    <a:gd name="T11" fmla="*/ 1962 h 2152"/>
                    <a:gd name="T12" fmla="*/ 0 w 1834"/>
                    <a:gd name="T13" fmla="*/ 1186 h 2152"/>
                    <a:gd name="T14" fmla="*/ 0 w 1834"/>
                    <a:gd name="T15" fmla="*/ 1186 h 2152"/>
                    <a:gd name="T16" fmla="*/ 543 w 1834"/>
                    <a:gd name="T17" fmla="*/ 832 h 2152"/>
                    <a:gd name="T18" fmla="*/ 234 w 1834"/>
                    <a:gd name="T19" fmla="*/ 832 h 2152"/>
                    <a:gd name="T20" fmla="*/ 79 w 1834"/>
                    <a:gd name="T21" fmla="*/ 1146 h 2152"/>
                    <a:gd name="T22" fmla="*/ 384 w 1834"/>
                    <a:gd name="T23" fmla="*/ 1146 h 2152"/>
                    <a:gd name="T24" fmla="*/ 543 w 1834"/>
                    <a:gd name="T25" fmla="*/ 832 h 2152"/>
                    <a:gd name="T26" fmla="*/ 543 w 1834"/>
                    <a:gd name="T27" fmla="*/ 832 h 2152"/>
                    <a:gd name="T28" fmla="*/ 917 w 1834"/>
                    <a:gd name="T29" fmla="*/ 1146 h 2152"/>
                    <a:gd name="T30" fmla="*/ 1076 w 1834"/>
                    <a:gd name="T31" fmla="*/ 832 h 2152"/>
                    <a:gd name="T32" fmla="*/ 767 w 1834"/>
                    <a:gd name="T33" fmla="*/ 832 h 2152"/>
                    <a:gd name="T34" fmla="*/ 613 w 1834"/>
                    <a:gd name="T35" fmla="*/ 1146 h 2152"/>
                    <a:gd name="T36" fmla="*/ 917 w 1834"/>
                    <a:gd name="T37" fmla="*/ 1146 h 2152"/>
                    <a:gd name="T38" fmla="*/ 917 w 1834"/>
                    <a:gd name="T39" fmla="*/ 1146 h 2152"/>
                    <a:gd name="T40" fmla="*/ 1146 w 1834"/>
                    <a:gd name="T41" fmla="*/ 1146 h 2152"/>
                    <a:gd name="T42" fmla="*/ 1450 w 1834"/>
                    <a:gd name="T43" fmla="*/ 1146 h 2152"/>
                    <a:gd name="T44" fmla="*/ 1610 w 1834"/>
                    <a:gd name="T45" fmla="*/ 832 h 2152"/>
                    <a:gd name="T46" fmla="*/ 1301 w 1834"/>
                    <a:gd name="T47" fmla="*/ 832 h 2152"/>
                    <a:gd name="T48" fmla="*/ 1146 w 1834"/>
                    <a:gd name="T49" fmla="*/ 1146 h 2152"/>
                    <a:gd name="T50" fmla="*/ 1146 w 1834"/>
                    <a:gd name="T51" fmla="*/ 1146 h 2152"/>
                    <a:gd name="T52" fmla="*/ 1680 w 1834"/>
                    <a:gd name="T53" fmla="*/ 1146 h 2152"/>
                    <a:gd name="T54" fmla="*/ 1834 w 1834"/>
                    <a:gd name="T55" fmla="*/ 1146 h 2152"/>
                    <a:gd name="T56" fmla="*/ 1834 w 1834"/>
                    <a:gd name="T57" fmla="*/ 832 h 2152"/>
                    <a:gd name="T58" fmla="*/ 1680 w 1834"/>
                    <a:gd name="T59" fmla="*/ 1146 h 2152"/>
                    <a:gd name="T60" fmla="*/ 1680 w 1834"/>
                    <a:gd name="T61" fmla="*/ 1146 h 2152"/>
                    <a:gd name="T62" fmla="*/ 234 w 1834"/>
                    <a:gd name="T63" fmla="*/ 707 h 2152"/>
                    <a:gd name="T64" fmla="*/ 234 w 1834"/>
                    <a:gd name="T65" fmla="*/ 707 h 2152"/>
                    <a:gd name="T66" fmla="*/ 1530 w 1834"/>
                    <a:gd name="T67" fmla="*/ 369 h 2152"/>
                    <a:gd name="T68" fmla="*/ 1560 w 1834"/>
                    <a:gd name="T69" fmla="*/ 364 h 2152"/>
                    <a:gd name="T70" fmla="*/ 1560 w 1834"/>
                    <a:gd name="T71" fmla="*/ 364 h 2152"/>
                    <a:gd name="T72" fmla="*/ 1779 w 1834"/>
                    <a:gd name="T73" fmla="*/ 304 h 2152"/>
                    <a:gd name="T74" fmla="*/ 1779 w 1834"/>
                    <a:gd name="T75" fmla="*/ 304 h 2152"/>
                    <a:gd name="T76" fmla="*/ 1779 w 1834"/>
                    <a:gd name="T77" fmla="*/ 304 h 2152"/>
                    <a:gd name="T78" fmla="*/ 1700 w 1834"/>
                    <a:gd name="T79" fmla="*/ 0 h 2152"/>
                    <a:gd name="T80" fmla="*/ 1550 w 1834"/>
                    <a:gd name="T81" fmla="*/ 40 h 2152"/>
                    <a:gd name="T82" fmla="*/ 1745 w 1834"/>
                    <a:gd name="T83" fmla="*/ 264 h 2152"/>
                    <a:gd name="T84" fmla="*/ 1525 w 1834"/>
                    <a:gd name="T85" fmla="*/ 324 h 2152"/>
                    <a:gd name="T86" fmla="*/ 1326 w 1834"/>
                    <a:gd name="T87" fmla="*/ 100 h 2152"/>
                    <a:gd name="T88" fmla="*/ 1032 w 1834"/>
                    <a:gd name="T89" fmla="*/ 175 h 2152"/>
                    <a:gd name="T90" fmla="*/ 1226 w 1834"/>
                    <a:gd name="T91" fmla="*/ 399 h 2152"/>
                    <a:gd name="T92" fmla="*/ 1007 w 1834"/>
                    <a:gd name="T93" fmla="*/ 459 h 2152"/>
                    <a:gd name="T94" fmla="*/ 812 w 1834"/>
                    <a:gd name="T95" fmla="*/ 234 h 2152"/>
                    <a:gd name="T96" fmla="*/ 518 w 1834"/>
                    <a:gd name="T97" fmla="*/ 309 h 2152"/>
                    <a:gd name="T98" fmla="*/ 713 w 1834"/>
                    <a:gd name="T99" fmla="*/ 533 h 2152"/>
                    <a:gd name="T100" fmla="*/ 493 w 1834"/>
                    <a:gd name="T101" fmla="*/ 593 h 2152"/>
                    <a:gd name="T102" fmla="*/ 294 w 1834"/>
                    <a:gd name="T103" fmla="*/ 369 h 2152"/>
                    <a:gd name="T104" fmla="*/ 0 w 1834"/>
                    <a:gd name="T105" fmla="*/ 444 h 2152"/>
                    <a:gd name="T106" fmla="*/ 229 w 1834"/>
                    <a:gd name="T107" fmla="*/ 707 h 2152"/>
                    <a:gd name="T108" fmla="*/ 234 w 1834"/>
                    <a:gd name="T109" fmla="*/ 707 h 2152"/>
                    <a:gd name="T110" fmla="*/ 234 w 1834"/>
                    <a:gd name="T111" fmla="*/ 707 h 2152"/>
                    <a:gd name="T112" fmla="*/ 74 w 1834"/>
                    <a:gd name="T113" fmla="*/ 707 h 2152"/>
                    <a:gd name="T114" fmla="*/ 0 w 1834"/>
                    <a:gd name="T115" fmla="*/ 782 h 2152"/>
                    <a:gd name="T116" fmla="*/ 74 w 1834"/>
                    <a:gd name="T117" fmla="*/ 852 h 2152"/>
                    <a:gd name="T118" fmla="*/ 144 w 1834"/>
                    <a:gd name="T119" fmla="*/ 782 h 2152"/>
                    <a:gd name="T120" fmla="*/ 74 w 1834"/>
                    <a:gd name="T121" fmla="*/ 707 h 2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34" h="2152">
                      <a:moveTo>
                        <a:pt x="0" y="1186"/>
                      </a:moveTo>
                      <a:cubicBezTo>
                        <a:pt x="1834" y="1186"/>
                        <a:pt x="1834" y="1186"/>
                        <a:pt x="1834" y="1186"/>
                      </a:cubicBezTo>
                      <a:cubicBezTo>
                        <a:pt x="1834" y="1962"/>
                        <a:pt x="1834" y="1962"/>
                        <a:pt x="1834" y="1962"/>
                      </a:cubicBezTo>
                      <a:cubicBezTo>
                        <a:pt x="1834" y="2067"/>
                        <a:pt x="1750" y="2152"/>
                        <a:pt x="1650" y="2152"/>
                      </a:cubicBezTo>
                      <a:cubicBezTo>
                        <a:pt x="189" y="2152"/>
                        <a:pt x="189" y="2152"/>
                        <a:pt x="189" y="2152"/>
                      </a:cubicBezTo>
                      <a:cubicBezTo>
                        <a:pt x="84" y="2152"/>
                        <a:pt x="0" y="2067"/>
                        <a:pt x="0" y="1962"/>
                      </a:cubicBezTo>
                      <a:cubicBezTo>
                        <a:pt x="0" y="1186"/>
                        <a:pt x="0" y="1186"/>
                        <a:pt x="0" y="1186"/>
                      </a:cubicBezTo>
                      <a:cubicBezTo>
                        <a:pt x="0" y="1186"/>
                        <a:pt x="0" y="1186"/>
                        <a:pt x="0" y="1186"/>
                      </a:cubicBezTo>
                      <a:close/>
                      <a:moveTo>
                        <a:pt x="543" y="832"/>
                      </a:moveTo>
                      <a:cubicBezTo>
                        <a:pt x="234" y="832"/>
                        <a:pt x="234" y="832"/>
                        <a:pt x="234" y="832"/>
                      </a:cubicBezTo>
                      <a:cubicBezTo>
                        <a:pt x="79" y="1146"/>
                        <a:pt x="79" y="1146"/>
                        <a:pt x="79" y="1146"/>
                      </a:cubicBezTo>
                      <a:cubicBezTo>
                        <a:pt x="384" y="1146"/>
                        <a:pt x="384" y="1146"/>
                        <a:pt x="384" y="1146"/>
                      </a:cubicBezTo>
                      <a:cubicBezTo>
                        <a:pt x="543" y="832"/>
                        <a:pt x="543" y="832"/>
                        <a:pt x="543" y="832"/>
                      </a:cubicBezTo>
                      <a:cubicBezTo>
                        <a:pt x="543" y="832"/>
                        <a:pt x="543" y="832"/>
                        <a:pt x="543" y="832"/>
                      </a:cubicBezTo>
                      <a:close/>
                      <a:moveTo>
                        <a:pt x="917" y="1146"/>
                      </a:moveTo>
                      <a:cubicBezTo>
                        <a:pt x="1076" y="832"/>
                        <a:pt x="1076" y="832"/>
                        <a:pt x="1076" y="832"/>
                      </a:cubicBezTo>
                      <a:cubicBezTo>
                        <a:pt x="767" y="832"/>
                        <a:pt x="767" y="832"/>
                        <a:pt x="767" y="832"/>
                      </a:cubicBezTo>
                      <a:cubicBezTo>
                        <a:pt x="613" y="1146"/>
                        <a:pt x="613" y="1146"/>
                        <a:pt x="613" y="1146"/>
                      </a:cubicBezTo>
                      <a:cubicBezTo>
                        <a:pt x="917" y="1146"/>
                        <a:pt x="917" y="1146"/>
                        <a:pt x="917" y="1146"/>
                      </a:cubicBezTo>
                      <a:cubicBezTo>
                        <a:pt x="917" y="1146"/>
                        <a:pt x="917" y="1146"/>
                        <a:pt x="917" y="1146"/>
                      </a:cubicBezTo>
                      <a:close/>
                      <a:moveTo>
                        <a:pt x="1146" y="1146"/>
                      </a:moveTo>
                      <a:cubicBezTo>
                        <a:pt x="1450" y="1146"/>
                        <a:pt x="1450" y="1146"/>
                        <a:pt x="1450" y="1146"/>
                      </a:cubicBezTo>
                      <a:cubicBezTo>
                        <a:pt x="1610" y="832"/>
                        <a:pt x="1610" y="832"/>
                        <a:pt x="1610" y="832"/>
                      </a:cubicBezTo>
                      <a:cubicBezTo>
                        <a:pt x="1301" y="832"/>
                        <a:pt x="1301" y="832"/>
                        <a:pt x="1301" y="832"/>
                      </a:cubicBezTo>
                      <a:cubicBezTo>
                        <a:pt x="1146" y="1146"/>
                        <a:pt x="1146" y="1146"/>
                        <a:pt x="1146" y="1146"/>
                      </a:cubicBezTo>
                      <a:cubicBezTo>
                        <a:pt x="1146" y="1146"/>
                        <a:pt x="1146" y="1146"/>
                        <a:pt x="1146" y="1146"/>
                      </a:cubicBezTo>
                      <a:close/>
                      <a:moveTo>
                        <a:pt x="1680" y="1146"/>
                      </a:moveTo>
                      <a:cubicBezTo>
                        <a:pt x="1834" y="1146"/>
                        <a:pt x="1834" y="1146"/>
                        <a:pt x="1834" y="1146"/>
                      </a:cubicBezTo>
                      <a:cubicBezTo>
                        <a:pt x="1834" y="832"/>
                        <a:pt x="1834" y="832"/>
                        <a:pt x="1834" y="832"/>
                      </a:cubicBezTo>
                      <a:cubicBezTo>
                        <a:pt x="1680" y="1146"/>
                        <a:pt x="1680" y="1146"/>
                        <a:pt x="1680" y="1146"/>
                      </a:cubicBezTo>
                      <a:cubicBezTo>
                        <a:pt x="1680" y="1146"/>
                        <a:pt x="1680" y="1146"/>
                        <a:pt x="1680" y="1146"/>
                      </a:cubicBezTo>
                      <a:close/>
                      <a:moveTo>
                        <a:pt x="234" y="707"/>
                      </a:moveTo>
                      <a:cubicBezTo>
                        <a:pt x="234" y="707"/>
                        <a:pt x="234" y="707"/>
                        <a:pt x="234" y="707"/>
                      </a:cubicBezTo>
                      <a:cubicBezTo>
                        <a:pt x="1530" y="369"/>
                        <a:pt x="1530" y="369"/>
                        <a:pt x="1530" y="369"/>
                      </a:cubicBezTo>
                      <a:cubicBezTo>
                        <a:pt x="1560" y="364"/>
                        <a:pt x="1560" y="364"/>
                        <a:pt x="1560" y="364"/>
                      </a:cubicBezTo>
                      <a:cubicBezTo>
                        <a:pt x="1560" y="364"/>
                        <a:pt x="1560" y="364"/>
                        <a:pt x="1560" y="364"/>
                      </a:cubicBezTo>
                      <a:cubicBezTo>
                        <a:pt x="1779" y="304"/>
                        <a:pt x="1779" y="304"/>
                        <a:pt x="1779" y="304"/>
                      </a:cubicBezTo>
                      <a:cubicBezTo>
                        <a:pt x="1779" y="304"/>
                        <a:pt x="1779" y="304"/>
                        <a:pt x="1779" y="304"/>
                      </a:cubicBezTo>
                      <a:cubicBezTo>
                        <a:pt x="1779" y="304"/>
                        <a:pt x="1779" y="304"/>
                        <a:pt x="1779" y="304"/>
                      </a:cubicBezTo>
                      <a:cubicBezTo>
                        <a:pt x="1700" y="0"/>
                        <a:pt x="1700" y="0"/>
                        <a:pt x="1700" y="0"/>
                      </a:cubicBezTo>
                      <a:cubicBezTo>
                        <a:pt x="1550" y="40"/>
                        <a:pt x="1550" y="40"/>
                        <a:pt x="1550" y="40"/>
                      </a:cubicBezTo>
                      <a:cubicBezTo>
                        <a:pt x="1745" y="264"/>
                        <a:pt x="1745" y="264"/>
                        <a:pt x="1745" y="264"/>
                      </a:cubicBezTo>
                      <a:cubicBezTo>
                        <a:pt x="1525" y="324"/>
                        <a:pt x="1525" y="324"/>
                        <a:pt x="1525" y="324"/>
                      </a:cubicBezTo>
                      <a:cubicBezTo>
                        <a:pt x="1326" y="100"/>
                        <a:pt x="1326" y="100"/>
                        <a:pt x="1326" y="100"/>
                      </a:cubicBezTo>
                      <a:cubicBezTo>
                        <a:pt x="1032" y="175"/>
                        <a:pt x="1032" y="175"/>
                        <a:pt x="1032" y="175"/>
                      </a:cubicBezTo>
                      <a:cubicBezTo>
                        <a:pt x="1226" y="399"/>
                        <a:pt x="1226" y="399"/>
                        <a:pt x="1226" y="399"/>
                      </a:cubicBezTo>
                      <a:cubicBezTo>
                        <a:pt x="1007" y="459"/>
                        <a:pt x="1007" y="459"/>
                        <a:pt x="1007" y="459"/>
                      </a:cubicBezTo>
                      <a:cubicBezTo>
                        <a:pt x="812" y="234"/>
                        <a:pt x="812" y="234"/>
                        <a:pt x="812" y="234"/>
                      </a:cubicBezTo>
                      <a:cubicBezTo>
                        <a:pt x="518" y="309"/>
                        <a:pt x="518" y="309"/>
                        <a:pt x="518" y="309"/>
                      </a:cubicBezTo>
                      <a:cubicBezTo>
                        <a:pt x="713" y="533"/>
                        <a:pt x="713" y="533"/>
                        <a:pt x="713" y="533"/>
                      </a:cubicBezTo>
                      <a:cubicBezTo>
                        <a:pt x="493" y="593"/>
                        <a:pt x="493" y="593"/>
                        <a:pt x="493" y="593"/>
                      </a:cubicBezTo>
                      <a:cubicBezTo>
                        <a:pt x="294" y="369"/>
                        <a:pt x="294" y="369"/>
                        <a:pt x="294" y="369"/>
                      </a:cubicBezTo>
                      <a:cubicBezTo>
                        <a:pt x="0" y="444"/>
                        <a:pt x="0" y="444"/>
                        <a:pt x="0" y="444"/>
                      </a:cubicBezTo>
                      <a:cubicBezTo>
                        <a:pt x="229" y="707"/>
                        <a:pt x="229" y="707"/>
                        <a:pt x="229" y="707"/>
                      </a:cubicBezTo>
                      <a:cubicBezTo>
                        <a:pt x="234" y="707"/>
                        <a:pt x="234" y="707"/>
                        <a:pt x="234" y="707"/>
                      </a:cubicBezTo>
                      <a:cubicBezTo>
                        <a:pt x="234" y="707"/>
                        <a:pt x="234" y="707"/>
                        <a:pt x="234" y="707"/>
                      </a:cubicBezTo>
                      <a:close/>
                      <a:moveTo>
                        <a:pt x="74" y="707"/>
                      </a:moveTo>
                      <a:cubicBezTo>
                        <a:pt x="35" y="707"/>
                        <a:pt x="0" y="742"/>
                        <a:pt x="0" y="782"/>
                      </a:cubicBezTo>
                      <a:cubicBezTo>
                        <a:pt x="0" y="822"/>
                        <a:pt x="35" y="852"/>
                        <a:pt x="74" y="852"/>
                      </a:cubicBezTo>
                      <a:cubicBezTo>
                        <a:pt x="114" y="852"/>
                        <a:pt x="144" y="822"/>
                        <a:pt x="144" y="782"/>
                      </a:cubicBezTo>
                      <a:cubicBezTo>
                        <a:pt x="144" y="742"/>
                        <a:pt x="114" y="707"/>
                        <a:pt x="74" y="707"/>
                      </a:cubicBezTo>
                      <a:close/>
                    </a:path>
                  </a:pathLst>
                </a:cu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33" name="TextBox 632"/>
                <p:cNvSpPr txBox="1"/>
                <p:nvPr/>
              </p:nvSpPr>
              <p:spPr>
                <a:xfrm>
                  <a:off x="4438782" y="6228483"/>
                  <a:ext cx="909506" cy="312438"/>
                </a:xfrm>
                <a:prstGeom prst="rect">
                  <a:avLst/>
                </a:prstGeom>
                <a:noFill/>
              </p:spPr>
              <p:txBody>
                <a:bodyPr wrap="square" lIns="0" tIns="0" rIns="0" bIns="0" rtlCol="0">
                  <a:noAutofit/>
                </a:bodyPr>
                <a:lstStyle/>
                <a:p>
                  <a:pPr algn="ctr" defTabSz="914093">
                    <a:lnSpc>
                      <a:spcPct val="90000"/>
                    </a:lnSpc>
                    <a:spcAft>
                      <a:spcPts val="588"/>
                    </a:spcAft>
                  </a:pPr>
                  <a:r>
                    <a:rPr lang="en-US" sz="1176" dirty="0">
                      <a:gradFill>
                        <a:gsLst>
                          <a:gs pos="2917">
                            <a:srgbClr val="FFFFFF"/>
                          </a:gs>
                          <a:gs pos="30000">
                            <a:srgbClr val="FFFFFF"/>
                          </a:gs>
                        </a:gsLst>
                        <a:lin ang="5400000" scaled="0"/>
                      </a:gradFill>
                    </a:rPr>
                    <a:t>Spreadsheets</a:t>
                  </a:r>
                </a:p>
              </p:txBody>
            </p:sp>
            <p:grpSp>
              <p:nvGrpSpPr>
                <p:cNvPr id="634" name="Group 17"/>
                <p:cNvGrpSpPr>
                  <a:grpSpLocks noChangeAspect="1"/>
                </p:cNvGrpSpPr>
                <p:nvPr/>
              </p:nvGrpSpPr>
              <p:grpSpPr bwMode="auto">
                <a:xfrm>
                  <a:off x="4615163" y="5731988"/>
                  <a:ext cx="556744" cy="402112"/>
                  <a:chOff x="889" y="17"/>
                  <a:chExt cx="6056" cy="4374"/>
                </a:xfrm>
                <a:solidFill>
                  <a:schemeClr val="tx1"/>
                </a:solidFill>
              </p:grpSpPr>
              <p:sp>
                <p:nvSpPr>
                  <p:cNvPr id="638" name="Freeform 18"/>
                  <p:cNvSpPr>
                    <a:spLocks noEditPoints="1"/>
                  </p:cNvSpPr>
                  <p:nvPr/>
                </p:nvSpPr>
                <p:spPr bwMode="auto">
                  <a:xfrm>
                    <a:off x="889" y="17"/>
                    <a:ext cx="6056" cy="4374"/>
                  </a:xfrm>
                  <a:custGeom>
                    <a:avLst/>
                    <a:gdLst>
                      <a:gd name="T0" fmla="*/ 0 w 2560"/>
                      <a:gd name="T1" fmla="*/ 228 h 1849"/>
                      <a:gd name="T2" fmla="*/ 0 w 2560"/>
                      <a:gd name="T3" fmla="*/ 1797 h 1849"/>
                      <a:gd name="T4" fmla="*/ 53 w 2560"/>
                      <a:gd name="T5" fmla="*/ 1849 h 1849"/>
                      <a:gd name="T6" fmla="*/ 2508 w 2560"/>
                      <a:gd name="T7" fmla="*/ 1849 h 1849"/>
                      <a:gd name="T8" fmla="*/ 2560 w 2560"/>
                      <a:gd name="T9" fmla="*/ 1797 h 1849"/>
                      <a:gd name="T10" fmla="*/ 2560 w 2560"/>
                      <a:gd name="T11" fmla="*/ 52 h 1849"/>
                      <a:gd name="T12" fmla="*/ 2508 w 2560"/>
                      <a:gd name="T13" fmla="*/ 0 h 1849"/>
                      <a:gd name="T14" fmla="*/ 823 w 2560"/>
                      <a:gd name="T15" fmla="*/ 0 h 1849"/>
                      <a:gd name="T16" fmla="*/ 399 w 2560"/>
                      <a:gd name="T17" fmla="*/ 391 h 1849"/>
                      <a:gd name="T18" fmla="*/ 0 w 2560"/>
                      <a:gd name="T19" fmla="*/ 228 h 1849"/>
                      <a:gd name="T20" fmla="*/ 0 w 2560"/>
                      <a:gd name="T21" fmla="*/ 228 h 1849"/>
                      <a:gd name="T22" fmla="*/ 2430 w 2560"/>
                      <a:gd name="T23" fmla="*/ 130 h 1849"/>
                      <a:gd name="T24" fmla="*/ 2430 w 2560"/>
                      <a:gd name="T25" fmla="*/ 1719 h 1849"/>
                      <a:gd name="T26" fmla="*/ 131 w 2560"/>
                      <a:gd name="T27" fmla="*/ 1719 h 1849"/>
                      <a:gd name="T28" fmla="*/ 131 w 2560"/>
                      <a:gd name="T29" fmla="*/ 482 h 1849"/>
                      <a:gd name="T30" fmla="*/ 477 w 2560"/>
                      <a:gd name="T31" fmla="*/ 710 h 1849"/>
                      <a:gd name="T32" fmla="*/ 875 w 2560"/>
                      <a:gd name="T33" fmla="*/ 130 h 1849"/>
                      <a:gd name="T34" fmla="*/ 2430 w 2560"/>
                      <a:gd name="T35" fmla="*/ 130 h 1849"/>
                      <a:gd name="T36" fmla="*/ 2430 w 2560"/>
                      <a:gd name="T37" fmla="*/ 13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60" h="1849">
                        <a:moveTo>
                          <a:pt x="0" y="228"/>
                        </a:moveTo>
                        <a:cubicBezTo>
                          <a:pt x="0" y="1797"/>
                          <a:pt x="0" y="1797"/>
                          <a:pt x="0" y="1797"/>
                        </a:cubicBezTo>
                        <a:cubicBezTo>
                          <a:pt x="0" y="1830"/>
                          <a:pt x="20" y="1849"/>
                          <a:pt x="53" y="1849"/>
                        </a:cubicBezTo>
                        <a:cubicBezTo>
                          <a:pt x="2508" y="1849"/>
                          <a:pt x="2508" y="1849"/>
                          <a:pt x="2508" y="1849"/>
                        </a:cubicBezTo>
                        <a:cubicBezTo>
                          <a:pt x="2541" y="1849"/>
                          <a:pt x="2560" y="1830"/>
                          <a:pt x="2560" y="1797"/>
                        </a:cubicBezTo>
                        <a:cubicBezTo>
                          <a:pt x="2560" y="52"/>
                          <a:pt x="2560" y="52"/>
                          <a:pt x="2560" y="52"/>
                        </a:cubicBezTo>
                        <a:cubicBezTo>
                          <a:pt x="2560" y="20"/>
                          <a:pt x="2541" y="0"/>
                          <a:pt x="2508" y="0"/>
                        </a:cubicBezTo>
                        <a:cubicBezTo>
                          <a:pt x="823" y="0"/>
                          <a:pt x="823" y="0"/>
                          <a:pt x="823" y="0"/>
                        </a:cubicBezTo>
                        <a:cubicBezTo>
                          <a:pt x="399" y="391"/>
                          <a:pt x="399" y="391"/>
                          <a:pt x="399" y="391"/>
                        </a:cubicBezTo>
                        <a:cubicBezTo>
                          <a:pt x="0" y="228"/>
                          <a:pt x="0" y="228"/>
                          <a:pt x="0" y="228"/>
                        </a:cubicBezTo>
                        <a:cubicBezTo>
                          <a:pt x="0" y="228"/>
                          <a:pt x="0" y="228"/>
                          <a:pt x="0" y="228"/>
                        </a:cubicBezTo>
                        <a:close/>
                        <a:moveTo>
                          <a:pt x="2430" y="130"/>
                        </a:moveTo>
                        <a:cubicBezTo>
                          <a:pt x="2430" y="1719"/>
                          <a:pt x="2430" y="1719"/>
                          <a:pt x="2430" y="1719"/>
                        </a:cubicBezTo>
                        <a:cubicBezTo>
                          <a:pt x="131" y="1719"/>
                          <a:pt x="131" y="1719"/>
                          <a:pt x="131" y="1719"/>
                        </a:cubicBezTo>
                        <a:cubicBezTo>
                          <a:pt x="131" y="482"/>
                          <a:pt x="131" y="482"/>
                          <a:pt x="131" y="482"/>
                        </a:cubicBezTo>
                        <a:cubicBezTo>
                          <a:pt x="477" y="710"/>
                          <a:pt x="477" y="710"/>
                          <a:pt x="477" y="710"/>
                        </a:cubicBezTo>
                        <a:cubicBezTo>
                          <a:pt x="875" y="130"/>
                          <a:pt x="875" y="130"/>
                          <a:pt x="875" y="130"/>
                        </a:cubicBezTo>
                        <a:cubicBezTo>
                          <a:pt x="2430" y="130"/>
                          <a:pt x="2430" y="130"/>
                          <a:pt x="2430" y="130"/>
                        </a:cubicBezTo>
                        <a:cubicBezTo>
                          <a:pt x="2430" y="130"/>
                          <a:pt x="2430" y="130"/>
                          <a:pt x="2430" y="1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39" name="Freeform 19"/>
                  <p:cNvSpPr>
                    <a:spLocks/>
                  </p:cNvSpPr>
                  <p:nvPr/>
                </p:nvSpPr>
                <p:spPr bwMode="auto">
                  <a:xfrm>
                    <a:off x="1902" y="3211"/>
                    <a:ext cx="4042" cy="194"/>
                  </a:xfrm>
                  <a:custGeom>
                    <a:avLst/>
                    <a:gdLst>
                      <a:gd name="T0" fmla="*/ 0 w 4042"/>
                      <a:gd name="T1" fmla="*/ 0 h 194"/>
                      <a:gd name="T2" fmla="*/ 4042 w 4042"/>
                      <a:gd name="T3" fmla="*/ 0 h 194"/>
                      <a:gd name="T4" fmla="*/ 4042 w 4042"/>
                      <a:gd name="T5" fmla="*/ 194 h 194"/>
                      <a:gd name="T6" fmla="*/ 0 w 4042"/>
                      <a:gd name="T7" fmla="*/ 194 h 194"/>
                      <a:gd name="T8" fmla="*/ 0 w 4042"/>
                      <a:gd name="T9" fmla="*/ 0 h 194"/>
                      <a:gd name="T10" fmla="*/ 0 w 4042"/>
                      <a:gd name="T11" fmla="*/ 0 h 194"/>
                    </a:gdLst>
                    <a:ahLst/>
                    <a:cxnLst>
                      <a:cxn ang="0">
                        <a:pos x="T0" y="T1"/>
                      </a:cxn>
                      <a:cxn ang="0">
                        <a:pos x="T2" y="T3"/>
                      </a:cxn>
                      <a:cxn ang="0">
                        <a:pos x="T4" y="T5"/>
                      </a:cxn>
                      <a:cxn ang="0">
                        <a:pos x="T6" y="T7"/>
                      </a:cxn>
                      <a:cxn ang="0">
                        <a:pos x="T8" y="T9"/>
                      </a:cxn>
                      <a:cxn ang="0">
                        <a:pos x="T10" y="T11"/>
                      </a:cxn>
                    </a:cxnLst>
                    <a:rect l="0" t="0" r="r" b="b"/>
                    <a:pathLst>
                      <a:path w="4042" h="194">
                        <a:moveTo>
                          <a:pt x="0" y="0"/>
                        </a:moveTo>
                        <a:lnTo>
                          <a:pt x="4042" y="0"/>
                        </a:lnTo>
                        <a:lnTo>
                          <a:pt x="4042" y="194"/>
                        </a:lnTo>
                        <a:lnTo>
                          <a:pt x="0" y="194"/>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40" name="Freeform 20"/>
                  <p:cNvSpPr>
                    <a:spLocks/>
                  </p:cNvSpPr>
                  <p:nvPr/>
                </p:nvSpPr>
                <p:spPr bwMode="auto">
                  <a:xfrm>
                    <a:off x="5093" y="1427"/>
                    <a:ext cx="567" cy="1578"/>
                  </a:xfrm>
                  <a:custGeom>
                    <a:avLst/>
                    <a:gdLst>
                      <a:gd name="T0" fmla="*/ 0 w 567"/>
                      <a:gd name="T1" fmla="*/ 0 h 1578"/>
                      <a:gd name="T2" fmla="*/ 567 w 567"/>
                      <a:gd name="T3" fmla="*/ 0 h 1578"/>
                      <a:gd name="T4" fmla="*/ 567 w 567"/>
                      <a:gd name="T5" fmla="*/ 1578 h 1578"/>
                      <a:gd name="T6" fmla="*/ 0 w 567"/>
                      <a:gd name="T7" fmla="*/ 1578 h 1578"/>
                      <a:gd name="T8" fmla="*/ 0 w 567"/>
                      <a:gd name="T9" fmla="*/ 0 h 1578"/>
                      <a:gd name="T10" fmla="*/ 0 w 567"/>
                      <a:gd name="T11" fmla="*/ 0 h 1578"/>
                    </a:gdLst>
                    <a:ahLst/>
                    <a:cxnLst>
                      <a:cxn ang="0">
                        <a:pos x="T0" y="T1"/>
                      </a:cxn>
                      <a:cxn ang="0">
                        <a:pos x="T2" y="T3"/>
                      </a:cxn>
                      <a:cxn ang="0">
                        <a:pos x="T4" y="T5"/>
                      </a:cxn>
                      <a:cxn ang="0">
                        <a:pos x="T6" y="T7"/>
                      </a:cxn>
                      <a:cxn ang="0">
                        <a:pos x="T8" y="T9"/>
                      </a:cxn>
                      <a:cxn ang="0">
                        <a:pos x="T10" y="T11"/>
                      </a:cxn>
                    </a:cxnLst>
                    <a:rect l="0" t="0" r="r" b="b"/>
                    <a:pathLst>
                      <a:path w="567" h="1578">
                        <a:moveTo>
                          <a:pt x="0" y="0"/>
                        </a:moveTo>
                        <a:lnTo>
                          <a:pt x="567" y="0"/>
                        </a:lnTo>
                        <a:lnTo>
                          <a:pt x="567" y="1578"/>
                        </a:lnTo>
                        <a:lnTo>
                          <a:pt x="0" y="1578"/>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41" name="Freeform 21"/>
                  <p:cNvSpPr>
                    <a:spLocks/>
                  </p:cNvSpPr>
                  <p:nvPr/>
                </p:nvSpPr>
                <p:spPr bwMode="auto">
                  <a:xfrm>
                    <a:off x="4116" y="2052"/>
                    <a:ext cx="567" cy="953"/>
                  </a:xfrm>
                  <a:custGeom>
                    <a:avLst/>
                    <a:gdLst>
                      <a:gd name="T0" fmla="*/ 0 w 567"/>
                      <a:gd name="T1" fmla="*/ 0 h 953"/>
                      <a:gd name="T2" fmla="*/ 567 w 567"/>
                      <a:gd name="T3" fmla="*/ 0 h 953"/>
                      <a:gd name="T4" fmla="*/ 567 w 567"/>
                      <a:gd name="T5" fmla="*/ 953 h 953"/>
                      <a:gd name="T6" fmla="*/ 0 w 567"/>
                      <a:gd name="T7" fmla="*/ 953 h 953"/>
                      <a:gd name="T8" fmla="*/ 0 w 567"/>
                      <a:gd name="T9" fmla="*/ 0 h 953"/>
                      <a:gd name="T10" fmla="*/ 0 w 567"/>
                      <a:gd name="T11" fmla="*/ 0 h 953"/>
                    </a:gdLst>
                    <a:ahLst/>
                    <a:cxnLst>
                      <a:cxn ang="0">
                        <a:pos x="T0" y="T1"/>
                      </a:cxn>
                      <a:cxn ang="0">
                        <a:pos x="T2" y="T3"/>
                      </a:cxn>
                      <a:cxn ang="0">
                        <a:pos x="T4" y="T5"/>
                      </a:cxn>
                      <a:cxn ang="0">
                        <a:pos x="T6" y="T7"/>
                      </a:cxn>
                      <a:cxn ang="0">
                        <a:pos x="T8" y="T9"/>
                      </a:cxn>
                      <a:cxn ang="0">
                        <a:pos x="T10" y="T11"/>
                      </a:cxn>
                    </a:cxnLst>
                    <a:rect l="0" t="0" r="r" b="b"/>
                    <a:pathLst>
                      <a:path w="567" h="953">
                        <a:moveTo>
                          <a:pt x="0" y="0"/>
                        </a:moveTo>
                        <a:lnTo>
                          <a:pt x="567" y="0"/>
                        </a:lnTo>
                        <a:lnTo>
                          <a:pt x="567" y="953"/>
                        </a:lnTo>
                        <a:lnTo>
                          <a:pt x="0" y="953"/>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42" name="Freeform 22"/>
                  <p:cNvSpPr>
                    <a:spLocks/>
                  </p:cNvSpPr>
                  <p:nvPr/>
                </p:nvSpPr>
                <p:spPr bwMode="auto">
                  <a:xfrm>
                    <a:off x="3151" y="1756"/>
                    <a:ext cx="567" cy="1249"/>
                  </a:xfrm>
                  <a:custGeom>
                    <a:avLst/>
                    <a:gdLst>
                      <a:gd name="T0" fmla="*/ 0 w 567"/>
                      <a:gd name="T1" fmla="*/ 0 h 1249"/>
                      <a:gd name="T2" fmla="*/ 567 w 567"/>
                      <a:gd name="T3" fmla="*/ 0 h 1249"/>
                      <a:gd name="T4" fmla="*/ 567 w 567"/>
                      <a:gd name="T5" fmla="*/ 1249 h 1249"/>
                      <a:gd name="T6" fmla="*/ 0 w 567"/>
                      <a:gd name="T7" fmla="*/ 1249 h 1249"/>
                      <a:gd name="T8" fmla="*/ 0 w 567"/>
                      <a:gd name="T9" fmla="*/ 0 h 1249"/>
                      <a:gd name="T10" fmla="*/ 0 w 567"/>
                      <a:gd name="T11" fmla="*/ 0 h 1249"/>
                    </a:gdLst>
                    <a:ahLst/>
                    <a:cxnLst>
                      <a:cxn ang="0">
                        <a:pos x="T0" y="T1"/>
                      </a:cxn>
                      <a:cxn ang="0">
                        <a:pos x="T2" y="T3"/>
                      </a:cxn>
                      <a:cxn ang="0">
                        <a:pos x="T4" y="T5"/>
                      </a:cxn>
                      <a:cxn ang="0">
                        <a:pos x="T6" y="T7"/>
                      </a:cxn>
                      <a:cxn ang="0">
                        <a:pos x="T8" y="T9"/>
                      </a:cxn>
                      <a:cxn ang="0">
                        <a:pos x="T10" y="T11"/>
                      </a:cxn>
                    </a:cxnLst>
                    <a:rect l="0" t="0" r="r" b="b"/>
                    <a:pathLst>
                      <a:path w="567" h="1249">
                        <a:moveTo>
                          <a:pt x="0" y="0"/>
                        </a:moveTo>
                        <a:lnTo>
                          <a:pt x="567" y="0"/>
                        </a:lnTo>
                        <a:lnTo>
                          <a:pt x="567" y="1249"/>
                        </a:lnTo>
                        <a:lnTo>
                          <a:pt x="0" y="1249"/>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43" name="Freeform 23"/>
                  <p:cNvSpPr>
                    <a:spLocks/>
                  </p:cNvSpPr>
                  <p:nvPr/>
                </p:nvSpPr>
                <p:spPr bwMode="auto">
                  <a:xfrm>
                    <a:off x="2186" y="2335"/>
                    <a:ext cx="567" cy="670"/>
                  </a:xfrm>
                  <a:custGeom>
                    <a:avLst/>
                    <a:gdLst>
                      <a:gd name="T0" fmla="*/ 0 w 567"/>
                      <a:gd name="T1" fmla="*/ 0 h 670"/>
                      <a:gd name="T2" fmla="*/ 567 w 567"/>
                      <a:gd name="T3" fmla="*/ 0 h 670"/>
                      <a:gd name="T4" fmla="*/ 567 w 567"/>
                      <a:gd name="T5" fmla="*/ 670 h 670"/>
                      <a:gd name="T6" fmla="*/ 0 w 567"/>
                      <a:gd name="T7" fmla="*/ 670 h 670"/>
                      <a:gd name="T8" fmla="*/ 0 w 567"/>
                      <a:gd name="T9" fmla="*/ 0 h 670"/>
                      <a:gd name="T10" fmla="*/ 0 w 567"/>
                      <a:gd name="T11" fmla="*/ 0 h 670"/>
                    </a:gdLst>
                    <a:ahLst/>
                    <a:cxnLst>
                      <a:cxn ang="0">
                        <a:pos x="T0" y="T1"/>
                      </a:cxn>
                      <a:cxn ang="0">
                        <a:pos x="T2" y="T3"/>
                      </a:cxn>
                      <a:cxn ang="0">
                        <a:pos x="T4" y="T5"/>
                      </a:cxn>
                      <a:cxn ang="0">
                        <a:pos x="T6" y="T7"/>
                      </a:cxn>
                      <a:cxn ang="0">
                        <a:pos x="T8" y="T9"/>
                      </a:cxn>
                      <a:cxn ang="0">
                        <a:pos x="T10" y="T11"/>
                      </a:cxn>
                    </a:cxnLst>
                    <a:rect l="0" t="0" r="r" b="b"/>
                    <a:pathLst>
                      <a:path w="567" h="670">
                        <a:moveTo>
                          <a:pt x="0" y="0"/>
                        </a:moveTo>
                        <a:lnTo>
                          <a:pt x="567" y="0"/>
                        </a:lnTo>
                        <a:lnTo>
                          <a:pt x="567" y="670"/>
                        </a:lnTo>
                        <a:lnTo>
                          <a:pt x="0" y="67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sp>
              <p:nvSpPr>
                <p:cNvPr id="635" name="TextBox 634"/>
                <p:cNvSpPr txBox="1"/>
                <p:nvPr/>
              </p:nvSpPr>
              <p:spPr>
                <a:xfrm>
                  <a:off x="5371207" y="6228483"/>
                  <a:ext cx="909506" cy="312438"/>
                </a:xfrm>
                <a:prstGeom prst="rect">
                  <a:avLst/>
                </a:prstGeom>
                <a:noFill/>
              </p:spPr>
              <p:txBody>
                <a:bodyPr wrap="square" lIns="0" tIns="0" rIns="0" bIns="0" rtlCol="0">
                  <a:noAutofit/>
                </a:bodyPr>
                <a:lstStyle/>
                <a:p>
                  <a:pPr algn="ctr" defTabSz="914093">
                    <a:lnSpc>
                      <a:spcPct val="90000"/>
                    </a:lnSpc>
                    <a:spcAft>
                      <a:spcPts val="588"/>
                    </a:spcAft>
                  </a:pPr>
                  <a:r>
                    <a:rPr lang="en-US" sz="1176" dirty="0">
                      <a:gradFill>
                        <a:gsLst>
                          <a:gs pos="2917">
                            <a:srgbClr val="FFFFFF"/>
                          </a:gs>
                          <a:gs pos="30000">
                            <a:srgbClr val="FFFFFF"/>
                          </a:gs>
                        </a:gsLst>
                        <a:lin ang="5400000" scaled="0"/>
                      </a:gradFill>
                    </a:rPr>
                    <a:t>Lync</a:t>
                  </a:r>
                </a:p>
              </p:txBody>
            </p:sp>
            <p:sp>
              <p:nvSpPr>
                <p:cNvPr id="636" name="TextBox 635"/>
                <p:cNvSpPr txBox="1"/>
                <p:nvPr/>
              </p:nvSpPr>
              <p:spPr>
                <a:xfrm>
                  <a:off x="6225029" y="6228483"/>
                  <a:ext cx="909506" cy="312438"/>
                </a:xfrm>
                <a:prstGeom prst="rect">
                  <a:avLst/>
                </a:prstGeom>
                <a:noFill/>
              </p:spPr>
              <p:txBody>
                <a:bodyPr wrap="square" lIns="0" tIns="0" rIns="0" bIns="0" rtlCol="0">
                  <a:noAutofit/>
                </a:bodyPr>
                <a:lstStyle/>
                <a:p>
                  <a:pPr algn="ctr" defTabSz="914093">
                    <a:lnSpc>
                      <a:spcPct val="90000"/>
                    </a:lnSpc>
                    <a:spcAft>
                      <a:spcPts val="588"/>
                    </a:spcAft>
                  </a:pPr>
                  <a:r>
                    <a:rPr lang="en-US" sz="1176" dirty="0">
                      <a:gradFill>
                        <a:gsLst>
                          <a:gs pos="2917">
                            <a:srgbClr val="FFFFFF"/>
                          </a:gs>
                          <a:gs pos="30000">
                            <a:srgbClr val="FFFFFF"/>
                          </a:gs>
                        </a:gsLst>
                        <a:lin ang="5400000" scaled="0"/>
                      </a:gradFill>
                    </a:rPr>
                    <a:t>OneNote</a:t>
                  </a:r>
                </a:p>
              </p:txBody>
            </p:sp>
            <p:sp>
              <p:nvSpPr>
                <p:cNvPr id="637" name="TextBox 636"/>
                <p:cNvSpPr txBox="1"/>
                <p:nvPr/>
              </p:nvSpPr>
              <p:spPr>
                <a:xfrm>
                  <a:off x="7097844" y="6228483"/>
                  <a:ext cx="909506" cy="312438"/>
                </a:xfrm>
                <a:prstGeom prst="rect">
                  <a:avLst/>
                </a:prstGeom>
                <a:noFill/>
              </p:spPr>
              <p:txBody>
                <a:bodyPr wrap="square" lIns="0" tIns="0" rIns="0" bIns="0" rtlCol="0">
                  <a:noAutofit/>
                </a:bodyPr>
                <a:lstStyle/>
                <a:p>
                  <a:pPr algn="ctr" defTabSz="914093">
                    <a:lnSpc>
                      <a:spcPct val="90000"/>
                    </a:lnSpc>
                    <a:spcAft>
                      <a:spcPts val="588"/>
                    </a:spcAft>
                  </a:pPr>
                  <a:r>
                    <a:rPr lang="en-US" sz="1176" dirty="0">
                      <a:gradFill>
                        <a:gsLst>
                          <a:gs pos="2917">
                            <a:srgbClr val="FFFFFF"/>
                          </a:gs>
                          <a:gs pos="30000">
                            <a:srgbClr val="FFFFFF"/>
                          </a:gs>
                        </a:gsLst>
                        <a:lin ang="5400000" scaled="0"/>
                      </a:gradFill>
                    </a:rPr>
                    <a:t>Yammer</a:t>
                  </a:r>
                </a:p>
              </p:txBody>
            </p:sp>
          </p:grpSp>
        </p:grpSp>
        <p:sp>
          <p:nvSpPr>
            <p:cNvPr id="646" name="Freeform 5"/>
            <p:cNvSpPr>
              <a:spLocks noChangeAspect="1" noEditPoints="1"/>
            </p:cNvSpPr>
            <p:nvPr/>
          </p:nvSpPr>
          <p:spPr bwMode="auto">
            <a:xfrm>
              <a:off x="5623701" y="4083912"/>
              <a:ext cx="308106" cy="409530"/>
            </a:xfrm>
            <a:custGeom>
              <a:avLst/>
              <a:gdLst>
                <a:gd name="T0" fmla="*/ 120 w 304"/>
                <a:gd name="T1" fmla="*/ 0 h 390"/>
                <a:gd name="T2" fmla="*/ 45 w 304"/>
                <a:gd name="T3" fmla="*/ 65 h 390"/>
                <a:gd name="T4" fmla="*/ 45 w 304"/>
                <a:gd name="T5" fmla="*/ 91 h 390"/>
                <a:gd name="T6" fmla="*/ 0 w 304"/>
                <a:gd name="T7" fmla="*/ 132 h 390"/>
                <a:gd name="T8" fmla="*/ 0 w 304"/>
                <a:gd name="T9" fmla="*/ 390 h 390"/>
                <a:gd name="T10" fmla="*/ 263 w 304"/>
                <a:gd name="T11" fmla="*/ 390 h 390"/>
                <a:gd name="T12" fmla="*/ 263 w 304"/>
                <a:gd name="T13" fmla="*/ 323 h 390"/>
                <a:gd name="T14" fmla="*/ 304 w 304"/>
                <a:gd name="T15" fmla="*/ 323 h 390"/>
                <a:gd name="T16" fmla="*/ 304 w 304"/>
                <a:gd name="T17" fmla="*/ 0 h 390"/>
                <a:gd name="T18" fmla="*/ 120 w 304"/>
                <a:gd name="T19" fmla="*/ 0 h 390"/>
                <a:gd name="T20" fmla="*/ 120 w 304"/>
                <a:gd name="T21" fmla="*/ 0 h 390"/>
                <a:gd name="T22" fmla="*/ 120 w 304"/>
                <a:gd name="T23" fmla="*/ 0 h 390"/>
                <a:gd name="T24" fmla="*/ 237 w 304"/>
                <a:gd name="T25" fmla="*/ 366 h 390"/>
                <a:gd name="T26" fmla="*/ 26 w 304"/>
                <a:gd name="T27" fmla="*/ 366 h 390"/>
                <a:gd name="T28" fmla="*/ 26 w 304"/>
                <a:gd name="T29" fmla="*/ 156 h 390"/>
                <a:gd name="T30" fmla="*/ 45 w 304"/>
                <a:gd name="T31" fmla="*/ 156 h 390"/>
                <a:gd name="T32" fmla="*/ 45 w 304"/>
                <a:gd name="T33" fmla="*/ 323 h 390"/>
                <a:gd name="T34" fmla="*/ 237 w 304"/>
                <a:gd name="T35" fmla="*/ 323 h 390"/>
                <a:gd name="T36" fmla="*/ 237 w 304"/>
                <a:gd name="T37" fmla="*/ 366 h 390"/>
                <a:gd name="T38" fmla="*/ 237 w 304"/>
                <a:gd name="T39" fmla="*/ 366 h 390"/>
                <a:gd name="T40" fmla="*/ 237 w 304"/>
                <a:gd name="T41" fmla="*/ 366 h 390"/>
                <a:gd name="T42" fmla="*/ 278 w 304"/>
                <a:gd name="T43" fmla="*/ 299 h 390"/>
                <a:gd name="T44" fmla="*/ 72 w 304"/>
                <a:gd name="T45" fmla="*/ 299 h 390"/>
                <a:gd name="T46" fmla="*/ 72 w 304"/>
                <a:gd name="T47" fmla="*/ 87 h 390"/>
                <a:gd name="T48" fmla="*/ 152 w 304"/>
                <a:gd name="T49" fmla="*/ 87 h 390"/>
                <a:gd name="T50" fmla="*/ 152 w 304"/>
                <a:gd name="T51" fmla="*/ 24 h 390"/>
                <a:gd name="T52" fmla="*/ 278 w 304"/>
                <a:gd name="T53" fmla="*/ 24 h 390"/>
                <a:gd name="T54" fmla="*/ 278 w 304"/>
                <a:gd name="T55" fmla="*/ 299 h 390"/>
                <a:gd name="T56" fmla="*/ 278 w 304"/>
                <a:gd name="T57" fmla="*/ 299 h 390"/>
                <a:gd name="T58" fmla="*/ 278 w 304"/>
                <a:gd name="T59" fmla="*/ 299 h 390"/>
                <a:gd name="T60" fmla="*/ 113 w 304"/>
                <a:gd name="T61" fmla="*/ 135 h 390"/>
                <a:gd name="T62" fmla="*/ 251 w 304"/>
                <a:gd name="T63" fmla="*/ 135 h 390"/>
                <a:gd name="T64" fmla="*/ 251 w 304"/>
                <a:gd name="T65" fmla="*/ 159 h 390"/>
                <a:gd name="T66" fmla="*/ 113 w 304"/>
                <a:gd name="T67" fmla="*/ 159 h 390"/>
                <a:gd name="T68" fmla="*/ 113 w 304"/>
                <a:gd name="T69" fmla="*/ 135 h 390"/>
                <a:gd name="T70" fmla="*/ 113 w 304"/>
                <a:gd name="T71" fmla="*/ 135 h 390"/>
                <a:gd name="T72" fmla="*/ 113 w 304"/>
                <a:gd name="T73" fmla="*/ 173 h 390"/>
                <a:gd name="T74" fmla="*/ 251 w 304"/>
                <a:gd name="T75" fmla="*/ 173 h 390"/>
                <a:gd name="T76" fmla="*/ 251 w 304"/>
                <a:gd name="T77" fmla="*/ 197 h 390"/>
                <a:gd name="T78" fmla="*/ 113 w 304"/>
                <a:gd name="T79" fmla="*/ 197 h 390"/>
                <a:gd name="T80" fmla="*/ 113 w 304"/>
                <a:gd name="T81" fmla="*/ 173 h 390"/>
                <a:gd name="T82" fmla="*/ 113 w 304"/>
                <a:gd name="T83" fmla="*/ 173 h 390"/>
                <a:gd name="T84" fmla="*/ 113 w 304"/>
                <a:gd name="T85" fmla="*/ 212 h 390"/>
                <a:gd name="T86" fmla="*/ 251 w 304"/>
                <a:gd name="T87" fmla="*/ 212 h 390"/>
                <a:gd name="T88" fmla="*/ 251 w 304"/>
                <a:gd name="T89" fmla="*/ 236 h 390"/>
                <a:gd name="T90" fmla="*/ 113 w 304"/>
                <a:gd name="T91" fmla="*/ 236 h 390"/>
                <a:gd name="T92" fmla="*/ 113 w 304"/>
                <a:gd name="T93" fmla="*/ 212 h 390"/>
                <a:gd name="T94" fmla="*/ 113 w 304"/>
                <a:gd name="T95" fmla="*/ 212 h 390"/>
                <a:gd name="T96" fmla="*/ 113 w 304"/>
                <a:gd name="T97" fmla="*/ 250 h 390"/>
                <a:gd name="T98" fmla="*/ 251 w 304"/>
                <a:gd name="T99" fmla="*/ 250 h 390"/>
                <a:gd name="T100" fmla="*/ 251 w 304"/>
                <a:gd name="T101" fmla="*/ 274 h 390"/>
                <a:gd name="T102" fmla="*/ 113 w 304"/>
                <a:gd name="T103" fmla="*/ 274 h 390"/>
                <a:gd name="T104" fmla="*/ 113 w 304"/>
                <a:gd name="T105" fmla="*/ 250 h 390"/>
                <a:gd name="T106" fmla="*/ 113 w 304"/>
                <a:gd name="T107" fmla="*/ 250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90">
                  <a:moveTo>
                    <a:pt x="120" y="0"/>
                  </a:moveTo>
                  <a:lnTo>
                    <a:pt x="45" y="65"/>
                  </a:lnTo>
                  <a:lnTo>
                    <a:pt x="45" y="91"/>
                  </a:lnTo>
                  <a:lnTo>
                    <a:pt x="0" y="132"/>
                  </a:lnTo>
                  <a:lnTo>
                    <a:pt x="0" y="390"/>
                  </a:lnTo>
                  <a:lnTo>
                    <a:pt x="263" y="390"/>
                  </a:lnTo>
                  <a:lnTo>
                    <a:pt x="263" y="323"/>
                  </a:lnTo>
                  <a:lnTo>
                    <a:pt x="304" y="323"/>
                  </a:lnTo>
                  <a:lnTo>
                    <a:pt x="304" y="0"/>
                  </a:lnTo>
                  <a:lnTo>
                    <a:pt x="120" y="0"/>
                  </a:lnTo>
                  <a:lnTo>
                    <a:pt x="120" y="0"/>
                  </a:lnTo>
                  <a:lnTo>
                    <a:pt x="120" y="0"/>
                  </a:lnTo>
                  <a:close/>
                  <a:moveTo>
                    <a:pt x="237" y="366"/>
                  </a:moveTo>
                  <a:lnTo>
                    <a:pt x="26" y="366"/>
                  </a:lnTo>
                  <a:lnTo>
                    <a:pt x="26" y="156"/>
                  </a:lnTo>
                  <a:lnTo>
                    <a:pt x="45" y="156"/>
                  </a:lnTo>
                  <a:lnTo>
                    <a:pt x="45" y="323"/>
                  </a:lnTo>
                  <a:lnTo>
                    <a:pt x="237" y="323"/>
                  </a:lnTo>
                  <a:lnTo>
                    <a:pt x="237" y="366"/>
                  </a:lnTo>
                  <a:lnTo>
                    <a:pt x="237" y="366"/>
                  </a:lnTo>
                  <a:lnTo>
                    <a:pt x="237" y="366"/>
                  </a:lnTo>
                  <a:close/>
                  <a:moveTo>
                    <a:pt x="278" y="299"/>
                  </a:moveTo>
                  <a:lnTo>
                    <a:pt x="72" y="299"/>
                  </a:lnTo>
                  <a:lnTo>
                    <a:pt x="72" y="87"/>
                  </a:lnTo>
                  <a:lnTo>
                    <a:pt x="152" y="87"/>
                  </a:lnTo>
                  <a:lnTo>
                    <a:pt x="152" y="24"/>
                  </a:lnTo>
                  <a:lnTo>
                    <a:pt x="278" y="24"/>
                  </a:lnTo>
                  <a:lnTo>
                    <a:pt x="278" y="299"/>
                  </a:lnTo>
                  <a:lnTo>
                    <a:pt x="278" y="299"/>
                  </a:lnTo>
                  <a:lnTo>
                    <a:pt x="278" y="299"/>
                  </a:lnTo>
                  <a:close/>
                  <a:moveTo>
                    <a:pt x="113" y="135"/>
                  </a:moveTo>
                  <a:lnTo>
                    <a:pt x="251" y="135"/>
                  </a:lnTo>
                  <a:lnTo>
                    <a:pt x="251" y="159"/>
                  </a:lnTo>
                  <a:lnTo>
                    <a:pt x="113" y="159"/>
                  </a:lnTo>
                  <a:lnTo>
                    <a:pt x="113" y="135"/>
                  </a:lnTo>
                  <a:lnTo>
                    <a:pt x="113" y="135"/>
                  </a:lnTo>
                  <a:close/>
                  <a:moveTo>
                    <a:pt x="113" y="173"/>
                  </a:moveTo>
                  <a:lnTo>
                    <a:pt x="251" y="173"/>
                  </a:lnTo>
                  <a:lnTo>
                    <a:pt x="251" y="197"/>
                  </a:lnTo>
                  <a:lnTo>
                    <a:pt x="113" y="197"/>
                  </a:lnTo>
                  <a:lnTo>
                    <a:pt x="113" y="173"/>
                  </a:lnTo>
                  <a:lnTo>
                    <a:pt x="113" y="173"/>
                  </a:lnTo>
                  <a:close/>
                  <a:moveTo>
                    <a:pt x="113" y="212"/>
                  </a:moveTo>
                  <a:lnTo>
                    <a:pt x="251" y="212"/>
                  </a:lnTo>
                  <a:lnTo>
                    <a:pt x="251" y="236"/>
                  </a:lnTo>
                  <a:lnTo>
                    <a:pt x="113" y="236"/>
                  </a:lnTo>
                  <a:lnTo>
                    <a:pt x="113" y="212"/>
                  </a:lnTo>
                  <a:lnTo>
                    <a:pt x="113" y="212"/>
                  </a:lnTo>
                  <a:close/>
                  <a:moveTo>
                    <a:pt x="113" y="250"/>
                  </a:moveTo>
                  <a:lnTo>
                    <a:pt x="251" y="250"/>
                  </a:lnTo>
                  <a:lnTo>
                    <a:pt x="251" y="274"/>
                  </a:lnTo>
                  <a:lnTo>
                    <a:pt x="113" y="274"/>
                  </a:lnTo>
                  <a:lnTo>
                    <a:pt x="113" y="250"/>
                  </a:lnTo>
                  <a:lnTo>
                    <a:pt x="113" y="250"/>
                  </a:lnTo>
                  <a:close/>
                </a:path>
              </a:pathLst>
            </a:custGeom>
            <a:solidFill>
              <a:srgbClr val="F0F0F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10" tIns="44786" rIns="0" bIns="44786" numCol="1" spcCol="0" rtlCol="0" fromWordArt="0" anchor="ctr" anchorCtr="0" forceAA="0" compatLnSpc="1">
              <a:prstTxWarp prst="textNoShape">
                <a:avLst/>
              </a:prstTxWarp>
              <a:noAutofit/>
            </a:bodyPr>
            <a:lstStyle/>
            <a:p>
              <a:pPr defTabSz="913469">
                <a:lnSpc>
                  <a:spcPct val="90000"/>
                </a:lnSpc>
                <a:spcAft>
                  <a:spcPts val="588"/>
                </a:spcAft>
              </a:pPr>
              <a:endParaRPr lang="en-US" sz="1370" b="1" dirty="0">
                <a:gradFill>
                  <a:gsLst>
                    <a:gs pos="50427">
                      <a:srgbClr val="FFFFFF"/>
                    </a:gs>
                    <a:gs pos="30000">
                      <a:srgbClr val="FFFFFF"/>
                    </a:gs>
                  </a:gsLst>
                  <a:lin ang="5400000" scaled="0"/>
                </a:gradFill>
              </a:endParaRPr>
            </a:p>
          </p:txBody>
        </p:sp>
        <p:sp>
          <p:nvSpPr>
            <p:cNvPr id="647" name="Freeform 5"/>
            <p:cNvSpPr>
              <a:spLocks noChangeAspect="1" noEditPoints="1"/>
            </p:cNvSpPr>
            <p:nvPr/>
          </p:nvSpPr>
          <p:spPr bwMode="auto">
            <a:xfrm>
              <a:off x="4661060" y="4095618"/>
              <a:ext cx="464949" cy="385126"/>
            </a:xfrm>
            <a:custGeom>
              <a:avLst/>
              <a:gdLst>
                <a:gd name="T0" fmla="*/ 240 w 400"/>
                <a:gd name="T1" fmla="*/ 84 h 342"/>
                <a:gd name="T2" fmla="*/ 160 w 400"/>
                <a:gd name="T3" fmla="*/ 84 h 342"/>
                <a:gd name="T4" fmla="*/ 136 w 400"/>
                <a:gd name="T5" fmla="*/ 108 h 342"/>
                <a:gd name="T6" fmla="*/ 136 w 400"/>
                <a:gd name="T7" fmla="*/ 217 h 342"/>
                <a:gd name="T8" fmla="*/ 160 w 400"/>
                <a:gd name="T9" fmla="*/ 241 h 342"/>
                <a:gd name="T10" fmla="*/ 160 w 400"/>
                <a:gd name="T11" fmla="*/ 241 h 342"/>
                <a:gd name="T12" fmla="*/ 160 w 400"/>
                <a:gd name="T13" fmla="*/ 318 h 342"/>
                <a:gd name="T14" fmla="*/ 183 w 400"/>
                <a:gd name="T15" fmla="*/ 342 h 342"/>
                <a:gd name="T16" fmla="*/ 217 w 400"/>
                <a:gd name="T17" fmla="*/ 342 h 342"/>
                <a:gd name="T18" fmla="*/ 240 w 400"/>
                <a:gd name="T19" fmla="*/ 318 h 342"/>
                <a:gd name="T20" fmla="*/ 240 w 400"/>
                <a:gd name="T21" fmla="*/ 241 h 342"/>
                <a:gd name="T22" fmla="*/ 240 w 400"/>
                <a:gd name="T23" fmla="*/ 241 h 342"/>
                <a:gd name="T24" fmla="*/ 264 w 400"/>
                <a:gd name="T25" fmla="*/ 217 h 342"/>
                <a:gd name="T26" fmla="*/ 264 w 400"/>
                <a:gd name="T27" fmla="*/ 108 h 342"/>
                <a:gd name="T28" fmla="*/ 240 w 400"/>
                <a:gd name="T29" fmla="*/ 84 h 342"/>
                <a:gd name="T30" fmla="*/ 200 w 400"/>
                <a:gd name="T31" fmla="*/ 0 h 342"/>
                <a:gd name="T32" fmla="*/ 238 w 400"/>
                <a:gd name="T33" fmla="*/ 38 h 342"/>
                <a:gd name="T34" fmla="*/ 200 w 400"/>
                <a:gd name="T35" fmla="*/ 77 h 342"/>
                <a:gd name="T36" fmla="*/ 162 w 400"/>
                <a:gd name="T37" fmla="*/ 38 h 342"/>
                <a:gd name="T38" fmla="*/ 200 w 400"/>
                <a:gd name="T39" fmla="*/ 0 h 342"/>
                <a:gd name="T40" fmla="*/ 380 w 400"/>
                <a:gd name="T41" fmla="*/ 93 h 342"/>
                <a:gd name="T42" fmla="*/ 311 w 400"/>
                <a:gd name="T43" fmla="*/ 93 h 342"/>
                <a:gd name="T44" fmla="*/ 291 w 400"/>
                <a:gd name="T45" fmla="*/ 113 h 342"/>
                <a:gd name="T46" fmla="*/ 291 w 400"/>
                <a:gd name="T47" fmla="*/ 207 h 342"/>
                <a:gd name="T48" fmla="*/ 311 w 400"/>
                <a:gd name="T49" fmla="*/ 227 h 342"/>
                <a:gd name="T50" fmla="*/ 311 w 400"/>
                <a:gd name="T51" fmla="*/ 227 h 342"/>
                <a:gd name="T52" fmla="*/ 311 w 400"/>
                <a:gd name="T53" fmla="*/ 294 h 342"/>
                <a:gd name="T54" fmla="*/ 330 w 400"/>
                <a:gd name="T55" fmla="*/ 314 h 342"/>
                <a:gd name="T56" fmla="*/ 360 w 400"/>
                <a:gd name="T57" fmla="*/ 314 h 342"/>
                <a:gd name="T58" fmla="*/ 380 w 400"/>
                <a:gd name="T59" fmla="*/ 294 h 342"/>
                <a:gd name="T60" fmla="*/ 380 w 400"/>
                <a:gd name="T61" fmla="*/ 227 h 342"/>
                <a:gd name="T62" fmla="*/ 380 w 400"/>
                <a:gd name="T63" fmla="*/ 227 h 342"/>
                <a:gd name="T64" fmla="*/ 400 w 400"/>
                <a:gd name="T65" fmla="*/ 207 h 342"/>
                <a:gd name="T66" fmla="*/ 400 w 400"/>
                <a:gd name="T67" fmla="*/ 113 h 342"/>
                <a:gd name="T68" fmla="*/ 380 w 400"/>
                <a:gd name="T69" fmla="*/ 93 h 342"/>
                <a:gd name="T70" fmla="*/ 345 w 400"/>
                <a:gd name="T71" fmla="*/ 21 h 342"/>
                <a:gd name="T72" fmla="*/ 378 w 400"/>
                <a:gd name="T73" fmla="*/ 54 h 342"/>
                <a:gd name="T74" fmla="*/ 345 w 400"/>
                <a:gd name="T75" fmla="*/ 87 h 342"/>
                <a:gd name="T76" fmla="*/ 313 w 400"/>
                <a:gd name="T77" fmla="*/ 54 h 342"/>
                <a:gd name="T78" fmla="*/ 345 w 400"/>
                <a:gd name="T79" fmla="*/ 21 h 342"/>
                <a:gd name="T80" fmla="*/ 89 w 400"/>
                <a:gd name="T81" fmla="*/ 93 h 342"/>
                <a:gd name="T82" fmla="*/ 20 w 400"/>
                <a:gd name="T83" fmla="*/ 93 h 342"/>
                <a:gd name="T84" fmla="*/ 0 w 400"/>
                <a:gd name="T85" fmla="*/ 113 h 342"/>
                <a:gd name="T86" fmla="*/ 0 w 400"/>
                <a:gd name="T87" fmla="*/ 207 h 342"/>
                <a:gd name="T88" fmla="*/ 20 w 400"/>
                <a:gd name="T89" fmla="*/ 227 h 342"/>
                <a:gd name="T90" fmla="*/ 20 w 400"/>
                <a:gd name="T91" fmla="*/ 227 h 342"/>
                <a:gd name="T92" fmla="*/ 20 w 400"/>
                <a:gd name="T93" fmla="*/ 294 h 342"/>
                <a:gd name="T94" fmla="*/ 40 w 400"/>
                <a:gd name="T95" fmla="*/ 314 h 342"/>
                <a:gd name="T96" fmla="*/ 70 w 400"/>
                <a:gd name="T97" fmla="*/ 314 h 342"/>
                <a:gd name="T98" fmla="*/ 89 w 400"/>
                <a:gd name="T99" fmla="*/ 294 h 342"/>
                <a:gd name="T100" fmla="*/ 89 w 400"/>
                <a:gd name="T101" fmla="*/ 227 h 342"/>
                <a:gd name="T102" fmla="*/ 89 w 400"/>
                <a:gd name="T103" fmla="*/ 227 h 342"/>
                <a:gd name="T104" fmla="*/ 109 w 400"/>
                <a:gd name="T105" fmla="*/ 207 h 342"/>
                <a:gd name="T106" fmla="*/ 109 w 400"/>
                <a:gd name="T107" fmla="*/ 113 h 342"/>
                <a:gd name="T108" fmla="*/ 89 w 400"/>
                <a:gd name="T109" fmla="*/ 93 h 342"/>
                <a:gd name="T110" fmla="*/ 55 w 400"/>
                <a:gd name="T111" fmla="*/ 21 h 342"/>
                <a:gd name="T112" fmla="*/ 87 w 400"/>
                <a:gd name="T113" fmla="*/ 54 h 342"/>
                <a:gd name="T114" fmla="*/ 55 w 400"/>
                <a:gd name="T115" fmla="*/ 87 h 342"/>
                <a:gd name="T116" fmla="*/ 22 w 400"/>
                <a:gd name="T117" fmla="*/ 54 h 342"/>
                <a:gd name="T118" fmla="*/ 55 w 400"/>
                <a:gd name="T119" fmla="*/ 21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00" h="342">
                  <a:moveTo>
                    <a:pt x="240" y="84"/>
                  </a:moveTo>
                  <a:cubicBezTo>
                    <a:pt x="160" y="84"/>
                    <a:pt x="160" y="84"/>
                    <a:pt x="160" y="84"/>
                  </a:cubicBezTo>
                  <a:cubicBezTo>
                    <a:pt x="147" y="84"/>
                    <a:pt x="136" y="95"/>
                    <a:pt x="136" y="108"/>
                  </a:cubicBezTo>
                  <a:cubicBezTo>
                    <a:pt x="136" y="217"/>
                    <a:pt x="136" y="217"/>
                    <a:pt x="136" y="217"/>
                  </a:cubicBezTo>
                  <a:cubicBezTo>
                    <a:pt x="136" y="230"/>
                    <a:pt x="147" y="241"/>
                    <a:pt x="160" y="241"/>
                  </a:cubicBezTo>
                  <a:cubicBezTo>
                    <a:pt x="160" y="241"/>
                    <a:pt x="160" y="241"/>
                    <a:pt x="160" y="241"/>
                  </a:cubicBezTo>
                  <a:cubicBezTo>
                    <a:pt x="160" y="318"/>
                    <a:pt x="160" y="318"/>
                    <a:pt x="160" y="318"/>
                  </a:cubicBezTo>
                  <a:cubicBezTo>
                    <a:pt x="160" y="331"/>
                    <a:pt x="170" y="342"/>
                    <a:pt x="183" y="342"/>
                  </a:cubicBezTo>
                  <a:cubicBezTo>
                    <a:pt x="217" y="342"/>
                    <a:pt x="217" y="342"/>
                    <a:pt x="217" y="342"/>
                  </a:cubicBezTo>
                  <a:cubicBezTo>
                    <a:pt x="230" y="342"/>
                    <a:pt x="240" y="331"/>
                    <a:pt x="240" y="318"/>
                  </a:cubicBezTo>
                  <a:cubicBezTo>
                    <a:pt x="240" y="241"/>
                    <a:pt x="240" y="241"/>
                    <a:pt x="240" y="241"/>
                  </a:cubicBezTo>
                  <a:cubicBezTo>
                    <a:pt x="240" y="241"/>
                    <a:pt x="240" y="241"/>
                    <a:pt x="240" y="241"/>
                  </a:cubicBezTo>
                  <a:cubicBezTo>
                    <a:pt x="253" y="241"/>
                    <a:pt x="264" y="230"/>
                    <a:pt x="264" y="217"/>
                  </a:cubicBezTo>
                  <a:cubicBezTo>
                    <a:pt x="264" y="108"/>
                    <a:pt x="264" y="108"/>
                    <a:pt x="264" y="108"/>
                  </a:cubicBezTo>
                  <a:cubicBezTo>
                    <a:pt x="264" y="95"/>
                    <a:pt x="253" y="84"/>
                    <a:pt x="240" y="84"/>
                  </a:cubicBezTo>
                  <a:close/>
                  <a:moveTo>
                    <a:pt x="200" y="0"/>
                  </a:moveTo>
                  <a:cubicBezTo>
                    <a:pt x="221" y="0"/>
                    <a:pt x="238" y="17"/>
                    <a:pt x="238" y="38"/>
                  </a:cubicBezTo>
                  <a:cubicBezTo>
                    <a:pt x="238" y="59"/>
                    <a:pt x="221" y="77"/>
                    <a:pt x="200" y="77"/>
                  </a:cubicBezTo>
                  <a:cubicBezTo>
                    <a:pt x="179" y="77"/>
                    <a:pt x="162" y="59"/>
                    <a:pt x="162" y="38"/>
                  </a:cubicBezTo>
                  <a:cubicBezTo>
                    <a:pt x="162" y="17"/>
                    <a:pt x="179" y="0"/>
                    <a:pt x="200" y="0"/>
                  </a:cubicBezTo>
                  <a:close/>
                  <a:moveTo>
                    <a:pt x="380" y="93"/>
                  </a:moveTo>
                  <a:cubicBezTo>
                    <a:pt x="311" y="93"/>
                    <a:pt x="311" y="93"/>
                    <a:pt x="311" y="93"/>
                  </a:cubicBezTo>
                  <a:cubicBezTo>
                    <a:pt x="300" y="93"/>
                    <a:pt x="291" y="102"/>
                    <a:pt x="291" y="113"/>
                  </a:cubicBezTo>
                  <a:cubicBezTo>
                    <a:pt x="291" y="207"/>
                    <a:pt x="291" y="207"/>
                    <a:pt x="291" y="207"/>
                  </a:cubicBezTo>
                  <a:cubicBezTo>
                    <a:pt x="291" y="218"/>
                    <a:pt x="300" y="227"/>
                    <a:pt x="311" y="227"/>
                  </a:cubicBezTo>
                  <a:cubicBezTo>
                    <a:pt x="311" y="227"/>
                    <a:pt x="311" y="227"/>
                    <a:pt x="311" y="227"/>
                  </a:cubicBezTo>
                  <a:cubicBezTo>
                    <a:pt x="311" y="294"/>
                    <a:pt x="311" y="294"/>
                    <a:pt x="311" y="294"/>
                  </a:cubicBezTo>
                  <a:cubicBezTo>
                    <a:pt x="311" y="305"/>
                    <a:pt x="320" y="314"/>
                    <a:pt x="330" y="314"/>
                  </a:cubicBezTo>
                  <a:cubicBezTo>
                    <a:pt x="360" y="314"/>
                    <a:pt x="360" y="314"/>
                    <a:pt x="360" y="314"/>
                  </a:cubicBezTo>
                  <a:cubicBezTo>
                    <a:pt x="371" y="314"/>
                    <a:pt x="380" y="305"/>
                    <a:pt x="380" y="294"/>
                  </a:cubicBezTo>
                  <a:cubicBezTo>
                    <a:pt x="380" y="227"/>
                    <a:pt x="380" y="227"/>
                    <a:pt x="380" y="227"/>
                  </a:cubicBezTo>
                  <a:cubicBezTo>
                    <a:pt x="380" y="227"/>
                    <a:pt x="380" y="227"/>
                    <a:pt x="380" y="227"/>
                  </a:cubicBezTo>
                  <a:cubicBezTo>
                    <a:pt x="391" y="227"/>
                    <a:pt x="400" y="218"/>
                    <a:pt x="400" y="207"/>
                  </a:cubicBezTo>
                  <a:cubicBezTo>
                    <a:pt x="400" y="113"/>
                    <a:pt x="400" y="113"/>
                    <a:pt x="400" y="113"/>
                  </a:cubicBezTo>
                  <a:cubicBezTo>
                    <a:pt x="400" y="102"/>
                    <a:pt x="391" y="93"/>
                    <a:pt x="380" y="93"/>
                  </a:cubicBezTo>
                  <a:close/>
                  <a:moveTo>
                    <a:pt x="345" y="21"/>
                  </a:moveTo>
                  <a:cubicBezTo>
                    <a:pt x="363" y="21"/>
                    <a:pt x="378" y="36"/>
                    <a:pt x="378" y="54"/>
                  </a:cubicBezTo>
                  <a:cubicBezTo>
                    <a:pt x="378" y="72"/>
                    <a:pt x="363" y="87"/>
                    <a:pt x="345" y="87"/>
                  </a:cubicBezTo>
                  <a:cubicBezTo>
                    <a:pt x="327" y="87"/>
                    <a:pt x="313" y="72"/>
                    <a:pt x="313" y="54"/>
                  </a:cubicBezTo>
                  <a:cubicBezTo>
                    <a:pt x="313" y="36"/>
                    <a:pt x="327" y="21"/>
                    <a:pt x="345" y="21"/>
                  </a:cubicBezTo>
                  <a:close/>
                  <a:moveTo>
                    <a:pt x="89" y="93"/>
                  </a:moveTo>
                  <a:cubicBezTo>
                    <a:pt x="20" y="93"/>
                    <a:pt x="20" y="93"/>
                    <a:pt x="20" y="93"/>
                  </a:cubicBezTo>
                  <a:cubicBezTo>
                    <a:pt x="9" y="93"/>
                    <a:pt x="0" y="102"/>
                    <a:pt x="0" y="113"/>
                  </a:cubicBezTo>
                  <a:cubicBezTo>
                    <a:pt x="0" y="207"/>
                    <a:pt x="0" y="207"/>
                    <a:pt x="0" y="207"/>
                  </a:cubicBezTo>
                  <a:cubicBezTo>
                    <a:pt x="0" y="218"/>
                    <a:pt x="9" y="227"/>
                    <a:pt x="20" y="227"/>
                  </a:cubicBezTo>
                  <a:cubicBezTo>
                    <a:pt x="20" y="227"/>
                    <a:pt x="20" y="227"/>
                    <a:pt x="20" y="227"/>
                  </a:cubicBezTo>
                  <a:cubicBezTo>
                    <a:pt x="20" y="294"/>
                    <a:pt x="20" y="294"/>
                    <a:pt x="20" y="294"/>
                  </a:cubicBezTo>
                  <a:cubicBezTo>
                    <a:pt x="20" y="305"/>
                    <a:pt x="29" y="314"/>
                    <a:pt x="40" y="314"/>
                  </a:cubicBezTo>
                  <a:cubicBezTo>
                    <a:pt x="70" y="314"/>
                    <a:pt x="70" y="314"/>
                    <a:pt x="70" y="314"/>
                  </a:cubicBezTo>
                  <a:cubicBezTo>
                    <a:pt x="80" y="314"/>
                    <a:pt x="89" y="305"/>
                    <a:pt x="89" y="294"/>
                  </a:cubicBezTo>
                  <a:cubicBezTo>
                    <a:pt x="89" y="227"/>
                    <a:pt x="89" y="227"/>
                    <a:pt x="89" y="227"/>
                  </a:cubicBezTo>
                  <a:cubicBezTo>
                    <a:pt x="89" y="227"/>
                    <a:pt x="89" y="227"/>
                    <a:pt x="89" y="227"/>
                  </a:cubicBezTo>
                  <a:cubicBezTo>
                    <a:pt x="100" y="227"/>
                    <a:pt x="109" y="218"/>
                    <a:pt x="109" y="207"/>
                  </a:cubicBezTo>
                  <a:cubicBezTo>
                    <a:pt x="109" y="113"/>
                    <a:pt x="109" y="113"/>
                    <a:pt x="109" y="113"/>
                  </a:cubicBezTo>
                  <a:cubicBezTo>
                    <a:pt x="109" y="102"/>
                    <a:pt x="100" y="93"/>
                    <a:pt x="89" y="93"/>
                  </a:cubicBezTo>
                  <a:close/>
                  <a:moveTo>
                    <a:pt x="55" y="21"/>
                  </a:moveTo>
                  <a:cubicBezTo>
                    <a:pt x="73" y="21"/>
                    <a:pt x="87" y="36"/>
                    <a:pt x="87" y="54"/>
                  </a:cubicBezTo>
                  <a:cubicBezTo>
                    <a:pt x="87" y="72"/>
                    <a:pt x="73" y="87"/>
                    <a:pt x="55" y="87"/>
                  </a:cubicBezTo>
                  <a:cubicBezTo>
                    <a:pt x="37" y="87"/>
                    <a:pt x="22" y="72"/>
                    <a:pt x="22" y="54"/>
                  </a:cubicBezTo>
                  <a:cubicBezTo>
                    <a:pt x="22" y="36"/>
                    <a:pt x="37" y="21"/>
                    <a:pt x="55" y="21"/>
                  </a:cubicBezTo>
                  <a:close/>
                </a:path>
              </a:pathLst>
            </a:custGeom>
            <a:solidFill>
              <a:srgbClr val="F0F0F0"/>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10" tIns="44786" rIns="0" bIns="44786" numCol="1" spcCol="0" rtlCol="0" fromWordArt="0" anchor="ctr" anchorCtr="0" forceAA="0" compatLnSpc="1">
              <a:prstTxWarp prst="textNoShape">
                <a:avLst/>
              </a:prstTxWarp>
              <a:noAutofit/>
            </a:bodyPr>
            <a:lstStyle/>
            <a:p>
              <a:pPr defTabSz="913469">
                <a:lnSpc>
                  <a:spcPct val="90000"/>
                </a:lnSpc>
                <a:spcAft>
                  <a:spcPts val="588"/>
                </a:spcAft>
              </a:pPr>
              <a:endParaRPr lang="en-US" sz="1370" b="1" dirty="0">
                <a:gradFill>
                  <a:gsLst>
                    <a:gs pos="50427">
                      <a:srgbClr val="FFFFFF"/>
                    </a:gs>
                    <a:gs pos="30000">
                      <a:srgbClr val="FFFFFF"/>
                    </a:gs>
                  </a:gsLst>
                  <a:lin ang="5400000" scaled="0"/>
                </a:gradFill>
              </a:endParaRPr>
            </a:p>
          </p:txBody>
        </p:sp>
        <p:sp>
          <p:nvSpPr>
            <p:cNvPr id="654" name="Freeform 18"/>
            <p:cNvSpPr>
              <a:spLocks noChangeAspect="1" noEditPoints="1"/>
            </p:cNvSpPr>
            <p:nvPr/>
          </p:nvSpPr>
          <p:spPr bwMode="auto">
            <a:xfrm>
              <a:off x="6456387" y="4130487"/>
              <a:ext cx="427230" cy="315388"/>
            </a:xfrm>
            <a:custGeom>
              <a:avLst/>
              <a:gdLst>
                <a:gd name="T0" fmla="*/ 364 w 780"/>
                <a:gd name="T1" fmla="*/ 241 h 440"/>
                <a:gd name="T2" fmla="*/ 5 w 780"/>
                <a:gd name="T3" fmla="*/ 27 h 440"/>
                <a:gd name="T4" fmla="*/ 48 w 780"/>
                <a:gd name="T5" fmla="*/ 0 h 440"/>
                <a:gd name="T6" fmla="*/ 732 w 780"/>
                <a:gd name="T7" fmla="*/ 0 h 440"/>
                <a:gd name="T8" fmla="*/ 775 w 780"/>
                <a:gd name="T9" fmla="*/ 27 h 440"/>
                <a:gd name="T10" fmla="*/ 416 w 780"/>
                <a:gd name="T11" fmla="*/ 240 h 440"/>
                <a:gd name="T12" fmla="*/ 416 w 780"/>
                <a:gd name="T13" fmla="*/ 241 h 440"/>
                <a:gd name="T14" fmla="*/ 390 w 780"/>
                <a:gd name="T15" fmla="*/ 247 h 440"/>
                <a:gd name="T16" fmla="*/ 364 w 780"/>
                <a:gd name="T17" fmla="*/ 241 h 440"/>
                <a:gd name="T18" fmla="*/ 780 w 780"/>
                <a:gd name="T19" fmla="*/ 324 h 440"/>
                <a:gd name="T20" fmla="*/ 780 w 780"/>
                <a:gd name="T21" fmla="*/ 66 h 440"/>
                <a:gd name="T22" fmla="*/ 563 w 780"/>
                <a:gd name="T23" fmla="*/ 195 h 440"/>
                <a:gd name="T24" fmla="*/ 780 w 780"/>
                <a:gd name="T25" fmla="*/ 324 h 440"/>
                <a:gd name="T26" fmla="*/ 0 w 780"/>
                <a:gd name="T27" fmla="*/ 392 h 440"/>
                <a:gd name="T28" fmla="*/ 48 w 780"/>
                <a:gd name="T29" fmla="*/ 440 h 440"/>
                <a:gd name="T30" fmla="*/ 732 w 780"/>
                <a:gd name="T31" fmla="*/ 440 h 440"/>
                <a:gd name="T32" fmla="*/ 780 w 780"/>
                <a:gd name="T33" fmla="*/ 392 h 440"/>
                <a:gd name="T34" fmla="*/ 780 w 780"/>
                <a:gd name="T35" fmla="*/ 366 h 440"/>
                <a:gd name="T36" fmla="*/ 528 w 780"/>
                <a:gd name="T37" fmla="*/ 216 h 440"/>
                <a:gd name="T38" fmla="*/ 435 w 780"/>
                <a:gd name="T39" fmla="*/ 271 h 440"/>
                <a:gd name="T40" fmla="*/ 390 w 780"/>
                <a:gd name="T41" fmla="*/ 283 h 440"/>
                <a:gd name="T42" fmla="*/ 390 w 780"/>
                <a:gd name="T43" fmla="*/ 283 h 440"/>
                <a:gd name="T44" fmla="*/ 344 w 780"/>
                <a:gd name="T45" fmla="*/ 271 h 440"/>
                <a:gd name="T46" fmla="*/ 252 w 780"/>
                <a:gd name="T47" fmla="*/ 216 h 440"/>
                <a:gd name="T48" fmla="*/ 0 w 780"/>
                <a:gd name="T49" fmla="*/ 366 h 440"/>
                <a:gd name="T50" fmla="*/ 0 w 780"/>
                <a:gd name="T51" fmla="*/ 392 h 440"/>
                <a:gd name="T52" fmla="*/ 217 w 780"/>
                <a:gd name="T53" fmla="*/ 195 h 440"/>
                <a:gd name="T54" fmla="*/ 0 w 780"/>
                <a:gd name="T55" fmla="*/ 66 h 440"/>
                <a:gd name="T56" fmla="*/ 0 w 780"/>
                <a:gd name="T57" fmla="*/ 324 h 440"/>
                <a:gd name="T58" fmla="*/ 217 w 780"/>
                <a:gd name="T59" fmla="*/ 195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80" h="440">
                  <a:moveTo>
                    <a:pt x="364" y="241"/>
                  </a:moveTo>
                  <a:cubicBezTo>
                    <a:pt x="5" y="27"/>
                    <a:pt x="5" y="27"/>
                    <a:pt x="5" y="27"/>
                  </a:cubicBezTo>
                  <a:cubicBezTo>
                    <a:pt x="13" y="11"/>
                    <a:pt x="29" y="0"/>
                    <a:pt x="48" y="0"/>
                  </a:cubicBezTo>
                  <a:cubicBezTo>
                    <a:pt x="732" y="0"/>
                    <a:pt x="732" y="0"/>
                    <a:pt x="732" y="0"/>
                  </a:cubicBezTo>
                  <a:cubicBezTo>
                    <a:pt x="751" y="0"/>
                    <a:pt x="767" y="11"/>
                    <a:pt x="775" y="27"/>
                  </a:cubicBezTo>
                  <a:cubicBezTo>
                    <a:pt x="416" y="240"/>
                    <a:pt x="416" y="240"/>
                    <a:pt x="416" y="240"/>
                  </a:cubicBezTo>
                  <a:cubicBezTo>
                    <a:pt x="416" y="241"/>
                    <a:pt x="416" y="241"/>
                    <a:pt x="416" y="241"/>
                  </a:cubicBezTo>
                  <a:cubicBezTo>
                    <a:pt x="409" y="245"/>
                    <a:pt x="400" y="247"/>
                    <a:pt x="390" y="247"/>
                  </a:cubicBezTo>
                  <a:cubicBezTo>
                    <a:pt x="380" y="247"/>
                    <a:pt x="370" y="245"/>
                    <a:pt x="364" y="241"/>
                  </a:cubicBezTo>
                  <a:close/>
                  <a:moveTo>
                    <a:pt x="780" y="324"/>
                  </a:moveTo>
                  <a:cubicBezTo>
                    <a:pt x="780" y="66"/>
                    <a:pt x="780" y="66"/>
                    <a:pt x="780" y="66"/>
                  </a:cubicBezTo>
                  <a:cubicBezTo>
                    <a:pt x="563" y="195"/>
                    <a:pt x="563" y="195"/>
                    <a:pt x="563" y="195"/>
                  </a:cubicBezTo>
                  <a:lnTo>
                    <a:pt x="780" y="324"/>
                  </a:lnTo>
                  <a:close/>
                  <a:moveTo>
                    <a:pt x="0" y="392"/>
                  </a:moveTo>
                  <a:cubicBezTo>
                    <a:pt x="0" y="419"/>
                    <a:pt x="21" y="440"/>
                    <a:pt x="48" y="440"/>
                  </a:cubicBezTo>
                  <a:cubicBezTo>
                    <a:pt x="732" y="440"/>
                    <a:pt x="732" y="440"/>
                    <a:pt x="732" y="440"/>
                  </a:cubicBezTo>
                  <a:cubicBezTo>
                    <a:pt x="758" y="440"/>
                    <a:pt x="780" y="419"/>
                    <a:pt x="780" y="392"/>
                  </a:cubicBezTo>
                  <a:cubicBezTo>
                    <a:pt x="780" y="366"/>
                    <a:pt x="780" y="366"/>
                    <a:pt x="780" y="366"/>
                  </a:cubicBezTo>
                  <a:cubicBezTo>
                    <a:pt x="528" y="216"/>
                    <a:pt x="528" y="216"/>
                    <a:pt x="528" y="216"/>
                  </a:cubicBezTo>
                  <a:cubicBezTo>
                    <a:pt x="435" y="271"/>
                    <a:pt x="435" y="271"/>
                    <a:pt x="435" y="271"/>
                  </a:cubicBezTo>
                  <a:cubicBezTo>
                    <a:pt x="423" y="279"/>
                    <a:pt x="407" y="283"/>
                    <a:pt x="390" y="283"/>
                  </a:cubicBezTo>
                  <a:cubicBezTo>
                    <a:pt x="390" y="283"/>
                    <a:pt x="390" y="283"/>
                    <a:pt x="390" y="283"/>
                  </a:cubicBezTo>
                  <a:cubicBezTo>
                    <a:pt x="373" y="283"/>
                    <a:pt x="357" y="279"/>
                    <a:pt x="344" y="271"/>
                  </a:cubicBezTo>
                  <a:cubicBezTo>
                    <a:pt x="252" y="216"/>
                    <a:pt x="252" y="216"/>
                    <a:pt x="252" y="216"/>
                  </a:cubicBezTo>
                  <a:cubicBezTo>
                    <a:pt x="0" y="366"/>
                    <a:pt x="0" y="366"/>
                    <a:pt x="0" y="366"/>
                  </a:cubicBezTo>
                  <a:lnTo>
                    <a:pt x="0" y="392"/>
                  </a:lnTo>
                  <a:close/>
                  <a:moveTo>
                    <a:pt x="217" y="195"/>
                  </a:moveTo>
                  <a:cubicBezTo>
                    <a:pt x="0" y="66"/>
                    <a:pt x="0" y="66"/>
                    <a:pt x="0" y="66"/>
                  </a:cubicBezTo>
                  <a:cubicBezTo>
                    <a:pt x="0" y="324"/>
                    <a:pt x="0" y="324"/>
                    <a:pt x="0" y="324"/>
                  </a:cubicBezTo>
                  <a:lnTo>
                    <a:pt x="217" y="195"/>
                  </a:lnTo>
                  <a:close/>
                </a:path>
              </a:pathLst>
            </a:custGeom>
            <a:solidFill>
              <a:srgbClr val="F0F0F0"/>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10" tIns="44786" rIns="0" bIns="44786" numCol="1" spcCol="0" rtlCol="0" fromWordArt="0" anchor="ctr" anchorCtr="0" forceAA="0" compatLnSpc="1">
              <a:prstTxWarp prst="textNoShape">
                <a:avLst/>
              </a:prstTxWarp>
              <a:noAutofit/>
            </a:bodyPr>
            <a:lstStyle/>
            <a:p>
              <a:pPr defTabSz="913469">
                <a:lnSpc>
                  <a:spcPct val="90000"/>
                </a:lnSpc>
                <a:spcAft>
                  <a:spcPts val="588"/>
                </a:spcAft>
              </a:pPr>
              <a:endParaRPr lang="en-US" sz="1370" b="1" dirty="0">
                <a:gradFill>
                  <a:gsLst>
                    <a:gs pos="50427">
                      <a:srgbClr val="FFFFFF"/>
                    </a:gs>
                    <a:gs pos="30000">
                      <a:srgbClr val="FFFFFF"/>
                    </a:gs>
                  </a:gsLst>
                  <a:lin ang="5400000" scaled="0"/>
                </a:gradFill>
              </a:endParaRPr>
            </a:p>
          </p:txBody>
        </p:sp>
        <p:sp>
          <p:nvSpPr>
            <p:cNvPr id="655" name="Freeform 109"/>
            <p:cNvSpPr>
              <a:spLocks noChangeAspect="1" noEditPoints="1"/>
            </p:cNvSpPr>
            <p:nvPr/>
          </p:nvSpPr>
          <p:spPr bwMode="auto">
            <a:xfrm>
              <a:off x="7389901" y="4095618"/>
              <a:ext cx="427254" cy="400722"/>
            </a:xfrm>
            <a:custGeom>
              <a:avLst/>
              <a:gdLst>
                <a:gd name="T0" fmla="*/ 49 w 80"/>
                <a:gd name="T1" fmla="*/ 51 h 65"/>
                <a:gd name="T2" fmla="*/ 43 w 80"/>
                <a:gd name="T3" fmla="*/ 50 h 65"/>
                <a:gd name="T4" fmla="*/ 42 w 80"/>
                <a:gd name="T5" fmla="*/ 50 h 65"/>
                <a:gd name="T6" fmla="*/ 42 w 80"/>
                <a:gd name="T7" fmla="*/ 44 h 65"/>
                <a:gd name="T8" fmla="*/ 43 w 80"/>
                <a:gd name="T9" fmla="*/ 44 h 65"/>
                <a:gd name="T10" fmla="*/ 51 w 80"/>
                <a:gd name="T11" fmla="*/ 45 h 65"/>
                <a:gd name="T12" fmla="*/ 52 w 80"/>
                <a:gd name="T13" fmla="*/ 42 h 65"/>
                <a:gd name="T14" fmla="*/ 44 w 80"/>
                <a:gd name="T15" fmla="*/ 40 h 65"/>
                <a:gd name="T16" fmla="*/ 43 w 80"/>
                <a:gd name="T17" fmla="*/ 40 h 65"/>
                <a:gd name="T18" fmla="*/ 43 w 80"/>
                <a:gd name="T19" fmla="*/ 25 h 65"/>
                <a:gd name="T20" fmla="*/ 58 w 80"/>
                <a:gd name="T21" fmla="*/ 25 h 65"/>
                <a:gd name="T22" fmla="*/ 58 w 80"/>
                <a:gd name="T23" fmla="*/ 30 h 65"/>
                <a:gd name="T24" fmla="*/ 49 w 80"/>
                <a:gd name="T25" fmla="*/ 30 h 65"/>
                <a:gd name="T26" fmla="*/ 49 w 80"/>
                <a:gd name="T27" fmla="*/ 34 h 65"/>
                <a:gd name="T28" fmla="*/ 57 w 80"/>
                <a:gd name="T29" fmla="*/ 36 h 65"/>
                <a:gd name="T30" fmla="*/ 59 w 80"/>
                <a:gd name="T31" fmla="*/ 42 h 65"/>
                <a:gd name="T32" fmla="*/ 56 w 80"/>
                <a:gd name="T33" fmla="*/ 48 h 65"/>
                <a:gd name="T34" fmla="*/ 49 w 80"/>
                <a:gd name="T35" fmla="*/ 51 h 65"/>
                <a:gd name="T36" fmla="*/ 38 w 80"/>
                <a:gd name="T37" fmla="*/ 45 h 65"/>
                <a:gd name="T38" fmla="*/ 29 w 80"/>
                <a:gd name="T39" fmla="*/ 45 h 65"/>
                <a:gd name="T40" fmla="*/ 33 w 80"/>
                <a:gd name="T41" fmla="*/ 41 h 65"/>
                <a:gd name="T42" fmla="*/ 39 w 80"/>
                <a:gd name="T43" fmla="*/ 32 h 65"/>
                <a:gd name="T44" fmla="*/ 36 w 80"/>
                <a:gd name="T45" fmla="*/ 26 h 65"/>
                <a:gd name="T46" fmla="*/ 30 w 80"/>
                <a:gd name="T47" fmla="*/ 24 h 65"/>
                <a:gd name="T48" fmla="*/ 22 w 80"/>
                <a:gd name="T49" fmla="*/ 26 h 65"/>
                <a:gd name="T50" fmla="*/ 22 w 80"/>
                <a:gd name="T51" fmla="*/ 27 h 65"/>
                <a:gd name="T52" fmla="*/ 22 w 80"/>
                <a:gd name="T53" fmla="*/ 33 h 65"/>
                <a:gd name="T54" fmla="*/ 23 w 80"/>
                <a:gd name="T55" fmla="*/ 32 h 65"/>
                <a:gd name="T56" fmla="*/ 29 w 80"/>
                <a:gd name="T57" fmla="*/ 30 h 65"/>
                <a:gd name="T58" fmla="*/ 32 w 80"/>
                <a:gd name="T59" fmla="*/ 33 h 65"/>
                <a:gd name="T60" fmla="*/ 31 w 80"/>
                <a:gd name="T61" fmla="*/ 35 h 65"/>
                <a:gd name="T62" fmla="*/ 28 w 80"/>
                <a:gd name="T63" fmla="*/ 39 h 65"/>
                <a:gd name="T64" fmla="*/ 21 w 80"/>
                <a:gd name="T65" fmla="*/ 46 h 65"/>
                <a:gd name="T66" fmla="*/ 21 w 80"/>
                <a:gd name="T67" fmla="*/ 50 h 65"/>
                <a:gd name="T68" fmla="*/ 38 w 80"/>
                <a:gd name="T69" fmla="*/ 50 h 65"/>
                <a:gd name="T70" fmla="*/ 38 w 80"/>
                <a:gd name="T71" fmla="*/ 45 h 65"/>
                <a:gd name="T72" fmla="*/ 71 w 80"/>
                <a:gd name="T73" fmla="*/ 19 h 65"/>
                <a:gd name="T74" fmla="*/ 9 w 80"/>
                <a:gd name="T75" fmla="*/ 19 h 65"/>
                <a:gd name="T76" fmla="*/ 9 w 80"/>
                <a:gd name="T77" fmla="*/ 56 h 65"/>
                <a:gd name="T78" fmla="*/ 9 w 80"/>
                <a:gd name="T79" fmla="*/ 57 h 65"/>
                <a:gd name="T80" fmla="*/ 70 w 80"/>
                <a:gd name="T81" fmla="*/ 57 h 65"/>
                <a:gd name="T82" fmla="*/ 71 w 80"/>
                <a:gd name="T83" fmla="*/ 56 h 65"/>
                <a:gd name="T84" fmla="*/ 71 w 80"/>
                <a:gd name="T85" fmla="*/ 19 h 65"/>
                <a:gd name="T86" fmla="*/ 76 w 80"/>
                <a:gd name="T87" fmla="*/ 0 h 65"/>
                <a:gd name="T88" fmla="*/ 80 w 80"/>
                <a:gd name="T89" fmla="*/ 4 h 65"/>
                <a:gd name="T90" fmla="*/ 80 w 80"/>
                <a:gd name="T91" fmla="*/ 62 h 65"/>
                <a:gd name="T92" fmla="*/ 76 w 80"/>
                <a:gd name="T93" fmla="*/ 65 h 65"/>
                <a:gd name="T94" fmla="*/ 4 w 80"/>
                <a:gd name="T95" fmla="*/ 65 h 65"/>
                <a:gd name="T96" fmla="*/ 0 w 80"/>
                <a:gd name="T97" fmla="*/ 62 h 65"/>
                <a:gd name="T98" fmla="*/ 0 w 80"/>
                <a:gd name="T99" fmla="*/ 4 h 65"/>
                <a:gd name="T100" fmla="*/ 4 w 80"/>
                <a:gd name="T101" fmla="*/ 0 h 65"/>
                <a:gd name="T102" fmla="*/ 76 w 80"/>
                <a:gd name="T103"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0" h="65">
                  <a:moveTo>
                    <a:pt x="49" y="51"/>
                  </a:moveTo>
                  <a:cubicBezTo>
                    <a:pt x="46" y="51"/>
                    <a:pt x="44" y="51"/>
                    <a:pt x="43" y="50"/>
                  </a:cubicBezTo>
                  <a:cubicBezTo>
                    <a:pt x="42" y="50"/>
                    <a:pt x="42" y="50"/>
                    <a:pt x="42" y="50"/>
                  </a:cubicBezTo>
                  <a:cubicBezTo>
                    <a:pt x="42" y="44"/>
                    <a:pt x="42" y="44"/>
                    <a:pt x="42" y="44"/>
                  </a:cubicBezTo>
                  <a:cubicBezTo>
                    <a:pt x="43" y="44"/>
                    <a:pt x="43" y="44"/>
                    <a:pt x="43" y="44"/>
                  </a:cubicBezTo>
                  <a:cubicBezTo>
                    <a:pt x="46" y="46"/>
                    <a:pt x="50" y="46"/>
                    <a:pt x="51" y="45"/>
                  </a:cubicBezTo>
                  <a:cubicBezTo>
                    <a:pt x="52" y="44"/>
                    <a:pt x="52" y="43"/>
                    <a:pt x="52" y="42"/>
                  </a:cubicBezTo>
                  <a:cubicBezTo>
                    <a:pt x="52" y="41"/>
                    <a:pt x="51" y="39"/>
                    <a:pt x="44" y="40"/>
                  </a:cubicBezTo>
                  <a:cubicBezTo>
                    <a:pt x="43" y="40"/>
                    <a:pt x="43" y="40"/>
                    <a:pt x="43" y="40"/>
                  </a:cubicBezTo>
                  <a:cubicBezTo>
                    <a:pt x="43" y="25"/>
                    <a:pt x="43" y="25"/>
                    <a:pt x="43" y="25"/>
                  </a:cubicBezTo>
                  <a:cubicBezTo>
                    <a:pt x="58" y="25"/>
                    <a:pt x="58" y="25"/>
                    <a:pt x="58" y="25"/>
                  </a:cubicBezTo>
                  <a:cubicBezTo>
                    <a:pt x="58" y="30"/>
                    <a:pt x="58" y="30"/>
                    <a:pt x="58" y="30"/>
                  </a:cubicBezTo>
                  <a:cubicBezTo>
                    <a:pt x="49" y="30"/>
                    <a:pt x="49" y="30"/>
                    <a:pt x="49" y="30"/>
                  </a:cubicBezTo>
                  <a:cubicBezTo>
                    <a:pt x="49" y="34"/>
                    <a:pt x="49" y="34"/>
                    <a:pt x="49" y="34"/>
                  </a:cubicBezTo>
                  <a:cubicBezTo>
                    <a:pt x="52" y="34"/>
                    <a:pt x="55" y="34"/>
                    <a:pt x="57" y="36"/>
                  </a:cubicBezTo>
                  <a:cubicBezTo>
                    <a:pt x="58" y="38"/>
                    <a:pt x="59" y="40"/>
                    <a:pt x="59" y="42"/>
                  </a:cubicBezTo>
                  <a:cubicBezTo>
                    <a:pt x="59" y="44"/>
                    <a:pt x="58" y="47"/>
                    <a:pt x="56" y="48"/>
                  </a:cubicBezTo>
                  <a:cubicBezTo>
                    <a:pt x="55" y="50"/>
                    <a:pt x="52" y="51"/>
                    <a:pt x="49" y="51"/>
                  </a:cubicBezTo>
                  <a:moveTo>
                    <a:pt x="38" y="45"/>
                  </a:moveTo>
                  <a:cubicBezTo>
                    <a:pt x="29" y="45"/>
                    <a:pt x="29" y="45"/>
                    <a:pt x="29" y="45"/>
                  </a:cubicBezTo>
                  <a:cubicBezTo>
                    <a:pt x="33" y="41"/>
                    <a:pt x="33" y="41"/>
                    <a:pt x="33" y="41"/>
                  </a:cubicBezTo>
                  <a:cubicBezTo>
                    <a:pt x="37" y="38"/>
                    <a:pt x="39" y="35"/>
                    <a:pt x="39" y="32"/>
                  </a:cubicBezTo>
                  <a:cubicBezTo>
                    <a:pt x="39" y="30"/>
                    <a:pt x="38" y="28"/>
                    <a:pt x="36" y="26"/>
                  </a:cubicBezTo>
                  <a:cubicBezTo>
                    <a:pt x="35" y="25"/>
                    <a:pt x="33" y="24"/>
                    <a:pt x="30" y="24"/>
                  </a:cubicBezTo>
                  <a:cubicBezTo>
                    <a:pt x="27" y="24"/>
                    <a:pt x="25" y="25"/>
                    <a:pt x="22" y="26"/>
                  </a:cubicBezTo>
                  <a:cubicBezTo>
                    <a:pt x="22" y="27"/>
                    <a:pt x="22" y="27"/>
                    <a:pt x="22" y="27"/>
                  </a:cubicBezTo>
                  <a:cubicBezTo>
                    <a:pt x="22" y="33"/>
                    <a:pt x="22" y="33"/>
                    <a:pt x="22" y="33"/>
                  </a:cubicBezTo>
                  <a:cubicBezTo>
                    <a:pt x="23" y="32"/>
                    <a:pt x="23" y="32"/>
                    <a:pt x="23" y="32"/>
                  </a:cubicBezTo>
                  <a:cubicBezTo>
                    <a:pt x="25" y="30"/>
                    <a:pt x="27" y="30"/>
                    <a:pt x="29" y="30"/>
                  </a:cubicBezTo>
                  <a:cubicBezTo>
                    <a:pt x="31" y="30"/>
                    <a:pt x="32" y="31"/>
                    <a:pt x="32" y="33"/>
                  </a:cubicBezTo>
                  <a:cubicBezTo>
                    <a:pt x="32" y="33"/>
                    <a:pt x="32" y="34"/>
                    <a:pt x="31" y="35"/>
                  </a:cubicBezTo>
                  <a:cubicBezTo>
                    <a:pt x="31" y="36"/>
                    <a:pt x="30" y="37"/>
                    <a:pt x="28" y="39"/>
                  </a:cubicBezTo>
                  <a:cubicBezTo>
                    <a:pt x="21" y="46"/>
                    <a:pt x="21" y="46"/>
                    <a:pt x="21" y="46"/>
                  </a:cubicBezTo>
                  <a:cubicBezTo>
                    <a:pt x="21" y="50"/>
                    <a:pt x="21" y="50"/>
                    <a:pt x="21" y="50"/>
                  </a:cubicBezTo>
                  <a:cubicBezTo>
                    <a:pt x="38" y="50"/>
                    <a:pt x="38" y="50"/>
                    <a:pt x="38" y="50"/>
                  </a:cubicBezTo>
                  <a:lnTo>
                    <a:pt x="38" y="45"/>
                  </a:lnTo>
                  <a:close/>
                  <a:moveTo>
                    <a:pt x="71" y="19"/>
                  </a:moveTo>
                  <a:cubicBezTo>
                    <a:pt x="9" y="19"/>
                    <a:pt x="9" y="19"/>
                    <a:pt x="9" y="19"/>
                  </a:cubicBezTo>
                  <a:cubicBezTo>
                    <a:pt x="9" y="56"/>
                    <a:pt x="9" y="56"/>
                    <a:pt x="9" y="56"/>
                  </a:cubicBezTo>
                  <a:cubicBezTo>
                    <a:pt x="9" y="57"/>
                    <a:pt x="9" y="57"/>
                    <a:pt x="9" y="57"/>
                  </a:cubicBezTo>
                  <a:cubicBezTo>
                    <a:pt x="70" y="57"/>
                    <a:pt x="70" y="57"/>
                    <a:pt x="70" y="57"/>
                  </a:cubicBezTo>
                  <a:cubicBezTo>
                    <a:pt x="71" y="57"/>
                    <a:pt x="71" y="57"/>
                    <a:pt x="71" y="56"/>
                  </a:cubicBezTo>
                  <a:lnTo>
                    <a:pt x="71" y="19"/>
                  </a:lnTo>
                  <a:close/>
                  <a:moveTo>
                    <a:pt x="76" y="0"/>
                  </a:moveTo>
                  <a:cubicBezTo>
                    <a:pt x="78" y="0"/>
                    <a:pt x="80" y="1"/>
                    <a:pt x="80" y="4"/>
                  </a:cubicBezTo>
                  <a:cubicBezTo>
                    <a:pt x="80" y="62"/>
                    <a:pt x="80" y="62"/>
                    <a:pt x="80" y="62"/>
                  </a:cubicBezTo>
                  <a:cubicBezTo>
                    <a:pt x="80" y="64"/>
                    <a:pt x="78" y="65"/>
                    <a:pt x="76" y="65"/>
                  </a:cubicBezTo>
                  <a:cubicBezTo>
                    <a:pt x="4" y="65"/>
                    <a:pt x="4" y="65"/>
                    <a:pt x="4" y="65"/>
                  </a:cubicBezTo>
                  <a:cubicBezTo>
                    <a:pt x="2" y="65"/>
                    <a:pt x="0" y="64"/>
                    <a:pt x="0" y="62"/>
                  </a:cubicBezTo>
                  <a:cubicBezTo>
                    <a:pt x="0" y="4"/>
                    <a:pt x="0" y="4"/>
                    <a:pt x="0" y="4"/>
                  </a:cubicBezTo>
                  <a:cubicBezTo>
                    <a:pt x="0" y="1"/>
                    <a:pt x="2" y="0"/>
                    <a:pt x="4" y="0"/>
                  </a:cubicBezTo>
                  <a:cubicBezTo>
                    <a:pt x="76" y="0"/>
                    <a:pt x="76" y="0"/>
                    <a:pt x="76" y="0"/>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7810" tIns="43903" rIns="87810" bIns="43903" numCol="1" anchor="t" anchorCtr="0" compatLnSpc="1">
              <a:prstTxWarp prst="textNoShape">
                <a:avLst/>
              </a:prstTxWarp>
            </a:bodyPr>
            <a:lstStyle/>
            <a:p>
              <a:pPr defTabSz="895470"/>
              <a:endParaRPr lang="en-US" sz="1763" dirty="0">
                <a:solidFill>
                  <a:srgbClr val="FFFFFF"/>
                </a:solidFill>
              </a:endParaRPr>
            </a:p>
          </p:txBody>
        </p:sp>
        <p:sp>
          <p:nvSpPr>
            <p:cNvPr id="656" name="Freeform 5"/>
            <p:cNvSpPr>
              <a:spLocks noEditPoints="1"/>
            </p:cNvSpPr>
            <p:nvPr/>
          </p:nvSpPr>
          <p:spPr bwMode="auto">
            <a:xfrm>
              <a:off x="4750642" y="5052706"/>
              <a:ext cx="368686" cy="413440"/>
            </a:xfrm>
            <a:custGeom>
              <a:avLst/>
              <a:gdLst>
                <a:gd name="T0" fmla="*/ 1986 w 2166"/>
                <a:gd name="T1" fmla="*/ 74 h 2429"/>
                <a:gd name="T2" fmla="*/ 2166 w 2166"/>
                <a:gd name="T3" fmla="*/ 169 h 2429"/>
                <a:gd name="T4" fmla="*/ 1986 w 2166"/>
                <a:gd name="T5" fmla="*/ 848 h 2429"/>
                <a:gd name="T6" fmla="*/ 1986 w 2166"/>
                <a:gd name="T7" fmla="*/ 880 h 2429"/>
                <a:gd name="T8" fmla="*/ 2166 w 2166"/>
                <a:gd name="T9" fmla="*/ 1485 h 2429"/>
                <a:gd name="T10" fmla="*/ 2071 w 2166"/>
                <a:gd name="T11" fmla="*/ 880 h 2429"/>
                <a:gd name="T12" fmla="*/ 850 w 2166"/>
                <a:gd name="T13" fmla="*/ 880 h 2429"/>
                <a:gd name="T14" fmla="*/ 743 w 2166"/>
                <a:gd name="T15" fmla="*/ 1156 h 2429"/>
                <a:gd name="T16" fmla="*/ 871 w 2166"/>
                <a:gd name="T17" fmla="*/ 1315 h 2429"/>
                <a:gd name="T18" fmla="*/ 988 w 2166"/>
                <a:gd name="T19" fmla="*/ 1251 h 2429"/>
                <a:gd name="T20" fmla="*/ 1073 w 2166"/>
                <a:gd name="T21" fmla="*/ 986 h 2429"/>
                <a:gd name="T22" fmla="*/ 956 w 2166"/>
                <a:gd name="T23" fmla="*/ 827 h 2429"/>
                <a:gd name="T24" fmla="*/ 1954 w 2166"/>
                <a:gd name="T25" fmla="*/ 2333 h 2429"/>
                <a:gd name="T26" fmla="*/ 96 w 2166"/>
                <a:gd name="T27" fmla="*/ 2429 h 2429"/>
                <a:gd name="T28" fmla="*/ 0 w 2166"/>
                <a:gd name="T29" fmla="*/ 95 h 2429"/>
                <a:gd name="T30" fmla="*/ 1858 w 2166"/>
                <a:gd name="T31" fmla="*/ 0 h 2429"/>
                <a:gd name="T32" fmla="*/ 1614 w 2166"/>
                <a:gd name="T33" fmla="*/ 1432 h 2429"/>
                <a:gd name="T34" fmla="*/ 1285 w 2166"/>
                <a:gd name="T35" fmla="*/ 1559 h 2429"/>
                <a:gd name="T36" fmla="*/ 712 w 2166"/>
                <a:gd name="T37" fmla="*/ 1548 h 2429"/>
                <a:gd name="T38" fmla="*/ 446 w 2166"/>
                <a:gd name="T39" fmla="*/ 1124 h 2429"/>
                <a:gd name="T40" fmla="*/ 701 w 2166"/>
                <a:gd name="T41" fmla="*/ 636 h 2429"/>
                <a:gd name="T42" fmla="*/ 1338 w 2166"/>
                <a:gd name="T43" fmla="*/ 668 h 2429"/>
                <a:gd name="T44" fmla="*/ 1423 w 2166"/>
                <a:gd name="T45" fmla="*/ 1124 h 2429"/>
                <a:gd name="T46" fmla="*/ 1221 w 2166"/>
                <a:gd name="T47" fmla="*/ 1304 h 2429"/>
                <a:gd name="T48" fmla="*/ 1200 w 2166"/>
                <a:gd name="T49" fmla="*/ 1273 h 2429"/>
                <a:gd name="T50" fmla="*/ 1306 w 2166"/>
                <a:gd name="T51" fmla="*/ 732 h 2429"/>
                <a:gd name="T52" fmla="*/ 1115 w 2166"/>
                <a:gd name="T53" fmla="*/ 806 h 2429"/>
                <a:gd name="T54" fmla="*/ 658 w 2166"/>
                <a:gd name="T55" fmla="*/ 870 h 2429"/>
                <a:gd name="T56" fmla="*/ 648 w 2166"/>
                <a:gd name="T57" fmla="*/ 1368 h 2429"/>
                <a:gd name="T58" fmla="*/ 1020 w 2166"/>
                <a:gd name="T59" fmla="*/ 1368 h 2429"/>
                <a:gd name="T60" fmla="*/ 1136 w 2166"/>
                <a:gd name="T61" fmla="*/ 1442 h 2429"/>
                <a:gd name="T62" fmla="*/ 1582 w 2166"/>
                <a:gd name="T63" fmla="*/ 954 h 2429"/>
                <a:gd name="T64" fmla="*/ 1306 w 2166"/>
                <a:gd name="T65" fmla="*/ 498 h 2429"/>
                <a:gd name="T66" fmla="*/ 648 w 2166"/>
                <a:gd name="T67" fmla="*/ 519 h 2429"/>
                <a:gd name="T68" fmla="*/ 319 w 2166"/>
                <a:gd name="T69" fmla="*/ 1113 h 2429"/>
                <a:gd name="T70" fmla="*/ 637 w 2166"/>
                <a:gd name="T71" fmla="*/ 1654 h 2429"/>
                <a:gd name="T72" fmla="*/ 1412 w 2166"/>
                <a:gd name="T73" fmla="*/ 1644 h 2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166" h="2429">
                  <a:moveTo>
                    <a:pt x="1986" y="848"/>
                  </a:moveTo>
                  <a:cubicBezTo>
                    <a:pt x="1986" y="74"/>
                    <a:pt x="1986" y="74"/>
                    <a:pt x="1986" y="74"/>
                  </a:cubicBezTo>
                  <a:cubicBezTo>
                    <a:pt x="2071" y="74"/>
                    <a:pt x="2071" y="74"/>
                    <a:pt x="2071" y="74"/>
                  </a:cubicBezTo>
                  <a:cubicBezTo>
                    <a:pt x="2124" y="74"/>
                    <a:pt x="2166" y="116"/>
                    <a:pt x="2166" y="169"/>
                  </a:cubicBezTo>
                  <a:cubicBezTo>
                    <a:pt x="2166" y="169"/>
                    <a:pt x="2166" y="583"/>
                    <a:pt x="2166" y="679"/>
                  </a:cubicBezTo>
                  <a:cubicBezTo>
                    <a:pt x="2156" y="763"/>
                    <a:pt x="2028" y="795"/>
                    <a:pt x="1986" y="848"/>
                  </a:cubicBezTo>
                  <a:close/>
                  <a:moveTo>
                    <a:pt x="2071" y="880"/>
                  </a:moveTo>
                  <a:cubicBezTo>
                    <a:pt x="1986" y="880"/>
                    <a:pt x="1986" y="880"/>
                    <a:pt x="1986" y="880"/>
                  </a:cubicBezTo>
                  <a:cubicBezTo>
                    <a:pt x="1986" y="1654"/>
                    <a:pt x="1986" y="1654"/>
                    <a:pt x="1986" y="1654"/>
                  </a:cubicBezTo>
                  <a:cubicBezTo>
                    <a:pt x="2028" y="1601"/>
                    <a:pt x="2156" y="1570"/>
                    <a:pt x="2166" y="1485"/>
                  </a:cubicBezTo>
                  <a:cubicBezTo>
                    <a:pt x="2166" y="1389"/>
                    <a:pt x="2166" y="976"/>
                    <a:pt x="2166" y="976"/>
                  </a:cubicBezTo>
                  <a:cubicBezTo>
                    <a:pt x="2166" y="923"/>
                    <a:pt x="2124" y="880"/>
                    <a:pt x="2071" y="880"/>
                  </a:cubicBezTo>
                  <a:close/>
                  <a:moveTo>
                    <a:pt x="956" y="827"/>
                  </a:moveTo>
                  <a:cubicBezTo>
                    <a:pt x="913" y="827"/>
                    <a:pt x="881" y="848"/>
                    <a:pt x="850" y="880"/>
                  </a:cubicBezTo>
                  <a:cubicBezTo>
                    <a:pt x="807" y="901"/>
                    <a:pt x="786" y="944"/>
                    <a:pt x="775" y="1007"/>
                  </a:cubicBezTo>
                  <a:cubicBezTo>
                    <a:pt x="754" y="1060"/>
                    <a:pt x="743" y="1113"/>
                    <a:pt x="743" y="1156"/>
                  </a:cubicBezTo>
                  <a:cubicBezTo>
                    <a:pt x="743" y="1209"/>
                    <a:pt x="754" y="1251"/>
                    <a:pt x="786" y="1273"/>
                  </a:cubicBezTo>
                  <a:cubicBezTo>
                    <a:pt x="807" y="1304"/>
                    <a:pt x="828" y="1315"/>
                    <a:pt x="871" y="1315"/>
                  </a:cubicBezTo>
                  <a:cubicBezTo>
                    <a:pt x="892" y="1315"/>
                    <a:pt x="913" y="1315"/>
                    <a:pt x="935" y="1294"/>
                  </a:cubicBezTo>
                  <a:cubicBezTo>
                    <a:pt x="956" y="1294"/>
                    <a:pt x="977" y="1273"/>
                    <a:pt x="988" y="1251"/>
                  </a:cubicBezTo>
                  <a:cubicBezTo>
                    <a:pt x="1009" y="1230"/>
                    <a:pt x="1030" y="1188"/>
                    <a:pt x="1051" y="1135"/>
                  </a:cubicBezTo>
                  <a:cubicBezTo>
                    <a:pt x="1073" y="1082"/>
                    <a:pt x="1073" y="1039"/>
                    <a:pt x="1073" y="986"/>
                  </a:cubicBezTo>
                  <a:cubicBezTo>
                    <a:pt x="1073" y="944"/>
                    <a:pt x="1062" y="901"/>
                    <a:pt x="1041" y="870"/>
                  </a:cubicBezTo>
                  <a:cubicBezTo>
                    <a:pt x="1020" y="848"/>
                    <a:pt x="988" y="827"/>
                    <a:pt x="956" y="827"/>
                  </a:cubicBezTo>
                  <a:close/>
                  <a:moveTo>
                    <a:pt x="1954" y="95"/>
                  </a:moveTo>
                  <a:cubicBezTo>
                    <a:pt x="1954" y="2333"/>
                    <a:pt x="1954" y="2333"/>
                    <a:pt x="1954" y="2333"/>
                  </a:cubicBezTo>
                  <a:cubicBezTo>
                    <a:pt x="1954" y="2386"/>
                    <a:pt x="1912" y="2429"/>
                    <a:pt x="1858" y="2429"/>
                  </a:cubicBezTo>
                  <a:cubicBezTo>
                    <a:pt x="96" y="2429"/>
                    <a:pt x="96" y="2429"/>
                    <a:pt x="96" y="2429"/>
                  </a:cubicBezTo>
                  <a:cubicBezTo>
                    <a:pt x="42" y="2429"/>
                    <a:pt x="0" y="2386"/>
                    <a:pt x="0" y="2333"/>
                  </a:cubicBezTo>
                  <a:cubicBezTo>
                    <a:pt x="0" y="95"/>
                    <a:pt x="0" y="95"/>
                    <a:pt x="0" y="95"/>
                  </a:cubicBezTo>
                  <a:cubicBezTo>
                    <a:pt x="0" y="42"/>
                    <a:pt x="42" y="0"/>
                    <a:pt x="96" y="0"/>
                  </a:cubicBezTo>
                  <a:cubicBezTo>
                    <a:pt x="1858" y="0"/>
                    <a:pt x="1858" y="0"/>
                    <a:pt x="1858" y="0"/>
                  </a:cubicBezTo>
                  <a:cubicBezTo>
                    <a:pt x="1912" y="0"/>
                    <a:pt x="1954" y="42"/>
                    <a:pt x="1954" y="95"/>
                  </a:cubicBezTo>
                  <a:close/>
                  <a:moveTo>
                    <a:pt x="1614" y="1432"/>
                  </a:moveTo>
                  <a:cubicBezTo>
                    <a:pt x="1476" y="1432"/>
                    <a:pt x="1476" y="1432"/>
                    <a:pt x="1476" y="1432"/>
                  </a:cubicBezTo>
                  <a:cubicBezTo>
                    <a:pt x="1423" y="1485"/>
                    <a:pt x="1370" y="1527"/>
                    <a:pt x="1285" y="1559"/>
                  </a:cubicBezTo>
                  <a:cubicBezTo>
                    <a:pt x="1211" y="1591"/>
                    <a:pt x="1115" y="1612"/>
                    <a:pt x="1009" y="1612"/>
                  </a:cubicBezTo>
                  <a:cubicBezTo>
                    <a:pt x="903" y="1612"/>
                    <a:pt x="796" y="1591"/>
                    <a:pt x="712" y="1548"/>
                  </a:cubicBezTo>
                  <a:cubicBezTo>
                    <a:pt x="627" y="1517"/>
                    <a:pt x="563" y="1464"/>
                    <a:pt x="510" y="1379"/>
                  </a:cubicBezTo>
                  <a:cubicBezTo>
                    <a:pt x="467" y="1304"/>
                    <a:pt x="446" y="1220"/>
                    <a:pt x="446" y="1124"/>
                  </a:cubicBezTo>
                  <a:cubicBezTo>
                    <a:pt x="446" y="1029"/>
                    <a:pt x="467" y="933"/>
                    <a:pt x="510" y="848"/>
                  </a:cubicBezTo>
                  <a:cubicBezTo>
                    <a:pt x="552" y="753"/>
                    <a:pt x="616" y="679"/>
                    <a:pt x="701" y="636"/>
                  </a:cubicBezTo>
                  <a:cubicBezTo>
                    <a:pt x="786" y="583"/>
                    <a:pt x="881" y="562"/>
                    <a:pt x="1009" y="562"/>
                  </a:cubicBezTo>
                  <a:cubicBezTo>
                    <a:pt x="1147" y="562"/>
                    <a:pt x="1264" y="594"/>
                    <a:pt x="1338" y="668"/>
                  </a:cubicBezTo>
                  <a:cubicBezTo>
                    <a:pt x="1423" y="742"/>
                    <a:pt x="1466" y="838"/>
                    <a:pt x="1466" y="944"/>
                  </a:cubicBezTo>
                  <a:cubicBezTo>
                    <a:pt x="1466" y="1007"/>
                    <a:pt x="1444" y="1071"/>
                    <a:pt x="1423" y="1124"/>
                  </a:cubicBezTo>
                  <a:cubicBezTo>
                    <a:pt x="1391" y="1188"/>
                    <a:pt x="1349" y="1230"/>
                    <a:pt x="1306" y="1262"/>
                  </a:cubicBezTo>
                  <a:cubicBezTo>
                    <a:pt x="1274" y="1294"/>
                    <a:pt x="1243" y="1304"/>
                    <a:pt x="1221" y="1304"/>
                  </a:cubicBezTo>
                  <a:cubicBezTo>
                    <a:pt x="1221" y="1304"/>
                    <a:pt x="1211" y="1304"/>
                    <a:pt x="1211" y="1294"/>
                  </a:cubicBezTo>
                  <a:cubicBezTo>
                    <a:pt x="1200" y="1294"/>
                    <a:pt x="1200" y="1283"/>
                    <a:pt x="1200" y="1273"/>
                  </a:cubicBezTo>
                  <a:cubicBezTo>
                    <a:pt x="1200" y="1262"/>
                    <a:pt x="1200" y="1241"/>
                    <a:pt x="1211" y="1209"/>
                  </a:cubicBezTo>
                  <a:cubicBezTo>
                    <a:pt x="1306" y="732"/>
                    <a:pt x="1306" y="732"/>
                    <a:pt x="1306" y="732"/>
                  </a:cubicBezTo>
                  <a:cubicBezTo>
                    <a:pt x="1136" y="732"/>
                    <a:pt x="1136" y="732"/>
                    <a:pt x="1136" y="732"/>
                  </a:cubicBezTo>
                  <a:cubicBezTo>
                    <a:pt x="1115" y="806"/>
                    <a:pt x="1115" y="806"/>
                    <a:pt x="1115" y="806"/>
                  </a:cubicBezTo>
                  <a:cubicBezTo>
                    <a:pt x="1073" y="742"/>
                    <a:pt x="1020" y="710"/>
                    <a:pt x="935" y="710"/>
                  </a:cubicBezTo>
                  <a:cubicBezTo>
                    <a:pt x="828" y="710"/>
                    <a:pt x="733" y="763"/>
                    <a:pt x="658" y="870"/>
                  </a:cubicBezTo>
                  <a:cubicBezTo>
                    <a:pt x="605" y="954"/>
                    <a:pt x="573" y="1050"/>
                    <a:pt x="573" y="1156"/>
                  </a:cubicBezTo>
                  <a:cubicBezTo>
                    <a:pt x="573" y="1241"/>
                    <a:pt x="595" y="1315"/>
                    <a:pt x="648" y="1368"/>
                  </a:cubicBezTo>
                  <a:cubicBezTo>
                    <a:pt x="690" y="1411"/>
                    <a:pt x="754" y="1442"/>
                    <a:pt x="828" y="1442"/>
                  </a:cubicBezTo>
                  <a:cubicBezTo>
                    <a:pt x="903" y="1442"/>
                    <a:pt x="966" y="1411"/>
                    <a:pt x="1020" y="1368"/>
                  </a:cubicBezTo>
                  <a:cubicBezTo>
                    <a:pt x="1020" y="1389"/>
                    <a:pt x="1030" y="1411"/>
                    <a:pt x="1051" y="1421"/>
                  </a:cubicBezTo>
                  <a:cubicBezTo>
                    <a:pt x="1073" y="1432"/>
                    <a:pt x="1094" y="1442"/>
                    <a:pt x="1136" y="1442"/>
                  </a:cubicBezTo>
                  <a:cubicBezTo>
                    <a:pt x="1274" y="1442"/>
                    <a:pt x="1391" y="1379"/>
                    <a:pt x="1476" y="1262"/>
                  </a:cubicBezTo>
                  <a:cubicBezTo>
                    <a:pt x="1551" y="1177"/>
                    <a:pt x="1582" y="1071"/>
                    <a:pt x="1582" y="954"/>
                  </a:cubicBezTo>
                  <a:cubicBezTo>
                    <a:pt x="1582" y="859"/>
                    <a:pt x="1561" y="774"/>
                    <a:pt x="1508" y="689"/>
                  </a:cubicBezTo>
                  <a:cubicBezTo>
                    <a:pt x="1466" y="604"/>
                    <a:pt x="1402" y="541"/>
                    <a:pt x="1306" y="498"/>
                  </a:cubicBezTo>
                  <a:cubicBezTo>
                    <a:pt x="1221" y="456"/>
                    <a:pt x="1126" y="435"/>
                    <a:pt x="1009" y="435"/>
                  </a:cubicBezTo>
                  <a:cubicBezTo>
                    <a:pt x="871" y="435"/>
                    <a:pt x="754" y="466"/>
                    <a:pt x="648" y="519"/>
                  </a:cubicBezTo>
                  <a:cubicBezTo>
                    <a:pt x="552" y="573"/>
                    <a:pt x="467" y="657"/>
                    <a:pt x="404" y="763"/>
                  </a:cubicBezTo>
                  <a:cubicBezTo>
                    <a:pt x="350" y="870"/>
                    <a:pt x="319" y="986"/>
                    <a:pt x="319" y="1113"/>
                  </a:cubicBezTo>
                  <a:cubicBezTo>
                    <a:pt x="319" y="1230"/>
                    <a:pt x="340" y="1336"/>
                    <a:pt x="393" y="1432"/>
                  </a:cubicBezTo>
                  <a:cubicBezTo>
                    <a:pt x="446" y="1527"/>
                    <a:pt x="531" y="1601"/>
                    <a:pt x="637" y="1654"/>
                  </a:cubicBezTo>
                  <a:cubicBezTo>
                    <a:pt x="743" y="1707"/>
                    <a:pt x="871" y="1729"/>
                    <a:pt x="1020" y="1729"/>
                  </a:cubicBezTo>
                  <a:cubicBezTo>
                    <a:pt x="1179" y="1729"/>
                    <a:pt x="1306" y="1697"/>
                    <a:pt x="1412" y="1644"/>
                  </a:cubicBezTo>
                  <a:cubicBezTo>
                    <a:pt x="1508" y="1591"/>
                    <a:pt x="1572" y="1517"/>
                    <a:pt x="1614" y="1432"/>
                  </a:cubicBezTo>
                  <a:close/>
                </a:path>
              </a:pathLst>
            </a:custGeom>
            <a:solidFill>
              <a:schemeClr val="tx1"/>
            </a:solidFill>
            <a:ln>
              <a:noFill/>
            </a:ln>
          </p:spPr>
          <p:txBody>
            <a:bodyPr vert="horz" wrap="square" lIns="89607" tIns="44802" rIns="89607" bIns="44802" numCol="1" anchor="t" anchorCtr="0" compatLnSpc="1">
              <a:prstTxWarp prst="textNoShape">
                <a:avLst/>
              </a:prstTxWarp>
            </a:bodyPr>
            <a:lstStyle/>
            <a:p>
              <a:pPr defTabSz="913918"/>
              <a:endParaRPr lang="en-US" sz="1764">
                <a:solidFill>
                  <a:srgbClr val="FFFFFF"/>
                </a:solidFill>
              </a:endParaRPr>
            </a:p>
          </p:txBody>
        </p:sp>
      </p:grpSp>
      <p:sp>
        <p:nvSpPr>
          <p:cNvPr id="658" name="Rectangle 657"/>
          <p:cNvSpPr/>
          <p:nvPr/>
        </p:nvSpPr>
        <p:spPr bwMode="auto">
          <a:xfrm>
            <a:off x="8007134" y="2932402"/>
            <a:ext cx="3733596" cy="879077"/>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828" fontAlgn="base">
              <a:lnSpc>
                <a:spcPct val="90000"/>
              </a:lnSpc>
              <a:spcBef>
                <a:spcPct val="0"/>
              </a:spcBef>
              <a:spcAft>
                <a:spcPct val="0"/>
              </a:spcAft>
            </a:pPr>
            <a:endPar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endParaRPr>
          </a:p>
        </p:txBody>
      </p:sp>
      <p:sp>
        <p:nvSpPr>
          <p:cNvPr id="659" name="Rectangle 658"/>
          <p:cNvSpPr/>
          <p:nvPr/>
        </p:nvSpPr>
        <p:spPr bwMode="auto">
          <a:xfrm>
            <a:off x="8007134" y="3811480"/>
            <a:ext cx="3733596" cy="2750810"/>
          </a:xfrm>
          <a:prstGeom prst="rect">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60" name="Rectangle 659"/>
          <p:cNvSpPr/>
          <p:nvPr/>
        </p:nvSpPr>
        <p:spPr bwMode="auto">
          <a:xfrm>
            <a:off x="8007134" y="2932402"/>
            <a:ext cx="3733596" cy="8790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828" fontAlgn="base">
              <a:lnSpc>
                <a:spcPct val="90000"/>
              </a:lnSpc>
              <a:spcBef>
                <a:spcPct val="0"/>
              </a:spcBef>
              <a:spcAft>
                <a:spcPct val="0"/>
              </a:spcAft>
            </a:pPr>
            <a: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BUILD USING </a:t>
            </a:r>
            <a:b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br>
            <a: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AN OPEN PLATFORM</a:t>
            </a:r>
          </a:p>
        </p:txBody>
      </p:sp>
      <p:pic>
        <p:nvPicPr>
          <p:cNvPr id="666" name="Picture 4" descr="php"/>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910680" y="4824556"/>
            <a:ext cx="534206" cy="267103"/>
          </a:xfrm>
          <a:prstGeom prst="rect">
            <a:avLst/>
          </a:prstGeom>
          <a:noFill/>
          <a:extLst>
            <a:ext uri="{909E8E84-426E-40DD-AFC4-6F175D3DCCD1}">
              <a14:hiddenFill xmlns:a14="http://schemas.microsoft.com/office/drawing/2010/main">
                <a:solidFill>
                  <a:srgbClr val="FFFFFF"/>
                </a:solidFill>
              </a14:hiddenFill>
            </a:ext>
          </a:extLst>
        </p:spPr>
      </p:pic>
      <p:pic>
        <p:nvPicPr>
          <p:cNvPr id="667" name="Picture 666"/>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0612727" y="4838570"/>
            <a:ext cx="947548" cy="253847"/>
          </a:xfrm>
          <a:prstGeom prst="rect">
            <a:avLst/>
          </a:prstGeom>
        </p:spPr>
      </p:pic>
      <p:pic>
        <p:nvPicPr>
          <p:cNvPr id="668" name="Picture 667"/>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439564" y="4752340"/>
            <a:ext cx="318175" cy="403733"/>
          </a:xfrm>
          <a:prstGeom prst="rect">
            <a:avLst/>
          </a:prstGeom>
        </p:spPr>
      </p:pic>
      <p:pic>
        <p:nvPicPr>
          <p:cNvPr id="669" name="Picture 668"/>
          <p:cNvPicPr>
            <a:picLocks noChangeAspect="1"/>
          </p:cNvPicPr>
          <p:nvPr/>
        </p:nvPicPr>
        <p:blipFill rotWithShape="1">
          <a:blip r:embed="rId14" cstate="print">
            <a:extLst>
              <a:ext uri="{28A0092B-C50C-407E-A947-70E740481C1C}">
                <a14:useLocalDpi xmlns:a14="http://schemas.microsoft.com/office/drawing/2010/main" val="0"/>
              </a:ext>
            </a:extLst>
          </a:blip>
          <a:srcRect r="74521" b="13629"/>
          <a:stretch/>
        </p:blipFill>
        <p:spPr>
          <a:xfrm>
            <a:off x="8887303" y="4759999"/>
            <a:ext cx="399321" cy="401028"/>
          </a:xfrm>
          <a:prstGeom prst="rect">
            <a:avLst/>
          </a:prstGeom>
        </p:spPr>
      </p:pic>
      <p:pic>
        <p:nvPicPr>
          <p:cNvPr id="664" name="Picture 663"/>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0120038" y="5541890"/>
            <a:ext cx="999989" cy="333329"/>
          </a:xfrm>
          <a:prstGeom prst="rect">
            <a:avLst/>
          </a:prstGeom>
        </p:spPr>
      </p:pic>
      <p:pic>
        <p:nvPicPr>
          <p:cNvPr id="665" name="Picture 11" descr="\\sfp\Work\White_Whale\_Archive-Tracy\_Archive-Tracy\7-20642_Cloud_Services_Track\Art\Logos\PNGs\AmazonWebservices_Logo_white.png"/>
          <p:cNvPicPr>
            <a:picLocks noChangeAspect="1" noChangeArrowheads="1"/>
          </p:cNvPicPr>
          <p:nvPr/>
        </p:nvPicPr>
        <p:blipFill>
          <a:blip r:embed="rId16" cstate="print">
            <a:extLst>
              <a:ext uri="{BEBA8EAE-BF5A-486C-A8C5-ECC9F3942E4B}">
                <a14:imgProps xmlns:a14="http://schemas.microsoft.com/office/drawing/2010/main">
                  <a14:imgLayer r:embed="rId1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8235247" y="6012667"/>
            <a:ext cx="1075378" cy="404343"/>
          </a:xfrm>
          <a:prstGeom prst="rect">
            <a:avLst/>
          </a:prstGeom>
          <a:noFill/>
          <a:extLst>
            <a:ext uri="{909E8E84-426E-40DD-AFC4-6F175D3DCCD1}">
              <a14:hiddenFill xmlns:a14="http://schemas.microsoft.com/office/drawing/2010/main">
                <a:solidFill>
                  <a:srgbClr val="FFFFFF"/>
                </a:solidFill>
              </a14:hiddenFill>
            </a:ext>
          </a:extLst>
        </p:spPr>
      </p:pic>
      <p:pic>
        <p:nvPicPr>
          <p:cNvPr id="670" name="Picture 669"/>
          <p:cNvPicPr>
            <a:picLocks noChangeAspect="1"/>
          </p:cNvPicPr>
          <p:nvPr/>
        </p:nvPicPr>
        <p:blipFill rotWithShape="1">
          <a:blip r:embed="rId18">
            <a:extLst>
              <a:ext uri="{28A0092B-C50C-407E-A947-70E740481C1C}">
                <a14:useLocalDpi xmlns:a14="http://schemas.microsoft.com/office/drawing/2010/main" val="0"/>
              </a:ext>
            </a:extLst>
          </a:blip>
          <a:srcRect l="4902" t="6073" r="7126" b="19348"/>
          <a:stretch/>
        </p:blipFill>
        <p:spPr>
          <a:xfrm>
            <a:off x="11086501" y="4035286"/>
            <a:ext cx="475380" cy="446972"/>
          </a:xfrm>
          <a:prstGeom prst="rect">
            <a:avLst/>
          </a:prstGeom>
        </p:spPr>
      </p:pic>
      <p:pic>
        <p:nvPicPr>
          <p:cNvPr id="671" name="Picture 670"/>
          <p:cNvPicPr>
            <a:picLocks noChangeAspect="1"/>
          </p:cNvPicPr>
          <p:nvPr/>
        </p:nvPicPr>
        <p:blipFill rotWithShape="1">
          <a:blip r:embed="rId19" cstate="print">
            <a:extLst>
              <a:ext uri="{28A0092B-C50C-407E-A947-70E740481C1C}">
                <a14:useLocalDpi xmlns:a14="http://schemas.microsoft.com/office/drawing/2010/main" val="0"/>
              </a:ext>
            </a:extLst>
          </a:blip>
          <a:srcRect l="13445" t="17569" r="13162" b="17640"/>
          <a:stretch/>
        </p:blipFill>
        <p:spPr>
          <a:xfrm>
            <a:off x="10374384" y="4027736"/>
            <a:ext cx="491294" cy="433715"/>
          </a:xfrm>
          <a:prstGeom prst="rect">
            <a:avLst/>
          </a:prstGeom>
        </p:spPr>
      </p:pic>
      <p:pic>
        <p:nvPicPr>
          <p:cNvPr id="672" name="Picture 14"/>
          <p:cNvPicPr>
            <a:picLocks noChangeAspect="1" noChangeArrowheads="1"/>
          </p:cNvPicPr>
          <p:nvPr/>
        </p:nvPicPr>
        <p:blipFill>
          <a:blip r:embed="rId3" cstate="print">
            <a:lum bright="100000"/>
            <a:extLst>
              <a:ext uri="{28A0092B-C50C-407E-A947-70E740481C1C}">
                <a14:useLocalDpi xmlns:a14="http://schemas.microsoft.com/office/drawing/2010/main" val="0"/>
              </a:ext>
            </a:extLst>
          </a:blip>
          <a:srcRect/>
          <a:stretch>
            <a:fillRect/>
          </a:stretch>
        </p:blipFill>
        <p:spPr bwMode="auto">
          <a:xfrm>
            <a:off x="9086964" y="4007079"/>
            <a:ext cx="406059" cy="475030"/>
          </a:xfrm>
          <a:prstGeom prst="rect">
            <a:avLst/>
          </a:prstGeom>
          <a:noFill/>
          <a:ln>
            <a:noFill/>
          </a:ln>
          <a:effectLst/>
          <a:extLst/>
        </p:spPr>
      </p:pic>
      <p:grpSp>
        <p:nvGrpSpPr>
          <p:cNvPr id="673" name="Group 672"/>
          <p:cNvGrpSpPr/>
          <p:nvPr/>
        </p:nvGrpSpPr>
        <p:grpSpPr>
          <a:xfrm>
            <a:off x="9719240" y="4018084"/>
            <a:ext cx="420817" cy="475000"/>
            <a:chOff x="8757833" y="2461626"/>
            <a:chExt cx="522153" cy="589383"/>
          </a:xfrm>
        </p:grpSpPr>
        <p:sp>
          <p:nvSpPr>
            <p:cNvPr id="674" name="Freeform 24"/>
            <p:cNvSpPr>
              <a:spLocks/>
            </p:cNvSpPr>
            <p:nvPr/>
          </p:nvSpPr>
          <p:spPr bwMode="auto">
            <a:xfrm>
              <a:off x="8757833" y="2599074"/>
              <a:ext cx="522153" cy="451935"/>
            </a:xfrm>
            <a:custGeom>
              <a:avLst/>
              <a:gdLst>
                <a:gd name="T0" fmla="*/ 296 w 296"/>
                <a:gd name="T1" fmla="*/ 167 h 256"/>
                <a:gd name="T2" fmla="*/ 274 w 296"/>
                <a:gd name="T3" fmla="*/ 207 h 256"/>
                <a:gd name="T4" fmla="*/ 216 w 296"/>
                <a:gd name="T5" fmla="*/ 256 h 256"/>
                <a:gd name="T6" fmla="*/ 159 w 296"/>
                <a:gd name="T7" fmla="*/ 242 h 256"/>
                <a:gd name="T8" fmla="*/ 101 w 296"/>
                <a:gd name="T9" fmla="*/ 256 h 256"/>
                <a:gd name="T10" fmla="*/ 44 w 296"/>
                <a:gd name="T11" fmla="*/ 210 h 256"/>
                <a:gd name="T12" fmla="*/ 24 w 296"/>
                <a:gd name="T13" fmla="*/ 42 h 256"/>
                <a:gd name="T14" fmla="*/ 94 w 296"/>
                <a:gd name="T15" fmla="*/ 0 h 256"/>
                <a:gd name="T16" fmla="*/ 158 w 296"/>
                <a:gd name="T17" fmla="*/ 15 h 256"/>
                <a:gd name="T18" fmla="*/ 222 w 296"/>
                <a:gd name="T19" fmla="*/ 0 h 256"/>
                <a:gd name="T20" fmla="*/ 286 w 296"/>
                <a:gd name="T21" fmla="*/ 34 h 256"/>
                <a:gd name="T22" fmla="*/ 296 w 296"/>
                <a:gd name="T23" fmla="*/ 16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6" h="256">
                  <a:moveTo>
                    <a:pt x="296" y="167"/>
                  </a:moveTo>
                  <a:cubicBezTo>
                    <a:pt x="288" y="184"/>
                    <a:pt x="284" y="192"/>
                    <a:pt x="274" y="207"/>
                  </a:cubicBezTo>
                  <a:cubicBezTo>
                    <a:pt x="260" y="229"/>
                    <a:pt x="240" y="255"/>
                    <a:pt x="216" y="256"/>
                  </a:cubicBezTo>
                  <a:cubicBezTo>
                    <a:pt x="194" y="256"/>
                    <a:pt x="188" y="241"/>
                    <a:pt x="159" y="242"/>
                  </a:cubicBezTo>
                  <a:cubicBezTo>
                    <a:pt x="129" y="242"/>
                    <a:pt x="123" y="256"/>
                    <a:pt x="101" y="256"/>
                  </a:cubicBezTo>
                  <a:cubicBezTo>
                    <a:pt x="76" y="255"/>
                    <a:pt x="58" y="231"/>
                    <a:pt x="44" y="210"/>
                  </a:cubicBezTo>
                  <a:cubicBezTo>
                    <a:pt x="4" y="150"/>
                    <a:pt x="0" y="80"/>
                    <a:pt x="24" y="42"/>
                  </a:cubicBezTo>
                  <a:cubicBezTo>
                    <a:pt x="42" y="16"/>
                    <a:pt x="69" y="0"/>
                    <a:pt x="94" y="0"/>
                  </a:cubicBezTo>
                  <a:cubicBezTo>
                    <a:pt x="120" y="0"/>
                    <a:pt x="137" y="15"/>
                    <a:pt x="158" y="15"/>
                  </a:cubicBezTo>
                  <a:cubicBezTo>
                    <a:pt x="179" y="15"/>
                    <a:pt x="192" y="0"/>
                    <a:pt x="222" y="0"/>
                  </a:cubicBezTo>
                  <a:cubicBezTo>
                    <a:pt x="245" y="0"/>
                    <a:pt x="269" y="13"/>
                    <a:pt x="286" y="34"/>
                  </a:cubicBezTo>
                  <a:cubicBezTo>
                    <a:pt x="230" y="65"/>
                    <a:pt x="239" y="145"/>
                    <a:pt x="296" y="167"/>
                  </a:cubicBezTo>
                  <a:close/>
                </a:path>
              </a:pathLst>
            </a:custGeom>
            <a:solidFill>
              <a:schemeClr val="tx1"/>
            </a:solidFill>
            <a:ln>
              <a:noFill/>
            </a:ln>
            <a:extLst/>
          </p:spPr>
          <p:txBody>
            <a:bodyPr vert="horz" wrap="square" lIns="89607" tIns="44802" rIns="89607" bIns="44802" numCol="1" anchor="t" anchorCtr="0" compatLnSpc="1">
              <a:prstTxWarp prst="textNoShape">
                <a:avLst/>
              </a:prstTxWarp>
            </a:bodyPr>
            <a:lstStyle/>
            <a:p>
              <a:pPr defTabSz="913918"/>
              <a:r>
                <a:rPr lang="en-US" sz="1764" dirty="0">
                  <a:solidFill>
                    <a:srgbClr val="FFFFFF"/>
                  </a:solidFill>
                </a:rPr>
                <a:t>z</a:t>
              </a:r>
            </a:p>
          </p:txBody>
        </p:sp>
        <p:sp>
          <p:nvSpPr>
            <p:cNvPr id="675" name="Freeform 25"/>
            <p:cNvSpPr>
              <a:spLocks/>
            </p:cNvSpPr>
            <p:nvPr/>
          </p:nvSpPr>
          <p:spPr bwMode="auto">
            <a:xfrm>
              <a:off x="9018907" y="2461626"/>
              <a:ext cx="130725" cy="142676"/>
            </a:xfrm>
            <a:custGeom>
              <a:avLst/>
              <a:gdLst>
                <a:gd name="T0" fmla="*/ 55 w 74"/>
                <a:gd name="T1" fmla="*/ 54 h 81"/>
                <a:gd name="T2" fmla="*/ 71 w 74"/>
                <a:gd name="T3" fmla="*/ 0 h 81"/>
                <a:gd name="T4" fmla="*/ 20 w 74"/>
                <a:gd name="T5" fmla="*/ 28 h 81"/>
                <a:gd name="T6" fmla="*/ 4 w 74"/>
                <a:gd name="T7" fmla="*/ 81 h 81"/>
                <a:gd name="T8" fmla="*/ 55 w 74"/>
                <a:gd name="T9" fmla="*/ 54 h 81"/>
              </a:gdLst>
              <a:ahLst/>
              <a:cxnLst>
                <a:cxn ang="0">
                  <a:pos x="T0" y="T1"/>
                </a:cxn>
                <a:cxn ang="0">
                  <a:pos x="T2" y="T3"/>
                </a:cxn>
                <a:cxn ang="0">
                  <a:pos x="T4" y="T5"/>
                </a:cxn>
                <a:cxn ang="0">
                  <a:pos x="T6" y="T7"/>
                </a:cxn>
                <a:cxn ang="0">
                  <a:pos x="T8" y="T9"/>
                </a:cxn>
              </a:cxnLst>
              <a:rect l="0" t="0" r="r" b="b"/>
              <a:pathLst>
                <a:path w="74" h="81">
                  <a:moveTo>
                    <a:pt x="55" y="54"/>
                  </a:moveTo>
                  <a:cubicBezTo>
                    <a:pt x="66" y="40"/>
                    <a:pt x="74" y="21"/>
                    <a:pt x="71" y="0"/>
                  </a:cubicBezTo>
                  <a:cubicBezTo>
                    <a:pt x="54" y="2"/>
                    <a:pt x="33" y="13"/>
                    <a:pt x="20" y="28"/>
                  </a:cubicBezTo>
                  <a:cubicBezTo>
                    <a:pt x="9" y="41"/>
                    <a:pt x="0" y="61"/>
                    <a:pt x="4" y="81"/>
                  </a:cubicBezTo>
                  <a:cubicBezTo>
                    <a:pt x="23" y="81"/>
                    <a:pt x="44" y="70"/>
                    <a:pt x="55" y="54"/>
                  </a:cubicBezTo>
                  <a:close/>
                </a:path>
              </a:pathLst>
            </a:custGeom>
            <a:solidFill>
              <a:schemeClr val="tx1"/>
            </a:solidFill>
            <a:ln>
              <a:noFill/>
            </a:ln>
            <a:extLst/>
          </p:spPr>
          <p:txBody>
            <a:bodyPr vert="horz" wrap="square" lIns="89607" tIns="44802" rIns="89607" bIns="44802" numCol="1" anchor="t" anchorCtr="0" compatLnSpc="1">
              <a:prstTxWarp prst="textNoShape">
                <a:avLst/>
              </a:prstTxWarp>
            </a:bodyPr>
            <a:lstStyle/>
            <a:p>
              <a:pPr defTabSz="913918"/>
              <a:endParaRPr lang="en-US" sz="1764">
                <a:solidFill>
                  <a:srgbClr val="FFFFFF"/>
                </a:solidFill>
              </a:endParaRPr>
            </a:p>
          </p:txBody>
        </p:sp>
      </p:grpSp>
      <p:grpSp>
        <p:nvGrpSpPr>
          <p:cNvPr id="676" name="Group 25"/>
          <p:cNvGrpSpPr>
            <a:grpSpLocks noChangeAspect="1"/>
          </p:cNvGrpSpPr>
          <p:nvPr/>
        </p:nvGrpSpPr>
        <p:grpSpPr bwMode="auto">
          <a:xfrm>
            <a:off x="8209762" y="5635034"/>
            <a:ext cx="1547978" cy="187591"/>
            <a:chOff x="-1699" y="18351"/>
            <a:chExt cx="11074" cy="1342"/>
          </a:xfrm>
        </p:grpSpPr>
        <p:sp>
          <p:nvSpPr>
            <p:cNvPr id="677" name="Freeform 26"/>
            <p:cNvSpPr>
              <a:spLocks/>
            </p:cNvSpPr>
            <p:nvPr/>
          </p:nvSpPr>
          <p:spPr bwMode="auto">
            <a:xfrm>
              <a:off x="-1699" y="18441"/>
              <a:ext cx="1250" cy="1231"/>
            </a:xfrm>
            <a:custGeom>
              <a:avLst/>
              <a:gdLst>
                <a:gd name="T0" fmla="*/ 1250 w 1250"/>
                <a:gd name="T1" fmla="*/ 1231 h 1231"/>
                <a:gd name="T2" fmla="*/ 1109 w 1250"/>
                <a:gd name="T3" fmla="*/ 1231 h 1231"/>
                <a:gd name="T4" fmla="*/ 1109 w 1250"/>
                <a:gd name="T5" fmla="*/ 228 h 1231"/>
                <a:gd name="T6" fmla="*/ 1104 w 1250"/>
                <a:gd name="T7" fmla="*/ 228 h 1231"/>
                <a:gd name="T8" fmla="*/ 662 w 1250"/>
                <a:gd name="T9" fmla="*/ 1231 h 1231"/>
                <a:gd name="T10" fmla="*/ 591 w 1250"/>
                <a:gd name="T11" fmla="*/ 1231 h 1231"/>
                <a:gd name="T12" fmla="*/ 142 w 1250"/>
                <a:gd name="T13" fmla="*/ 223 h 1231"/>
                <a:gd name="T14" fmla="*/ 139 w 1250"/>
                <a:gd name="T15" fmla="*/ 223 h 1231"/>
                <a:gd name="T16" fmla="*/ 139 w 1250"/>
                <a:gd name="T17" fmla="*/ 1231 h 1231"/>
                <a:gd name="T18" fmla="*/ 0 w 1250"/>
                <a:gd name="T19" fmla="*/ 1231 h 1231"/>
                <a:gd name="T20" fmla="*/ 0 w 1250"/>
                <a:gd name="T21" fmla="*/ 0 h 1231"/>
                <a:gd name="T22" fmla="*/ 191 w 1250"/>
                <a:gd name="T23" fmla="*/ 0 h 1231"/>
                <a:gd name="T24" fmla="*/ 622 w 1250"/>
                <a:gd name="T25" fmla="*/ 986 h 1231"/>
                <a:gd name="T26" fmla="*/ 629 w 1250"/>
                <a:gd name="T27" fmla="*/ 986 h 1231"/>
                <a:gd name="T28" fmla="*/ 1071 w 1250"/>
                <a:gd name="T29" fmla="*/ 0 h 1231"/>
                <a:gd name="T30" fmla="*/ 1250 w 1250"/>
                <a:gd name="T31" fmla="*/ 0 h 1231"/>
                <a:gd name="T32" fmla="*/ 1250 w 1250"/>
                <a:gd name="T33" fmla="*/ 1231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50" h="1231">
                  <a:moveTo>
                    <a:pt x="1250" y="1231"/>
                  </a:moveTo>
                  <a:lnTo>
                    <a:pt x="1109" y="1231"/>
                  </a:lnTo>
                  <a:lnTo>
                    <a:pt x="1109" y="228"/>
                  </a:lnTo>
                  <a:lnTo>
                    <a:pt x="1104" y="228"/>
                  </a:lnTo>
                  <a:lnTo>
                    <a:pt x="662" y="1231"/>
                  </a:lnTo>
                  <a:lnTo>
                    <a:pt x="591" y="1231"/>
                  </a:lnTo>
                  <a:lnTo>
                    <a:pt x="142" y="223"/>
                  </a:lnTo>
                  <a:lnTo>
                    <a:pt x="139" y="223"/>
                  </a:lnTo>
                  <a:lnTo>
                    <a:pt x="139" y="1231"/>
                  </a:lnTo>
                  <a:lnTo>
                    <a:pt x="0" y="1231"/>
                  </a:lnTo>
                  <a:lnTo>
                    <a:pt x="0" y="0"/>
                  </a:lnTo>
                  <a:lnTo>
                    <a:pt x="191" y="0"/>
                  </a:lnTo>
                  <a:lnTo>
                    <a:pt x="622" y="986"/>
                  </a:lnTo>
                  <a:lnTo>
                    <a:pt x="629" y="986"/>
                  </a:lnTo>
                  <a:lnTo>
                    <a:pt x="1071" y="0"/>
                  </a:lnTo>
                  <a:lnTo>
                    <a:pt x="1250" y="0"/>
                  </a:lnTo>
                  <a:lnTo>
                    <a:pt x="1250" y="12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78" name="Freeform 27"/>
            <p:cNvSpPr>
              <a:spLocks noEditPoints="1"/>
            </p:cNvSpPr>
            <p:nvPr/>
          </p:nvSpPr>
          <p:spPr bwMode="auto">
            <a:xfrm>
              <a:off x="-222" y="18386"/>
              <a:ext cx="185" cy="1286"/>
            </a:xfrm>
            <a:custGeom>
              <a:avLst/>
              <a:gdLst>
                <a:gd name="T0" fmla="*/ 78 w 78"/>
                <a:gd name="T1" fmla="*/ 38 h 541"/>
                <a:gd name="T2" fmla="*/ 67 w 78"/>
                <a:gd name="T3" fmla="*/ 66 h 541"/>
                <a:gd name="T4" fmla="*/ 39 w 78"/>
                <a:gd name="T5" fmla="*/ 77 h 541"/>
                <a:gd name="T6" fmla="*/ 12 w 78"/>
                <a:gd name="T7" fmla="*/ 66 h 541"/>
                <a:gd name="T8" fmla="*/ 0 w 78"/>
                <a:gd name="T9" fmla="*/ 38 h 541"/>
                <a:gd name="T10" fmla="*/ 11 w 78"/>
                <a:gd name="T11" fmla="*/ 11 h 541"/>
                <a:gd name="T12" fmla="*/ 39 w 78"/>
                <a:gd name="T13" fmla="*/ 0 h 541"/>
                <a:gd name="T14" fmla="*/ 67 w 78"/>
                <a:gd name="T15" fmla="*/ 11 h 541"/>
                <a:gd name="T16" fmla="*/ 78 w 78"/>
                <a:gd name="T17" fmla="*/ 38 h 541"/>
                <a:gd name="T18" fmla="*/ 68 w 78"/>
                <a:gd name="T19" fmla="*/ 541 h 541"/>
                <a:gd name="T20" fmla="*/ 9 w 78"/>
                <a:gd name="T21" fmla="*/ 541 h 541"/>
                <a:gd name="T22" fmla="*/ 9 w 78"/>
                <a:gd name="T23" fmla="*/ 171 h 541"/>
                <a:gd name="T24" fmla="*/ 68 w 78"/>
                <a:gd name="T25" fmla="*/ 171 h 541"/>
                <a:gd name="T26" fmla="*/ 68 w 78"/>
                <a:gd name="T27" fmla="*/ 541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 h="541">
                  <a:moveTo>
                    <a:pt x="78" y="38"/>
                  </a:moveTo>
                  <a:cubicBezTo>
                    <a:pt x="78" y="49"/>
                    <a:pt x="74" y="59"/>
                    <a:pt x="67" y="66"/>
                  </a:cubicBezTo>
                  <a:cubicBezTo>
                    <a:pt x="59" y="73"/>
                    <a:pt x="50" y="77"/>
                    <a:pt x="39" y="77"/>
                  </a:cubicBezTo>
                  <a:cubicBezTo>
                    <a:pt x="28" y="77"/>
                    <a:pt x="19" y="73"/>
                    <a:pt x="12" y="66"/>
                  </a:cubicBezTo>
                  <a:cubicBezTo>
                    <a:pt x="4" y="59"/>
                    <a:pt x="0" y="50"/>
                    <a:pt x="0" y="38"/>
                  </a:cubicBezTo>
                  <a:cubicBezTo>
                    <a:pt x="0" y="28"/>
                    <a:pt x="4" y="19"/>
                    <a:pt x="11" y="11"/>
                  </a:cubicBezTo>
                  <a:cubicBezTo>
                    <a:pt x="19" y="4"/>
                    <a:pt x="28" y="0"/>
                    <a:pt x="39" y="0"/>
                  </a:cubicBezTo>
                  <a:cubicBezTo>
                    <a:pt x="50" y="0"/>
                    <a:pt x="59" y="4"/>
                    <a:pt x="67" y="11"/>
                  </a:cubicBezTo>
                  <a:cubicBezTo>
                    <a:pt x="74" y="19"/>
                    <a:pt x="78" y="28"/>
                    <a:pt x="78" y="38"/>
                  </a:cubicBezTo>
                  <a:close/>
                  <a:moveTo>
                    <a:pt x="68" y="541"/>
                  </a:moveTo>
                  <a:cubicBezTo>
                    <a:pt x="9" y="541"/>
                    <a:pt x="9" y="541"/>
                    <a:pt x="9" y="541"/>
                  </a:cubicBezTo>
                  <a:cubicBezTo>
                    <a:pt x="9" y="171"/>
                    <a:pt x="9" y="171"/>
                    <a:pt x="9" y="171"/>
                  </a:cubicBezTo>
                  <a:cubicBezTo>
                    <a:pt x="68" y="171"/>
                    <a:pt x="68" y="171"/>
                    <a:pt x="68" y="171"/>
                  </a:cubicBezTo>
                  <a:lnTo>
                    <a:pt x="68" y="5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79" name="Freeform 28"/>
            <p:cNvSpPr>
              <a:spLocks/>
            </p:cNvSpPr>
            <p:nvPr/>
          </p:nvSpPr>
          <p:spPr bwMode="auto">
            <a:xfrm>
              <a:off x="100" y="18771"/>
              <a:ext cx="659" cy="922"/>
            </a:xfrm>
            <a:custGeom>
              <a:avLst/>
              <a:gdLst>
                <a:gd name="T0" fmla="*/ 278 w 279"/>
                <a:gd name="T1" fmla="*/ 362 h 388"/>
                <a:gd name="T2" fmla="*/ 176 w 279"/>
                <a:gd name="T3" fmla="*/ 388 h 388"/>
                <a:gd name="T4" fmla="*/ 85 w 279"/>
                <a:gd name="T5" fmla="*/ 365 h 388"/>
                <a:gd name="T6" fmla="*/ 23 w 279"/>
                <a:gd name="T7" fmla="*/ 299 h 388"/>
                <a:gd name="T8" fmla="*/ 0 w 279"/>
                <a:gd name="T9" fmla="*/ 203 h 388"/>
                <a:gd name="T10" fmla="*/ 53 w 279"/>
                <a:gd name="T11" fmla="*/ 56 h 388"/>
                <a:gd name="T12" fmla="*/ 193 w 279"/>
                <a:gd name="T13" fmla="*/ 0 h 388"/>
                <a:gd name="T14" fmla="*/ 279 w 279"/>
                <a:gd name="T15" fmla="*/ 19 h 388"/>
                <a:gd name="T16" fmla="*/ 279 w 279"/>
                <a:gd name="T17" fmla="*/ 80 h 388"/>
                <a:gd name="T18" fmla="*/ 191 w 279"/>
                <a:gd name="T19" fmla="*/ 51 h 388"/>
                <a:gd name="T20" fmla="*/ 97 w 279"/>
                <a:gd name="T21" fmla="*/ 92 h 388"/>
                <a:gd name="T22" fmla="*/ 61 w 279"/>
                <a:gd name="T23" fmla="*/ 198 h 388"/>
                <a:gd name="T24" fmla="*/ 95 w 279"/>
                <a:gd name="T25" fmla="*/ 300 h 388"/>
                <a:gd name="T26" fmla="*/ 187 w 279"/>
                <a:gd name="T27" fmla="*/ 338 h 388"/>
                <a:gd name="T28" fmla="*/ 278 w 279"/>
                <a:gd name="T29" fmla="*/ 306 h 388"/>
                <a:gd name="T30" fmla="*/ 278 w 279"/>
                <a:gd name="T31" fmla="*/ 362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9" h="388">
                  <a:moveTo>
                    <a:pt x="278" y="362"/>
                  </a:moveTo>
                  <a:cubicBezTo>
                    <a:pt x="249" y="380"/>
                    <a:pt x="215" y="388"/>
                    <a:pt x="176" y="388"/>
                  </a:cubicBezTo>
                  <a:cubicBezTo>
                    <a:pt x="143" y="388"/>
                    <a:pt x="112" y="381"/>
                    <a:pt x="85" y="365"/>
                  </a:cubicBezTo>
                  <a:cubicBezTo>
                    <a:pt x="59" y="349"/>
                    <a:pt x="38" y="327"/>
                    <a:pt x="23" y="299"/>
                  </a:cubicBezTo>
                  <a:cubicBezTo>
                    <a:pt x="8" y="271"/>
                    <a:pt x="0" y="239"/>
                    <a:pt x="0" y="203"/>
                  </a:cubicBezTo>
                  <a:cubicBezTo>
                    <a:pt x="0" y="142"/>
                    <a:pt x="18" y="93"/>
                    <a:pt x="53" y="56"/>
                  </a:cubicBezTo>
                  <a:cubicBezTo>
                    <a:pt x="88" y="19"/>
                    <a:pt x="135" y="0"/>
                    <a:pt x="193" y="0"/>
                  </a:cubicBezTo>
                  <a:cubicBezTo>
                    <a:pt x="225" y="0"/>
                    <a:pt x="254" y="6"/>
                    <a:pt x="279" y="19"/>
                  </a:cubicBezTo>
                  <a:cubicBezTo>
                    <a:pt x="279" y="80"/>
                    <a:pt x="279" y="80"/>
                    <a:pt x="279" y="80"/>
                  </a:cubicBezTo>
                  <a:cubicBezTo>
                    <a:pt x="251" y="60"/>
                    <a:pt x="222" y="51"/>
                    <a:pt x="191" y="51"/>
                  </a:cubicBezTo>
                  <a:cubicBezTo>
                    <a:pt x="152" y="51"/>
                    <a:pt x="121" y="64"/>
                    <a:pt x="97" y="92"/>
                  </a:cubicBezTo>
                  <a:cubicBezTo>
                    <a:pt x="73" y="119"/>
                    <a:pt x="61" y="154"/>
                    <a:pt x="61" y="198"/>
                  </a:cubicBezTo>
                  <a:cubicBezTo>
                    <a:pt x="61" y="241"/>
                    <a:pt x="72" y="275"/>
                    <a:pt x="95" y="300"/>
                  </a:cubicBezTo>
                  <a:cubicBezTo>
                    <a:pt x="118" y="325"/>
                    <a:pt x="149" y="338"/>
                    <a:pt x="187" y="338"/>
                  </a:cubicBezTo>
                  <a:cubicBezTo>
                    <a:pt x="219" y="338"/>
                    <a:pt x="250" y="327"/>
                    <a:pt x="278" y="306"/>
                  </a:cubicBezTo>
                  <a:lnTo>
                    <a:pt x="278" y="3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80" name="Freeform 29"/>
            <p:cNvSpPr>
              <a:spLocks/>
            </p:cNvSpPr>
            <p:nvPr/>
          </p:nvSpPr>
          <p:spPr bwMode="auto">
            <a:xfrm>
              <a:off x="913" y="18776"/>
              <a:ext cx="456" cy="896"/>
            </a:xfrm>
            <a:custGeom>
              <a:avLst/>
              <a:gdLst>
                <a:gd name="T0" fmla="*/ 193 w 193"/>
                <a:gd name="T1" fmla="*/ 67 h 377"/>
                <a:gd name="T2" fmla="*/ 148 w 193"/>
                <a:gd name="T3" fmla="*/ 55 h 377"/>
                <a:gd name="T4" fmla="*/ 84 w 193"/>
                <a:gd name="T5" fmla="*/ 92 h 377"/>
                <a:gd name="T6" fmla="*/ 59 w 193"/>
                <a:gd name="T7" fmla="*/ 189 h 377"/>
                <a:gd name="T8" fmla="*/ 59 w 193"/>
                <a:gd name="T9" fmla="*/ 377 h 377"/>
                <a:gd name="T10" fmla="*/ 0 w 193"/>
                <a:gd name="T11" fmla="*/ 377 h 377"/>
                <a:gd name="T12" fmla="*/ 0 w 193"/>
                <a:gd name="T13" fmla="*/ 7 h 377"/>
                <a:gd name="T14" fmla="*/ 59 w 193"/>
                <a:gd name="T15" fmla="*/ 7 h 377"/>
                <a:gd name="T16" fmla="*/ 59 w 193"/>
                <a:gd name="T17" fmla="*/ 83 h 377"/>
                <a:gd name="T18" fmla="*/ 61 w 193"/>
                <a:gd name="T19" fmla="*/ 83 h 377"/>
                <a:gd name="T20" fmla="*/ 99 w 193"/>
                <a:gd name="T21" fmla="*/ 23 h 377"/>
                <a:gd name="T22" fmla="*/ 158 w 193"/>
                <a:gd name="T23" fmla="*/ 0 h 377"/>
                <a:gd name="T24" fmla="*/ 193 w 193"/>
                <a:gd name="T25" fmla="*/ 6 h 377"/>
                <a:gd name="T26" fmla="*/ 193 w 193"/>
                <a:gd name="T27" fmla="*/ 67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377">
                  <a:moveTo>
                    <a:pt x="193" y="67"/>
                  </a:moveTo>
                  <a:cubicBezTo>
                    <a:pt x="183" y="59"/>
                    <a:pt x="168" y="55"/>
                    <a:pt x="148" y="55"/>
                  </a:cubicBezTo>
                  <a:cubicBezTo>
                    <a:pt x="122" y="55"/>
                    <a:pt x="100" y="67"/>
                    <a:pt x="84" y="92"/>
                  </a:cubicBezTo>
                  <a:cubicBezTo>
                    <a:pt x="68" y="117"/>
                    <a:pt x="59" y="149"/>
                    <a:pt x="59" y="189"/>
                  </a:cubicBezTo>
                  <a:cubicBezTo>
                    <a:pt x="59" y="377"/>
                    <a:pt x="59" y="377"/>
                    <a:pt x="59" y="377"/>
                  </a:cubicBezTo>
                  <a:cubicBezTo>
                    <a:pt x="0" y="377"/>
                    <a:pt x="0" y="377"/>
                    <a:pt x="0" y="377"/>
                  </a:cubicBezTo>
                  <a:cubicBezTo>
                    <a:pt x="0" y="7"/>
                    <a:pt x="0" y="7"/>
                    <a:pt x="0" y="7"/>
                  </a:cubicBezTo>
                  <a:cubicBezTo>
                    <a:pt x="59" y="7"/>
                    <a:pt x="59" y="7"/>
                    <a:pt x="59" y="7"/>
                  </a:cubicBezTo>
                  <a:cubicBezTo>
                    <a:pt x="59" y="83"/>
                    <a:pt x="59" y="83"/>
                    <a:pt x="59" y="83"/>
                  </a:cubicBezTo>
                  <a:cubicBezTo>
                    <a:pt x="61" y="83"/>
                    <a:pt x="61" y="83"/>
                    <a:pt x="61" y="83"/>
                  </a:cubicBezTo>
                  <a:cubicBezTo>
                    <a:pt x="69" y="58"/>
                    <a:pt x="82" y="38"/>
                    <a:pt x="99" y="23"/>
                  </a:cubicBezTo>
                  <a:cubicBezTo>
                    <a:pt x="116" y="8"/>
                    <a:pt x="136" y="0"/>
                    <a:pt x="158" y="0"/>
                  </a:cubicBezTo>
                  <a:cubicBezTo>
                    <a:pt x="173" y="0"/>
                    <a:pt x="185" y="2"/>
                    <a:pt x="193" y="6"/>
                  </a:cubicBezTo>
                  <a:lnTo>
                    <a:pt x="193" y="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81" name="Freeform 30"/>
            <p:cNvSpPr>
              <a:spLocks noEditPoints="1"/>
            </p:cNvSpPr>
            <p:nvPr/>
          </p:nvSpPr>
          <p:spPr bwMode="auto">
            <a:xfrm>
              <a:off x="1376" y="18771"/>
              <a:ext cx="863" cy="922"/>
            </a:xfrm>
            <a:custGeom>
              <a:avLst/>
              <a:gdLst>
                <a:gd name="T0" fmla="*/ 365 w 365"/>
                <a:gd name="T1" fmla="*/ 193 h 388"/>
                <a:gd name="T2" fmla="*/ 315 w 365"/>
                <a:gd name="T3" fmla="*/ 335 h 388"/>
                <a:gd name="T4" fmla="*/ 181 w 365"/>
                <a:gd name="T5" fmla="*/ 388 h 388"/>
                <a:gd name="T6" fmla="*/ 49 w 365"/>
                <a:gd name="T7" fmla="*/ 336 h 388"/>
                <a:gd name="T8" fmla="*/ 0 w 365"/>
                <a:gd name="T9" fmla="*/ 198 h 388"/>
                <a:gd name="T10" fmla="*/ 51 w 365"/>
                <a:gd name="T11" fmla="*/ 53 h 388"/>
                <a:gd name="T12" fmla="*/ 189 w 365"/>
                <a:gd name="T13" fmla="*/ 0 h 388"/>
                <a:gd name="T14" fmla="*/ 318 w 365"/>
                <a:gd name="T15" fmla="*/ 51 h 388"/>
                <a:gd name="T16" fmla="*/ 365 w 365"/>
                <a:gd name="T17" fmla="*/ 193 h 388"/>
                <a:gd name="T18" fmla="*/ 304 w 365"/>
                <a:gd name="T19" fmla="*/ 195 h 388"/>
                <a:gd name="T20" fmla="*/ 273 w 365"/>
                <a:gd name="T21" fmla="*/ 88 h 388"/>
                <a:gd name="T22" fmla="*/ 185 w 365"/>
                <a:gd name="T23" fmla="*/ 51 h 388"/>
                <a:gd name="T24" fmla="*/ 94 w 365"/>
                <a:gd name="T25" fmla="*/ 89 h 388"/>
                <a:gd name="T26" fmla="*/ 61 w 365"/>
                <a:gd name="T27" fmla="*/ 196 h 388"/>
                <a:gd name="T28" fmla="*/ 95 w 365"/>
                <a:gd name="T29" fmla="*/ 300 h 388"/>
                <a:gd name="T30" fmla="*/ 185 w 365"/>
                <a:gd name="T31" fmla="*/ 338 h 388"/>
                <a:gd name="T32" fmla="*/ 273 w 365"/>
                <a:gd name="T33" fmla="*/ 301 h 388"/>
                <a:gd name="T34" fmla="*/ 304 w 365"/>
                <a:gd name="T35" fmla="*/ 19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5" h="388">
                  <a:moveTo>
                    <a:pt x="365" y="193"/>
                  </a:moveTo>
                  <a:cubicBezTo>
                    <a:pt x="365" y="252"/>
                    <a:pt x="348" y="299"/>
                    <a:pt x="315" y="335"/>
                  </a:cubicBezTo>
                  <a:cubicBezTo>
                    <a:pt x="281" y="370"/>
                    <a:pt x="237" y="388"/>
                    <a:pt x="181" y="388"/>
                  </a:cubicBezTo>
                  <a:cubicBezTo>
                    <a:pt x="126" y="388"/>
                    <a:pt x="82" y="371"/>
                    <a:pt x="49" y="336"/>
                  </a:cubicBezTo>
                  <a:cubicBezTo>
                    <a:pt x="17" y="301"/>
                    <a:pt x="0" y="255"/>
                    <a:pt x="0" y="198"/>
                  </a:cubicBezTo>
                  <a:cubicBezTo>
                    <a:pt x="0" y="137"/>
                    <a:pt x="17" y="89"/>
                    <a:pt x="51" y="53"/>
                  </a:cubicBezTo>
                  <a:cubicBezTo>
                    <a:pt x="84" y="18"/>
                    <a:pt x="130" y="0"/>
                    <a:pt x="189" y="0"/>
                  </a:cubicBezTo>
                  <a:cubicBezTo>
                    <a:pt x="244" y="0"/>
                    <a:pt x="287" y="17"/>
                    <a:pt x="318" y="51"/>
                  </a:cubicBezTo>
                  <a:cubicBezTo>
                    <a:pt x="349" y="86"/>
                    <a:pt x="365" y="133"/>
                    <a:pt x="365" y="193"/>
                  </a:cubicBezTo>
                  <a:close/>
                  <a:moveTo>
                    <a:pt x="304" y="195"/>
                  </a:moveTo>
                  <a:cubicBezTo>
                    <a:pt x="304" y="148"/>
                    <a:pt x="294" y="113"/>
                    <a:pt x="273" y="88"/>
                  </a:cubicBezTo>
                  <a:cubicBezTo>
                    <a:pt x="253" y="63"/>
                    <a:pt x="223" y="51"/>
                    <a:pt x="185" y="51"/>
                  </a:cubicBezTo>
                  <a:cubicBezTo>
                    <a:pt x="147" y="51"/>
                    <a:pt x="117" y="63"/>
                    <a:pt x="94" y="89"/>
                  </a:cubicBezTo>
                  <a:cubicBezTo>
                    <a:pt x="72" y="114"/>
                    <a:pt x="61" y="150"/>
                    <a:pt x="61" y="196"/>
                  </a:cubicBezTo>
                  <a:cubicBezTo>
                    <a:pt x="61" y="241"/>
                    <a:pt x="72" y="275"/>
                    <a:pt x="95" y="300"/>
                  </a:cubicBezTo>
                  <a:cubicBezTo>
                    <a:pt x="117" y="325"/>
                    <a:pt x="147" y="338"/>
                    <a:pt x="185" y="338"/>
                  </a:cubicBezTo>
                  <a:cubicBezTo>
                    <a:pt x="223" y="338"/>
                    <a:pt x="253" y="325"/>
                    <a:pt x="273" y="301"/>
                  </a:cubicBezTo>
                  <a:cubicBezTo>
                    <a:pt x="294" y="276"/>
                    <a:pt x="304" y="241"/>
                    <a:pt x="304" y="1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82" name="Freeform 31"/>
            <p:cNvSpPr>
              <a:spLocks/>
            </p:cNvSpPr>
            <p:nvPr/>
          </p:nvSpPr>
          <p:spPr bwMode="auto">
            <a:xfrm>
              <a:off x="2341" y="18771"/>
              <a:ext cx="536" cy="922"/>
            </a:xfrm>
            <a:custGeom>
              <a:avLst/>
              <a:gdLst>
                <a:gd name="T0" fmla="*/ 227 w 227"/>
                <a:gd name="T1" fmla="*/ 280 h 388"/>
                <a:gd name="T2" fmla="*/ 190 w 227"/>
                <a:gd name="T3" fmla="*/ 358 h 388"/>
                <a:gd name="T4" fmla="*/ 92 w 227"/>
                <a:gd name="T5" fmla="*/ 388 h 388"/>
                <a:gd name="T6" fmla="*/ 0 w 227"/>
                <a:gd name="T7" fmla="*/ 366 h 388"/>
                <a:gd name="T8" fmla="*/ 0 w 227"/>
                <a:gd name="T9" fmla="*/ 302 h 388"/>
                <a:gd name="T10" fmla="*/ 96 w 227"/>
                <a:gd name="T11" fmla="*/ 338 h 388"/>
                <a:gd name="T12" fmla="*/ 167 w 227"/>
                <a:gd name="T13" fmla="*/ 286 h 388"/>
                <a:gd name="T14" fmla="*/ 153 w 227"/>
                <a:gd name="T15" fmla="*/ 252 h 388"/>
                <a:gd name="T16" fmla="*/ 90 w 227"/>
                <a:gd name="T17" fmla="*/ 216 h 388"/>
                <a:gd name="T18" fmla="*/ 21 w 227"/>
                <a:gd name="T19" fmla="*/ 171 h 388"/>
                <a:gd name="T20" fmla="*/ 1 w 227"/>
                <a:gd name="T21" fmla="*/ 107 h 388"/>
                <a:gd name="T22" fmla="*/ 38 w 227"/>
                <a:gd name="T23" fmla="*/ 31 h 388"/>
                <a:gd name="T24" fmla="*/ 131 w 227"/>
                <a:gd name="T25" fmla="*/ 0 h 388"/>
                <a:gd name="T26" fmla="*/ 210 w 227"/>
                <a:gd name="T27" fmla="*/ 17 h 388"/>
                <a:gd name="T28" fmla="*/ 210 w 227"/>
                <a:gd name="T29" fmla="*/ 77 h 388"/>
                <a:gd name="T30" fmla="*/ 126 w 227"/>
                <a:gd name="T31" fmla="*/ 51 h 388"/>
                <a:gd name="T32" fmla="*/ 79 w 227"/>
                <a:gd name="T33" fmla="*/ 65 h 388"/>
                <a:gd name="T34" fmla="*/ 61 w 227"/>
                <a:gd name="T35" fmla="*/ 102 h 388"/>
                <a:gd name="T36" fmla="*/ 75 w 227"/>
                <a:gd name="T37" fmla="*/ 140 h 388"/>
                <a:gd name="T38" fmla="*/ 132 w 227"/>
                <a:gd name="T39" fmla="*/ 171 h 388"/>
                <a:gd name="T40" fmla="*/ 206 w 227"/>
                <a:gd name="T41" fmla="*/ 218 h 388"/>
                <a:gd name="T42" fmla="*/ 227 w 227"/>
                <a:gd name="T43" fmla="*/ 280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7" h="388">
                  <a:moveTo>
                    <a:pt x="227" y="280"/>
                  </a:moveTo>
                  <a:cubicBezTo>
                    <a:pt x="227" y="312"/>
                    <a:pt x="215" y="338"/>
                    <a:pt x="190" y="358"/>
                  </a:cubicBezTo>
                  <a:cubicBezTo>
                    <a:pt x="166" y="378"/>
                    <a:pt x="133" y="388"/>
                    <a:pt x="92" y="388"/>
                  </a:cubicBezTo>
                  <a:cubicBezTo>
                    <a:pt x="57" y="388"/>
                    <a:pt x="26" y="381"/>
                    <a:pt x="0" y="366"/>
                  </a:cubicBezTo>
                  <a:cubicBezTo>
                    <a:pt x="0" y="302"/>
                    <a:pt x="0" y="302"/>
                    <a:pt x="0" y="302"/>
                  </a:cubicBezTo>
                  <a:cubicBezTo>
                    <a:pt x="29" y="326"/>
                    <a:pt x="61" y="338"/>
                    <a:pt x="96" y="338"/>
                  </a:cubicBezTo>
                  <a:cubicBezTo>
                    <a:pt x="143" y="338"/>
                    <a:pt x="167" y="320"/>
                    <a:pt x="167" y="286"/>
                  </a:cubicBezTo>
                  <a:cubicBezTo>
                    <a:pt x="167" y="272"/>
                    <a:pt x="162" y="261"/>
                    <a:pt x="153" y="252"/>
                  </a:cubicBezTo>
                  <a:cubicBezTo>
                    <a:pt x="144" y="243"/>
                    <a:pt x="123" y="231"/>
                    <a:pt x="90" y="216"/>
                  </a:cubicBezTo>
                  <a:cubicBezTo>
                    <a:pt x="58" y="202"/>
                    <a:pt x="34" y="187"/>
                    <a:pt x="21" y="171"/>
                  </a:cubicBezTo>
                  <a:cubicBezTo>
                    <a:pt x="7" y="155"/>
                    <a:pt x="1" y="134"/>
                    <a:pt x="1" y="107"/>
                  </a:cubicBezTo>
                  <a:cubicBezTo>
                    <a:pt x="1" y="77"/>
                    <a:pt x="13" y="51"/>
                    <a:pt x="38" y="31"/>
                  </a:cubicBezTo>
                  <a:cubicBezTo>
                    <a:pt x="62" y="10"/>
                    <a:pt x="93" y="0"/>
                    <a:pt x="131" y="0"/>
                  </a:cubicBezTo>
                  <a:cubicBezTo>
                    <a:pt x="160" y="0"/>
                    <a:pt x="187" y="6"/>
                    <a:pt x="210" y="17"/>
                  </a:cubicBezTo>
                  <a:cubicBezTo>
                    <a:pt x="210" y="77"/>
                    <a:pt x="210" y="77"/>
                    <a:pt x="210" y="77"/>
                  </a:cubicBezTo>
                  <a:cubicBezTo>
                    <a:pt x="186" y="59"/>
                    <a:pt x="158" y="51"/>
                    <a:pt x="126" y="51"/>
                  </a:cubicBezTo>
                  <a:cubicBezTo>
                    <a:pt x="107" y="51"/>
                    <a:pt x="91" y="55"/>
                    <a:pt x="79" y="65"/>
                  </a:cubicBezTo>
                  <a:cubicBezTo>
                    <a:pt x="67" y="75"/>
                    <a:pt x="61" y="87"/>
                    <a:pt x="61" y="102"/>
                  </a:cubicBezTo>
                  <a:cubicBezTo>
                    <a:pt x="61" y="119"/>
                    <a:pt x="66" y="131"/>
                    <a:pt x="75" y="140"/>
                  </a:cubicBezTo>
                  <a:cubicBezTo>
                    <a:pt x="84" y="149"/>
                    <a:pt x="103" y="159"/>
                    <a:pt x="132" y="171"/>
                  </a:cubicBezTo>
                  <a:cubicBezTo>
                    <a:pt x="167" y="186"/>
                    <a:pt x="192" y="202"/>
                    <a:pt x="206" y="218"/>
                  </a:cubicBezTo>
                  <a:cubicBezTo>
                    <a:pt x="220" y="235"/>
                    <a:pt x="227" y="255"/>
                    <a:pt x="227" y="28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83" name="Freeform 32"/>
            <p:cNvSpPr>
              <a:spLocks noEditPoints="1"/>
            </p:cNvSpPr>
            <p:nvPr/>
          </p:nvSpPr>
          <p:spPr bwMode="auto">
            <a:xfrm>
              <a:off x="2960" y="18771"/>
              <a:ext cx="863" cy="922"/>
            </a:xfrm>
            <a:custGeom>
              <a:avLst/>
              <a:gdLst>
                <a:gd name="T0" fmla="*/ 365 w 365"/>
                <a:gd name="T1" fmla="*/ 193 h 388"/>
                <a:gd name="T2" fmla="*/ 315 w 365"/>
                <a:gd name="T3" fmla="*/ 335 h 388"/>
                <a:gd name="T4" fmla="*/ 180 w 365"/>
                <a:gd name="T5" fmla="*/ 388 h 388"/>
                <a:gd name="T6" fmla="*/ 49 w 365"/>
                <a:gd name="T7" fmla="*/ 336 h 388"/>
                <a:gd name="T8" fmla="*/ 0 w 365"/>
                <a:gd name="T9" fmla="*/ 198 h 388"/>
                <a:gd name="T10" fmla="*/ 51 w 365"/>
                <a:gd name="T11" fmla="*/ 53 h 388"/>
                <a:gd name="T12" fmla="*/ 189 w 365"/>
                <a:gd name="T13" fmla="*/ 0 h 388"/>
                <a:gd name="T14" fmla="*/ 318 w 365"/>
                <a:gd name="T15" fmla="*/ 51 h 388"/>
                <a:gd name="T16" fmla="*/ 365 w 365"/>
                <a:gd name="T17" fmla="*/ 193 h 388"/>
                <a:gd name="T18" fmla="*/ 304 w 365"/>
                <a:gd name="T19" fmla="*/ 195 h 388"/>
                <a:gd name="T20" fmla="*/ 273 w 365"/>
                <a:gd name="T21" fmla="*/ 88 h 388"/>
                <a:gd name="T22" fmla="*/ 185 w 365"/>
                <a:gd name="T23" fmla="*/ 51 h 388"/>
                <a:gd name="T24" fmla="*/ 94 w 365"/>
                <a:gd name="T25" fmla="*/ 89 h 388"/>
                <a:gd name="T26" fmla="*/ 61 w 365"/>
                <a:gd name="T27" fmla="*/ 196 h 388"/>
                <a:gd name="T28" fmla="*/ 95 w 365"/>
                <a:gd name="T29" fmla="*/ 300 h 388"/>
                <a:gd name="T30" fmla="*/ 185 w 365"/>
                <a:gd name="T31" fmla="*/ 338 h 388"/>
                <a:gd name="T32" fmla="*/ 273 w 365"/>
                <a:gd name="T33" fmla="*/ 301 h 388"/>
                <a:gd name="T34" fmla="*/ 304 w 365"/>
                <a:gd name="T35" fmla="*/ 19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5" h="388">
                  <a:moveTo>
                    <a:pt x="365" y="193"/>
                  </a:moveTo>
                  <a:cubicBezTo>
                    <a:pt x="365" y="252"/>
                    <a:pt x="348" y="299"/>
                    <a:pt x="315" y="335"/>
                  </a:cubicBezTo>
                  <a:cubicBezTo>
                    <a:pt x="281" y="370"/>
                    <a:pt x="237" y="388"/>
                    <a:pt x="180" y="388"/>
                  </a:cubicBezTo>
                  <a:cubicBezTo>
                    <a:pt x="126" y="388"/>
                    <a:pt x="82" y="371"/>
                    <a:pt x="49" y="336"/>
                  </a:cubicBezTo>
                  <a:cubicBezTo>
                    <a:pt x="17" y="301"/>
                    <a:pt x="0" y="255"/>
                    <a:pt x="0" y="198"/>
                  </a:cubicBezTo>
                  <a:cubicBezTo>
                    <a:pt x="0" y="137"/>
                    <a:pt x="17" y="89"/>
                    <a:pt x="51" y="53"/>
                  </a:cubicBezTo>
                  <a:cubicBezTo>
                    <a:pt x="84" y="18"/>
                    <a:pt x="130" y="0"/>
                    <a:pt x="189" y="0"/>
                  </a:cubicBezTo>
                  <a:cubicBezTo>
                    <a:pt x="244" y="0"/>
                    <a:pt x="287" y="17"/>
                    <a:pt x="318" y="51"/>
                  </a:cubicBezTo>
                  <a:cubicBezTo>
                    <a:pt x="349" y="86"/>
                    <a:pt x="365" y="133"/>
                    <a:pt x="365" y="193"/>
                  </a:cubicBezTo>
                  <a:close/>
                  <a:moveTo>
                    <a:pt x="304" y="195"/>
                  </a:moveTo>
                  <a:cubicBezTo>
                    <a:pt x="304" y="148"/>
                    <a:pt x="294" y="113"/>
                    <a:pt x="273" y="88"/>
                  </a:cubicBezTo>
                  <a:cubicBezTo>
                    <a:pt x="253" y="63"/>
                    <a:pt x="223" y="51"/>
                    <a:pt x="185" y="51"/>
                  </a:cubicBezTo>
                  <a:cubicBezTo>
                    <a:pt x="147" y="51"/>
                    <a:pt x="117" y="63"/>
                    <a:pt x="94" y="89"/>
                  </a:cubicBezTo>
                  <a:cubicBezTo>
                    <a:pt x="72" y="114"/>
                    <a:pt x="61" y="150"/>
                    <a:pt x="61" y="196"/>
                  </a:cubicBezTo>
                  <a:cubicBezTo>
                    <a:pt x="61" y="241"/>
                    <a:pt x="72" y="275"/>
                    <a:pt x="95" y="300"/>
                  </a:cubicBezTo>
                  <a:cubicBezTo>
                    <a:pt x="117" y="325"/>
                    <a:pt x="147" y="338"/>
                    <a:pt x="185" y="338"/>
                  </a:cubicBezTo>
                  <a:cubicBezTo>
                    <a:pt x="223" y="338"/>
                    <a:pt x="253" y="325"/>
                    <a:pt x="273" y="301"/>
                  </a:cubicBezTo>
                  <a:cubicBezTo>
                    <a:pt x="294" y="276"/>
                    <a:pt x="304" y="241"/>
                    <a:pt x="304" y="1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84" name="Freeform 33"/>
            <p:cNvSpPr>
              <a:spLocks/>
            </p:cNvSpPr>
            <p:nvPr/>
          </p:nvSpPr>
          <p:spPr bwMode="auto">
            <a:xfrm>
              <a:off x="3856" y="18351"/>
              <a:ext cx="529" cy="1321"/>
            </a:xfrm>
            <a:custGeom>
              <a:avLst/>
              <a:gdLst>
                <a:gd name="T0" fmla="*/ 224 w 224"/>
                <a:gd name="T1" fmla="*/ 60 h 556"/>
                <a:gd name="T2" fmla="*/ 184 w 224"/>
                <a:gd name="T3" fmla="*/ 50 h 556"/>
                <a:gd name="T4" fmla="*/ 122 w 224"/>
                <a:gd name="T5" fmla="*/ 129 h 556"/>
                <a:gd name="T6" fmla="*/ 122 w 224"/>
                <a:gd name="T7" fmla="*/ 186 h 556"/>
                <a:gd name="T8" fmla="*/ 209 w 224"/>
                <a:gd name="T9" fmla="*/ 186 h 556"/>
                <a:gd name="T10" fmla="*/ 209 w 224"/>
                <a:gd name="T11" fmla="*/ 236 h 556"/>
                <a:gd name="T12" fmla="*/ 122 w 224"/>
                <a:gd name="T13" fmla="*/ 236 h 556"/>
                <a:gd name="T14" fmla="*/ 122 w 224"/>
                <a:gd name="T15" fmla="*/ 556 h 556"/>
                <a:gd name="T16" fmla="*/ 63 w 224"/>
                <a:gd name="T17" fmla="*/ 556 h 556"/>
                <a:gd name="T18" fmla="*/ 63 w 224"/>
                <a:gd name="T19" fmla="*/ 236 h 556"/>
                <a:gd name="T20" fmla="*/ 0 w 224"/>
                <a:gd name="T21" fmla="*/ 236 h 556"/>
                <a:gd name="T22" fmla="*/ 0 w 224"/>
                <a:gd name="T23" fmla="*/ 186 h 556"/>
                <a:gd name="T24" fmla="*/ 63 w 224"/>
                <a:gd name="T25" fmla="*/ 186 h 556"/>
                <a:gd name="T26" fmla="*/ 63 w 224"/>
                <a:gd name="T27" fmla="*/ 126 h 556"/>
                <a:gd name="T28" fmla="*/ 96 w 224"/>
                <a:gd name="T29" fmla="*/ 35 h 556"/>
                <a:gd name="T30" fmla="*/ 181 w 224"/>
                <a:gd name="T31" fmla="*/ 0 h 556"/>
                <a:gd name="T32" fmla="*/ 224 w 224"/>
                <a:gd name="T33" fmla="*/ 7 h 556"/>
                <a:gd name="T34" fmla="*/ 224 w 224"/>
                <a:gd name="T35" fmla="*/ 60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556">
                  <a:moveTo>
                    <a:pt x="224" y="60"/>
                  </a:moveTo>
                  <a:cubicBezTo>
                    <a:pt x="212" y="54"/>
                    <a:pt x="199" y="50"/>
                    <a:pt x="184" y="50"/>
                  </a:cubicBezTo>
                  <a:cubicBezTo>
                    <a:pt x="143" y="50"/>
                    <a:pt x="122" y="77"/>
                    <a:pt x="122" y="129"/>
                  </a:cubicBezTo>
                  <a:cubicBezTo>
                    <a:pt x="122" y="186"/>
                    <a:pt x="122" y="186"/>
                    <a:pt x="122" y="186"/>
                  </a:cubicBezTo>
                  <a:cubicBezTo>
                    <a:pt x="209" y="186"/>
                    <a:pt x="209" y="186"/>
                    <a:pt x="209" y="186"/>
                  </a:cubicBezTo>
                  <a:cubicBezTo>
                    <a:pt x="209" y="236"/>
                    <a:pt x="209" y="236"/>
                    <a:pt x="209" y="236"/>
                  </a:cubicBezTo>
                  <a:cubicBezTo>
                    <a:pt x="122" y="236"/>
                    <a:pt x="122" y="236"/>
                    <a:pt x="122" y="236"/>
                  </a:cubicBezTo>
                  <a:cubicBezTo>
                    <a:pt x="122" y="556"/>
                    <a:pt x="122" y="556"/>
                    <a:pt x="122" y="556"/>
                  </a:cubicBezTo>
                  <a:cubicBezTo>
                    <a:pt x="63" y="556"/>
                    <a:pt x="63" y="556"/>
                    <a:pt x="63" y="556"/>
                  </a:cubicBezTo>
                  <a:cubicBezTo>
                    <a:pt x="63" y="236"/>
                    <a:pt x="63" y="236"/>
                    <a:pt x="63" y="236"/>
                  </a:cubicBezTo>
                  <a:cubicBezTo>
                    <a:pt x="0" y="236"/>
                    <a:pt x="0" y="236"/>
                    <a:pt x="0" y="236"/>
                  </a:cubicBezTo>
                  <a:cubicBezTo>
                    <a:pt x="0" y="186"/>
                    <a:pt x="0" y="186"/>
                    <a:pt x="0" y="186"/>
                  </a:cubicBezTo>
                  <a:cubicBezTo>
                    <a:pt x="63" y="186"/>
                    <a:pt x="63" y="186"/>
                    <a:pt x="63" y="186"/>
                  </a:cubicBezTo>
                  <a:cubicBezTo>
                    <a:pt x="63" y="126"/>
                    <a:pt x="63" y="126"/>
                    <a:pt x="63" y="126"/>
                  </a:cubicBezTo>
                  <a:cubicBezTo>
                    <a:pt x="63" y="88"/>
                    <a:pt x="74" y="58"/>
                    <a:pt x="96" y="35"/>
                  </a:cubicBezTo>
                  <a:cubicBezTo>
                    <a:pt x="118" y="12"/>
                    <a:pt x="146" y="0"/>
                    <a:pt x="181" y="0"/>
                  </a:cubicBezTo>
                  <a:cubicBezTo>
                    <a:pt x="199" y="0"/>
                    <a:pt x="213" y="2"/>
                    <a:pt x="224" y="7"/>
                  </a:cubicBezTo>
                  <a:lnTo>
                    <a:pt x="224" y="6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85" name="Freeform 34"/>
            <p:cNvSpPr>
              <a:spLocks/>
            </p:cNvSpPr>
            <p:nvPr/>
          </p:nvSpPr>
          <p:spPr bwMode="auto">
            <a:xfrm>
              <a:off x="4338" y="18531"/>
              <a:ext cx="513" cy="1162"/>
            </a:xfrm>
            <a:custGeom>
              <a:avLst/>
              <a:gdLst>
                <a:gd name="T0" fmla="*/ 217 w 217"/>
                <a:gd name="T1" fmla="*/ 477 h 489"/>
                <a:gd name="T2" fmla="*/ 161 w 217"/>
                <a:gd name="T3" fmla="*/ 489 h 489"/>
                <a:gd name="T4" fmla="*/ 64 w 217"/>
                <a:gd name="T5" fmla="*/ 379 h 489"/>
                <a:gd name="T6" fmla="*/ 64 w 217"/>
                <a:gd name="T7" fmla="*/ 160 h 489"/>
                <a:gd name="T8" fmla="*/ 0 w 217"/>
                <a:gd name="T9" fmla="*/ 160 h 489"/>
                <a:gd name="T10" fmla="*/ 0 w 217"/>
                <a:gd name="T11" fmla="*/ 110 h 489"/>
                <a:gd name="T12" fmla="*/ 64 w 217"/>
                <a:gd name="T13" fmla="*/ 110 h 489"/>
                <a:gd name="T14" fmla="*/ 64 w 217"/>
                <a:gd name="T15" fmla="*/ 20 h 489"/>
                <a:gd name="T16" fmla="*/ 123 w 217"/>
                <a:gd name="T17" fmla="*/ 0 h 489"/>
                <a:gd name="T18" fmla="*/ 123 w 217"/>
                <a:gd name="T19" fmla="*/ 110 h 489"/>
                <a:gd name="T20" fmla="*/ 217 w 217"/>
                <a:gd name="T21" fmla="*/ 110 h 489"/>
                <a:gd name="T22" fmla="*/ 217 w 217"/>
                <a:gd name="T23" fmla="*/ 160 h 489"/>
                <a:gd name="T24" fmla="*/ 123 w 217"/>
                <a:gd name="T25" fmla="*/ 160 h 489"/>
                <a:gd name="T26" fmla="*/ 123 w 217"/>
                <a:gd name="T27" fmla="*/ 369 h 489"/>
                <a:gd name="T28" fmla="*/ 136 w 217"/>
                <a:gd name="T29" fmla="*/ 422 h 489"/>
                <a:gd name="T30" fmla="*/ 178 w 217"/>
                <a:gd name="T31" fmla="*/ 438 h 489"/>
                <a:gd name="T32" fmla="*/ 217 w 217"/>
                <a:gd name="T33" fmla="*/ 426 h 489"/>
                <a:gd name="T34" fmla="*/ 217 w 217"/>
                <a:gd name="T35" fmla="*/ 477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489">
                  <a:moveTo>
                    <a:pt x="217" y="477"/>
                  </a:moveTo>
                  <a:cubicBezTo>
                    <a:pt x="203" y="485"/>
                    <a:pt x="184" y="489"/>
                    <a:pt x="161" y="489"/>
                  </a:cubicBezTo>
                  <a:cubicBezTo>
                    <a:pt x="96" y="489"/>
                    <a:pt x="64" y="452"/>
                    <a:pt x="64" y="379"/>
                  </a:cubicBezTo>
                  <a:cubicBezTo>
                    <a:pt x="64" y="160"/>
                    <a:pt x="64" y="160"/>
                    <a:pt x="64" y="160"/>
                  </a:cubicBezTo>
                  <a:cubicBezTo>
                    <a:pt x="0" y="160"/>
                    <a:pt x="0" y="160"/>
                    <a:pt x="0" y="160"/>
                  </a:cubicBezTo>
                  <a:cubicBezTo>
                    <a:pt x="0" y="110"/>
                    <a:pt x="0" y="110"/>
                    <a:pt x="0" y="110"/>
                  </a:cubicBezTo>
                  <a:cubicBezTo>
                    <a:pt x="64" y="110"/>
                    <a:pt x="64" y="110"/>
                    <a:pt x="64" y="110"/>
                  </a:cubicBezTo>
                  <a:cubicBezTo>
                    <a:pt x="64" y="20"/>
                    <a:pt x="64" y="20"/>
                    <a:pt x="64" y="20"/>
                  </a:cubicBezTo>
                  <a:cubicBezTo>
                    <a:pt x="123" y="0"/>
                    <a:pt x="123" y="0"/>
                    <a:pt x="123" y="0"/>
                  </a:cubicBezTo>
                  <a:cubicBezTo>
                    <a:pt x="123" y="110"/>
                    <a:pt x="123" y="110"/>
                    <a:pt x="123" y="110"/>
                  </a:cubicBezTo>
                  <a:cubicBezTo>
                    <a:pt x="217" y="110"/>
                    <a:pt x="217" y="110"/>
                    <a:pt x="217" y="110"/>
                  </a:cubicBezTo>
                  <a:cubicBezTo>
                    <a:pt x="217" y="160"/>
                    <a:pt x="217" y="160"/>
                    <a:pt x="217" y="160"/>
                  </a:cubicBezTo>
                  <a:cubicBezTo>
                    <a:pt x="123" y="160"/>
                    <a:pt x="123" y="160"/>
                    <a:pt x="123" y="160"/>
                  </a:cubicBezTo>
                  <a:cubicBezTo>
                    <a:pt x="123" y="369"/>
                    <a:pt x="123" y="369"/>
                    <a:pt x="123" y="369"/>
                  </a:cubicBezTo>
                  <a:cubicBezTo>
                    <a:pt x="123" y="394"/>
                    <a:pt x="128" y="412"/>
                    <a:pt x="136" y="422"/>
                  </a:cubicBezTo>
                  <a:cubicBezTo>
                    <a:pt x="145" y="433"/>
                    <a:pt x="159" y="438"/>
                    <a:pt x="178" y="438"/>
                  </a:cubicBezTo>
                  <a:cubicBezTo>
                    <a:pt x="193" y="438"/>
                    <a:pt x="206" y="434"/>
                    <a:pt x="217" y="426"/>
                  </a:cubicBezTo>
                  <a:lnTo>
                    <a:pt x="217" y="47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86" name="Freeform 35"/>
            <p:cNvSpPr>
              <a:spLocks noEditPoints="1"/>
            </p:cNvSpPr>
            <p:nvPr/>
          </p:nvSpPr>
          <p:spPr bwMode="auto">
            <a:xfrm>
              <a:off x="5212" y="18441"/>
              <a:ext cx="1090" cy="1231"/>
            </a:xfrm>
            <a:custGeom>
              <a:avLst/>
              <a:gdLst>
                <a:gd name="T0" fmla="*/ 1090 w 1090"/>
                <a:gd name="T1" fmla="*/ 1231 h 1231"/>
                <a:gd name="T2" fmla="*/ 932 w 1090"/>
                <a:gd name="T3" fmla="*/ 1231 h 1231"/>
                <a:gd name="T4" fmla="*/ 802 w 1090"/>
                <a:gd name="T5" fmla="*/ 886 h 1231"/>
                <a:gd name="T6" fmla="*/ 282 w 1090"/>
                <a:gd name="T7" fmla="*/ 886 h 1231"/>
                <a:gd name="T8" fmla="*/ 159 w 1090"/>
                <a:gd name="T9" fmla="*/ 1231 h 1231"/>
                <a:gd name="T10" fmla="*/ 0 w 1090"/>
                <a:gd name="T11" fmla="*/ 1231 h 1231"/>
                <a:gd name="T12" fmla="*/ 468 w 1090"/>
                <a:gd name="T13" fmla="*/ 0 h 1231"/>
                <a:gd name="T14" fmla="*/ 617 w 1090"/>
                <a:gd name="T15" fmla="*/ 0 h 1231"/>
                <a:gd name="T16" fmla="*/ 1090 w 1090"/>
                <a:gd name="T17" fmla="*/ 1231 h 1231"/>
                <a:gd name="T18" fmla="*/ 754 w 1090"/>
                <a:gd name="T19" fmla="*/ 755 h 1231"/>
                <a:gd name="T20" fmla="*/ 542 w 1090"/>
                <a:gd name="T21" fmla="*/ 180 h 1231"/>
                <a:gd name="T22" fmla="*/ 539 w 1090"/>
                <a:gd name="T23" fmla="*/ 180 h 1231"/>
                <a:gd name="T24" fmla="*/ 329 w 1090"/>
                <a:gd name="T25" fmla="*/ 755 h 1231"/>
                <a:gd name="T26" fmla="*/ 754 w 1090"/>
                <a:gd name="T27" fmla="*/ 755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90" h="1231">
                  <a:moveTo>
                    <a:pt x="1090" y="1231"/>
                  </a:moveTo>
                  <a:lnTo>
                    <a:pt x="932" y="1231"/>
                  </a:lnTo>
                  <a:lnTo>
                    <a:pt x="802" y="886"/>
                  </a:lnTo>
                  <a:lnTo>
                    <a:pt x="282" y="886"/>
                  </a:lnTo>
                  <a:lnTo>
                    <a:pt x="159" y="1231"/>
                  </a:lnTo>
                  <a:lnTo>
                    <a:pt x="0" y="1231"/>
                  </a:lnTo>
                  <a:lnTo>
                    <a:pt x="468" y="0"/>
                  </a:lnTo>
                  <a:lnTo>
                    <a:pt x="617" y="0"/>
                  </a:lnTo>
                  <a:lnTo>
                    <a:pt x="1090" y="1231"/>
                  </a:lnTo>
                  <a:close/>
                  <a:moveTo>
                    <a:pt x="754" y="755"/>
                  </a:moveTo>
                  <a:lnTo>
                    <a:pt x="542" y="180"/>
                  </a:lnTo>
                  <a:lnTo>
                    <a:pt x="539" y="180"/>
                  </a:lnTo>
                  <a:lnTo>
                    <a:pt x="329" y="755"/>
                  </a:lnTo>
                  <a:lnTo>
                    <a:pt x="754" y="75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87" name="Freeform 36"/>
            <p:cNvSpPr>
              <a:spLocks/>
            </p:cNvSpPr>
            <p:nvPr/>
          </p:nvSpPr>
          <p:spPr bwMode="auto">
            <a:xfrm>
              <a:off x="6363" y="18793"/>
              <a:ext cx="726" cy="879"/>
            </a:xfrm>
            <a:custGeom>
              <a:avLst/>
              <a:gdLst>
                <a:gd name="T0" fmla="*/ 726 w 726"/>
                <a:gd name="T1" fmla="*/ 40 h 879"/>
                <a:gd name="T2" fmla="*/ 206 w 726"/>
                <a:gd name="T3" fmla="*/ 760 h 879"/>
                <a:gd name="T4" fmla="*/ 719 w 726"/>
                <a:gd name="T5" fmla="*/ 760 h 879"/>
                <a:gd name="T6" fmla="*/ 719 w 726"/>
                <a:gd name="T7" fmla="*/ 879 h 879"/>
                <a:gd name="T8" fmla="*/ 0 w 726"/>
                <a:gd name="T9" fmla="*/ 879 h 879"/>
                <a:gd name="T10" fmla="*/ 0 w 726"/>
                <a:gd name="T11" fmla="*/ 836 h 879"/>
                <a:gd name="T12" fmla="*/ 518 w 726"/>
                <a:gd name="T13" fmla="*/ 118 h 879"/>
                <a:gd name="T14" fmla="*/ 50 w 726"/>
                <a:gd name="T15" fmla="*/ 118 h 879"/>
                <a:gd name="T16" fmla="*/ 50 w 726"/>
                <a:gd name="T17" fmla="*/ 0 h 879"/>
                <a:gd name="T18" fmla="*/ 726 w 726"/>
                <a:gd name="T19" fmla="*/ 0 h 879"/>
                <a:gd name="T20" fmla="*/ 726 w 726"/>
                <a:gd name="T21" fmla="*/ 40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6" h="879">
                  <a:moveTo>
                    <a:pt x="726" y="40"/>
                  </a:moveTo>
                  <a:lnTo>
                    <a:pt x="206" y="760"/>
                  </a:lnTo>
                  <a:lnTo>
                    <a:pt x="719" y="760"/>
                  </a:lnTo>
                  <a:lnTo>
                    <a:pt x="719" y="879"/>
                  </a:lnTo>
                  <a:lnTo>
                    <a:pt x="0" y="879"/>
                  </a:lnTo>
                  <a:lnTo>
                    <a:pt x="0" y="836"/>
                  </a:lnTo>
                  <a:lnTo>
                    <a:pt x="518" y="118"/>
                  </a:lnTo>
                  <a:lnTo>
                    <a:pt x="50" y="118"/>
                  </a:lnTo>
                  <a:lnTo>
                    <a:pt x="50" y="0"/>
                  </a:lnTo>
                  <a:lnTo>
                    <a:pt x="726" y="0"/>
                  </a:lnTo>
                  <a:lnTo>
                    <a:pt x="726"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88" name="Freeform 37"/>
            <p:cNvSpPr>
              <a:spLocks/>
            </p:cNvSpPr>
            <p:nvPr/>
          </p:nvSpPr>
          <p:spPr bwMode="auto">
            <a:xfrm>
              <a:off x="7193" y="18793"/>
              <a:ext cx="728" cy="900"/>
            </a:xfrm>
            <a:custGeom>
              <a:avLst/>
              <a:gdLst>
                <a:gd name="T0" fmla="*/ 308 w 308"/>
                <a:gd name="T1" fmla="*/ 370 h 379"/>
                <a:gd name="T2" fmla="*/ 248 w 308"/>
                <a:gd name="T3" fmla="*/ 370 h 379"/>
                <a:gd name="T4" fmla="*/ 248 w 308"/>
                <a:gd name="T5" fmla="*/ 312 h 379"/>
                <a:gd name="T6" fmla="*/ 247 w 308"/>
                <a:gd name="T7" fmla="*/ 312 h 379"/>
                <a:gd name="T8" fmla="*/ 133 w 308"/>
                <a:gd name="T9" fmla="*/ 379 h 379"/>
                <a:gd name="T10" fmla="*/ 0 w 308"/>
                <a:gd name="T11" fmla="*/ 221 h 379"/>
                <a:gd name="T12" fmla="*/ 0 w 308"/>
                <a:gd name="T13" fmla="*/ 0 h 379"/>
                <a:gd name="T14" fmla="*/ 60 w 308"/>
                <a:gd name="T15" fmla="*/ 0 h 379"/>
                <a:gd name="T16" fmla="*/ 60 w 308"/>
                <a:gd name="T17" fmla="*/ 212 h 379"/>
                <a:gd name="T18" fmla="*/ 149 w 308"/>
                <a:gd name="T19" fmla="*/ 329 h 379"/>
                <a:gd name="T20" fmla="*/ 221 w 308"/>
                <a:gd name="T21" fmla="*/ 297 h 379"/>
                <a:gd name="T22" fmla="*/ 248 w 308"/>
                <a:gd name="T23" fmla="*/ 213 h 379"/>
                <a:gd name="T24" fmla="*/ 248 w 308"/>
                <a:gd name="T25" fmla="*/ 0 h 379"/>
                <a:gd name="T26" fmla="*/ 308 w 308"/>
                <a:gd name="T27" fmla="*/ 0 h 379"/>
                <a:gd name="T28" fmla="*/ 308 w 308"/>
                <a:gd name="T29" fmla="*/ 370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8" h="379">
                  <a:moveTo>
                    <a:pt x="308" y="370"/>
                  </a:moveTo>
                  <a:cubicBezTo>
                    <a:pt x="248" y="370"/>
                    <a:pt x="248" y="370"/>
                    <a:pt x="248" y="370"/>
                  </a:cubicBezTo>
                  <a:cubicBezTo>
                    <a:pt x="248" y="312"/>
                    <a:pt x="248" y="312"/>
                    <a:pt x="248" y="312"/>
                  </a:cubicBezTo>
                  <a:cubicBezTo>
                    <a:pt x="247" y="312"/>
                    <a:pt x="247" y="312"/>
                    <a:pt x="247" y="312"/>
                  </a:cubicBezTo>
                  <a:cubicBezTo>
                    <a:pt x="222" y="357"/>
                    <a:pt x="184" y="379"/>
                    <a:pt x="133" y="379"/>
                  </a:cubicBezTo>
                  <a:cubicBezTo>
                    <a:pt x="45" y="379"/>
                    <a:pt x="0" y="327"/>
                    <a:pt x="0" y="221"/>
                  </a:cubicBezTo>
                  <a:cubicBezTo>
                    <a:pt x="0" y="0"/>
                    <a:pt x="0" y="0"/>
                    <a:pt x="0" y="0"/>
                  </a:cubicBezTo>
                  <a:cubicBezTo>
                    <a:pt x="60" y="0"/>
                    <a:pt x="60" y="0"/>
                    <a:pt x="60" y="0"/>
                  </a:cubicBezTo>
                  <a:cubicBezTo>
                    <a:pt x="60" y="212"/>
                    <a:pt x="60" y="212"/>
                    <a:pt x="60" y="212"/>
                  </a:cubicBezTo>
                  <a:cubicBezTo>
                    <a:pt x="60" y="290"/>
                    <a:pt x="90" y="329"/>
                    <a:pt x="149" y="329"/>
                  </a:cubicBezTo>
                  <a:cubicBezTo>
                    <a:pt x="179" y="329"/>
                    <a:pt x="203" y="318"/>
                    <a:pt x="221" y="297"/>
                  </a:cubicBezTo>
                  <a:cubicBezTo>
                    <a:pt x="239" y="275"/>
                    <a:pt x="248" y="248"/>
                    <a:pt x="248" y="213"/>
                  </a:cubicBezTo>
                  <a:cubicBezTo>
                    <a:pt x="248" y="0"/>
                    <a:pt x="248" y="0"/>
                    <a:pt x="248" y="0"/>
                  </a:cubicBezTo>
                  <a:cubicBezTo>
                    <a:pt x="308" y="0"/>
                    <a:pt x="308" y="0"/>
                    <a:pt x="308" y="0"/>
                  </a:cubicBezTo>
                  <a:lnTo>
                    <a:pt x="308" y="37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89" name="Freeform 38"/>
            <p:cNvSpPr>
              <a:spLocks/>
            </p:cNvSpPr>
            <p:nvPr/>
          </p:nvSpPr>
          <p:spPr bwMode="auto">
            <a:xfrm>
              <a:off x="8148" y="18776"/>
              <a:ext cx="456" cy="896"/>
            </a:xfrm>
            <a:custGeom>
              <a:avLst/>
              <a:gdLst>
                <a:gd name="T0" fmla="*/ 193 w 193"/>
                <a:gd name="T1" fmla="*/ 67 h 377"/>
                <a:gd name="T2" fmla="*/ 148 w 193"/>
                <a:gd name="T3" fmla="*/ 55 h 377"/>
                <a:gd name="T4" fmla="*/ 84 w 193"/>
                <a:gd name="T5" fmla="*/ 92 h 377"/>
                <a:gd name="T6" fmla="*/ 60 w 193"/>
                <a:gd name="T7" fmla="*/ 189 h 377"/>
                <a:gd name="T8" fmla="*/ 60 w 193"/>
                <a:gd name="T9" fmla="*/ 377 h 377"/>
                <a:gd name="T10" fmla="*/ 0 w 193"/>
                <a:gd name="T11" fmla="*/ 377 h 377"/>
                <a:gd name="T12" fmla="*/ 0 w 193"/>
                <a:gd name="T13" fmla="*/ 7 h 377"/>
                <a:gd name="T14" fmla="*/ 60 w 193"/>
                <a:gd name="T15" fmla="*/ 7 h 377"/>
                <a:gd name="T16" fmla="*/ 60 w 193"/>
                <a:gd name="T17" fmla="*/ 83 h 377"/>
                <a:gd name="T18" fmla="*/ 61 w 193"/>
                <a:gd name="T19" fmla="*/ 83 h 377"/>
                <a:gd name="T20" fmla="*/ 99 w 193"/>
                <a:gd name="T21" fmla="*/ 23 h 377"/>
                <a:gd name="T22" fmla="*/ 158 w 193"/>
                <a:gd name="T23" fmla="*/ 0 h 377"/>
                <a:gd name="T24" fmla="*/ 193 w 193"/>
                <a:gd name="T25" fmla="*/ 6 h 377"/>
                <a:gd name="T26" fmla="*/ 193 w 193"/>
                <a:gd name="T27" fmla="*/ 67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377">
                  <a:moveTo>
                    <a:pt x="193" y="67"/>
                  </a:moveTo>
                  <a:cubicBezTo>
                    <a:pt x="183" y="59"/>
                    <a:pt x="168" y="55"/>
                    <a:pt x="148" y="55"/>
                  </a:cubicBezTo>
                  <a:cubicBezTo>
                    <a:pt x="122" y="55"/>
                    <a:pt x="101" y="67"/>
                    <a:pt x="84" y="92"/>
                  </a:cubicBezTo>
                  <a:cubicBezTo>
                    <a:pt x="68" y="117"/>
                    <a:pt x="60" y="149"/>
                    <a:pt x="60" y="189"/>
                  </a:cubicBezTo>
                  <a:cubicBezTo>
                    <a:pt x="60" y="377"/>
                    <a:pt x="60" y="377"/>
                    <a:pt x="60" y="377"/>
                  </a:cubicBezTo>
                  <a:cubicBezTo>
                    <a:pt x="0" y="377"/>
                    <a:pt x="0" y="377"/>
                    <a:pt x="0" y="377"/>
                  </a:cubicBezTo>
                  <a:cubicBezTo>
                    <a:pt x="0" y="7"/>
                    <a:pt x="0" y="7"/>
                    <a:pt x="0" y="7"/>
                  </a:cubicBezTo>
                  <a:cubicBezTo>
                    <a:pt x="60" y="7"/>
                    <a:pt x="60" y="7"/>
                    <a:pt x="60" y="7"/>
                  </a:cubicBezTo>
                  <a:cubicBezTo>
                    <a:pt x="60" y="83"/>
                    <a:pt x="60" y="83"/>
                    <a:pt x="60" y="83"/>
                  </a:cubicBezTo>
                  <a:cubicBezTo>
                    <a:pt x="61" y="83"/>
                    <a:pt x="61" y="83"/>
                    <a:pt x="61" y="83"/>
                  </a:cubicBezTo>
                  <a:cubicBezTo>
                    <a:pt x="69" y="58"/>
                    <a:pt x="82" y="38"/>
                    <a:pt x="99" y="23"/>
                  </a:cubicBezTo>
                  <a:cubicBezTo>
                    <a:pt x="116" y="8"/>
                    <a:pt x="136" y="0"/>
                    <a:pt x="158" y="0"/>
                  </a:cubicBezTo>
                  <a:cubicBezTo>
                    <a:pt x="173" y="0"/>
                    <a:pt x="185" y="2"/>
                    <a:pt x="193" y="6"/>
                  </a:cubicBezTo>
                  <a:lnTo>
                    <a:pt x="193" y="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90" name="Freeform 39"/>
            <p:cNvSpPr>
              <a:spLocks noEditPoints="1"/>
            </p:cNvSpPr>
            <p:nvPr/>
          </p:nvSpPr>
          <p:spPr bwMode="auto">
            <a:xfrm>
              <a:off x="8611" y="18771"/>
              <a:ext cx="764" cy="922"/>
            </a:xfrm>
            <a:custGeom>
              <a:avLst/>
              <a:gdLst>
                <a:gd name="T0" fmla="*/ 323 w 323"/>
                <a:gd name="T1" fmla="*/ 209 h 388"/>
                <a:gd name="T2" fmla="*/ 62 w 323"/>
                <a:gd name="T3" fmla="*/ 209 h 388"/>
                <a:gd name="T4" fmla="*/ 95 w 323"/>
                <a:gd name="T5" fmla="*/ 305 h 388"/>
                <a:gd name="T6" fmla="*/ 183 w 323"/>
                <a:gd name="T7" fmla="*/ 338 h 388"/>
                <a:gd name="T8" fmla="*/ 297 w 323"/>
                <a:gd name="T9" fmla="*/ 297 h 388"/>
                <a:gd name="T10" fmla="*/ 297 w 323"/>
                <a:gd name="T11" fmla="*/ 353 h 388"/>
                <a:gd name="T12" fmla="*/ 169 w 323"/>
                <a:gd name="T13" fmla="*/ 388 h 388"/>
                <a:gd name="T14" fmla="*/ 45 w 323"/>
                <a:gd name="T15" fmla="*/ 337 h 388"/>
                <a:gd name="T16" fmla="*/ 0 w 323"/>
                <a:gd name="T17" fmla="*/ 196 h 388"/>
                <a:gd name="T18" fmla="*/ 23 w 323"/>
                <a:gd name="T19" fmla="*/ 95 h 388"/>
                <a:gd name="T20" fmla="*/ 84 w 323"/>
                <a:gd name="T21" fmla="*/ 25 h 388"/>
                <a:gd name="T22" fmla="*/ 171 w 323"/>
                <a:gd name="T23" fmla="*/ 0 h 388"/>
                <a:gd name="T24" fmla="*/ 283 w 323"/>
                <a:gd name="T25" fmla="*/ 47 h 388"/>
                <a:gd name="T26" fmla="*/ 323 w 323"/>
                <a:gd name="T27" fmla="*/ 178 h 388"/>
                <a:gd name="T28" fmla="*/ 323 w 323"/>
                <a:gd name="T29" fmla="*/ 209 h 388"/>
                <a:gd name="T30" fmla="*/ 263 w 323"/>
                <a:gd name="T31" fmla="*/ 159 h 388"/>
                <a:gd name="T32" fmla="*/ 238 w 323"/>
                <a:gd name="T33" fmla="*/ 79 h 388"/>
                <a:gd name="T34" fmla="*/ 170 w 323"/>
                <a:gd name="T35" fmla="*/ 51 h 388"/>
                <a:gd name="T36" fmla="*/ 100 w 323"/>
                <a:gd name="T37" fmla="*/ 80 h 388"/>
                <a:gd name="T38" fmla="*/ 63 w 323"/>
                <a:gd name="T39" fmla="*/ 159 h 388"/>
                <a:gd name="T40" fmla="*/ 263 w 323"/>
                <a:gd name="T41" fmla="*/ 159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3" h="388">
                  <a:moveTo>
                    <a:pt x="323" y="209"/>
                  </a:moveTo>
                  <a:cubicBezTo>
                    <a:pt x="62" y="209"/>
                    <a:pt x="62" y="209"/>
                    <a:pt x="62" y="209"/>
                  </a:cubicBezTo>
                  <a:cubicBezTo>
                    <a:pt x="63" y="251"/>
                    <a:pt x="74" y="283"/>
                    <a:pt x="95" y="305"/>
                  </a:cubicBezTo>
                  <a:cubicBezTo>
                    <a:pt x="116" y="327"/>
                    <a:pt x="145" y="338"/>
                    <a:pt x="183" y="338"/>
                  </a:cubicBezTo>
                  <a:cubicBezTo>
                    <a:pt x="225" y="338"/>
                    <a:pt x="263" y="324"/>
                    <a:pt x="297" y="297"/>
                  </a:cubicBezTo>
                  <a:cubicBezTo>
                    <a:pt x="297" y="353"/>
                    <a:pt x="297" y="353"/>
                    <a:pt x="297" y="353"/>
                  </a:cubicBezTo>
                  <a:cubicBezTo>
                    <a:pt x="265" y="376"/>
                    <a:pt x="222" y="388"/>
                    <a:pt x="169" y="388"/>
                  </a:cubicBezTo>
                  <a:cubicBezTo>
                    <a:pt x="116" y="388"/>
                    <a:pt x="75" y="371"/>
                    <a:pt x="45" y="337"/>
                  </a:cubicBezTo>
                  <a:cubicBezTo>
                    <a:pt x="15" y="303"/>
                    <a:pt x="0" y="256"/>
                    <a:pt x="0" y="196"/>
                  </a:cubicBezTo>
                  <a:cubicBezTo>
                    <a:pt x="0" y="159"/>
                    <a:pt x="8" y="125"/>
                    <a:pt x="23" y="95"/>
                  </a:cubicBezTo>
                  <a:cubicBezTo>
                    <a:pt x="38" y="65"/>
                    <a:pt x="58" y="42"/>
                    <a:pt x="84" y="25"/>
                  </a:cubicBezTo>
                  <a:cubicBezTo>
                    <a:pt x="110" y="8"/>
                    <a:pt x="139" y="0"/>
                    <a:pt x="171" y="0"/>
                  </a:cubicBezTo>
                  <a:cubicBezTo>
                    <a:pt x="219" y="0"/>
                    <a:pt x="256" y="16"/>
                    <a:pt x="283" y="47"/>
                  </a:cubicBezTo>
                  <a:cubicBezTo>
                    <a:pt x="310" y="78"/>
                    <a:pt x="323" y="122"/>
                    <a:pt x="323" y="178"/>
                  </a:cubicBezTo>
                  <a:lnTo>
                    <a:pt x="323" y="209"/>
                  </a:lnTo>
                  <a:close/>
                  <a:moveTo>
                    <a:pt x="263" y="159"/>
                  </a:moveTo>
                  <a:cubicBezTo>
                    <a:pt x="262" y="124"/>
                    <a:pt x="254" y="98"/>
                    <a:pt x="238" y="79"/>
                  </a:cubicBezTo>
                  <a:cubicBezTo>
                    <a:pt x="222" y="60"/>
                    <a:pt x="199" y="51"/>
                    <a:pt x="170" y="51"/>
                  </a:cubicBezTo>
                  <a:cubicBezTo>
                    <a:pt x="143" y="51"/>
                    <a:pt x="119" y="60"/>
                    <a:pt x="100" y="80"/>
                  </a:cubicBezTo>
                  <a:cubicBezTo>
                    <a:pt x="80" y="100"/>
                    <a:pt x="68" y="126"/>
                    <a:pt x="63" y="159"/>
                  </a:cubicBezTo>
                  <a:lnTo>
                    <a:pt x="263" y="1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pic>
        <p:nvPicPr>
          <p:cNvPr id="691" name="Picture 690"/>
          <p:cNvPicPr>
            <a:picLocks noChangeAspect="1"/>
          </p:cNvPicPr>
          <p:nvPr/>
        </p:nvPicPr>
        <p:blipFill rotWithShape="1">
          <a:blip r:embed="rId20" cstate="print">
            <a:extLst>
              <a:ext uri="{28A0092B-C50C-407E-A947-70E740481C1C}">
                <a14:useLocalDpi xmlns:a14="http://schemas.microsoft.com/office/drawing/2010/main" val="0"/>
              </a:ext>
            </a:extLst>
          </a:blip>
          <a:srcRect t="44093" r="11119"/>
          <a:stretch/>
        </p:blipFill>
        <p:spPr>
          <a:xfrm>
            <a:off x="8136438" y="4052959"/>
            <a:ext cx="681158" cy="418212"/>
          </a:xfrm>
          <a:prstGeom prst="rect">
            <a:avLst/>
          </a:prstGeom>
        </p:spPr>
      </p:pic>
      <p:grpSp>
        <p:nvGrpSpPr>
          <p:cNvPr id="692" name="Group 691"/>
          <p:cNvGrpSpPr>
            <a:grpSpLocks noChangeAspect="1"/>
          </p:cNvGrpSpPr>
          <p:nvPr/>
        </p:nvGrpSpPr>
        <p:grpSpPr>
          <a:xfrm>
            <a:off x="8329021" y="4652706"/>
            <a:ext cx="393677" cy="555638"/>
            <a:chOff x="1214438" y="4121151"/>
            <a:chExt cx="1558925" cy="2200275"/>
          </a:xfrm>
        </p:grpSpPr>
        <p:sp>
          <p:nvSpPr>
            <p:cNvPr id="693" name="Freeform 5"/>
            <p:cNvSpPr>
              <a:spLocks noEditPoints="1"/>
            </p:cNvSpPr>
            <p:nvPr/>
          </p:nvSpPr>
          <p:spPr bwMode="auto">
            <a:xfrm>
              <a:off x="1214438" y="4121151"/>
              <a:ext cx="1558925" cy="2200275"/>
            </a:xfrm>
            <a:custGeom>
              <a:avLst/>
              <a:gdLst>
                <a:gd name="T0" fmla="*/ 89 w 982"/>
                <a:gd name="T1" fmla="*/ 1274 h 1386"/>
                <a:gd name="T2" fmla="*/ 892 w 982"/>
                <a:gd name="T3" fmla="*/ 1274 h 1386"/>
                <a:gd name="T4" fmla="*/ 0 w 982"/>
                <a:gd name="T5" fmla="*/ 272 h 1386"/>
                <a:gd name="T6" fmla="*/ 790 w 982"/>
                <a:gd name="T7" fmla="*/ 572 h 1386"/>
                <a:gd name="T8" fmla="*/ 787 w 982"/>
                <a:gd name="T9" fmla="*/ 600 h 1386"/>
                <a:gd name="T10" fmla="*/ 490 w 982"/>
                <a:gd name="T11" fmla="*/ 600 h 1386"/>
                <a:gd name="T12" fmla="*/ 328 w 982"/>
                <a:gd name="T13" fmla="*/ 725 h 1386"/>
                <a:gd name="T14" fmla="*/ 491 w 982"/>
                <a:gd name="T15" fmla="*/ 725 h 1386"/>
                <a:gd name="T16" fmla="*/ 776 w 982"/>
                <a:gd name="T17" fmla="*/ 725 h 1386"/>
                <a:gd name="T18" fmla="*/ 744 w 982"/>
                <a:gd name="T19" fmla="*/ 1082 h 1386"/>
                <a:gd name="T20" fmla="*/ 491 w 982"/>
                <a:gd name="T21" fmla="*/ 1173 h 1386"/>
                <a:gd name="T22" fmla="*/ 490 w 982"/>
                <a:gd name="T23" fmla="*/ 1173 h 1386"/>
                <a:gd name="T24" fmla="*/ 221 w 982"/>
                <a:gd name="T25" fmla="*/ 910 h 1386"/>
                <a:gd name="T26" fmla="*/ 344 w 982"/>
                <a:gd name="T27" fmla="*/ 910 h 1386"/>
                <a:gd name="T28" fmla="*/ 490 w 982"/>
                <a:gd name="T29" fmla="*/ 1045 h 1386"/>
                <a:gd name="T30" fmla="*/ 490 w 982"/>
                <a:gd name="T31" fmla="*/ 1045 h 1386"/>
                <a:gd name="T32" fmla="*/ 642 w 982"/>
                <a:gd name="T33" fmla="*/ 849 h 1386"/>
                <a:gd name="T34" fmla="*/ 490 w 982"/>
                <a:gd name="T35" fmla="*/ 849 h 1386"/>
                <a:gd name="T36" fmla="*/ 185 w 982"/>
                <a:gd name="T37" fmla="*/ 510 h 1386"/>
                <a:gd name="T38" fmla="*/ 490 w 982"/>
                <a:gd name="T39" fmla="*/ 477 h 1386"/>
                <a:gd name="T40" fmla="*/ 798 w 982"/>
                <a:gd name="T41" fmla="*/ 477 h 1386"/>
                <a:gd name="T42" fmla="*/ 91 w 982"/>
                <a:gd name="T43" fmla="*/ 0 h 1386"/>
                <a:gd name="T44" fmla="*/ 154 w 982"/>
                <a:gd name="T45" fmla="*/ 61 h 1386"/>
                <a:gd name="T46" fmla="*/ 210 w 982"/>
                <a:gd name="T47" fmla="*/ 0 h 1386"/>
                <a:gd name="T48" fmla="*/ 273 w 982"/>
                <a:gd name="T49" fmla="*/ 186 h 1386"/>
                <a:gd name="T50" fmla="*/ 210 w 982"/>
                <a:gd name="T51" fmla="*/ 124 h 1386"/>
                <a:gd name="T52" fmla="*/ 154 w 982"/>
                <a:gd name="T53" fmla="*/ 186 h 1386"/>
                <a:gd name="T54" fmla="*/ 91 w 982"/>
                <a:gd name="T55" fmla="*/ 0 h 1386"/>
                <a:gd name="T56" fmla="*/ 355 w 982"/>
                <a:gd name="T57" fmla="*/ 61 h 1386"/>
                <a:gd name="T58" fmla="*/ 300 w 982"/>
                <a:gd name="T59" fmla="*/ 0 h 1386"/>
                <a:gd name="T60" fmla="*/ 472 w 982"/>
                <a:gd name="T61" fmla="*/ 61 h 1386"/>
                <a:gd name="T62" fmla="*/ 418 w 982"/>
                <a:gd name="T63" fmla="*/ 186 h 1386"/>
                <a:gd name="T64" fmla="*/ 355 w 982"/>
                <a:gd name="T65" fmla="*/ 61 h 1386"/>
                <a:gd name="T66" fmla="*/ 500 w 982"/>
                <a:gd name="T67" fmla="*/ 0 h 1386"/>
                <a:gd name="T68" fmla="*/ 606 w 982"/>
                <a:gd name="T69" fmla="*/ 65 h 1386"/>
                <a:gd name="T70" fmla="*/ 710 w 982"/>
                <a:gd name="T71" fmla="*/ 0 h 1386"/>
                <a:gd name="T72" fmla="*/ 649 w 982"/>
                <a:gd name="T73" fmla="*/ 186 h 1386"/>
                <a:gd name="T74" fmla="*/ 606 w 982"/>
                <a:gd name="T75" fmla="*/ 160 h 1386"/>
                <a:gd name="T76" fmla="*/ 561 w 982"/>
                <a:gd name="T77" fmla="*/ 94 h 1386"/>
                <a:gd name="T78" fmla="*/ 500 w 982"/>
                <a:gd name="T79" fmla="*/ 186 h 1386"/>
                <a:gd name="T80" fmla="*/ 741 w 982"/>
                <a:gd name="T81" fmla="*/ 0 h 1386"/>
                <a:gd name="T82" fmla="*/ 804 w 982"/>
                <a:gd name="T83" fmla="*/ 125 h 1386"/>
                <a:gd name="T84" fmla="*/ 892 w 982"/>
                <a:gd name="T85" fmla="*/ 186 h 1386"/>
                <a:gd name="T86" fmla="*/ 741 w 982"/>
                <a:gd name="T87" fmla="*/ 0 h 1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82" h="1386">
                  <a:moveTo>
                    <a:pt x="0" y="272"/>
                  </a:moveTo>
                  <a:lnTo>
                    <a:pt x="89" y="1274"/>
                  </a:lnTo>
                  <a:lnTo>
                    <a:pt x="490" y="1386"/>
                  </a:lnTo>
                  <a:lnTo>
                    <a:pt x="892" y="1274"/>
                  </a:lnTo>
                  <a:lnTo>
                    <a:pt x="982" y="272"/>
                  </a:lnTo>
                  <a:lnTo>
                    <a:pt x="0" y="272"/>
                  </a:lnTo>
                  <a:close/>
                  <a:moveTo>
                    <a:pt x="795" y="510"/>
                  </a:moveTo>
                  <a:lnTo>
                    <a:pt x="790" y="572"/>
                  </a:lnTo>
                  <a:lnTo>
                    <a:pt x="787" y="600"/>
                  </a:lnTo>
                  <a:lnTo>
                    <a:pt x="787" y="600"/>
                  </a:lnTo>
                  <a:lnTo>
                    <a:pt x="491" y="600"/>
                  </a:lnTo>
                  <a:lnTo>
                    <a:pt x="490" y="600"/>
                  </a:lnTo>
                  <a:lnTo>
                    <a:pt x="317" y="600"/>
                  </a:lnTo>
                  <a:lnTo>
                    <a:pt x="328" y="725"/>
                  </a:lnTo>
                  <a:lnTo>
                    <a:pt x="490" y="725"/>
                  </a:lnTo>
                  <a:lnTo>
                    <a:pt x="491" y="725"/>
                  </a:lnTo>
                  <a:lnTo>
                    <a:pt x="743" y="725"/>
                  </a:lnTo>
                  <a:lnTo>
                    <a:pt x="776" y="725"/>
                  </a:lnTo>
                  <a:lnTo>
                    <a:pt x="773" y="759"/>
                  </a:lnTo>
                  <a:lnTo>
                    <a:pt x="744" y="1082"/>
                  </a:lnTo>
                  <a:lnTo>
                    <a:pt x="742" y="1103"/>
                  </a:lnTo>
                  <a:lnTo>
                    <a:pt x="491" y="1173"/>
                  </a:lnTo>
                  <a:lnTo>
                    <a:pt x="491" y="1173"/>
                  </a:lnTo>
                  <a:lnTo>
                    <a:pt x="490" y="1173"/>
                  </a:lnTo>
                  <a:lnTo>
                    <a:pt x="238" y="1103"/>
                  </a:lnTo>
                  <a:lnTo>
                    <a:pt x="221" y="910"/>
                  </a:lnTo>
                  <a:lnTo>
                    <a:pt x="278" y="910"/>
                  </a:lnTo>
                  <a:lnTo>
                    <a:pt x="344" y="910"/>
                  </a:lnTo>
                  <a:lnTo>
                    <a:pt x="353" y="1008"/>
                  </a:lnTo>
                  <a:lnTo>
                    <a:pt x="490" y="1045"/>
                  </a:lnTo>
                  <a:lnTo>
                    <a:pt x="490" y="1045"/>
                  </a:lnTo>
                  <a:lnTo>
                    <a:pt x="490" y="1045"/>
                  </a:lnTo>
                  <a:lnTo>
                    <a:pt x="627" y="1008"/>
                  </a:lnTo>
                  <a:lnTo>
                    <a:pt x="642" y="849"/>
                  </a:lnTo>
                  <a:lnTo>
                    <a:pt x="491" y="849"/>
                  </a:lnTo>
                  <a:lnTo>
                    <a:pt x="490" y="849"/>
                  </a:lnTo>
                  <a:lnTo>
                    <a:pt x="215" y="849"/>
                  </a:lnTo>
                  <a:lnTo>
                    <a:pt x="185" y="510"/>
                  </a:lnTo>
                  <a:lnTo>
                    <a:pt x="182" y="477"/>
                  </a:lnTo>
                  <a:lnTo>
                    <a:pt x="490" y="477"/>
                  </a:lnTo>
                  <a:lnTo>
                    <a:pt x="491" y="477"/>
                  </a:lnTo>
                  <a:lnTo>
                    <a:pt x="798" y="477"/>
                  </a:lnTo>
                  <a:lnTo>
                    <a:pt x="795" y="510"/>
                  </a:lnTo>
                  <a:close/>
                  <a:moveTo>
                    <a:pt x="91" y="0"/>
                  </a:moveTo>
                  <a:lnTo>
                    <a:pt x="154" y="0"/>
                  </a:lnTo>
                  <a:lnTo>
                    <a:pt x="154" y="61"/>
                  </a:lnTo>
                  <a:lnTo>
                    <a:pt x="210" y="61"/>
                  </a:lnTo>
                  <a:lnTo>
                    <a:pt x="210" y="0"/>
                  </a:lnTo>
                  <a:lnTo>
                    <a:pt x="273" y="0"/>
                  </a:lnTo>
                  <a:lnTo>
                    <a:pt x="273" y="186"/>
                  </a:lnTo>
                  <a:lnTo>
                    <a:pt x="210" y="186"/>
                  </a:lnTo>
                  <a:lnTo>
                    <a:pt x="210" y="124"/>
                  </a:lnTo>
                  <a:lnTo>
                    <a:pt x="154" y="124"/>
                  </a:lnTo>
                  <a:lnTo>
                    <a:pt x="154" y="186"/>
                  </a:lnTo>
                  <a:lnTo>
                    <a:pt x="91" y="186"/>
                  </a:lnTo>
                  <a:lnTo>
                    <a:pt x="91" y="0"/>
                  </a:lnTo>
                  <a:lnTo>
                    <a:pt x="91" y="0"/>
                  </a:lnTo>
                  <a:close/>
                  <a:moveTo>
                    <a:pt x="355" y="61"/>
                  </a:moveTo>
                  <a:lnTo>
                    <a:pt x="300" y="61"/>
                  </a:lnTo>
                  <a:lnTo>
                    <a:pt x="300" y="0"/>
                  </a:lnTo>
                  <a:lnTo>
                    <a:pt x="472" y="0"/>
                  </a:lnTo>
                  <a:lnTo>
                    <a:pt x="472" y="61"/>
                  </a:lnTo>
                  <a:lnTo>
                    <a:pt x="418" y="61"/>
                  </a:lnTo>
                  <a:lnTo>
                    <a:pt x="418" y="186"/>
                  </a:lnTo>
                  <a:lnTo>
                    <a:pt x="355" y="186"/>
                  </a:lnTo>
                  <a:lnTo>
                    <a:pt x="355" y="61"/>
                  </a:lnTo>
                  <a:lnTo>
                    <a:pt x="355" y="61"/>
                  </a:lnTo>
                  <a:close/>
                  <a:moveTo>
                    <a:pt x="500" y="0"/>
                  </a:moveTo>
                  <a:lnTo>
                    <a:pt x="565" y="0"/>
                  </a:lnTo>
                  <a:lnTo>
                    <a:pt x="606" y="65"/>
                  </a:lnTo>
                  <a:lnTo>
                    <a:pt x="645" y="0"/>
                  </a:lnTo>
                  <a:lnTo>
                    <a:pt x="710" y="0"/>
                  </a:lnTo>
                  <a:lnTo>
                    <a:pt x="710" y="186"/>
                  </a:lnTo>
                  <a:lnTo>
                    <a:pt x="649" y="186"/>
                  </a:lnTo>
                  <a:lnTo>
                    <a:pt x="649" y="94"/>
                  </a:lnTo>
                  <a:lnTo>
                    <a:pt x="606" y="160"/>
                  </a:lnTo>
                  <a:lnTo>
                    <a:pt x="604" y="160"/>
                  </a:lnTo>
                  <a:lnTo>
                    <a:pt x="561" y="94"/>
                  </a:lnTo>
                  <a:lnTo>
                    <a:pt x="561" y="186"/>
                  </a:lnTo>
                  <a:lnTo>
                    <a:pt x="500" y="186"/>
                  </a:lnTo>
                  <a:lnTo>
                    <a:pt x="500" y="0"/>
                  </a:lnTo>
                  <a:close/>
                  <a:moveTo>
                    <a:pt x="741" y="0"/>
                  </a:moveTo>
                  <a:lnTo>
                    <a:pt x="804" y="0"/>
                  </a:lnTo>
                  <a:lnTo>
                    <a:pt x="804" y="125"/>
                  </a:lnTo>
                  <a:lnTo>
                    <a:pt x="892" y="125"/>
                  </a:lnTo>
                  <a:lnTo>
                    <a:pt x="892" y="186"/>
                  </a:lnTo>
                  <a:lnTo>
                    <a:pt x="741" y="186"/>
                  </a:lnTo>
                  <a:lnTo>
                    <a:pt x="741" y="0"/>
                  </a:ln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94" name="Freeform 7"/>
            <p:cNvSpPr>
              <a:spLocks/>
            </p:cNvSpPr>
            <p:nvPr/>
          </p:nvSpPr>
          <p:spPr bwMode="auto">
            <a:xfrm>
              <a:off x="1993900" y="4683126"/>
              <a:ext cx="636588" cy="1501775"/>
            </a:xfrm>
            <a:custGeom>
              <a:avLst/>
              <a:gdLst>
                <a:gd name="T0" fmla="*/ 0 w 401"/>
                <a:gd name="T1" fmla="*/ 0 h 946"/>
                <a:gd name="T2" fmla="*/ 0 w 401"/>
                <a:gd name="T3" fmla="*/ 123 h 946"/>
                <a:gd name="T4" fmla="*/ 307 w 401"/>
                <a:gd name="T5" fmla="*/ 123 h 946"/>
                <a:gd name="T6" fmla="*/ 304 w 401"/>
                <a:gd name="T7" fmla="*/ 156 h 946"/>
                <a:gd name="T8" fmla="*/ 299 w 401"/>
                <a:gd name="T9" fmla="*/ 218 h 946"/>
                <a:gd name="T10" fmla="*/ 296 w 401"/>
                <a:gd name="T11" fmla="*/ 246 h 946"/>
                <a:gd name="T12" fmla="*/ 296 w 401"/>
                <a:gd name="T13" fmla="*/ 246 h 946"/>
                <a:gd name="T14" fmla="*/ 0 w 401"/>
                <a:gd name="T15" fmla="*/ 246 h 946"/>
                <a:gd name="T16" fmla="*/ 0 w 401"/>
                <a:gd name="T17" fmla="*/ 371 h 946"/>
                <a:gd name="T18" fmla="*/ 252 w 401"/>
                <a:gd name="T19" fmla="*/ 371 h 946"/>
                <a:gd name="T20" fmla="*/ 285 w 401"/>
                <a:gd name="T21" fmla="*/ 371 h 946"/>
                <a:gd name="T22" fmla="*/ 282 w 401"/>
                <a:gd name="T23" fmla="*/ 405 h 946"/>
                <a:gd name="T24" fmla="*/ 253 w 401"/>
                <a:gd name="T25" fmla="*/ 728 h 946"/>
                <a:gd name="T26" fmla="*/ 251 w 401"/>
                <a:gd name="T27" fmla="*/ 749 h 946"/>
                <a:gd name="T28" fmla="*/ 0 w 401"/>
                <a:gd name="T29" fmla="*/ 819 h 946"/>
                <a:gd name="T30" fmla="*/ 0 w 401"/>
                <a:gd name="T31" fmla="*/ 946 h 946"/>
                <a:gd name="T32" fmla="*/ 325 w 401"/>
                <a:gd name="T33" fmla="*/ 856 h 946"/>
                <a:gd name="T34" fmla="*/ 401 w 401"/>
                <a:gd name="T35" fmla="*/ 0 h 946"/>
                <a:gd name="T36" fmla="*/ 0 w 401"/>
                <a:gd name="T37" fmla="*/ 0 h 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1" h="946">
                  <a:moveTo>
                    <a:pt x="0" y="0"/>
                  </a:moveTo>
                  <a:lnTo>
                    <a:pt x="0" y="123"/>
                  </a:lnTo>
                  <a:lnTo>
                    <a:pt x="307" y="123"/>
                  </a:lnTo>
                  <a:lnTo>
                    <a:pt x="304" y="156"/>
                  </a:lnTo>
                  <a:lnTo>
                    <a:pt x="299" y="218"/>
                  </a:lnTo>
                  <a:lnTo>
                    <a:pt x="296" y="246"/>
                  </a:lnTo>
                  <a:lnTo>
                    <a:pt x="296" y="246"/>
                  </a:lnTo>
                  <a:lnTo>
                    <a:pt x="0" y="246"/>
                  </a:lnTo>
                  <a:lnTo>
                    <a:pt x="0" y="371"/>
                  </a:lnTo>
                  <a:lnTo>
                    <a:pt x="252" y="371"/>
                  </a:lnTo>
                  <a:lnTo>
                    <a:pt x="285" y="371"/>
                  </a:lnTo>
                  <a:lnTo>
                    <a:pt x="282" y="405"/>
                  </a:lnTo>
                  <a:lnTo>
                    <a:pt x="253" y="728"/>
                  </a:lnTo>
                  <a:lnTo>
                    <a:pt x="251" y="749"/>
                  </a:lnTo>
                  <a:lnTo>
                    <a:pt x="0" y="819"/>
                  </a:lnTo>
                  <a:lnTo>
                    <a:pt x="0" y="946"/>
                  </a:lnTo>
                  <a:lnTo>
                    <a:pt x="325" y="856"/>
                  </a:lnTo>
                  <a:lnTo>
                    <a:pt x="401" y="0"/>
                  </a:lnTo>
                  <a:lnTo>
                    <a:pt x="0" y="0"/>
                  </a:lnTo>
                  <a:close/>
                </a:path>
              </a:pathLst>
            </a:custGeom>
            <a:solidFill>
              <a:srgbClr val="8888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spTree>
    <p:extLst>
      <p:ext uri="{BB962C8B-B14F-4D97-AF65-F5344CB8AC3E}">
        <p14:creationId xmlns:p14="http://schemas.microsoft.com/office/powerpoint/2010/main" val="7879442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84"/>
                                        </p:tgtEl>
                                        <p:attrNameLst>
                                          <p:attrName>style.visibility</p:attrName>
                                        </p:attrNameLst>
                                      </p:cBhvr>
                                      <p:to>
                                        <p:strVal val="visible"/>
                                      </p:to>
                                    </p:set>
                                    <p:animEffect transition="in" filter="fade">
                                      <p:cBhvr>
                                        <p:cTn id="7" dur="500"/>
                                        <p:tgtEl>
                                          <p:spTgt spid="28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4"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Office 365 App Model</a:t>
            </a:r>
            <a:endParaRPr lang="en-US" dirty="0"/>
          </a:p>
        </p:txBody>
      </p:sp>
      <p:sp>
        <p:nvSpPr>
          <p:cNvPr id="9" name="Subtitle 4"/>
          <p:cNvSpPr>
            <a:spLocks noGrp="1"/>
          </p:cNvSpPr>
          <p:nvPr>
            <p:ph type="subTitle" idx="1"/>
          </p:nvPr>
        </p:nvSpPr>
        <p:spPr/>
        <p:txBody>
          <a:bodyPr/>
          <a:lstStyle/>
          <a:p>
            <a:pPr lvl="0"/>
            <a:r>
              <a:rPr lang="en-US" sz="2744" dirty="0" smtClean="0"/>
              <a:t>Office 365 Development Overview</a:t>
            </a:r>
            <a:endParaRPr lang="en-US" dirty="0"/>
          </a:p>
        </p:txBody>
      </p:sp>
    </p:spTree>
    <p:extLst>
      <p:ext uri="{BB962C8B-B14F-4D97-AF65-F5344CB8AC3E}">
        <p14:creationId xmlns:p14="http://schemas.microsoft.com/office/powerpoint/2010/main" val="102786533"/>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p:cNvGrpSpPr/>
          <p:nvPr/>
        </p:nvGrpSpPr>
        <p:grpSpPr>
          <a:xfrm>
            <a:off x="269169" y="3213915"/>
            <a:ext cx="4498841" cy="3351756"/>
            <a:chOff x="274638" y="3277807"/>
            <a:chExt cx="4590248" cy="3419856"/>
          </a:xfrm>
        </p:grpSpPr>
        <p:sp>
          <p:nvSpPr>
            <p:cNvPr id="70" name="Rectangle 69"/>
            <p:cNvSpPr/>
            <p:nvPr/>
          </p:nvSpPr>
          <p:spPr bwMode="auto">
            <a:xfrm>
              <a:off x="274638" y="3277807"/>
              <a:ext cx="4590248" cy="3419856"/>
            </a:xfrm>
            <a:prstGeom prst="rect">
              <a:avLst/>
            </a:prstGeom>
            <a:noFill/>
            <a:ln w="12700">
              <a:solidFill>
                <a:schemeClr val="bg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t" anchorCtr="0" compatLnSpc="1">
              <a:prstTxWarp prst="textNoShape">
                <a:avLst/>
              </a:prstTxWarp>
            </a:bodyPr>
            <a:lstStyle/>
            <a:p>
              <a:pPr defTabSz="913916" fontAlgn="base">
                <a:lnSpc>
                  <a:spcPct val="90000"/>
                </a:lnSpc>
                <a:spcBef>
                  <a:spcPct val="0"/>
                </a:spcBef>
                <a:spcAft>
                  <a:spcPct val="0"/>
                </a:spcAft>
              </a:pPr>
              <a:r>
                <a:rPr lang="en-US" sz="1764" b="1" dirty="0">
                  <a:gradFill>
                    <a:gsLst>
                      <a:gs pos="26496">
                        <a:srgbClr val="505050"/>
                      </a:gs>
                      <a:gs pos="44000">
                        <a:srgbClr val="505050"/>
                      </a:gs>
                    </a:gsLst>
                    <a:lin ang="5400000" scaled="0"/>
                  </a:gradFill>
                </a:rPr>
                <a:t>TIGHTLY BOUND</a:t>
              </a:r>
              <a:endParaRPr lang="en-US" sz="1960" b="1" dirty="0">
                <a:gradFill>
                  <a:gsLst>
                    <a:gs pos="26496">
                      <a:srgbClr val="505050"/>
                    </a:gs>
                    <a:gs pos="44000">
                      <a:srgbClr val="505050"/>
                    </a:gs>
                  </a:gsLst>
                  <a:lin ang="5400000" scaled="0"/>
                </a:gradFill>
              </a:endParaRPr>
            </a:p>
          </p:txBody>
        </p:sp>
        <p:sp>
          <p:nvSpPr>
            <p:cNvPr id="72" name="Rectangle 71"/>
            <p:cNvSpPr/>
            <p:nvPr/>
          </p:nvSpPr>
          <p:spPr bwMode="auto">
            <a:xfrm>
              <a:off x="367210" y="3810000"/>
              <a:ext cx="4407408" cy="1888743"/>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4180">
                <a:lnSpc>
                  <a:spcPct val="90000"/>
                </a:lnSpc>
                <a:spcAft>
                  <a:spcPts val="588"/>
                </a:spcAft>
              </a:pPr>
              <a:r>
                <a:rPr lang="en-US" sz="1764" dirty="0">
                  <a:gradFill>
                    <a:gsLst>
                      <a:gs pos="76068">
                        <a:srgbClr val="FFFFFF"/>
                      </a:gs>
                      <a:gs pos="55000">
                        <a:srgbClr val="FFFFFF"/>
                      </a:gs>
                    </a:gsLst>
                    <a:lin ang="5400000" scaled="0"/>
                  </a:gradFill>
                  <a:cs typeface="Segoe UI Semilight" panose="020B0402040204020203" pitchFamily="34" charset="0"/>
                </a:rPr>
                <a:t>Host process</a:t>
              </a:r>
            </a:p>
          </p:txBody>
        </p:sp>
        <p:sp>
          <p:nvSpPr>
            <p:cNvPr id="73" name="Rectangle 72"/>
            <p:cNvSpPr/>
            <p:nvPr/>
          </p:nvSpPr>
          <p:spPr bwMode="auto">
            <a:xfrm>
              <a:off x="367210" y="5793960"/>
              <a:ext cx="4407408" cy="814458"/>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4180">
                <a:lnSpc>
                  <a:spcPct val="90000"/>
                </a:lnSpc>
                <a:spcAft>
                  <a:spcPts val="588"/>
                </a:spcAft>
              </a:pPr>
              <a:r>
                <a:rPr lang="en-US" sz="1764" dirty="0">
                  <a:gradFill>
                    <a:gsLst>
                      <a:gs pos="82051">
                        <a:srgbClr val="FFFFFF"/>
                      </a:gs>
                      <a:gs pos="62000">
                        <a:srgbClr val="FFFFFF"/>
                      </a:gs>
                    </a:gsLst>
                    <a:lin ang="5400000" scaled="0"/>
                  </a:gradFill>
                  <a:cs typeface="Segoe UI Semilight" panose="020B0402040204020203" pitchFamily="34" charset="0"/>
                </a:rPr>
                <a:t>Platform</a:t>
              </a:r>
            </a:p>
          </p:txBody>
        </p:sp>
        <p:sp>
          <p:nvSpPr>
            <p:cNvPr id="74" name="Rectangle 73"/>
            <p:cNvSpPr/>
            <p:nvPr/>
          </p:nvSpPr>
          <p:spPr bwMode="auto">
            <a:xfrm>
              <a:off x="1066162" y="4561113"/>
              <a:ext cx="3009506" cy="789290"/>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537715" bIns="45708" numCol="1" rtlCol="0" anchor="ctr" anchorCtr="0" compatLnSpc="1">
              <a:prstTxWarp prst="textNoShape">
                <a:avLst/>
              </a:prstTxWarp>
            </a:bodyPr>
            <a:lstStyle/>
            <a:p>
              <a:pPr algn="ctr" defTabSz="913916" fontAlgn="base">
                <a:lnSpc>
                  <a:spcPct val="90000"/>
                </a:lnSpc>
                <a:spcBef>
                  <a:spcPct val="0"/>
                </a:spcBef>
                <a:spcAft>
                  <a:spcPct val="0"/>
                </a:spcAft>
              </a:pPr>
              <a:r>
                <a:rPr lang="en-US" sz="1764" b="1" dirty="0">
                  <a:gradFill>
                    <a:gsLst>
                      <a:gs pos="0">
                        <a:srgbClr val="FFFFFF"/>
                      </a:gs>
                      <a:gs pos="100000">
                        <a:srgbClr val="FFFFFF"/>
                      </a:gs>
                    </a:gsLst>
                    <a:lin ang="5400000" scaled="0"/>
                  </a:gradFill>
                </a:rPr>
                <a:t>Solution</a:t>
              </a:r>
            </a:p>
          </p:txBody>
        </p:sp>
        <p:sp>
          <p:nvSpPr>
            <p:cNvPr id="76" name="Freeform 23"/>
            <p:cNvSpPr>
              <a:spLocks noChangeAspect="1" noEditPoints="1"/>
            </p:cNvSpPr>
            <p:nvPr/>
          </p:nvSpPr>
          <p:spPr bwMode="auto">
            <a:xfrm>
              <a:off x="3825044" y="3955627"/>
              <a:ext cx="784910" cy="248235"/>
            </a:xfrm>
            <a:custGeom>
              <a:avLst/>
              <a:gdLst>
                <a:gd name="T0" fmla="*/ 1442 w 2741"/>
                <a:gd name="T1" fmla="*/ 572 h 865"/>
                <a:gd name="T2" fmla="*/ 1224 w 2741"/>
                <a:gd name="T3" fmla="*/ 701 h 865"/>
                <a:gd name="T4" fmla="*/ 1012 w 2741"/>
                <a:gd name="T5" fmla="*/ 576 h 865"/>
                <a:gd name="T6" fmla="*/ 1012 w 2741"/>
                <a:gd name="T7" fmla="*/ 295 h 865"/>
                <a:gd name="T8" fmla="*/ 1233 w 2741"/>
                <a:gd name="T9" fmla="*/ 165 h 865"/>
                <a:gd name="T10" fmla="*/ 1442 w 2741"/>
                <a:gd name="T11" fmla="*/ 291 h 865"/>
                <a:gd name="T12" fmla="*/ 1408 w 2741"/>
                <a:gd name="T13" fmla="*/ 435 h 865"/>
                <a:gd name="T14" fmla="*/ 1229 w 2741"/>
                <a:gd name="T15" fmla="*/ 220 h 865"/>
                <a:gd name="T16" fmla="*/ 1068 w 2741"/>
                <a:gd name="T17" fmla="*/ 323 h 865"/>
                <a:gd name="T18" fmla="*/ 1067 w 2741"/>
                <a:gd name="T19" fmla="*/ 545 h 865"/>
                <a:gd name="T20" fmla="*/ 1224 w 2741"/>
                <a:gd name="T21" fmla="*/ 646 h 865"/>
                <a:gd name="T22" fmla="*/ 1408 w 2741"/>
                <a:gd name="T23" fmla="*/ 435 h 865"/>
                <a:gd name="T24" fmla="*/ 1695 w 2741"/>
                <a:gd name="T25" fmla="*/ 186 h 865"/>
                <a:gd name="T26" fmla="*/ 1632 w 2741"/>
                <a:gd name="T27" fmla="*/ 322 h 865"/>
                <a:gd name="T28" fmla="*/ 1719 w 2741"/>
                <a:gd name="T29" fmla="*/ 372 h 865"/>
                <a:gd name="T30" fmla="*/ 1632 w 2741"/>
                <a:gd name="T31" fmla="*/ 692 h 865"/>
                <a:gd name="T32" fmla="*/ 1573 w 2741"/>
                <a:gd name="T33" fmla="*/ 372 h 865"/>
                <a:gd name="T34" fmla="*/ 1510 w 2741"/>
                <a:gd name="T35" fmla="*/ 322 h 865"/>
                <a:gd name="T36" fmla="*/ 1573 w 2741"/>
                <a:gd name="T37" fmla="*/ 262 h 865"/>
                <a:gd name="T38" fmla="*/ 1691 w 2741"/>
                <a:gd name="T39" fmla="*/ 136 h 865"/>
                <a:gd name="T40" fmla="*/ 1734 w 2741"/>
                <a:gd name="T41" fmla="*/ 196 h 865"/>
                <a:gd name="T42" fmla="*/ 1898 w 2741"/>
                <a:gd name="T43" fmla="*/ 186 h 865"/>
                <a:gd name="T44" fmla="*/ 1836 w 2741"/>
                <a:gd name="T45" fmla="*/ 322 h 865"/>
                <a:gd name="T46" fmla="*/ 1923 w 2741"/>
                <a:gd name="T47" fmla="*/ 372 h 865"/>
                <a:gd name="T48" fmla="*/ 1836 w 2741"/>
                <a:gd name="T49" fmla="*/ 692 h 865"/>
                <a:gd name="T50" fmla="*/ 1777 w 2741"/>
                <a:gd name="T51" fmla="*/ 372 h 865"/>
                <a:gd name="T52" fmla="*/ 1714 w 2741"/>
                <a:gd name="T53" fmla="*/ 322 h 865"/>
                <a:gd name="T54" fmla="*/ 1777 w 2741"/>
                <a:gd name="T55" fmla="*/ 262 h 865"/>
                <a:gd name="T56" fmla="*/ 1895 w 2741"/>
                <a:gd name="T57" fmla="*/ 136 h 865"/>
                <a:gd name="T58" fmla="*/ 1938 w 2741"/>
                <a:gd name="T59" fmla="*/ 196 h 865"/>
                <a:gd name="T60" fmla="*/ 2036 w 2741"/>
                <a:gd name="T61" fmla="*/ 217 h 865"/>
                <a:gd name="T62" fmla="*/ 1981 w 2741"/>
                <a:gd name="T63" fmla="*/ 217 h 865"/>
                <a:gd name="T64" fmla="*/ 1981 w 2741"/>
                <a:gd name="T65" fmla="*/ 162 h 865"/>
                <a:gd name="T66" fmla="*/ 2036 w 2741"/>
                <a:gd name="T67" fmla="*/ 162 h 865"/>
                <a:gd name="T68" fmla="*/ 2037 w 2741"/>
                <a:gd name="T69" fmla="*/ 692 h 865"/>
                <a:gd name="T70" fmla="*/ 1978 w 2741"/>
                <a:gd name="T71" fmla="*/ 322 h 865"/>
                <a:gd name="T72" fmla="*/ 2037 w 2741"/>
                <a:gd name="T73" fmla="*/ 692 h 865"/>
                <a:gd name="T74" fmla="*/ 2274 w 2741"/>
                <a:gd name="T75" fmla="*/ 701 h 865"/>
                <a:gd name="T76" fmla="*/ 2120 w 2741"/>
                <a:gd name="T77" fmla="*/ 612 h 865"/>
                <a:gd name="T78" fmla="*/ 2151 w 2741"/>
                <a:gd name="T79" fmla="*/ 369 h 865"/>
                <a:gd name="T80" fmla="*/ 2376 w 2741"/>
                <a:gd name="T81" fmla="*/ 332 h 865"/>
                <a:gd name="T82" fmla="*/ 2288 w 2741"/>
                <a:gd name="T83" fmla="*/ 364 h 865"/>
                <a:gd name="T84" fmla="*/ 2159 w 2741"/>
                <a:gd name="T85" fmla="*/ 511 h 865"/>
                <a:gd name="T86" fmla="*/ 2285 w 2741"/>
                <a:gd name="T87" fmla="*/ 651 h 865"/>
                <a:gd name="T88" fmla="*/ 2376 w 2741"/>
                <a:gd name="T89" fmla="*/ 675 h 865"/>
                <a:gd name="T90" fmla="*/ 2480 w 2741"/>
                <a:gd name="T91" fmla="*/ 522 h 865"/>
                <a:gd name="T92" fmla="*/ 2600 w 2741"/>
                <a:gd name="T93" fmla="*/ 651 h 865"/>
                <a:gd name="T94" fmla="*/ 2715 w 2741"/>
                <a:gd name="T95" fmla="*/ 666 h 865"/>
                <a:gd name="T96" fmla="*/ 2463 w 2741"/>
                <a:gd name="T97" fmla="*/ 650 h 865"/>
                <a:gd name="T98" fmla="*/ 2440 w 2741"/>
                <a:gd name="T99" fmla="*/ 408 h 865"/>
                <a:gd name="T100" fmla="*/ 2588 w 2741"/>
                <a:gd name="T101" fmla="*/ 313 h 865"/>
                <a:gd name="T102" fmla="*/ 2741 w 2741"/>
                <a:gd name="T103" fmla="*/ 491 h 865"/>
                <a:gd name="T104" fmla="*/ 2680 w 2741"/>
                <a:gd name="T105" fmla="*/ 472 h 865"/>
                <a:gd name="T106" fmla="*/ 2588 w 2741"/>
                <a:gd name="T107" fmla="*/ 364 h 865"/>
                <a:gd name="T108" fmla="*/ 2480 w 2741"/>
                <a:gd name="T109" fmla="*/ 472 h 865"/>
                <a:gd name="T110" fmla="*/ 721 w 2741"/>
                <a:gd name="T111" fmla="*/ 793 h 865"/>
                <a:gd name="T112" fmla="*/ 721 w 2741"/>
                <a:gd name="T113" fmla="*/ 74 h 865"/>
                <a:gd name="T114" fmla="*/ 1 w 2741"/>
                <a:gd name="T115" fmla="*/ 174 h 865"/>
                <a:gd name="T116" fmla="*/ 0 w 2741"/>
                <a:gd name="T117" fmla="*/ 694 h 865"/>
                <a:gd name="T118" fmla="*/ 158 w 2741"/>
                <a:gd name="T119" fmla="*/ 209 h 865"/>
                <a:gd name="T120" fmla="*/ 464 w 2741"/>
                <a:gd name="T121" fmla="*/ 758 h 865"/>
                <a:gd name="T122" fmla="*/ 464 w 2741"/>
                <a:gd name="T123" fmla="*/ 865 h 865"/>
                <a:gd name="T124" fmla="*/ 721 w 2741"/>
                <a:gd name="T125" fmla="*/ 794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41" h="865">
                  <a:moveTo>
                    <a:pt x="1472" y="427"/>
                  </a:moveTo>
                  <a:cubicBezTo>
                    <a:pt x="1472" y="482"/>
                    <a:pt x="1462" y="530"/>
                    <a:pt x="1442" y="572"/>
                  </a:cubicBezTo>
                  <a:cubicBezTo>
                    <a:pt x="1421" y="613"/>
                    <a:pt x="1392" y="645"/>
                    <a:pt x="1355" y="668"/>
                  </a:cubicBezTo>
                  <a:cubicBezTo>
                    <a:pt x="1317" y="690"/>
                    <a:pt x="1274" y="701"/>
                    <a:pt x="1224" y="701"/>
                  </a:cubicBezTo>
                  <a:cubicBezTo>
                    <a:pt x="1177" y="701"/>
                    <a:pt x="1135" y="691"/>
                    <a:pt x="1098" y="669"/>
                  </a:cubicBezTo>
                  <a:cubicBezTo>
                    <a:pt x="1061" y="647"/>
                    <a:pt x="1032" y="616"/>
                    <a:pt x="1012" y="576"/>
                  </a:cubicBezTo>
                  <a:cubicBezTo>
                    <a:pt x="991" y="536"/>
                    <a:pt x="981" y="490"/>
                    <a:pt x="981" y="439"/>
                  </a:cubicBezTo>
                  <a:cubicBezTo>
                    <a:pt x="981" y="384"/>
                    <a:pt x="992" y="336"/>
                    <a:pt x="1012" y="295"/>
                  </a:cubicBezTo>
                  <a:cubicBezTo>
                    <a:pt x="1033" y="253"/>
                    <a:pt x="1062" y="221"/>
                    <a:pt x="1100" y="199"/>
                  </a:cubicBezTo>
                  <a:cubicBezTo>
                    <a:pt x="1139" y="176"/>
                    <a:pt x="1183" y="165"/>
                    <a:pt x="1233" y="165"/>
                  </a:cubicBezTo>
                  <a:cubicBezTo>
                    <a:pt x="1279" y="165"/>
                    <a:pt x="1321" y="176"/>
                    <a:pt x="1357" y="198"/>
                  </a:cubicBezTo>
                  <a:cubicBezTo>
                    <a:pt x="1394" y="220"/>
                    <a:pt x="1422" y="251"/>
                    <a:pt x="1442" y="291"/>
                  </a:cubicBezTo>
                  <a:cubicBezTo>
                    <a:pt x="1462" y="330"/>
                    <a:pt x="1472" y="376"/>
                    <a:pt x="1472" y="427"/>
                  </a:cubicBezTo>
                  <a:close/>
                  <a:moveTo>
                    <a:pt x="1408" y="435"/>
                  </a:moveTo>
                  <a:cubicBezTo>
                    <a:pt x="1408" y="367"/>
                    <a:pt x="1392" y="314"/>
                    <a:pt x="1361" y="276"/>
                  </a:cubicBezTo>
                  <a:cubicBezTo>
                    <a:pt x="1329" y="239"/>
                    <a:pt x="1285" y="220"/>
                    <a:pt x="1229" y="220"/>
                  </a:cubicBezTo>
                  <a:cubicBezTo>
                    <a:pt x="1193" y="220"/>
                    <a:pt x="1161" y="229"/>
                    <a:pt x="1133" y="247"/>
                  </a:cubicBezTo>
                  <a:cubicBezTo>
                    <a:pt x="1105" y="265"/>
                    <a:pt x="1084" y="290"/>
                    <a:pt x="1068" y="323"/>
                  </a:cubicBezTo>
                  <a:cubicBezTo>
                    <a:pt x="1053" y="356"/>
                    <a:pt x="1045" y="393"/>
                    <a:pt x="1045" y="434"/>
                  </a:cubicBezTo>
                  <a:cubicBezTo>
                    <a:pt x="1045" y="475"/>
                    <a:pt x="1052" y="512"/>
                    <a:pt x="1067" y="545"/>
                  </a:cubicBezTo>
                  <a:cubicBezTo>
                    <a:pt x="1082" y="577"/>
                    <a:pt x="1103" y="602"/>
                    <a:pt x="1131" y="620"/>
                  </a:cubicBezTo>
                  <a:cubicBezTo>
                    <a:pt x="1158" y="638"/>
                    <a:pt x="1189" y="646"/>
                    <a:pt x="1224" y="646"/>
                  </a:cubicBezTo>
                  <a:cubicBezTo>
                    <a:pt x="1282" y="646"/>
                    <a:pt x="1327" y="628"/>
                    <a:pt x="1359" y="590"/>
                  </a:cubicBezTo>
                  <a:cubicBezTo>
                    <a:pt x="1392" y="552"/>
                    <a:pt x="1408" y="501"/>
                    <a:pt x="1408" y="435"/>
                  </a:cubicBezTo>
                  <a:close/>
                  <a:moveTo>
                    <a:pt x="1734" y="196"/>
                  </a:moveTo>
                  <a:cubicBezTo>
                    <a:pt x="1722" y="190"/>
                    <a:pt x="1709" y="186"/>
                    <a:pt x="1695" y="186"/>
                  </a:cubicBezTo>
                  <a:cubicBezTo>
                    <a:pt x="1653" y="186"/>
                    <a:pt x="1632" y="213"/>
                    <a:pt x="1632" y="265"/>
                  </a:cubicBezTo>
                  <a:cubicBezTo>
                    <a:pt x="1632" y="322"/>
                    <a:pt x="1632" y="322"/>
                    <a:pt x="1632" y="322"/>
                  </a:cubicBezTo>
                  <a:cubicBezTo>
                    <a:pt x="1719" y="322"/>
                    <a:pt x="1719" y="322"/>
                    <a:pt x="1719" y="322"/>
                  </a:cubicBezTo>
                  <a:cubicBezTo>
                    <a:pt x="1719" y="372"/>
                    <a:pt x="1719" y="372"/>
                    <a:pt x="1719" y="372"/>
                  </a:cubicBezTo>
                  <a:cubicBezTo>
                    <a:pt x="1632" y="372"/>
                    <a:pt x="1632" y="372"/>
                    <a:pt x="1632" y="372"/>
                  </a:cubicBezTo>
                  <a:cubicBezTo>
                    <a:pt x="1632" y="692"/>
                    <a:pt x="1632" y="692"/>
                    <a:pt x="1632" y="692"/>
                  </a:cubicBezTo>
                  <a:cubicBezTo>
                    <a:pt x="1573" y="692"/>
                    <a:pt x="1573" y="692"/>
                    <a:pt x="1573" y="692"/>
                  </a:cubicBezTo>
                  <a:cubicBezTo>
                    <a:pt x="1573" y="372"/>
                    <a:pt x="1573" y="372"/>
                    <a:pt x="1573" y="372"/>
                  </a:cubicBezTo>
                  <a:cubicBezTo>
                    <a:pt x="1510" y="372"/>
                    <a:pt x="1510" y="372"/>
                    <a:pt x="1510" y="372"/>
                  </a:cubicBezTo>
                  <a:cubicBezTo>
                    <a:pt x="1510" y="322"/>
                    <a:pt x="1510" y="322"/>
                    <a:pt x="1510" y="322"/>
                  </a:cubicBezTo>
                  <a:cubicBezTo>
                    <a:pt x="1573" y="322"/>
                    <a:pt x="1573" y="322"/>
                    <a:pt x="1573" y="322"/>
                  </a:cubicBezTo>
                  <a:cubicBezTo>
                    <a:pt x="1573" y="262"/>
                    <a:pt x="1573" y="262"/>
                    <a:pt x="1573" y="262"/>
                  </a:cubicBezTo>
                  <a:cubicBezTo>
                    <a:pt x="1573" y="224"/>
                    <a:pt x="1584" y="194"/>
                    <a:pt x="1606" y="171"/>
                  </a:cubicBezTo>
                  <a:cubicBezTo>
                    <a:pt x="1629" y="148"/>
                    <a:pt x="1657" y="136"/>
                    <a:pt x="1691" y="136"/>
                  </a:cubicBezTo>
                  <a:cubicBezTo>
                    <a:pt x="1709" y="136"/>
                    <a:pt x="1723" y="138"/>
                    <a:pt x="1734" y="143"/>
                  </a:cubicBezTo>
                  <a:lnTo>
                    <a:pt x="1734" y="196"/>
                  </a:lnTo>
                  <a:close/>
                  <a:moveTo>
                    <a:pt x="1938" y="196"/>
                  </a:moveTo>
                  <a:cubicBezTo>
                    <a:pt x="1926" y="190"/>
                    <a:pt x="1913" y="186"/>
                    <a:pt x="1898" y="186"/>
                  </a:cubicBezTo>
                  <a:cubicBezTo>
                    <a:pt x="1857" y="186"/>
                    <a:pt x="1836" y="213"/>
                    <a:pt x="1836" y="265"/>
                  </a:cubicBezTo>
                  <a:cubicBezTo>
                    <a:pt x="1836" y="322"/>
                    <a:pt x="1836" y="322"/>
                    <a:pt x="1836" y="322"/>
                  </a:cubicBezTo>
                  <a:cubicBezTo>
                    <a:pt x="1923" y="322"/>
                    <a:pt x="1923" y="322"/>
                    <a:pt x="1923" y="322"/>
                  </a:cubicBezTo>
                  <a:cubicBezTo>
                    <a:pt x="1923" y="372"/>
                    <a:pt x="1923" y="372"/>
                    <a:pt x="1923" y="372"/>
                  </a:cubicBezTo>
                  <a:cubicBezTo>
                    <a:pt x="1836" y="372"/>
                    <a:pt x="1836" y="372"/>
                    <a:pt x="1836" y="372"/>
                  </a:cubicBezTo>
                  <a:cubicBezTo>
                    <a:pt x="1836" y="692"/>
                    <a:pt x="1836" y="692"/>
                    <a:pt x="1836" y="692"/>
                  </a:cubicBezTo>
                  <a:cubicBezTo>
                    <a:pt x="1777" y="692"/>
                    <a:pt x="1777" y="692"/>
                    <a:pt x="1777" y="692"/>
                  </a:cubicBezTo>
                  <a:cubicBezTo>
                    <a:pt x="1777" y="372"/>
                    <a:pt x="1777" y="372"/>
                    <a:pt x="1777" y="372"/>
                  </a:cubicBezTo>
                  <a:cubicBezTo>
                    <a:pt x="1714" y="372"/>
                    <a:pt x="1714" y="372"/>
                    <a:pt x="1714" y="372"/>
                  </a:cubicBezTo>
                  <a:cubicBezTo>
                    <a:pt x="1714" y="322"/>
                    <a:pt x="1714" y="322"/>
                    <a:pt x="1714" y="322"/>
                  </a:cubicBezTo>
                  <a:cubicBezTo>
                    <a:pt x="1777" y="322"/>
                    <a:pt x="1777" y="322"/>
                    <a:pt x="1777" y="322"/>
                  </a:cubicBezTo>
                  <a:cubicBezTo>
                    <a:pt x="1777" y="262"/>
                    <a:pt x="1777" y="262"/>
                    <a:pt x="1777" y="262"/>
                  </a:cubicBezTo>
                  <a:cubicBezTo>
                    <a:pt x="1777" y="224"/>
                    <a:pt x="1788" y="194"/>
                    <a:pt x="1810" y="171"/>
                  </a:cubicBezTo>
                  <a:cubicBezTo>
                    <a:pt x="1832" y="148"/>
                    <a:pt x="1861" y="136"/>
                    <a:pt x="1895" y="136"/>
                  </a:cubicBezTo>
                  <a:cubicBezTo>
                    <a:pt x="1913" y="136"/>
                    <a:pt x="1927" y="138"/>
                    <a:pt x="1938" y="143"/>
                  </a:cubicBezTo>
                  <a:lnTo>
                    <a:pt x="1938" y="196"/>
                  </a:lnTo>
                  <a:close/>
                  <a:moveTo>
                    <a:pt x="2047" y="189"/>
                  </a:moveTo>
                  <a:cubicBezTo>
                    <a:pt x="2047" y="200"/>
                    <a:pt x="2043" y="210"/>
                    <a:pt x="2036" y="217"/>
                  </a:cubicBezTo>
                  <a:cubicBezTo>
                    <a:pt x="2028" y="224"/>
                    <a:pt x="2019" y="228"/>
                    <a:pt x="2008" y="228"/>
                  </a:cubicBezTo>
                  <a:cubicBezTo>
                    <a:pt x="1997" y="228"/>
                    <a:pt x="1988" y="224"/>
                    <a:pt x="1981" y="217"/>
                  </a:cubicBezTo>
                  <a:cubicBezTo>
                    <a:pt x="1973" y="210"/>
                    <a:pt x="1970" y="201"/>
                    <a:pt x="1970" y="189"/>
                  </a:cubicBezTo>
                  <a:cubicBezTo>
                    <a:pt x="1970" y="179"/>
                    <a:pt x="1973" y="170"/>
                    <a:pt x="1981" y="162"/>
                  </a:cubicBezTo>
                  <a:cubicBezTo>
                    <a:pt x="1988" y="155"/>
                    <a:pt x="1997" y="151"/>
                    <a:pt x="2008" y="151"/>
                  </a:cubicBezTo>
                  <a:cubicBezTo>
                    <a:pt x="2019" y="151"/>
                    <a:pt x="2029" y="155"/>
                    <a:pt x="2036" y="162"/>
                  </a:cubicBezTo>
                  <a:cubicBezTo>
                    <a:pt x="2044" y="170"/>
                    <a:pt x="2047" y="179"/>
                    <a:pt x="2047" y="189"/>
                  </a:cubicBezTo>
                  <a:close/>
                  <a:moveTo>
                    <a:pt x="2037" y="692"/>
                  </a:moveTo>
                  <a:cubicBezTo>
                    <a:pt x="1978" y="692"/>
                    <a:pt x="1978" y="692"/>
                    <a:pt x="1978" y="692"/>
                  </a:cubicBezTo>
                  <a:cubicBezTo>
                    <a:pt x="1978" y="322"/>
                    <a:pt x="1978" y="322"/>
                    <a:pt x="1978" y="322"/>
                  </a:cubicBezTo>
                  <a:cubicBezTo>
                    <a:pt x="2037" y="322"/>
                    <a:pt x="2037" y="322"/>
                    <a:pt x="2037" y="322"/>
                  </a:cubicBezTo>
                  <a:lnTo>
                    <a:pt x="2037" y="692"/>
                  </a:lnTo>
                  <a:close/>
                  <a:moveTo>
                    <a:pt x="2376" y="675"/>
                  </a:moveTo>
                  <a:cubicBezTo>
                    <a:pt x="2347" y="693"/>
                    <a:pt x="2313" y="701"/>
                    <a:pt x="2274" y="701"/>
                  </a:cubicBezTo>
                  <a:cubicBezTo>
                    <a:pt x="2240" y="701"/>
                    <a:pt x="2210" y="694"/>
                    <a:pt x="2183" y="678"/>
                  </a:cubicBezTo>
                  <a:cubicBezTo>
                    <a:pt x="2156" y="663"/>
                    <a:pt x="2135" y="641"/>
                    <a:pt x="2120" y="612"/>
                  </a:cubicBezTo>
                  <a:cubicBezTo>
                    <a:pt x="2105" y="584"/>
                    <a:pt x="2098" y="552"/>
                    <a:pt x="2098" y="516"/>
                  </a:cubicBezTo>
                  <a:cubicBezTo>
                    <a:pt x="2098" y="455"/>
                    <a:pt x="2116" y="406"/>
                    <a:pt x="2151" y="369"/>
                  </a:cubicBezTo>
                  <a:cubicBezTo>
                    <a:pt x="2186" y="332"/>
                    <a:pt x="2232" y="313"/>
                    <a:pt x="2291" y="313"/>
                  </a:cubicBezTo>
                  <a:cubicBezTo>
                    <a:pt x="2323" y="313"/>
                    <a:pt x="2352" y="319"/>
                    <a:pt x="2376" y="332"/>
                  </a:cubicBezTo>
                  <a:cubicBezTo>
                    <a:pt x="2376" y="393"/>
                    <a:pt x="2376" y="393"/>
                    <a:pt x="2376" y="393"/>
                  </a:cubicBezTo>
                  <a:cubicBezTo>
                    <a:pt x="2349" y="373"/>
                    <a:pt x="2319" y="364"/>
                    <a:pt x="2288" y="364"/>
                  </a:cubicBezTo>
                  <a:cubicBezTo>
                    <a:pt x="2250" y="364"/>
                    <a:pt x="2219" y="377"/>
                    <a:pt x="2195" y="405"/>
                  </a:cubicBezTo>
                  <a:cubicBezTo>
                    <a:pt x="2171" y="432"/>
                    <a:pt x="2159" y="467"/>
                    <a:pt x="2159" y="511"/>
                  </a:cubicBezTo>
                  <a:cubicBezTo>
                    <a:pt x="2159" y="554"/>
                    <a:pt x="2170" y="588"/>
                    <a:pt x="2193" y="613"/>
                  </a:cubicBezTo>
                  <a:cubicBezTo>
                    <a:pt x="2216" y="638"/>
                    <a:pt x="2246" y="651"/>
                    <a:pt x="2285" y="651"/>
                  </a:cubicBezTo>
                  <a:cubicBezTo>
                    <a:pt x="2317" y="651"/>
                    <a:pt x="2347" y="640"/>
                    <a:pt x="2376" y="619"/>
                  </a:cubicBezTo>
                  <a:lnTo>
                    <a:pt x="2376" y="675"/>
                  </a:lnTo>
                  <a:close/>
                  <a:moveTo>
                    <a:pt x="2741" y="522"/>
                  </a:moveTo>
                  <a:cubicBezTo>
                    <a:pt x="2480" y="522"/>
                    <a:pt x="2480" y="522"/>
                    <a:pt x="2480" y="522"/>
                  </a:cubicBezTo>
                  <a:cubicBezTo>
                    <a:pt x="2480" y="564"/>
                    <a:pt x="2492" y="596"/>
                    <a:pt x="2513" y="618"/>
                  </a:cubicBezTo>
                  <a:cubicBezTo>
                    <a:pt x="2534" y="640"/>
                    <a:pt x="2563" y="651"/>
                    <a:pt x="2600" y="651"/>
                  </a:cubicBezTo>
                  <a:cubicBezTo>
                    <a:pt x="2642" y="651"/>
                    <a:pt x="2680" y="637"/>
                    <a:pt x="2715" y="610"/>
                  </a:cubicBezTo>
                  <a:cubicBezTo>
                    <a:pt x="2715" y="666"/>
                    <a:pt x="2715" y="666"/>
                    <a:pt x="2715" y="666"/>
                  </a:cubicBezTo>
                  <a:cubicBezTo>
                    <a:pt x="2683" y="689"/>
                    <a:pt x="2640" y="701"/>
                    <a:pt x="2586" y="701"/>
                  </a:cubicBezTo>
                  <a:cubicBezTo>
                    <a:pt x="2533" y="701"/>
                    <a:pt x="2492" y="684"/>
                    <a:pt x="2463" y="650"/>
                  </a:cubicBezTo>
                  <a:cubicBezTo>
                    <a:pt x="2433" y="616"/>
                    <a:pt x="2418" y="569"/>
                    <a:pt x="2418" y="509"/>
                  </a:cubicBezTo>
                  <a:cubicBezTo>
                    <a:pt x="2418" y="472"/>
                    <a:pt x="2425" y="439"/>
                    <a:pt x="2440" y="408"/>
                  </a:cubicBezTo>
                  <a:cubicBezTo>
                    <a:pt x="2455" y="378"/>
                    <a:pt x="2476" y="355"/>
                    <a:pt x="2502" y="338"/>
                  </a:cubicBezTo>
                  <a:cubicBezTo>
                    <a:pt x="2528" y="321"/>
                    <a:pt x="2557" y="313"/>
                    <a:pt x="2588" y="313"/>
                  </a:cubicBezTo>
                  <a:cubicBezTo>
                    <a:pt x="2636" y="313"/>
                    <a:pt x="2674" y="329"/>
                    <a:pt x="2701" y="360"/>
                  </a:cubicBezTo>
                  <a:cubicBezTo>
                    <a:pt x="2728" y="391"/>
                    <a:pt x="2741" y="435"/>
                    <a:pt x="2741" y="491"/>
                  </a:cubicBezTo>
                  <a:lnTo>
                    <a:pt x="2741" y="522"/>
                  </a:lnTo>
                  <a:close/>
                  <a:moveTo>
                    <a:pt x="2680" y="472"/>
                  </a:moveTo>
                  <a:cubicBezTo>
                    <a:pt x="2680" y="438"/>
                    <a:pt x="2672" y="411"/>
                    <a:pt x="2655" y="392"/>
                  </a:cubicBezTo>
                  <a:cubicBezTo>
                    <a:pt x="2639" y="373"/>
                    <a:pt x="2617" y="364"/>
                    <a:pt x="2588" y="364"/>
                  </a:cubicBezTo>
                  <a:cubicBezTo>
                    <a:pt x="2560" y="364"/>
                    <a:pt x="2537" y="374"/>
                    <a:pt x="2517" y="393"/>
                  </a:cubicBezTo>
                  <a:cubicBezTo>
                    <a:pt x="2498" y="413"/>
                    <a:pt x="2485" y="439"/>
                    <a:pt x="2480" y="472"/>
                  </a:cubicBezTo>
                  <a:lnTo>
                    <a:pt x="2680" y="472"/>
                  </a:lnTo>
                  <a:close/>
                  <a:moveTo>
                    <a:pt x="721" y="793"/>
                  </a:moveTo>
                  <a:cubicBezTo>
                    <a:pt x="721" y="793"/>
                    <a:pt x="721" y="793"/>
                    <a:pt x="721" y="793"/>
                  </a:cubicBezTo>
                  <a:cubicBezTo>
                    <a:pt x="721" y="74"/>
                    <a:pt x="721" y="74"/>
                    <a:pt x="721" y="74"/>
                  </a:cubicBezTo>
                  <a:cubicBezTo>
                    <a:pt x="464" y="0"/>
                    <a:pt x="464" y="0"/>
                    <a:pt x="464" y="0"/>
                  </a:cubicBezTo>
                  <a:cubicBezTo>
                    <a:pt x="1" y="174"/>
                    <a:pt x="1" y="174"/>
                    <a:pt x="1" y="174"/>
                  </a:cubicBezTo>
                  <a:cubicBezTo>
                    <a:pt x="0" y="174"/>
                    <a:pt x="0" y="174"/>
                    <a:pt x="0" y="174"/>
                  </a:cubicBezTo>
                  <a:cubicBezTo>
                    <a:pt x="0" y="694"/>
                    <a:pt x="0" y="694"/>
                    <a:pt x="0" y="694"/>
                  </a:cubicBezTo>
                  <a:cubicBezTo>
                    <a:pt x="158" y="632"/>
                    <a:pt x="158" y="632"/>
                    <a:pt x="158" y="632"/>
                  </a:cubicBezTo>
                  <a:cubicBezTo>
                    <a:pt x="158" y="209"/>
                    <a:pt x="158" y="209"/>
                    <a:pt x="158" y="209"/>
                  </a:cubicBezTo>
                  <a:cubicBezTo>
                    <a:pt x="464" y="136"/>
                    <a:pt x="464" y="136"/>
                    <a:pt x="464" y="136"/>
                  </a:cubicBezTo>
                  <a:cubicBezTo>
                    <a:pt x="464" y="758"/>
                    <a:pt x="464" y="758"/>
                    <a:pt x="464" y="758"/>
                  </a:cubicBezTo>
                  <a:cubicBezTo>
                    <a:pt x="0" y="694"/>
                    <a:pt x="0" y="694"/>
                    <a:pt x="0" y="694"/>
                  </a:cubicBezTo>
                  <a:cubicBezTo>
                    <a:pt x="464" y="865"/>
                    <a:pt x="464" y="865"/>
                    <a:pt x="464" y="865"/>
                  </a:cubicBezTo>
                  <a:cubicBezTo>
                    <a:pt x="464" y="865"/>
                    <a:pt x="464" y="865"/>
                    <a:pt x="464" y="865"/>
                  </a:cubicBezTo>
                  <a:cubicBezTo>
                    <a:pt x="721" y="794"/>
                    <a:pt x="721" y="794"/>
                    <a:pt x="721" y="794"/>
                  </a:cubicBezTo>
                  <a:cubicBezTo>
                    <a:pt x="721" y="793"/>
                    <a:pt x="721" y="793"/>
                    <a:pt x="721" y="793"/>
                  </a:cubicBezTo>
                  <a:close/>
                </a:path>
              </a:pathLst>
            </a:custGeom>
            <a:solidFill>
              <a:schemeClr val="bg1"/>
            </a:solidFill>
            <a:ln>
              <a:noFill/>
            </a:ln>
            <a:extLst/>
          </p:spPr>
          <p:txBody>
            <a:bodyPr vert="horz" wrap="square" lIns="89619" tIns="44810" rIns="89619" bIns="44810" numCol="1" anchor="t" anchorCtr="0" compatLnSpc="1">
              <a:prstTxWarp prst="textNoShape">
                <a:avLst/>
              </a:prstTxWarp>
            </a:bodyPr>
            <a:lstStyle/>
            <a:p>
              <a:pPr defTabSz="914180">
                <a:lnSpc>
                  <a:spcPct val="90000"/>
                </a:lnSpc>
              </a:pPr>
              <a:endParaRPr lang="en-US" sz="1764">
                <a:solidFill>
                  <a:srgbClr val="505050"/>
                </a:solidFill>
              </a:endParaRPr>
            </a:p>
          </p:txBody>
        </p:sp>
        <p:sp>
          <p:nvSpPr>
            <p:cNvPr id="77" name="Freeform 5"/>
            <p:cNvSpPr>
              <a:spLocks noChangeAspect="1" noEditPoints="1"/>
            </p:cNvSpPr>
            <p:nvPr/>
          </p:nvSpPr>
          <p:spPr bwMode="auto">
            <a:xfrm>
              <a:off x="2304063" y="3951551"/>
              <a:ext cx="1276179" cy="256386"/>
            </a:xfrm>
            <a:custGeom>
              <a:avLst/>
              <a:gdLst>
                <a:gd name="T0" fmla="*/ 271 w 1687"/>
                <a:gd name="T1" fmla="*/ 82 h 337"/>
                <a:gd name="T2" fmla="*/ 348 w 1687"/>
                <a:gd name="T3" fmla="*/ 192 h 337"/>
                <a:gd name="T4" fmla="*/ 238 w 1687"/>
                <a:gd name="T5" fmla="*/ 291 h 337"/>
                <a:gd name="T6" fmla="*/ 260 w 1687"/>
                <a:gd name="T7" fmla="*/ 232 h 337"/>
                <a:gd name="T8" fmla="*/ 301 w 1687"/>
                <a:gd name="T9" fmla="*/ 141 h 337"/>
                <a:gd name="T10" fmla="*/ 215 w 1687"/>
                <a:gd name="T11" fmla="*/ 80 h 337"/>
                <a:gd name="T12" fmla="*/ 579 w 1687"/>
                <a:gd name="T13" fmla="*/ 62 h 337"/>
                <a:gd name="T14" fmla="*/ 602 w 1687"/>
                <a:gd name="T15" fmla="*/ 265 h 337"/>
                <a:gd name="T16" fmla="*/ 676 w 1687"/>
                <a:gd name="T17" fmla="*/ 191 h 337"/>
                <a:gd name="T18" fmla="*/ 699 w 1687"/>
                <a:gd name="T19" fmla="*/ 181 h 337"/>
                <a:gd name="T20" fmla="*/ 602 w 1687"/>
                <a:gd name="T21" fmla="*/ 143 h 337"/>
                <a:gd name="T22" fmla="*/ 453 w 1687"/>
                <a:gd name="T23" fmla="*/ 156 h 337"/>
                <a:gd name="T24" fmla="*/ 469 w 1687"/>
                <a:gd name="T25" fmla="*/ 250 h 337"/>
                <a:gd name="T26" fmla="*/ 549 w 1687"/>
                <a:gd name="T27" fmla="*/ 231 h 337"/>
                <a:gd name="T28" fmla="*/ 496 w 1687"/>
                <a:gd name="T29" fmla="*/ 86 h 337"/>
                <a:gd name="T30" fmla="*/ 1468 w 1687"/>
                <a:gd name="T31" fmla="*/ 126 h 337"/>
                <a:gd name="T32" fmla="*/ 1488 w 1687"/>
                <a:gd name="T33" fmla="*/ 265 h 337"/>
                <a:gd name="T34" fmla="*/ 1561 w 1687"/>
                <a:gd name="T35" fmla="*/ 265 h 337"/>
                <a:gd name="T36" fmla="*/ 1583 w 1687"/>
                <a:gd name="T37" fmla="*/ 164 h 337"/>
                <a:gd name="T38" fmla="*/ 1651 w 1687"/>
                <a:gd name="T39" fmla="*/ 237 h 337"/>
                <a:gd name="T40" fmla="*/ 1687 w 1687"/>
                <a:gd name="T41" fmla="*/ 142 h 337"/>
                <a:gd name="T42" fmla="*/ 1651 w 1687"/>
                <a:gd name="T43" fmla="*/ 87 h 337"/>
                <a:gd name="T44" fmla="*/ 1624 w 1687"/>
                <a:gd name="T45" fmla="*/ 126 h 337"/>
                <a:gd name="T46" fmla="*/ 1623 w 1687"/>
                <a:gd name="T47" fmla="*/ 146 h 337"/>
                <a:gd name="T48" fmla="*/ 1687 w 1687"/>
                <a:gd name="T49" fmla="*/ 266 h 337"/>
                <a:gd name="T50" fmla="*/ 898 w 1687"/>
                <a:gd name="T51" fmla="*/ 149 h 337"/>
                <a:gd name="T52" fmla="*/ 872 w 1687"/>
                <a:gd name="T53" fmla="*/ 129 h 337"/>
                <a:gd name="T54" fmla="*/ 895 w 1687"/>
                <a:gd name="T55" fmla="*/ 263 h 337"/>
                <a:gd name="T56" fmla="*/ 947 w 1687"/>
                <a:gd name="T57" fmla="*/ 130 h 337"/>
                <a:gd name="T58" fmla="*/ 1403 w 1687"/>
                <a:gd name="T59" fmla="*/ 192 h 337"/>
                <a:gd name="T60" fmla="*/ 1426 w 1687"/>
                <a:gd name="T61" fmla="*/ 198 h 337"/>
                <a:gd name="T62" fmla="*/ 1415 w 1687"/>
                <a:gd name="T63" fmla="*/ 89 h 337"/>
                <a:gd name="T64" fmla="*/ 0 w 1687"/>
                <a:gd name="T65" fmla="*/ 298 h 337"/>
                <a:gd name="T66" fmla="*/ 197 w 1687"/>
                <a:gd name="T67" fmla="*/ 169 h 337"/>
                <a:gd name="T68" fmla="*/ 100 w 1687"/>
                <a:gd name="T69" fmla="*/ 122 h 337"/>
                <a:gd name="T70" fmla="*/ 64 w 1687"/>
                <a:gd name="T71" fmla="*/ 166 h 337"/>
                <a:gd name="T72" fmla="*/ 75 w 1687"/>
                <a:gd name="T73" fmla="*/ 214 h 337"/>
                <a:gd name="T74" fmla="*/ 123 w 1687"/>
                <a:gd name="T75" fmla="*/ 213 h 337"/>
                <a:gd name="T76" fmla="*/ 1128 w 1687"/>
                <a:gd name="T77" fmla="*/ 265 h 337"/>
                <a:gd name="T78" fmla="*/ 1104 w 1687"/>
                <a:gd name="T79" fmla="*/ 169 h 337"/>
                <a:gd name="T80" fmla="*/ 1228 w 1687"/>
                <a:gd name="T81" fmla="*/ 123 h 337"/>
                <a:gd name="T82" fmla="*/ 1128 w 1687"/>
                <a:gd name="T83" fmla="*/ 131 h 337"/>
                <a:gd name="T84" fmla="*/ 1170 w 1687"/>
                <a:gd name="T85" fmla="*/ 91 h 337"/>
                <a:gd name="T86" fmla="*/ 989 w 1687"/>
                <a:gd name="T87" fmla="*/ 243 h 337"/>
                <a:gd name="T88" fmla="*/ 1004 w 1687"/>
                <a:gd name="T89" fmla="*/ 273 h 337"/>
                <a:gd name="T90" fmla="*/ 1073 w 1687"/>
                <a:gd name="T91" fmla="*/ 169 h 337"/>
                <a:gd name="T92" fmla="*/ 978 w 1687"/>
                <a:gd name="T93" fmla="*/ 184 h 337"/>
                <a:gd name="T94" fmla="*/ 1366 w 1687"/>
                <a:gd name="T95" fmla="*/ 238 h 337"/>
                <a:gd name="T96" fmla="*/ 1343 w 1687"/>
                <a:gd name="T97" fmla="*/ 131 h 337"/>
                <a:gd name="T98" fmla="*/ 1309 w 1687"/>
                <a:gd name="T99" fmla="*/ 142 h 337"/>
                <a:gd name="T100" fmla="*/ 1351 w 1687"/>
                <a:gd name="T101" fmla="*/ 197 h 337"/>
                <a:gd name="T102" fmla="*/ 813 w 1687"/>
                <a:gd name="T103" fmla="*/ 247 h 337"/>
                <a:gd name="T104" fmla="*/ 807 w 1687"/>
                <a:gd name="T105" fmla="*/ 179 h 337"/>
                <a:gd name="T106" fmla="*/ 736 w 1687"/>
                <a:gd name="T107" fmla="*/ 159 h 337"/>
                <a:gd name="T108" fmla="*/ 836 w 1687"/>
                <a:gd name="T109" fmla="*/ 174 h 337"/>
                <a:gd name="T110" fmla="*/ 747 w 1687"/>
                <a:gd name="T111" fmla="*/ 224 h 337"/>
                <a:gd name="T112" fmla="*/ 809 w 1687"/>
                <a:gd name="T113" fmla="*/ 198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87" h="337">
                  <a:moveTo>
                    <a:pt x="215" y="80"/>
                  </a:moveTo>
                  <a:cubicBezTo>
                    <a:pt x="215" y="73"/>
                    <a:pt x="216" y="67"/>
                    <a:pt x="215" y="60"/>
                  </a:cubicBezTo>
                  <a:cubicBezTo>
                    <a:pt x="215" y="58"/>
                    <a:pt x="216" y="56"/>
                    <a:pt x="218" y="55"/>
                  </a:cubicBezTo>
                  <a:cubicBezTo>
                    <a:pt x="228" y="46"/>
                    <a:pt x="242" y="44"/>
                    <a:pt x="253" y="50"/>
                  </a:cubicBezTo>
                  <a:cubicBezTo>
                    <a:pt x="265" y="57"/>
                    <a:pt x="271" y="68"/>
                    <a:pt x="271" y="82"/>
                  </a:cubicBezTo>
                  <a:cubicBezTo>
                    <a:pt x="271" y="85"/>
                    <a:pt x="272" y="87"/>
                    <a:pt x="275" y="88"/>
                  </a:cubicBezTo>
                  <a:cubicBezTo>
                    <a:pt x="294" y="98"/>
                    <a:pt x="308" y="113"/>
                    <a:pt x="317" y="132"/>
                  </a:cubicBezTo>
                  <a:cubicBezTo>
                    <a:pt x="318" y="134"/>
                    <a:pt x="318" y="136"/>
                    <a:pt x="321" y="136"/>
                  </a:cubicBezTo>
                  <a:cubicBezTo>
                    <a:pt x="336" y="134"/>
                    <a:pt x="348" y="142"/>
                    <a:pt x="354" y="154"/>
                  </a:cubicBezTo>
                  <a:cubicBezTo>
                    <a:pt x="360" y="167"/>
                    <a:pt x="357" y="182"/>
                    <a:pt x="348" y="192"/>
                  </a:cubicBezTo>
                  <a:cubicBezTo>
                    <a:pt x="340" y="200"/>
                    <a:pt x="332" y="203"/>
                    <a:pt x="321" y="202"/>
                  </a:cubicBezTo>
                  <a:cubicBezTo>
                    <a:pt x="319" y="202"/>
                    <a:pt x="318" y="202"/>
                    <a:pt x="317" y="204"/>
                  </a:cubicBezTo>
                  <a:cubicBezTo>
                    <a:pt x="308" y="225"/>
                    <a:pt x="294" y="241"/>
                    <a:pt x="273" y="250"/>
                  </a:cubicBezTo>
                  <a:cubicBezTo>
                    <a:pt x="270" y="251"/>
                    <a:pt x="271" y="253"/>
                    <a:pt x="271" y="255"/>
                  </a:cubicBezTo>
                  <a:cubicBezTo>
                    <a:pt x="272" y="275"/>
                    <a:pt x="257" y="291"/>
                    <a:pt x="238" y="291"/>
                  </a:cubicBezTo>
                  <a:cubicBezTo>
                    <a:pt x="234" y="291"/>
                    <a:pt x="230" y="290"/>
                    <a:pt x="226" y="288"/>
                  </a:cubicBezTo>
                  <a:cubicBezTo>
                    <a:pt x="219" y="285"/>
                    <a:pt x="215" y="281"/>
                    <a:pt x="215" y="272"/>
                  </a:cubicBezTo>
                  <a:cubicBezTo>
                    <a:pt x="216" y="261"/>
                    <a:pt x="216" y="249"/>
                    <a:pt x="215" y="238"/>
                  </a:cubicBezTo>
                  <a:cubicBezTo>
                    <a:pt x="215" y="235"/>
                    <a:pt x="216" y="233"/>
                    <a:pt x="219" y="231"/>
                  </a:cubicBezTo>
                  <a:cubicBezTo>
                    <a:pt x="231" y="221"/>
                    <a:pt x="248" y="222"/>
                    <a:pt x="260" y="232"/>
                  </a:cubicBezTo>
                  <a:cubicBezTo>
                    <a:pt x="262" y="234"/>
                    <a:pt x="264" y="234"/>
                    <a:pt x="267" y="233"/>
                  </a:cubicBezTo>
                  <a:cubicBezTo>
                    <a:pt x="283" y="225"/>
                    <a:pt x="294" y="213"/>
                    <a:pt x="301" y="197"/>
                  </a:cubicBezTo>
                  <a:cubicBezTo>
                    <a:pt x="302" y="195"/>
                    <a:pt x="302" y="193"/>
                    <a:pt x="301" y="191"/>
                  </a:cubicBezTo>
                  <a:cubicBezTo>
                    <a:pt x="289" y="177"/>
                    <a:pt x="289" y="161"/>
                    <a:pt x="300" y="147"/>
                  </a:cubicBezTo>
                  <a:cubicBezTo>
                    <a:pt x="302" y="145"/>
                    <a:pt x="303" y="143"/>
                    <a:pt x="301" y="141"/>
                  </a:cubicBezTo>
                  <a:cubicBezTo>
                    <a:pt x="294" y="124"/>
                    <a:pt x="282" y="112"/>
                    <a:pt x="266" y="104"/>
                  </a:cubicBezTo>
                  <a:cubicBezTo>
                    <a:pt x="264" y="103"/>
                    <a:pt x="262" y="103"/>
                    <a:pt x="260" y="105"/>
                  </a:cubicBezTo>
                  <a:cubicBezTo>
                    <a:pt x="248" y="116"/>
                    <a:pt x="231" y="117"/>
                    <a:pt x="218" y="106"/>
                  </a:cubicBezTo>
                  <a:cubicBezTo>
                    <a:pt x="216" y="105"/>
                    <a:pt x="215" y="103"/>
                    <a:pt x="215" y="100"/>
                  </a:cubicBezTo>
                  <a:cubicBezTo>
                    <a:pt x="216" y="93"/>
                    <a:pt x="215" y="87"/>
                    <a:pt x="215" y="80"/>
                  </a:cubicBezTo>
                  <a:close/>
                  <a:moveTo>
                    <a:pt x="602" y="143"/>
                  </a:moveTo>
                  <a:cubicBezTo>
                    <a:pt x="602" y="116"/>
                    <a:pt x="602" y="88"/>
                    <a:pt x="602" y="61"/>
                  </a:cubicBezTo>
                  <a:cubicBezTo>
                    <a:pt x="602" y="58"/>
                    <a:pt x="602" y="56"/>
                    <a:pt x="598" y="56"/>
                  </a:cubicBezTo>
                  <a:cubicBezTo>
                    <a:pt x="593" y="57"/>
                    <a:pt x="589" y="57"/>
                    <a:pt x="584" y="56"/>
                  </a:cubicBezTo>
                  <a:cubicBezTo>
                    <a:pt x="580" y="56"/>
                    <a:pt x="579" y="58"/>
                    <a:pt x="579" y="62"/>
                  </a:cubicBezTo>
                  <a:cubicBezTo>
                    <a:pt x="579" y="126"/>
                    <a:pt x="579" y="190"/>
                    <a:pt x="579" y="254"/>
                  </a:cubicBezTo>
                  <a:cubicBezTo>
                    <a:pt x="579" y="258"/>
                    <a:pt x="579" y="262"/>
                    <a:pt x="579" y="266"/>
                  </a:cubicBezTo>
                  <a:cubicBezTo>
                    <a:pt x="579" y="269"/>
                    <a:pt x="580" y="270"/>
                    <a:pt x="583" y="270"/>
                  </a:cubicBezTo>
                  <a:cubicBezTo>
                    <a:pt x="588" y="270"/>
                    <a:pt x="593" y="270"/>
                    <a:pt x="598" y="270"/>
                  </a:cubicBezTo>
                  <a:cubicBezTo>
                    <a:pt x="601" y="270"/>
                    <a:pt x="602" y="269"/>
                    <a:pt x="602" y="265"/>
                  </a:cubicBezTo>
                  <a:cubicBezTo>
                    <a:pt x="602" y="239"/>
                    <a:pt x="602" y="213"/>
                    <a:pt x="602" y="187"/>
                  </a:cubicBezTo>
                  <a:cubicBezTo>
                    <a:pt x="602" y="175"/>
                    <a:pt x="606" y="164"/>
                    <a:pt x="614" y="154"/>
                  </a:cubicBezTo>
                  <a:cubicBezTo>
                    <a:pt x="625" y="143"/>
                    <a:pt x="637" y="140"/>
                    <a:pt x="652" y="143"/>
                  </a:cubicBezTo>
                  <a:cubicBezTo>
                    <a:pt x="666" y="147"/>
                    <a:pt x="671" y="157"/>
                    <a:pt x="674" y="170"/>
                  </a:cubicBezTo>
                  <a:cubicBezTo>
                    <a:pt x="675" y="177"/>
                    <a:pt x="676" y="184"/>
                    <a:pt x="676" y="191"/>
                  </a:cubicBezTo>
                  <a:cubicBezTo>
                    <a:pt x="676" y="215"/>
                    <a:pt x="676" y="240"/>
                    <a:pt x="675" y="265"/>
                  </a:cubicBezTo>
                  <a:cubicBezTo>
                    <a:pt x="675" y="269"/>
                    <a:pt x="677" y="270"/>
                    <a:pt x="681" y="270"/>
                  </a:cubicBezTo>
                  <a:cubicBezTo>
                    <a:pt x="686" y="270"/>
                    <a:pt x="690" y="270"/>
                    <a:pt x="695" y="270"/>
                  </a:cubicBezTo>
                  <a:cubicBezTo>
                    <a:pt x="698" y="270"/>
                    <a:pt x="699" y="269"/>
                    <a:pt x="699" y="265"/>
                  </a:cubicBezTo>
                  <a:cubicBezTo>
                    <a:pt x="699" y="237"/>
                    <a:pt x="699" y="209"/>
                    <a:pt x="699" y="181"/>
                  </a:cubicBezTo>
                  <a:cubicBezTo>
                    <a:pt x="699" y="174"/>
                    <a:pt x="698" y="167"/>
                    <a:pt x="697" y="160"/>
                  </a:cubicBezTo>
                  <a:cubicBezTo>
                    <a:pt x="694" y="147"/>
                    <a:pt x="688" y="135"/>
                    <a:pt x="675" y="128"/>
                  </a:cubicBezTo>
                  <a:cubicBezTo>
                    <a:pt x="656" y="117"/>
                    <a:pt x="628" y="122"/>
                    <a:pt x="612" y="137"/>
                  </a:cubicBezTo>
                  <a:cubicBezTo>
                    <a:pt x="609" y="141"/>
                    <a:pt x="606" y="145"/>
                    <a:pt x="602" y="149"/>
                  </a:cubicBezTo>
                  <a:cubicBezTo>
                    <a:pt x="602" y="147"/>
                    <a:pt x="602" y="145"/>
                    <a:pt x="602" y="143"/>
                  </a:cubicBezTo>
                  <a:close/>
                  <a:moveTo>
                    <a:pt x="541" y="75"/>
                  </a:moveTo>
                  <a:cubicBezTo>
                    <a:pt x="541" y="72"/>
                    <a:pt x="541" y="71"/>
                    <a:pt x="538" y="70"/>
                  </a:cubicBezTo>
                  <a:cubicBezTo>
                    <a:pt x="532" y="68"/>
                    <a:pt x="526" y="66"/>
                    <a:pt x="520" y="66"/>
                  </a:cubicBezTo>
                  <a:cubicBezTo>
                    <a:pt x="503" y="64"/>
                    <a:pt x="485" y="64"/>
                    <a:pt x="469" y="71"/>
                  </a:cubicBezTo>
                  <a:cubicBezTo>
                    <a:pt x="429" y="89"/>
                    <a:pt x="430" y="136"/>
                    <a:pt x="453" y="156"/>
                  </a:cubicBezTo>
                  <a:cubicBezTo>
                    <a:pt x="463" y="165"/>
                    <a:pt x="474" y="172"/>
                    <a:pt x="485" y="178"/>
                  </a:cubicBezTo>
                  <a:cubicBezTo>
                    <a:pt x="496" y="184"/>
                    <a:pt x="507" y="191"/>
                    <a:pt x="516" y="200"/>
                  </a:cubicBezTo>
                  <a:cubicBezTo>
                    <a:pt x="525" y="209"/>
                    <a:pt x="527" y="220"/>
                    <a:pt x="523" y="232"/>
                  </a:cubicBezTo>
                  <a:cubicBezTo>
                    <a:pt x="520" y="243"/>
                    <a:pt x="511" y="248"/>
                    <a:pt x="500" y="251"/>
                  </a:cubicBezTo>
                  <a:cubicBezTo>
                    <a:pt x="490" y="253"/>
                    <a:pt x="480" y="252"/>
                    <a:pt x="469" y="250"/>
                  </a:cubicBezTo>
                  <a:cubicBezTo>
                    <a:pt x="458" y="247"/>
                    <a:pt x="447" y="242"/>
                    <a:pt x="437" y="234"/>
                  </a:cubicBezTo>
                  <a:cubicBezTo>
                    <a:pt x="437" y="242"/>
                    <a:pt x="438" y="250"/>
                    <a:pt x="437" y="257"/>
                  </a:cubicBezTo>
                  <a:cubicBezTo>
                    <a:pt x="437" y="261"/>
                    <a:pt x="438" y="263"/>
                    <a:pt x="442" y="265"/>
                  </a:cubicBezTo>
                  <a:cubicBezTo>
                    <a:pt x="464" y="273"/>
                    <a:pt x="486" y="277"/>
                    <a:pt x="509" y="270"/>
                  </a:cubicBezTo>
                  <a:cubicBezTo>
                    <a:pt x="529" y="265"/>
                    <a:pt x="544" y="253"/>
                    <a:pt x="549" y="231"/>
                  </a:cubicBezTo>
                  <a:cubicBezTo>
                    <a:pt x="553" y="209"/>
                    <a:pt x="546" y="191"/>
                    <a:pt x="528" y="178"/>
                  </a:cubicBezTo>
                  <a:cubicBezTo>
                    <a:pt x="517" y="169"/>
                    <a:pt x="505" y="162"/>
                    <a:pt x="493" y="155"/>
                  </a:cubicBezTo>
                  <a:cubicBezTo>
                    <a:pt x="485" y="151"/>
                    <a:pt x="477" y="146"/>
                    <a:pt x="471" y="139"/>
                  </a:cubicBezTo>
                  <a:cubicBezTo>
                    <a:pt x="456" y="124"/>
                    <a:pt x="461" y="100"/>
                    <a:pt x="480" y="90"/>
                  </a:cubicBezTo>
                  <a:cubicBezTo>
                    <a:pt x="485" y="88"/>
                    <a:pt x="490" y="87"/>
                    <a:pt x="496" y="86"/>
                  </a:cubicBezTo>
                  <a:cubicBezTo>
                    <a:pt x="512" y="86"/>
                    <a:pt x="527" y="88"/>
                    <a:pt x="541" y="99"/>
                  </a:cubicBezTo>
                  <a:cubicBezTo>
                    <a:pt x="541" y="90"/>
                    <a:pt x="541" y="82"/>
                    <a:pt x="541" y="75"/>
                  </a:cubicBezTo>
                  <a:close/>
                  <a:moveTo>
                    <a:pt x="1488" y="129"/>
                  </a:moveTo>
                  <a:cubicBezTo>
                    <a:pt x="1488" y="127"/>
                    <a:pt x="1488" y="125"/>
                    <a:pt x="1484" y="126"/>
                  </a:cubicBezTo>
                  <a:cubicBezTo>
                    <a:pt x="1479" y="126"/>
                    <a:pt x="1474" y="126"/>
                    <a:pt x="1468" y="126"/>
                  </a:cubicBezTo>
                  <a:cubicBezTo>
                    <a:pt x="1465" y="126"/>
                    <a:pt x="1465" y="127"/>
                    <a:pt x="1465" y="129"/>
                  </a:cubicBezTo>
                  <a:cubicBezTo>
                    <a:pt x="1465" y="175"/>
                    <a:pt x="1465" y="220"/>
                    <a:pt x="1465" y="266"/>
                  </a:cubicBezTo>
                  <a:cubicBezTo>
                    <a:pt x="1465" y="269"/>
                    <a:pt x="1466" y="270"/>
                    <a:pt x="1469" y="270"/>
                  </a:cubicBezTo>
                  <a:cubicBezTo>
                    <a:pt x="1474" y="270"/>
                    <a:pt x="1478" y="270"/>
                    <a:pt x="1483" y="270"/>
                  </a:cubicBezTo>
                  <a:cubicBezTo>
                    <a:pt x="1487" y="270"/>
                    <a:pt x="1488" y="269"/>
                    <a:pt x="1488" y="265"/>
                  </a:cubicBezTo>
                  <a:cubicBezTo>
                    <a:pt x="1488" y="239"/>
                    <a:pt x="1488" y="212"/>
                    <a:pt x="1488" y="186"/>
                  </a:cubicBezTo>
                  <a:cubicBezTo>
                    <a:pt x="1488" y="172"/>
                    <a:pt x="1493" y="160"/>
                    <a:pt x="1504" y="151"/>
                  </a:cubicBezTo>
                  <a:cubicBezTo>
                    <a:pt x="1525" y="133"/>
                    <a:pt x="1553" y="142"/>
                    <a:pt x="1559" y="169"/>
                  </a:cubicBezTo>
                  <a:cubicBezTo>
                    <a:pt x="1561" y="175"/>
                    <a:pt x="1561" y="182"/>
                    <a:pt x="1561" y="188"/>
                  </a:cubicBezTo>
                  <a:cubicBezTo>
                    <a:pt x="1561" y="214"/>
                    <a:pt x="1561" y="239"/>
                    <a:pt x="1561" y="265"/>
                  </a:cubicBezTo>
                  <a:cubicBezTo>
                    <a:pt x="1561" y="269"/>
                    <a:pt x="1562" y="270"/>
                    <a:pt x="1566" y="270"/>
                  </a:cubicBezTo>
                  <a:cubicBezTo>
                    <a:pt x="1571" y="270"/>
                    <a:pt x="1575" y="270"/>
                    <a:pt x="1580" y="270"/>
                  </a:cubicBezTo>
                  <a:cubicBezTo>
                    <a:pt x="1584" y="270"/>
                    <a:pt x="1584" y="269"/>
                    <a:pt x="1584" y="265"/>
                  </a:cubicBezTo>
                  <a:cubicBezTo>
                    <a:pt x="1584" y="237"/>
                    <a:pt x="1584" y="209"/>
                    <a:pt x="1584" y="180"/>
                  </a:cubicBezTo>
                  <a:cubicBezTo>
                    <a:pt x="1584" y="175"/>
                    <a:pt x="1584" y="169"/>
                    <a:pt x="1583" y="164"/>
                  </a:cubicBezTo>
                  <a:cubicBezTo>
                    <a:pt x="1577" y="131"/>
                    <a:pt x="1555" y="118"/>
                    <a:pt x="1524" y="123"/>
                  </a:cubicBezTo>
                  <a:cubicBezTo>
                    <a:pt x="1508" y="126"/>
                    <a:pt x="1497" y="135"/>
                    <a:pt x="1488" y="149"/>
                  </a:cubicBezTo>
                  <a:cubicBezTo>
                    <a:pt x="1488" y="142"/>
                    <a:pt x="1488" y="136"/>
                    <a:pt x="1488" y="129"/>
                  </a:cubicBezTo>
                  <a:close/>
                  <a:moveTo>
                    <a:pt x="1681" y="252"/>
                  </a:moveTo>
                  <a:cubicBezTo>
                    <a:pt x="1667" y="257"/>
                    <a:pt x="1654" y="251"/>
                    <a:pt x="1651" y="237"/>
                  </a:cubicBezTo>
                  <a:cubicBezTo>
                    <a:pt x="1651" y="234"/>
                    <a:pt x="1651" y="232"/>
                    <a:pt x="1651" y="229"/>
                  </a:cubicBezTo>
                  <a:cubicBezTo>
                    <a:pt x="1651" y="203"/>
                    <a:pt x="1651" y="176"/>
                    <a:pt x="1651" y="150"/>
                  </a:cubicBezTo>
                  <a:cubicBezTo>
                    <a:pt x="1651" y="147"/>
                    <a:pt x="1651" y="146"/>
                    <a:pt x="1655" y="146"/>
                  </a:cubicBezTo>
                  <a:cubicBezTo>
                    <a:pt x="1664" y="146"/>
                    <a:pt x="1674" y="146"/>
                    <a:pt x="1683" y="146"/>
                  </a:cubicBezTo>
                  <a:cubicBezTo>
                    <a:pt x="1686" y="146"/>
                    <a:pt x="1687" y="145"/>
                    <a:pt x="1687" y="142"/>
                  </a:cubicBezTo>
                  <a:cubicBezTo>
                    <a:pt x="1687" y="138"/>
                    <a:pt x="1687" y="134"/>
                    <a:pt x="1687" y="129"/>
                  </a:cubicBezTo>
                  <a:cubicBezTo>
                    <a:pt x="1687" y="126"/>
                    <a:pt x="1686" y="126"/>
                    <a:pt x="1683" y="126"/>
                  </a:cubicBezTo>
                  <a:cubicBezTo>
                    <a:pt x="1674" y="126"/>
                    <a:pt x="1664" y="126"/>
                    <a:pt x="1655" y="126"/>
                  </a:cubicBezTo>
                  <a:cubicBezTo>
                    <a:pt x="1651" y="126"/>
                    <a:pt x="1650" y="125"/>
                    <a:pt x="1651" y="121"/>
                  </a:cubicBezTo>
                  <a:cubicBezTo>
                    <a:pt x="1651" y="110"/>
                    <a:pt x="1651" y="99"/>
                    <a:pt x="1651" y="87"/>
                  </a:cubicBezTo>
                  <a:cubicBezTo>
                    <a:pt x="1651" y="85"/>
                    <a:pt x="1651" y="83"/>
                    <a:pt x="1647" y="84"/>
                  </a:cubicBezTo>
                  <a:cubicBezTo>
                    <a:pt x="1641" y="86"/>
                    <a:pt x="1636" y="88"/>
                    <a:pt x="1630" y="90"/>
                  </a:cubicBezTo>
                  <a:cubicBezTo>
                    <a:pt x="1628" y="90"/>
                    <a:pt x="1627" y="91"/>
                    <a:pt x="1627" y="94"/>
                  </a:cubicBezTo>
                  <a:cubicBezTo>
                    <a:pt x="1627" y="103"/>
                    <a:pt x="1627" y="113"/>
                    <a:pt x="1627" y="122"/>
                  </a:cubicBezTo>
                  <a:cubicBezTo>
                    <a:pt x="1627" y="125"/>
                    <a:pt x="1627" y="126"/>
                    <a:pt x="1624" y="126"/>
                  </a:cubicBezTo>
                  <a:cubicBezTo>
                    <a:pt x="1618" y="126"/>
                    <a:pt x="1612" y="126"/>
                    <a:pt x="1606" y="126"/>
                  </a:cubicBezTo>
                  <a:cubicBezTo>
                    <a:pt x="1603" y="126"/>
                    <a:pt x="1602" y="126"/>
                    <a:pt x="1602" y="129"/>
                  </a:cubicBezTo>
                  <a:cubicBezTo>
                    <a:pt x="1602" y="133"/>
                    <a:pt x="1602" y="138"/>
                    <a:pt x="1602" y="143"/>
                  </a:cubicBezTo>
                  <a:cubicBezTo>
                    <a:pt x="1602" y="145"/>
                    <a:pt x="1603" y="146"/>
                    <a:pt x="1605" y="146"/>
                  </a:cubicBezTo>
                  <a:cubicBezTo>
                    <a:pt x="1611" y="146"/>
                    <a:pt x="1617" y="146"/>
                    <a:pt x="1623" y="146"/>
                  </a:cubicBezTo>
                  <a:cubicBezTo>
                    <a:pt x="1626" y="145"/>
                    <a:pt x="1627" y="146"/>
                    <a:pt x="1627" y="150"/>
                  </a:cubicBezTo>
                  <a:cubicBezTo>
                    <a:pt x="1627" y="178"/>
                    <a:pt x="1627" y="206"/>
                    <a:pt x="1627" y="233"/>
                  </a:cubicBezTo>
                  <a:cubicBezTo>
                    <a:pt x="1627" y="244"/>
                    <a:pt x="1630" y="254"/>
                    <a:pt x="1637" y="263"/>
                  </a:cubicBezTo>
                  <a:cubicBezTo>
                    <a:pt x="1648" y="276"/>
                    <a:pt x="1673" y="275"/>
                    <a:pt x="1685" y="270"/>
                  </a:cubicBezTo>
                  <a:cubicBezTo>
                    <a:pt x="1686" y="269"/>
                    <a:pt x="1687" y="268"/>
                    <a:pt x="1687" y="266"/>
                  </a:cubicBezTo>
                  <a:cubicBezTo>
                    <a:pt x="1687" y="261"/>
                    <a:pt x="1687" y="255"/>
                    <a:pt x="1687" y="249"/>
                  </a:cubicBezTo>
                  <a:cubicBezTo>
                    <a:pt x="1685" y="250"/>
                    <a:pt x="1683" y="251"/>
                    <a:pt x="1681" y="252"/>
                  </a:cubicBezTo>
                  <a:close/>
                  <a:moveTo>
                    <a:pt x="947" y="130"/>
                  </a:moveTo>
                  <a:cubicBezTo>
                    <a:pt x="948" y="125"/>
                    <a:pt x="945" y="124"/>
                    <a:pt x="941" y="124"/>
                  </a:cubicBezTo>
                  <a:cubicBezTo>
                    <a:pt x="921" y="121"/>
                    <a:pt x="906" y="130"/>
                    <a:pt x="898" y="149"/>
                  </a:cubicBezTo>
                  <a:cubicBezTo>
                    <a:pt x="897" y="151"/>
                    <a:pt x="897" y="153"/>
                    <a:pt x="895" y="154"/>
                  </a:cubicBezTo>
                  <a:cubicBezTo>
                    <a:pt x="895" y="145"/>
                    <a:pt x="895" y="137"/>
                    <a:pt x="895" y="129"/>
                  </a:cubicBezTo>
                  <a:cubicBezTo>
                    <a:pt x="895" y="127"/>
                    <a:pt x="895" y="126"/>
                    <a:pt x="892" y="126"/>
                  </a:cubicBezTo>
                  <a:cubicBezTo>
                    <a:pt x="886" y="126"/>
                    <a:pt x="880" y="126"/>
                    <a:pt x="875" y="126"/>
                  </a:cubicBezTo>
                  <a:cubicBezTo>
                    <a:pt x="872" y="126"/>
                    <a:pt x="872" y="127"/>
                    <a:pt x="872" y="129"/>
                  </a:cubicBezTo>
                  <a:cubicBezTo>
                    <a:pt x="872" y="134"/>
                    <a:pt x="872" y="140"/>
                    <a:pt x="872" y="146"/>
                  </a:cubicBezTo>
                  <a:cubicBezTo>
                    <a:pt x="872" y="185"/>
                    <a:pt x="872" y="225"/>
                    <a:pt x="872" y="265"/>
                  </a:cubicBezTo>
                  <a:cubicBezTo>
                    <a:pt x="872" y="269"/>
                    <a:pt x="872" y="270"/>
                    <a:pt x="876" y="270"/>
                  </a:cubicBezTo>
                  <a:cubicBezTo>
                    <a:pt x="880" y="270"/>
                    <a:pt x="884" y="270"/>
                    <a:pt x="888" y="270"/>
                  </a:cubicBezTo>
                  <a:cubicBezTo>
                    <a:pt x="895" y="270"/>
                    <a:pt x="895" y="270"/>
                    <a:pt x="895" y="263"/>
                  </a:cubicBezTo>
                  <a:cubicBezTo>
                    <a:pt x="895" y="241"/>
                    <a:pt x="895" y="218"/>
                    <a:pt x="895" y="195"/>
                  </a:cubicBezTo>
                  <a:cubicBezTo>
                    <a:pt x="895" y="185"/>
                    <a:pt x="897" y="175"/>
                    <a:pt x="901" y="165"/>
                  </a:cubicBezTo>
                  <a:cubicBezTo>
                    <a:pt x="906" y="156"/>
                    <a:pt x="912" y="147"/>
                    <a:pt x="924" y="145"/>
                  </a:cubicBezTo>
                  <a:cubicBezTo>
                    <a:pt x="932" y="144"/>
                    <a:pt x="939" y="145"/>
                    <a:pt x="947" y="149"/>
                  </a:cubicBezTo>
                  <a:cubicBezTo>
                    <a:pt x="947" y="142"/>
                    <a:pt x="947" y="136"/>
                    <a:pt x="947" y="130"/>
                  </a:cubicBezTo>
                  <a:close/>
                  <a:moveTo>
                    <a:pt x="1426" y="131"/>
                  </a:moveTo>
                  <a:cubicBezTo>
                    <a:pt x="1426" y="126"/>
                    <a:pt x="1425" y="125"/>
                    <a:pt x="1421" y="126"/>
                  </a:cubicBezTo>
                  <a:cubicBezTo>
                    <a:pt x="1416" y="126"/>
                    <a:pt x="1412" y="126"/>
                    <a:pt x="1408" y="126"/>
                  </a:cubicBezTo>
                  <a:cubicBezTo>
                    <a:pt x="1404" y="125"/>
                    <a:pt x="1402" y="126"/>
                    <a:pt x="1403" y="130"/>
                  </a:cubicBezTo>
                  <a:cubicBezTo>
                    <a:pt x="1403" y="151"/>
                    <a:pt x="1403" y="171"/>
                    <a:pt x="1403" y="192"/>
                  </a:cubicBezTo>
                  <a:cubicBezTo>
                    <a:pt x="1403" y="216"/>
                    <a:pt x="1403" y="240"/>
                    <a:pt x="1403" y="265"/>
                  </a:cubicBezTo>
                  <a:cubicBezTo>
                    <a:pt x="1402" y="269"/>
                    <a:pt x="1404" y="270"/>
                    <a:pt x="1408" y="270"/>
                  </a:cubicBezTo>
                  <a:cubicBezTo>
                    <a:pt x="1412" y="270"/>
                    <a:pt x="1417" y="270"/>
                    <a:pt x="1421" y="270"/>
                  </a:cubicBezTo>
                  <a:cubicBezTo>
                    <a:pt x="1425" y="270"/>
                    <a:pt x="1426" y="269"/>
                    <a:pt x="1426" y="265"/>
                  </a:cubicBezTo>
                  <a:cubicBezTo>
                    <a:pt x="1426" y="243"/>
                    <a:pt x="1426" y="220"/>
                    <a:pt x="1426" y="198"/>
                  </a:cubicBezTo>
                  <a:cubicBezTo>
                    <a:pt x="1426" y="176"/>
                    <a:pt x="1426" y="153"/>
                    <a:pt x="1426" y="131"/>
                  </a:cubicBezTo>
                  <a:close/>
                  <a:moveTo>
                    <a:pt x="1430" y="74"/>
                  </a:moveTo>
                  <a:cubicBezTo>
                    <a:pt x="1430" y="66"/>
                    <a:pt x="1423" y="59"/>
                    <a:pt x="1415" y="59"/>
                  </a:cubicBezTo>
                  <a:cubicBezTo>
                    <a:pt x="1406" y="59"/>
                    <a:pt x="1399" y="66"/>
                    <a:pt x="1399" y="74"/>
                  </a:cubicBezTo>
                  <a:cubicBezTo>
                    <a:pt x="1399" y="83"/>
                    <a:pt x="1406" y="89"/>
                    <a:pt x="1415" y="89"/>
                  </a:cubicBezTo>
                  <a:cubicBezTo>
                    <a:pt x="1423" y="89"/>
                    <a:pt x="1430" y="83"/>
                    <a:pt x="1430" y="74"/>
                  </a:cubicBezTo>
                  <a:close/>
                  <a:moveTo>
                    <a:pt x="197" y="332"/>
                  </a:moveTo>
                  <a:cubicBezTo>
                    <a:pt x="197" y="336"/>
                    <a:pt x="196" y="337"/>
                    <a:pt x="192" y="336"/>
                  </a:cubicBezTo>
                  <a:cubicBezTo>
                    <a:pt x="129" y="325"/>
                    <a:pt x="66" y="314"/>
                    <a:pt x="4" y="303"/>
                  </a:cubicBezTo>
                  <a:cubicBezTo>
                    <a:pt x="0" y="302"/>
                    <a:pt x="0" y="301"/>
                    <a:pt x="0" y="298"/>
                  </a:cubicBezTo>
                  <a:cubicBezTo>
                    <a:pt x="0" y="212"/>
                    <a:pt x="0" y="126"/>
                    <a:pt x="0" y="39"/>
                  </a:cubicBezTo>
                  <a:cubicBezTo>
                    <a:pt x="0" y="36"/>
                    <a:pt x="1" y="35"/>
                    <a:pt x="4" y="35"/>
                  </a:cubicBezTo>
                  <a:cubicBezTo>
                    <a:pt x="67" y="23"/>
                    <a:pt x="129" y="12"/>
                    <a:pt x="191" y="1"/>
                  </a:cubicBezTo>
                  <a:cubicBezTo>
                    <a:pt x="196" y="0"/>
                    <a:pt x="197" y="1"/>
                    <a:pt x="197" y="6"/>
                  </a:cubicBezTo>
                  <a:cubicBezTo>
                    <a:pt x="197" y="60"/>
                    <a:pt x="197" y="114"/>
                    <a:pt x="197" y="169"/>
                  </a:cubicBezTo>
                  <a:cubicBezTo>
                    <a:pt x="197" y="223"/>
                    <a:pt x="197" y="278"/>
                    <a:pt x="197" y="332"/>
                  </a:cubicBezTo>
                  <a:close/>
                  <a:moveTo>
                    <a:pt x="106" y="164"/>
                  </a:moveTo>
                  <a:cubicBezTo>
                    <a:pt x="100" y="160"/>
                    <a:pt x="94" y="156"/>
                    <a:pt x="87" y="151"/>
                  </a:cubicBezTo>
                  <a:cubicBezTo>
                    <a:pt x="80" y="146"/>
                    <a:pt x="78" y="138"/>
                    <a:pt x="81" y="131"/>
                  </a:cubicBezTo>
                  <a:cubicBezTo>
                    <a:pt x="84" y="124"/>
                    <a:pt x="91" y="121"/>
                    <a:pt x="100" y="122"/>
                  </a:cubicBezTo>
                  <a:cubicBezTo>
                    <a:pt x="107" y="123"/>
                    <a:pt x="114" y="126"/>
                    <a:pt x="120" y="130"/>
                  </a:cubicBezTo>
                  <a:cubicBezTo>
                    <a:pt x="120" y="121"/>
                    <a:pt x="120" y="113"/>
                    <a:pt x="120" y="104"/>
                  </a:cubicBezTo>
                  <a:cubicBezTo>
                    <a:pt x="120" y="102"/>
                    <a:pt x="119" y="101"/>
                    <a:pt x="117" y="101"/>
                  </a:cubicBezTo>
                  <a:cubicBezTo>
                    <a:pt x="105" y="97"/>
                    <a:pt x="93" y="97"/>
                    <a:pt x="82" y="101"/>
                  </a:cubicBezTo>
                  <a:cubicBezTo>
                    <a:pt x="56" y="109"/>
                    <a:pt x="47" y="143"/>
                    <a:pt x="64" y="166"/>
                  </a:cubicBezTo>
                  <a:cubicBezTo>
                    <a:pt x="69" y="172"/>
                    <a:pt x="75" y="176"/>
                    <a:pt x="81" y="180"/>
                  </a:cubicBezTo>
                  <a:cubicBezTo>
                    <a:pt x="87" y="184"/>
                    <a:pt x="93" y="187"/>
                    <a:pt x="96" y="193"/>
                  </a:cubicBezTo>
                  <a:cubicBezTo>
                    <a:pt x="99" y="198"/>
                    <a:pt x="100" y="203"/>
                    <a:pt x="97" y="209"/>
                  </a:cubicBezTo>
                  <a:cubicBezTo>
                    <a:pt x="95" y="214"/>
                    <a:pt x="90" y="215"/>
                    <a:pt x="84" y="215"/>
                  </a:cubicBezTo>
                  <a:cubicBezTo>
                    <a:pt x="81" y="215"/>
                    <a:pt x="78" y="215"/>
                    <a:pt x="75" y="214"/>
                  </a:cubicBezTo>
                  <a:cubicBezTo>
                    <a:pt x="68" y="212"/>
                    <a:pt x="62" y="207"/>
                    <a:pt x="56" y="201"/>
                  </a:cubicBezTo>
                  <a:cubicBezTo>
                    <a:pt x="56" y="210"/>
                    <a:pt x="57" y="218"/>
                    <a:pt x="56" y="226"/>
                  </a:cubicBezTo>
                  <a:cubicBezTo>
                    <a:pt x="56" y="229"/>
                    <a:pt x="57" y="231"/>
                    <a:pt x="60" y="233"/>
                  </a:cubicBezTo>
                  <a:cubicBezTo>
                    <a:pt x="68" y="237"/>
                    <a:pt x="77" y="239"/>
                    <a:pt x="86" y="239"/>
                  </a:cubicBezTo>
                  <a:cubicBezTo>
                    <a:pt x="105" y="240"/>
                    <a:pt x="119" y="230"/>
                    <a:pt x="123" y="213"/>
                  </a:cubicBezTo>
                  <a:cubicBezTo>
                    <a:pt x="128" y="193"/>
                    <a:pt x="123" y="176"/>
                    <a:pt x="106" y="164"/>
                  </a:cubicBezTo>
                  <a:close/>
                  <a:moveTo>
                    <a:pt x="1167" y="193"/>
                  </a:moveTo>
                  <a:cubicBezTo>
                    <a:pt x="1155" y="194"/>
                    <a:pt x="1144" y="194"/>
                    <a:pt x="1132" y="194"/>
                  </a:cubicBezTo>
                  <a:cubicBezTo>
                    <a:pt x="1129" y="194"/>
                    <a:pt x="1128" y="194"/>
                    <a:pt x="1128" y="198"/>
                  </a:cubicBezTo>
                  <a:cubicBezTo>
                    <a:pt x="1128" y="220"/>
                    <a:pt x="1128" y="243"/>
                    <a:pt x="1128" y="265"/>
                  </a:cubicBezTo>
                  <a:cubicBezTo>
                    <a:pt x="1128" y="269"/>
                    <a:pt x="1127" y="270"/>
                    <a:pt x="1123" y="270"/>
                  </a:cubicBezTo>
                  <a:cubicBezTo>
                    <a:pt x="1118" y="270"/>
                    <a:pt x="1113" y="270"/>
                    <a:pt x="1108" y="270"/>
                  </a:cubicBezTo>
                  <a:cubicBezTo>
                    <a:pt x="1104" y="270"/>
                    <a:pt x="1104" y="268"/>
                    <a:pt x="1104" y="265"/>
                  </a:cubicBezTo>
                  <a:cubicBezTo>
                    <a:pt x="1104" y="235"/>
                    <a:pt x="1104" y="206"/>
                    <a:pt x="1104" y="176"/>
                  </a:cubicBezTo>
                  <a:cubicBezTo>
                    <a:pt x="1104" y="173"/>
                    <a:pt x="1104" y="171"/>
                    <a:pt x="1104" y="169"/>
                  </a:cubicBezTo>
                  <a:cubicBezTo>
                    <a:pt x="1104" y="137"/>
                    <a:pt x="1104" y="105"/>
                    <a:pt x="1104" y="73"/>
                  </a:cubicBezTo>
                  <a:cubicBezTo>
                    <a:pt x="1104" y="69"/>
                    <a:pt x="1105" y="68"/>
                    <a:pt x="1109" y="68"/>
                  </a:cubicBezTo>
                  <a:cubicBezTo>
                    <a:pt x="1127" y="68"/>
                    <a:pt x="1144" y="68"/>
                    <a:pt x="1162" y="68"/>
                  </a:cubicBezTo>
                  <a:cubicBezTo>
                    <a:pt x="1179" y="68"/>
                    <a:pt x="1196" y="72"/>
                    <a:pt x="1209" y="83"/>
                  </a:cubicBezTo>
                  <a:cubicBezTo>
                    <a:pt x="1222" y="94"/>
                    <a:pt x="1227" y="108"/>
                    <a:pt x="1228" y="123"/>
                  </a:cubicBezTo>
                  <a:cubicBezTo>
                    <a:pt x="1230" y="161"/>
                    <a:pt x="1205" y="189"/>
                    <a:pt x="1167" y="193"/>
                  </a:cubicBezTo>
                  <a:close/>
                  <a:moveTo>
                    <a:pt x="1170" y="91"/>
                  </a:moveTo>
                  <a:cubicBezTo>
                    <a:pt x="1158" y="89"/>
                    <a:pt x="1145" y="90"/>
                    <a:pt x="1132" y="90"/>
                  </a:cubicBezTo>
                  <a:cubicBezTo>
                    <a:pt x="1129" y="90"/>
                    <a:pt x="1128" y="90"/>
                    <a:pt x="1128" y="94"/>
                  </a:cubicBezTo>
                  <a:cubicBezTo>
                    <a:pt x="1128" y="106"/>
                    <a:pt x="1128" y="119"/>
                    <a:pt x="1128" y="131"/>
                  </a:cubicBezTo>
                  <a:cubicBezTo>
                    <a:pt x="1128" y="143"/>
                    <a:pt x="1128" y="156"/>
                    <a:pt x="1128" y="168"/>
                  </a:cubicBezTo>
                  <a:cubicBezTo>
                    <a:pt x="1128" y="171"/>
                    <a:pt x="1129" y="172"/>
                    <a:pt x="1132" y="172"/>
                  </a:cubicBezTo>
                  <a:cubicBezTo>
                    <a:pt x="1141" y="172"/>
                    <a:pt x="1151" y="172"/>
                    <a:pt x="1161" y="172"/>
                  </a:cubicBezTo>
                  <a:cubicBezTo>
                    <a:pt x="1185" y="170"/>
                    <a:pt x="1200" y="158"/>
                    <a:pt x="1202" y="136"/>
                  </a:cubicBezTo>
                  <a:cubicBezTo>
                    <a:pt x="1205" y="113"/>
                    <a:pt x="1196" y="95"/>
                    <a:pt x="1170" y="91"/>
                  </a:cubicBezTo>
                  <a:close/>
                  <a:moveTo>
                    <a:pt x="1075" y="201"/>
                  </a:moveTo>
                  <a:cubicBezTo>
                    <a:pt x="1075" y="205"/>
                    <a:pt x="1073" y="204"/>
                    <a:pt x="1071" y="204"/>
                  </a:cubicBezTo>
                  <a:cubicBezTo>
                    <a:pt x="1040" y="204"/>
                    <a:pt x="1010" y="204"/>
                    <a:pt x="980" y="204"/>
                  </a:cubicBezTo>
                  <a:cubicBezTo>
                    <a:pt x="973" y="204"/>
                    <a:pt x="974" y="204"/>
                    <a:pt x="974" y="210"/>
                  </a:cubicBezTo>
                  <a:cubicBezTo>
                    <a:pt x="975" y="223"/>
                    <a:pt x="979" y="234"/>
                    <a:pt x="989" y="243"/>
                  </a:cubicBezTo>
                  <a:cubicBezTo>
                    <a:pt x="1001" y="253"/>
                    <a:pt x="1015" y="255"/>
                    <a:pt x="1030" y="253"/>
                  </a:cubicBezTo>
                  <a:cubicBezTo>
                    <a:pt x="1043" y="251"/>
                    <a:pt x="1054" y="246"/>
                    <a:pt x="1065" y="238"/>
                  </a:cubicBezTo>
                  <a:cubicBezTo>
                    <a:pt x="1065" y="245"/>
                    <a:pt x="1065" y="251"/>
                    <a:pt x="1065" y="257"/>
                  </a:cubicBezTo>
                  <a:cubicBezTo>
                    <a:pt x="1065" y="260"/>
                    <a:pt x="1063" y="261"/>
                    <a:pt x="1061" y="262"/>
                  </a:cubicBezTo>
                  <a:cubicBezTo>
                    <a:pt x="1044" y="273"/>
                    <a:pt x="1024" y="275"/>
                    <a:pt x="1004" y="273"/>
                  </a:cubicBezTo>
                  <a:cubicBezTo>
                    <a:pt x="986" y="271"/>
                    <a:pt x="972" y="262"/>
                    <a:pt x="962" y="247"/>
                  </a:cubicBezTo>
                  <a:cubicBezTo>
                    <a:pt x="956" y="237"/>
                    <a:pt x="952" y="227"/>
                    <a:pt x="951" y="216"/>
                  </a:cubicBezTo>
                  <a:cubicBezTo>
                    <a:pt x="948" y="195"/>
                    <a:pt x="950" y="175"/>
                    <a:pt x="960" y="156"/>
                  </a:cubicBezTo>
                  <a:cubicBezTo>
                    <a:pt x="980" y="119"/>
                    <a:pt x="1020" y="116"/>
                    <a:pt x="1045" y="129"/>
                  </a:cubicBezTo>
                  <a:cubicBezTo>
                    <a:pt x="1061" y="137"/>
                    <a:pt x="1069" y="152"/>
                    <a:pt x="1073" y="169"/>
                  </a:cubicBezTo>
                  <a:cubicBezTo>
                    <a:pt x="1075" y="180"/>
                    <a:pt x="1075" y="190"/>
                    <a:pt x="1075" y="201"/>
                  </a:cubicBezTo>
                  <a:close/>
                  <a:moveTo>
                    <a:pt x="1051" y="181"/>
                  </a:moveTo>
                  <a:cubicBezTo>
                    <a:pt x="1051" y="152"/>
                    <a:pt x="1031" y="137"/>
                    <a:pt x="1006" y="143"/>
                  </a:cubicBezTo>
                  <a:cubicBezTo>
                    <a:pt x="989" y="147"/>
                    <a:pt x="978" y="163"/>
                    <a:pt x="974" y="181"/>
                  </a:cubicBezTo>
                  <a:cubicBezTo>
                    <a:pt x="974" y="185"/>
                    <a:pt x="976" y="184"/>
                    <a:pt x="978" y="184"/>
                  </a:cubicBezTo>
                  <a:cubicBezTo>
                    <a:pt x="989" y="184"/>
                    <a:pt x="1001" y="184"/>
                    <a:pt x="1012" y="184"/>
                  </a:cubicBezTo>
                  <a:cubicBezTo>
                    <a:pt x="1024" y="184"/>
                    <a:pt x="1036" y="184"/>
                    <a:pt x="1047" y="184"/>
                  </a:cubicBezTo>
                  <a:cubicBezTo>
                    <a:pt x="1049" y="184"/>
                    <a:pt x="1051" y="185"/>
                    <a:pt x="1051" y="181"/>
                  </a:cubicBezTo>
                  <a:close/>
                  <a:moveTo>
                    <a:pt x="1375" y="196"/>
                  </a:moveTo>
                  <a:cubicBezTo>
                    <a:pt x="1375" y="212"/>
                    <a:pt x="1373" y="225"/>
                    <a:pt x="1366" y="238"/>
                  </a:cubicBezTo>
                  <a:cubicBezTo>
                    <a:pt x="1351" y="264"/>
                    <a:pt x="1328" y="274"/>
                    <a:pt x="1299" y="273"/>
                  </a:cubicBezTo>
                  <a:cubicBezTo>
                    <a:pt x="1261" y="272"/>
                    <a:pt x="1235" y="245"/>
                    <a:pt x="1233" y="205"/>
                  </a:cubicBezTo>
                  <a:cubicBezTo>
                    <a:pt x="1233" y="192"/>
                    <a:pt x="1234" y="179"/>
                    <a:pt x="1238" y="167"/>
                  </a:cubicBezTo>
                  <a:cubicBezTo>
                    <a:pt x="1248" y="139"/>
                    <a:pt x="1272" y="123"/>
                    <a:pt x="1303" y="122"/>
                  </a:cubicBezTo>
                  <a:cubicBezTo>
                    <a:pt x="1317" y="122"/>
                    <a:pt x="1330" y="124"/>
                    <a:pt x="1343" y="131"/>
                  </a:cubicBezTo>
                  <a:cubicBezTo>
                    <a:pt x="1361" y="142"/>
                    <a:pt x="1370" y="159"/>
                    <a:pt x="1374" y="180"/>
                  </a:cubicBezTo>
                  <a:cubicBezTo>
                    <a:pt x="1375" y="186"/>
                    <a:pt x="1375" y="191"/>
                    <a:pt x="1375" y="196"/>
                  </a:cubicBezTo>
                  <a:close/>
                  <a:moveTo>
                    <a:pt x="1351" y="197"/>
                  </a:moveTo>
                  <a:cubicBezTo>
                    <a:pt x="1351" y="191"/>
                    <a:pt x="1350" y="184"/>
                    <a:pt x="1349" y="177"/>
                  </a:cubicBezTo>
                  <a:cubicBezTo>
                    <a:pt x="1344" y="156"/>
                    <a:pt x="1330" y="144"/>
                    <a:pt x="1309" y="142"/>
                  </a:cubicBezTo>
                  <a:cubicBezTo>
                    <a:pt x="1287" y="141"/>
                    <a:pt x="1269" y="151"/>
                    <a:pt x="1261" y="171"/>
                  </a:cubicBezTo>
                  <a:cubicBezTo>
                    <a:pt x="1257" y="183"/>
                    <a:pt x="1256" y="195"/>
                    <a:pt x="1257" y="208"/>
                  </a:cubicBezTo>
                  <a:cubicBezTo>
                    <a:pt x="1260" y="238"/>
                    <a:pt x="1280" y="255"/>
                    <a:pt x="1310" y="253"/>
                  </a:cubicBezTo>
                  <a:cubicBezTo>
                    <a:pt x="1326" y="252"/>
                    <a:pt x="1338" y="245"/>
                    <a:pt x="1345" y="230"/>
                  </a:cubicBezTo>
                  <a:cubicBezTo>
                    <a:pt x="1350" y="220"/>
                    <a:pt x="1351" y="209"/>
                    <a:pt x="1351" y="197"/>
                  </a:cubicBezTo>
                  <a:close/>
                  <a:moveTo>
                    <a:pt x="836" y="265"/>
                  </a:moveTo>
                  <a:cubicBezTo>
                    <a:pt x="836" y="269"/>
                    <a:pt x="836" y="270"/>
                    <a:pt x="832" y="270"/>
                  </a:cubicBezTo>
                  <a:cubicBezTo>
                    <a:pt x="827" y="270"/>
                    <a:pt x="822" y="270"/>
                    <a:pt x="817" y="270"/>
                  </a:cubicBezTo>
                  <a:cubicBezTo>
                    <a:pt x="814" y="270"/>
                    <a:pt x="813" y="269"/>
                    <a:pt x="813" y="266"/>
                  </a:cubicBezTo>
                  <a:cubicBezTo>
                    <a:pt x="813" y="260"/>
                    <a:pt x="813" y="254"/>
                    <a:pt x="813" y="247"/>
                  </a:cubicBezTo>
                  <a:cubicBezTo>
                    <a:pt x="812" y="249"/>
                    <a:pt x="812" y="249"/>
                    <a:pt x="811" y="250"/>
                  </a:cubicBezTo>
                  <a:cubicBezTo>
                    <a:pt x="797" y="271"/>
                    <a:pt x="775" y="279"/>
                    <a:pt x="751" y="271"/>
                  </a:cubicBezTo>
                  <a:cubicBezTo>
                    <a:pt x="732" y="265"/>
                    <a:pt x="721" y="249"/>
                    <a:pt x="722" y="228"/>
                  </a:cubicBezTo>
                  <a:cubicBezTo>
                    <a:pt x="724" y="205"/>
                    <a:pt x="737" y="191"/>
                    <a:pt x="761" y="186"/>
                  </a:cubicBezTo>
                  <a:cubicBezTo>
                    <a:pt x="776" y="183"/>
                    <a:pt x="792" y="182"/>
                    <a:pt x="807" y="179"/>
                  </a:cubicBezTo>
                  <a:cubicBezTo>
                    <a:pt x="813" y="178"/>
                    <a:pt x="813" y="179"/>
                    <a:pt x="813" y="172"/>
                  </a:cubicBezTo>
                  <a:cubicBezTo>
                    <a:pt x="813" y="170"/>
                    <a:pt x="812" y="167"/>
                    <a:pt x="812" y="165"/>
                  </a:cubicBezTo>
                  <a:cubicBezTo>
                    <a:pt x="808" y="148"/>
                    <a:pt x="796" y="140"/>
                    <a:pt x="777" y="142"/>
                  </a:cubicBezTo>
                  <a:cubicBezTo>
                    <a:pt x="763" y="144"/>
                    <a:pt x="751" y="149"/>
                    <a:pt x="740" y="157"/>
                  </a:cubicBezTo>
                  <a:cubicBezTo>
                    <a:pt x="739" y="158"/>
                    <a:pt x="738" y="159"/>
                    <a:pt x="736" y="159"/>
                  </a:cubicBezTo>
                  <a:cubicBezTo>
                    <a:pt x="736" y="152"/>
                    <a:pt x="737" y="145"/>
                    <a:pt x="736" y="139"/>
                  </a:cubicBezTo>
                  <a:cubicBezTo>
                    <a:pt x="736" y="136"/>
                    <a:pt x="737" y="135"/>
                    <a:pt x="739" y="134"/>
                  </a:cubicBezTo>
                  <a:cubicBezTo>
                    <a:pt x="759" y="124"/>
                    <a:pt x="780" y="119"/>
                    <a:pt x="803" y="124"/>
                  </a:cubicBezTo>
                  <a:cubicBezTo>
                    <a:pt x="822" y="128"/>
                    <a:pt x="832" y="142"/>
                    <a:pt x="835" y="160"/>
                  </a:cubicBezTo>
                  <a:cubicBezTo>
                    <a:pt x="836" y="164"/>
                    <a:pt x="836" y="169"/>
                    <a:pt x="836" y="174"/>
                  </a:cubicBezTo>
                  <a:cubicBezTo>
                    <a:pt x="836" y="204"/>
                    <a:pt x="836" y="235"/>
                    <a:pt x="836" y="265"/>
                  </a:cubicBezTo>
                  <a:close/>
                  <a:moveTo>
                    <a:pt x="809" y="198"/>
                  </a:moveTo>
                  <a:cubicBezTo>
                    <a:pt x="804" y="198"/>
                    <a:pt x="800" y="199"/>
                    <a:pt x="795" y="200"/>
                  </a:cubicBezTo>
                  <a:cubicBezTo>
                    <a:pt x="784" y="202"/>
                    <a:pt x="772" y="202"/>
                    <a:pt x="761" y="206"/>
                  </a:cubicBezTo>
                  <a:cubicBezTo>
                    <a:pt x="752" y="210"/>
                    <a:pt x="748" y="215"/>
                    <a:pt x="747" y="224"/>
                  </a:cubicBezTo>
                  <a:cubicBezTo>
                    <a:pt x="745" y="234"/>
                    <a:pt x="747" y="242"/>
                    <a:pt x="756" y="248"/>
                  </a:cubicBezTo>
                  <a:cubicBezTo>
                    <a:pt x="767" y="256"/>
                    <a:pt x="786" y="255"/>
                    <a:pt x="798" y="245"/>
                  </a:cubicBezTo>
                  <a:cubicBezTo>
                    <a:pt x="809" y="236"/>
                    <a:pt x="814" y="223"/>
                    <a:pt x="813" y="208"/>
                  </a:cubicBezTo>
                  <a:cubicBezTo>
                    <a:pt x="813" y="206"/>
                    <a:pt x="813" y="203"/>
                    <a:pt x="813" y="201"/>
                  </a:cubicBezTo>
                  <a:cubicBezTo>
                    <a:pt x="814" y="198"/>
                    <a:pt x="812" y="197"/>
                    <a:pt x="809" y="198"/>
                  </a:cubicBezTo>
                  <a:close/>
                </a:path>
              </a:pathLst>
            </a:custGeom>
            <a:solidFill>
              <a:schemeClr val="bg1"/>
            </a:solidFill>
            <a:ln>
              <a:noFill/>
            </a:ln>
            <a:extLst/>
          </p:spPr>
          <p:txBody>
            <a:bodyPr vert="horz" wrap="square" lIns="89606" tIns="44803" rIns="89606" bIns="44803" numCol="1" anchor="t" anchorCtr="0" compatLnSpc="1">
              <a:prstTxWarp prst="textNoShape">
                <a:avLst/>
              </a:prstTxWarp>
            </a:bodyPr>
            <a:lstStyle/>
            <a:p>
              <a:pPr defTabSz="914005">
                <a:lnSpc>
                  <a:spcPct val="90000"/>
                </a:lnSpc>
              </a:pPr>
              <a:endParaRPr lang="en-US" sz="1764">
                <a:solidFill>
                  <a:prstClr val="black"/>
                </a:solidFill>
              </a:endParaRPr>
            </a:p>
          </p:txBody>
        </p:sp>
        <p:cxnSp>
          <p:nvCxnSpPr>
            <p:cNvPr id="81" name="Straight Connector 80"/>
            <p:cNvCxnSpPr/>
            <p:nvPr/>
          </p:nvCxnSpPr>
          <p:spPr>
            <a:xfrm>
              <a:off x="3878502" y="4955758"/>
              <a:ext cx="413382" cy="0"/>
            </a:xfrm>
            <a:prstGeom prst="line">
              <a:avLst/>
            </a:prstGeom>
            <a:ln w="28575">
              <a:solidFill>
                <a:schemeClr val="bg1"/>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840421" y="4955758"/>
              <a:ext cx="413382" cy="0"/>
            </a:xfrm>
            <a:prstGeom prst="line">
              <a:avLst/>
            </a:prstGeom>
            <a:ln w="28575">
              <a:solidFill>
                <a:schemeClr val="bg1"/>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rot="16200000">
              <a:off x="3371323" y="4570369"/>
              <a:ext cx="341638" cy="0"/>
            </a:xfrm>
            <a:prstGeom prst="line">
              <a:avLst/>
            </a:prstGeom>
            <a:ln w="28575">
              <a:solidFill>
                <a:schemeClr val="bg1"/>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rot="16200000">
              <a:off x="2400097" y="4570369"/>
              <a:ext cx="341638" cy="0"/>
            </a:xfrm>
            <a:prstGeom prst="line">
              <a:avLst/>
            </a:prstGeom>
            <a:ln w="28575">
              <a:solidFill>
                <a:schemeClr val="bg1"/>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rot="16200000">
              <a:off x="1428870" y="4570369"/>
              <a:ext cx="341638" cy="0"/>
            </a:xfrm>
            <a:prstGeom prst="line">
              <a:avLst/>
            </a:prstGeom>
            <a:ln w="28575">
              <a:solidFill>
                <a:schemeClr val="bg1"/>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rot="16200000">
              <a:off x="3371323" y="5350403"/>
              <a:ext cx="341638" cy="0"/>
            </a:xfrm>
            <a:prstGeom prst="line">
              <a:avLst/>
            </a:prstGeom>
            <a:ln w="28575">
              <a:solidFill>
                <a:schemeClr val="bg1"/>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rot="16200000">
              <a:off x="2400097" y="5350403"/>
              <a:ext cx="341638" cy="0"/>
            </a:xfrm>
            <a:prstGeom prst="line">
              <a:avLst/>
            </a:prstGeom>
            <a:ln w="28575">
              <a:solidFill>
                <a:schemeClr val="bg1"/>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rot="16200000">
              <a:off x="1428870" y="5350403"/>
              <a:ext cx="341638" cy="0"/>
            </a:xfrm>
            <a:prstGeom prst="line">
              <a:avLst/>
            </a:prstGeom>
            <a:ln w="28575">
              <a:solidFill>
                <a:schemeClr val="bg1"/>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3" name="Freeform 5"/>
            <p:cNvSpPr>
              <a:spLocks noChangeAspect="1" noEditPoints="1"/>
            </p:cNvSpPr>
            <p:nvPr/>
          </p:nvSpPr>
          <p:spPr bwMode="auto">
            <a:xfrm>
              <a:off x="3673852" y="5959065"/>
              <a:ext cx="936102" cy="205810"/>
            </a:xfrm>
            <a:custGeom>
              <a:avLst/>
              <a:gdLst>
                <a:gd name="T0" fmla="*/ 864 w 3941"/>
                <a:gd name="T1" fmla="*/ 425 h 864"/>
                <a:gd name="T2" fmla="*/ 368 w 3941"/>
                <a:gd name="T3" fmla="*/ 425 h 864"/>
                <a:gd name="T4" fmla="*/ 0 w 3941"/>
                <a:gd name="T5" fmla="*/ 425 h 864"/>
                <a:gd name="T6" fmla="*/ 382 w 3941"/>
                <a:gd name="T7" fmla="*/ 797 h 864"/>
                <a:gd name="T8" fmla="*/ 382 w 3941"/>
                <a:gd name="T9" fmla="*/ 440 h 864"/>
                <a:gd name="T10" fmla="*/ 0 w 3941"/>
                <a:gd name="T11" fmla="*/ 744 h 864"/>
                <a:gd name="T12" fmla="*/ 1902 w 3941"/>
                <a:gd name="T13" fmla="*/ 173 h 864"/>
                <a:gd name="T14" fmla="*/ 1835 w 3941"/>
                <a:gd name="T15" fmla="*/ 200 h 864"/>
                <a:gd name="T16" fmla="*/ 1901 w 3941"/>
                <a:gd name="T17" fmla="*/ 227 h 864"/>
                <a:gd name="T18" fmla="*/ 1730 w 3941"/>
                <a:gd name="T19" fmla="*/ 173 h 864"/>
                <a:gd name="T20" fmla="*/ 1495 w 3941"/>
                <a:gd name="T21" fmla="*/ 173 h 864"/>
                <a:gd name="T22" fmla="*/ 1309 w 3941"/>
                <a:gd name="T23" fmla="*/ 606 h 864"/>
                <a:gd name="T24" fmla="*/ 1274 w 3941"/>
                <a:gd name="T25" fmla="*/ 692 h 864"/>
                <a:gd name="T26" fmla="*/ 1462 w 3941"/>
                <a:gd name="T27" fmla="*/ 281 h 864"/>
                <a:gd name="T28" fmla="*/ 1796 w 3941"/>
                <a:gd name="T29" fmla="*/ 173 h 864"/>
                <a:gd name="T30" fmla="*/ 1845 w 3941"/>
                <a:gd name="T31" fmla="*/ 321 h 864"/>
                <a:gd name="T32" fmla="*/ 1905 w 3941"/>
                <a:gd name="T33" fmla="*/ 321 h 864"/>
                <a:gd name="T34" fmla="*/ 2176 w 3941"/>
                <a:gd name="T35" fmla="*/ 312 h 864"/>
                <a:gd name="T36" fmla="*/ 2053 w 3941"/>
                <a:gd name="T37" fmla="*/ 321 h 864"/>
                <a:gd name="T38" fmla="*/ 2053 w 3941"/>
                <a:gd name="T39" fmla="*/ 692 h 864"/>
                <a:gd name="T40" fmla="*/ 2156 w 3941"/>
                <a:gd name="T41" fmla="*/ 363 h 864"/>
                <a:gd name="T42" fmla="*/ 2301 w 3941"/>
                <a:gd name="T43" fmla="*/ 692 h 864"/>
                <a:gd name="T44" fmla="*/ 2651 w 3941"/>
                <a:gd name="T45" fmla="*/ 143 h 864"/>
                <a:gd name="T46" fmla="*/ 2538 w 3941"/>
                <a:gd name="T47" fmla="*/ 312 h 864"/>
                <a:gd name="T48" fmla="*/ 2410 w 3941"/>
                <a:gd name="T49" fmla="*/ 650 h 864"/>
                <a:gd name="T50" fmla="*/ 2651 w 3941"/>
                <a:gd name="T51" fmla="*/ 629 h 864"/>
                <a:gd name="T52" fmla="*/ 2710 w 3941"/>
                <a:gd name="T53" fmla="*/ 143 h 864"/>
                <a:gd name="T54" fmla="*/ 2459 w 3941"/>
                <a:gd name="T55" fmla="*/ 613 h 864"/>
                <a:gd name="T56" fmla="*/ 2546 w 3941"/>
                <a:gd name="T57" fmla="*/ 363 h 864"/>
                <a:gd name="T58" fmla="*/ 2651 w 3941"/>
                <a:gd name="T59" fmla="*/ 524 h 864"/>
                <a:gd name="T60" fmla="*/ 2975 w 3941"/>
                <a:gd name="T61" fmla="*/ 312 h 864"/>
                <a:gd name="T62" fmla="*/ 2835 w 3941"/>
                <a:gd name="T63" fmla="*/ 648 h 864"/>
                <a:gd name="T64" fmla="*/ 3150 w 3941"/>
                <a:gd name="T65" fmla="*/ 505 h 864"/>
                <a:gd name="T66" fmla="*/ 2970 w 3941"/>
                <a:gd name="T67" fmla="*/ 650 h 864"/>
                <a:gd name="T68" fmla="*/ 2880 w 3941"/>
                <a:gd name="T69" fmla="*/ 401 h 864"/>
                <a:gd name="T70" fmla="*/ 3090 w 3941"/>
                <a:gd name="T71" fmla="*/ 507 h 864"/>
                <a:gd name="T72" fmla="*/ 3550 w 3941"/>
                <a:gd name="T73" fmla="*/ 620 h 864"/>
                <a:gd name="T74" fmla="*/ 3410 w 3941"/>
                <a:gd name="T75" fmla="*/ 321 h 864"/>
                <a:gd name="T76" fmla="*/ 3234 w 3941"/>
                <a:gd name="T77" fmla="*/ 321 h 864"/>
                <a:gd name="T78" fmla="*/ 3343 w 3941"/>
                <a:gd name="T79" fmla="*/ 692 h 864"/>
                <a:gd name="T80" fmla="*/ 3517 w 3941"/>
                <a:gd name="T81" fmla="*/ 692 h 864"/>
                <a:gd name="T82" fmla="*/ 3631 w 3941"/>
                <a:gd name="T83" fmla="*/ 321 h 864"/>
                <a:gd name="T84" fmla="*/ 3788 w 3941"/>
                <a:gd name="T85" fmla="*/ 452 h 864"/>
                <a:gd name="T86" fmla="*/ 3840 w 3941"/>
                <a:gd name="T87" fmla="*/ 363 h 864"/>
                <a:gd name="T88" fmla="*/ 3844 w 3941"/>
                <a:gd name="T89" fmla="*/ 312 h 864"/>
                <a:gd name="T90" fmla="*/ 3734 w 3941"/>
                <a:gd name="T91" fmla="*/ 483 h 864"/>
                <a:gd name="T92" fmla="*/ 3880 w 3941"/>
                <a:gd name="T93" fmla="*/ 598 h 864"/>
                <a:gd name="T94" fmla="*/ 3713 w 3941"/>
                <a:gd name="T95" fmla="*/ 678 h 864"/>
                <a:gd name="T96" fmla="*/ 3941 w 3941"/>
                <a:gd name="T97" fmla="*/ 593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941" h="864">
                  <a:moveTo>
                    <a:pt x="382" y="67"/>
                  </a:moveTo>
                  <a:cubicBezTo>
                    <a:pt x="864" y="0"/>
                    <a:pt x="864" y="0"/>
                    <a:pt x="864" y="0"/>
                  </a:cubicBezTo>
                  <a:cubicBezTo>
                    <a:pt x="864" y="425"/>
                    <a:pt x="864" y="425"/>
                    <a:pt x="864" y="425"/>
                  </a:cubicBezTo>
                  <a:cubicBezTo>
                    <a:pt x="382" y="425"/>
                    <a:pt x="382" y="425"/>
                    <a:pt x="382" y="425"/>
                  </a:cubicBezTo>
                  <a:lnTo>
                    <a:pt x="382" y="67"/>
                  </a:lnTo>
                  <a:close/>
                  <a:moveTo>
                    <a:pt x="368" y="425"/>
                  </a:moveTo>
                  <a:cubicBezTo>
                    <a:pt x="368" y="70"/>
                    <a:pt x="368" y="70"/>
                    <a:pt x="368" y="70"/>
                  </a:cubicBezTo>
                  <a:cubicBezTo>
                    <a:pt x="0" y="121"/>
                    <a:pt x="0" y="121"/>
                    <a:pt x="0" y="121"/>
                  </a:cubicBezTo>
                  <a:cubicBezTo>
                    <a:pt x="0" y="425"/>
                    <a:pt x="0" y="425"/>
                    <a:pt x="0" y="425"/>
                  </a:cubicBezTo>
                  <a:lnTo>
                    <a:pt x="368" y="425"/>
                  </a:lnTo>
                  <a:close/>
                  <a:moveTo>
                    <a:pt x="382" y="440"/>
                  </a:moveTo>
                  <a:cubicBezTo>
                    <a:pt x="382" y="797"/>
                    <a:pt x="382" y="797"/>
                    <a:pt x="382" y="797"/>
                  </a:cubicBezTo>
                  <a:cubicBezTo>
                    <a:pt x="864" y="864"/>
                    <a:pt x="864" y="864"/>
                    <a:pt x="864" y="864"/>
                  </a:cubicBezTo>
                  <a:cubicBezTo>
                    <a:pt x="864" y="440"/>
                    <a:pt x="864" y="440"/>
                    <a:pt x="864" y="440"/>
                  </a:cubicBezTo>
                  <a:lnTo>
                    <a:pt x="382" y="440"/>
                  </a:lnTo>
                  <a:close/>
                  <a:moveTo>
                    <a:pt x="368" y="440"/>
                  </a:moveTo>
                  <a:cubicBezTo>
                    <a:pt x="0" y="440"/>
                    <a:pt x="0" y="440"/>
                    <a:pt x="0" y="440"/>
                  </a:cubicBezTo>
                  <a:cubicBezTo>
                    <a:pt x="0" y="744"/>
                    <a:pt x="0" y="744"/>
                    <a:pt x="0" y="744"/>
                  </a:cubicBezTo>
                  <a:cubicBezTo>
                    <a:pt x="368" y="795"/>
                    <a:pt x="368" y="795"/>
                    <a:pt x="368" y="795"/>
                  </a:cubicBezTo>
                  <a:lnTo>
                    <a:pt x="368" y="440"/>
                  </a:lnTo>
                  <a:close/>
                  <a:moveTo>
                    <a:pt x="1902" y="173"/>
                  </a:moveTo>
                  <a:cubicBezTo>
                    <a:pt x="1894" y="165"/>
                    <a:pt x="1885" y="161"/>
                    <a:pt x="1874" y="161"/>
                  </a:cubicBezTo>
                  <a:cubicBezTo>
                    <a:pt x="1863" y="161"/>
                    <a:pt x="1853" y="165"/>
                    <a:pt x="1846" y="173"/>
                  </a:cubicBezTo>
                  <a:cubicBezTo>
                    <a:pt x="1839" y="180"/>
                    <a:pt x="1835" y="189"/>
                    <a:pt x="1835" y="200"/>
                  </a:cubicBezTo>
                  <a:cubicBezTo>
                    <a:pt x="1835" y="211"/>
                    <a:pt x="1839" y="221"/>
                    <a:pt x="1846" y="228"/>
                  </a:cubicBezTo>
                  <a:cubicBezTo>
                    <a:pt x="1854" y="235"/>
                    <a:pt x="1863" y="238"/>
                    <a:pt x="1874" y="238"/>
                  </a:cubicBezTo>
                  <a:cubicBezTo>
                    <a:pt x="1884" y="238"/>
                    <a:pt x="1894" y="235"/>
                    <a:pt x="1901" y="227"/>
                  </a:cubicBezTo>
                  <a:cubicBezTo>
                    <a:pt x="1909" y="220"/>
                    <a:pt x="1913" y="211"/>
                    <a:pt x="1913" y="200"/>
                  </a:cubicBezTo>
                  <a:cubicBezTo>
                    <a:pt x="1913" y="189"/>
                    <a:pt x="1909" y="180"/>
                    <a:pt x="1902" y="173"/>
                  </a:cubicBezTo>
                  <a:close/>
                  <a:moveTo>
                    <a:pt x="1730" y="173"/>
                  </a:moveTo>
                  <a:cubicBezTo>
                    <a:pt x="1615" y="607"/>
                    <a:pt x="1615" y="607"/>
                    <a:pt x="1615" y="607"/>
                  </a:cubicBezTo>
                  <a:cubicBezTo>
                    <a:pt x="1613" y="607"/>
                    <a:pt x="1613" y="607"/>
                    <a:pt x="1613" y="607"/>
                  </a:cubicBezTo>
                  <a:cubicBezTo>
                    <a:pt x="1495" y="173"/>
                    <a:pt x="1495" y="173"/>
                    <a:pt x="1495" y="173"/>
                  </a:cubicBezTo>
                  <a:cubicBezTo>
                    <a:pt x="1436" y="173"/>
                    <a:pt x="1436" y="173"/>
                    <a:pt x="1436" y="173"/>
                  </a:cubicBezTo>
                  <a:cubicBezTo>
                    <a:pt x="1311" y="606"/>
                    <a:pt x="1311" y="606"/>
                    <a:pt x="1311" y="606"/>
                  </a:cubicBezTo>
                  <a:cubicBezTo>
                    <a:pt x="1309" y="606"/>
                    <a:pt x="1309" y="606"/>
                    <a:pt x="1309" y="606"/>
                  </a:cubicBezTo>
                  <a:cubicBezTo>
                    <a:pt x="1189" y="173"/>
                    <a:pt x="1189" y="173"/>
                    <a:pt x="1189" y="173"/>
                  </a:cubicBezTo>
                  <a:cubicBezTo>
                    <a:pt x="1123" y="173"/>
                    <a:pt x="1123" y="173"/>
                    <a:pt x="1123" y="173"/>
                  </a:cubicBezTo>
                  <a:cubicBezTo>
                    <a:pt x="1274" y="692"/>
                    <a:pt x="1274" y="692"/>
                    <a:pt x="1274" y="692"/>
                  </a:cubicBezTo>
                  <a:cubicBezTo>
                    <a:pt x="1345" y="692"/>
                    <a:pt x="1345" y="692"/>
                    <a:pt x="1345" y="692"/>
                  </a:cubicBezTo>
                  <a:cubicBezTo>
                    <a:pt x="1461" y="281"/>
                    <a:pt x="1461" y="281"/>
                    <a:pt x="1461" y="281"/>
                  </a:cubicBezTo>
                  <a:cubicBezTo>
                    <a:pt x="1462" y="281"/>
                    <a:pt x="1462" y="281"/>
                    <a:pt x="1462" y="281"/>
                  </a:cubicBezTo>
                  <a:cubicBezTo>
                    <a:pt x="1578" y="692"/>
                    <a:pt x="1578" y="692"/>
                    <a:pt x="1578" y="692"/>
                  </a:cubicBezTo>
                  <a:cubicBezTo>
                    <a:pt x="1649" y="692"/>
                    <a:pt x="1649" y="692"/>
                    <a:pt x="1649" y="692"/>
                  </a:cubicBezTo>
                  <a:cubicBezTo>
                    <a:pt x="1796" y="173"/>
                    <a:pt x="1796" y="173"/>
                    <a:pt x="1796" y="173"/>
                  </a:cubicBezTo>
                  <a:lnTo>
                    <a:pt x="1730" y="173"/>
                  </a:lnTo>
                  <a:close/>
                  <a:moveTo>
                    <a:pt x="1905" y="321"/>
                  </a:moveTo>
                  <a:cubicBezTo>
                    <a:pt x="1845" y="321"/>
                    <a:pt x="1845" y="321"/>
                    <a:pt x="1845" y="321"/>
                  </a:cubicBezTo>
                  <a:cubicBezTo>
                    <a:pt x="1845" y="692"/>
                    <a:pt x="1845" y="692"/>
                    <a:pt x="1845" y="692"/>
                  </a:cubicBezTo>
                  <a:cubicBezTo>
                    <a:pt x="1905" y="692"/>
                    <a:pt x="1905" y="692"/>
                    <a:pt x="1905" y="692"/>
                  </a:cubicBezTo>
                  <a:lnTo>
                    <a:pt x="1905" y="321"/>
                  </a:lnTo>
                  <a:close/>
                  <a:moveTo>
                    <a:pt x="2301" y="465"/>
                  </a:moveTo>
                  <a:cubicBezTo>
                    <a:pt x="2301" y="416"/>
                    <a:pt x="2290" y="378"/>
                    <a:pt x="2269" y="352"/>
                  </a:cubicBezTo>
                  <a:cubicBezTo>
                    <a:pt x="2248" y="325"/>
                    <a:pt x="2217" y="312"/>
                    <a:pt x="2176" y="312"/>
                  </a:cubicBezTo>
                  <a:cubicBezTo>
                    <a:pt x="2123" y="312"/>
                    <a:pt x="2082" y="336"/>
                    <a:pt x="2054" y="383"/>
                  </a:cubicBezTo>
                  <a:cubicBezTo>
                    <a:pt x="2053" y="383"/>
                    <a:pt x="2053" y="383"/>
                    <a:pt x="2053" y="383"/>
                  </a:cubicBezTo>
                  <a:cubicBezTo>
                    <a:pt x="2053" y="321"/>
                    <a:pt x="2053" y="321"/>
                    <a:pt x="2053" y="321"/>
                  </a:cubicBezTo>
                  <a:cubicBezTo>
                    <a:pt x="1994" y="321"/>
                    <a:pt x="1994" y="321"/>
                    <a:pt x="1994" y="321"/>
                  </a:cubicBezTo>
                  <a:cubicBezTo>
                    <a:pt x="1994" y="692"/>
                    <a:pt x="1994" y="692"/>
                    <a:pt x="1994" y="692"/>
                  </a:cubicBezTo>
                  <a:cubicBezTo>
                    <a:pt x="2053" y="692"/>
                    <a:pt x="2053" y="692"/>
                    <a:pt x="2053" y="692"/>
                  </a:cubicBezTo>
                  <a:cubicBezTo>
                    <a:pt x="2053" y="480"/>
                    <a:pt x="2053" y="480"/>
                    <a:pt x="2053" y="480"/>
                  </a:cubicBezTo>
                  <a:cubicBezTo>
                    <a:pt x="2053" y="446"/>
                    <a:pt x="2063" y="418"/>
                    <a:pt x="2082" y="396"/>
                  </a:cubicBezTo>
                  <a:cubicBezTo>
                    <a:pt x="2102" y="374"/>
                    <a:pt x="2126" y="363"/>
                    <a:pt x="2156" y="363"/>
                  </a:cubicBezTo>
                  <a:cubicBezTo>
                    <a:pt x="2213" y="363"/>
                    <a:pt x="2242" y="402"/>
                    <a:pt x="2242" y="480"/>
                  </a:cubicBezTo>
                  <a:cubicBezTo>
                    <a:pt x="2242" y="692"/>
                    <a:pt x="2242" y="692"/>
                    <a:pt x="2242" y="692"/>
                  </a:cubicBezTo>
                  <a:cubicBezTo>
                    <a:pt x="2301" y="692"/>
                    <a:pt x="2301" y="692"/>
                    <a:pt x="2301" y="692"/>
                  </a:cubicBezTo>
                  <a:lnTo>
                    <a:pt x="2301" y="465"/>
                  </a:lnTo>
                  <a:close/>
                  <a:moveTo>
                    <a:pt x="2710" y="143"/>
                  </a:moveTo>
                  <a:cubicBezTo>
                    <a:pt x="2651" y="143"/>
                    <a:pt x="2651" y="143"/>
                    <a:pt x="2651" y="143"/>
                  </a:cubicBezTo>
                  <a:cubicBezTo>
                    <a:pt x="2651" y="372"/>
                    <a:pt x="2651" y="372"/>
                    <a:pt x="2651" y="372"/>
                  </a:cubicBezTo>
                  <a:cubicBezTo>
                    <a:pt x="2649" y="372"/>
                    <a:pt x="2649" y="372"/>
                    <a:pt x="2649" y="372"/>
                  </a:cubicBezTo>
                  <a:cubicBezTo>
                    <a:pt x="2626" y="332"/>
                    <a:pt x="2589" y="312"/>
                    <a:pt x="2538" y="312"/>
                  </a:cubicBezTo>
                  <a:cubicBezTo>
                    <a:pt x="2487" y="312"/>
                    <a:pt x="2445" y="331"/>
                    <a:pt x="2415" y="368"/>
                  </a:cubicBezTo>
                  <a:cubicBezTo>
                    <a:pt x="2384" y="405"/>
                    <a:pt x="2369" y="454"/>
                    <a:pt x="2369" y="515"/>
                  </a:cubicBezTo>
                  <a:cubicBezTo>
                    <a:pt x="2369" y="572"/>
                    <a:pt x="2382" y="617"/>
                    <a:pt x="2410" y="650"/>
                  </a:cubicBezTo>
                  <a:cubicBezTo>
                    <a:pt x="2438" y="684"/>
                    <a:pt x="2475" y="701"/>
                    <a:pt x="2522" y="701"/>
                  </a:cubicBezTo>
                  <a:cubicBezTo>
                    <a:pt x="2579" y="701"/>
                    <a:pt x="2622" y="677"/>
                    <a:pt x="2649" y="629"/>
                  </a:cubicBezTo>
                  <a:cubicBezTo>
                    <a:pt x="2651" y="629"/>
                    <a:pt x="2651" y="629"/>
                    <a:pt x="2651" y="629"/>
                  </a:cubicBezTo>
                  <a:cubicBezTo>
                    <a:pt x="2651" y="692"/>
                    <a:pt x="2651" y="692"/>
                    <a:pt x="2651" y="692"/>
                  </a:cubicBezTo>
                  <a:cubicBezTo>
                    <a:pt x="2710" y="692"/>
                    <a:pt x="2710" y="692"/>
                    <a:pt x="2710" y="692"/>
                  </a:cubicBezTo>
                  <a:lnTo>
                    <a:pt x="2710" y="143"/>
                  </a:lnTo>
                  <a:close/>
                  <a:moveTo>
                    <a:pt x="2619" y="615"/>
                  </a:moveTo>
                  <a:cubicBezTo>
                    <a:pt x="2598" y="638"/>
                    <a:pt x="2571" y="650"/>
                    <a:pt x="2539" y="650"/>
                  </a:cubicBezTo>
                  <a:cubicBezTo>
                    <a:pt x="2505" y="650"/>
                    <a:pt x="2479" y="638"/>
                    <a:pt x="2459" y="613"/>
                  </a:cubicBezTo>
                  <a:cubicBezTo>
                    <a:pt x="2439" y="588"/>
                    <a:pt x="2429" y="555"/>
                    <a:pt x="2429" y="512"/>
                  </a:cubicBezTo>
                  <a:cubicBezTo>
                    <a:pt x="2429" y="465"/>
                    <a:pt x="2440" y="429"/>
                    <a:pt x="2461" y="402"/>
                  </a:cubicBezTo>
                  <a:cubicBezTo>
                    <a:pt x="2482" y="376"/>
                    <a:pt x="2510" y="363"/>
                    <a:pt x="2546" y="363"/>
                  </a:cubicBezTo>
                  <a:cubicBezTo>
                    <a:pt x="2575" y="363"/>
                    <a:pt x="2600" y="373"/>
                    <a:pt x="2620" y="393"/>
                  </a:cubicBezTo>
                  <a:cubicBezTo>
                    <a:pt x="2641" y="413"/>
                    <a:pt x="2651" y="439"/>
                    <a:pt x="2651" y="469"/>
                  </a:cubicBezTo>
                  <a:cubicBezTo>
                    <a:pt x="2651" y="524"/>
                    <a:pt x="2651" y="524"/>
                    <a:pt x="2651" y="524"/>
                  </a:cubicBezTo>
                  <a:cubicBezTo>
                    <a:pt x="2651" y="561"/>
                    <a:pt x="2640" y="591"/>
                    <a:pt x="2619" y="615"/>
                  </a:cubicBezTo>
                  <a:close/>
                  <a:moveTo>
                    <a:pt x="3104" y="364"/>
                  </a:moveTo>
                  <a:cubicBezTo>
                    <a:pt x="3073" y="329"/>
                    <a:pt x="3030" y="312"/>
                    <a:pt x="2975" y="312"/>
                  </a:cubicBezTo>
                  <a:cubicBezTo>
                    <a:pt x="2916" y="312"/>
                    <a:pt x="2870" y="330"/>
                    <a:pt x="2836" y="365"/>
                  </a:cubicBezTo>
                  <a:cubicBezTo>
                    <a:pt x="2803" y="401"/>
                    <a:pt x="2786" y="449"/>
                    <a:pt x="2786" y="511"/>
                  </a:cubicBezTo>
                  <a:cubicBezTo>
                    <a:pt x="2786" y="568"/>
                    <a:pt x="2802" y="614"/>
                    <a:pt x="2835" y="648"/>
                  </a:cubicBezTo>
                  <a:cubicBezTo>
                    <a:pt x="2867" y="683"/>
                    <a:pt x="2911" y="701"/>
                    <a:pt x="2966" y="701"/>
                  </a:cubicBezTo>
                  <a:cubicBezTo>
                    <a:pt x="3022" y="701"/>
                    <a:pt x="3067" y="683"/>
                    <a:pt x="3100" y="647"/>
                  </a:cubicBezTo>
                  <a:cubicBezTo>
                    <a:pt x="3134" y="611"/>
                    <a:pt x="3150" y="564"/>
                    <a:pt x="3150" y="505"/>
                  </a:cubicBezTo>
                  <a:cubicBezTo>
                    <a:pt x="3150" y="445"/>
                    <a:pt x="3135" y="398"/>
                    <a:pt x="3104" y="364"/>
                  </a:cubicBezTo>
                  <a:close/>
                  <a:moveTo>
                    <a:pt x="3059" y="613"/>
                  </a:moveTo>
                  <a:cubicBezTo>
                    <a:pt x="3038" y="638"/>
                    <a:pt x="3009" y="650"/>
                    <a:pt x="2970" y="650"/>
                  </a:cubicBezTo>
                  <a:cubicBezTo>
                    <a:pt x="2932" y="650"/>
                    <a:pt x="2902" y="638"/>
                    <a:pt x="2880" y="613"/>
                  </a:cubicBezTo>
                  <a:cubicBezTo>
                    <a:pt x="2858" y="588"/>
                    <a:pt x="2847" y="553"/>
                    <a:pt x="2847" y="509"/>
                  </a:cubicBezTo>
                  <a:cubicBezTo>
                    <a:pt x="2847" y="462"/>
                    <a:pt x="2858" y="426"/>
                    <a:pt x="2880" y="401"/>
                  </a:cubicBezTo>
                  <a:cubicBezTo>
                    <a:pt x="2902" y="375"/>
                    <a:pt x="2932" y="363"/>
                    <a:pt x="2970" y="363"/>
                  </a:cubicBezTo>
                  <a:cubicBezTo>
                    <a:pt x="3009" y="363"/>
                    <a:pt x="3038" y="375"/>
                    <a:pt x="3059" y="400"/>
                  </a:cubicBezTo>
                  <a:cubicBezTo>
                    <a:pt x="3079" y="425"/>
                    <a:pt x="3090" y="461"/>
                    <a:pt x="3090" y="507"/>
                  </a:cubicBezTo>
                  <a:cubicBezTo>
                    <a:pt x="3090" y="553"/>
                    <a:pt x="3079" y="589"/>
                    <a:pt x="3059" y="613"/>
                  </a:cubicBezTo>
                  <a:close/>
                  <a:moveTo>
                    <a:pt x="3631" y="321"/>
                  </a:moveTo>
                  <a:cubicBezTo>
                    <a:pt x="3550" y="620"/>
                    <a:pt x="3550" y="620"/>
                    <a:pt x="3550" y="620"/>
                  </a:cubicBezTo>
                  <a:cubicBezTo>
                    <a:pt x="3547" y="620"/>
                    <a:pt x="3547" y="620"/>
                    <a:pt x="3547" y="620"/>
                  </a:cubicBezTo>
                  <a:cubicBezTo>
                    <a:pt x="3464" y="321"/>
                    <a:pt x="3464" y="321"/>
                    <a:pt x="3464" y="321"/>
                  </a:cubicBezTo>
                  <a:cubicBezTo>
                    <a:pt x="3410" y="321"/>
                    <a:pt x="3410" y="321"/>
                    <a:pt x="3410" y="321"/>
                  </a:cubicBezTo>
                  <a:cubicBezTo>
                    <a:pt x="3318" y="620"/>
                    <a:pt x="3318" y="620"/>
                    <a:pt x="3318" y="620"/>
                  </a:cubicBezTo>
                  <a:cubicBezTo>
                    <a:pt x="3315" y="620"/>
                    <a:pt x="3315" y="620"/>
                    <a:pt x="3315" y="620"/>
                  </a:cubicBezTo>
                  <a:cubicBezTo>
                    <a:pt x="3234" y="321"/>
                    <a:pt x="3234" y="321"/>
                    <a:pt x="3234" y="321"/>
                  </a:cubicBezTo>
                  <a:cubicBezTo>
                    <a:pt x="3171" y="321"/>
                    <a:pt x="3171" y="321"/>
                    <a:pt x="3171" y="321"/>
                  </a:cubicBezTo>
                  <a:cubicBezTo>
                    <a:pt x="3283" y="692"/>
                    <a:pt x="3283" y="692"/>
                    <a:pt x="3283" y="692"/>
                  </a:cubicBezTo>
                  <a:cubicBezTo>
                    <a:pt x="3343" y="692"/>
                    <a:pt x="3343" y="692"/>
                    <a:pt x="3343" y="692"/>
                  </a:cubicBezTo>
                  <a:cubicBezTo>
                    <a:pt x="3432" y="404"/>
                    <a:pt x="3432" y="404"/>
                    <a:pt x="3432" y="404"/>
                  </a:cubicBezTo>
                  <a:cubicBezTo>
                    <a:pt x="3434" y="404"/>
                    <a:pt x="3434" y="404"/>
                    <a:pt x="3434" y="404"/>
                  </a:cubicBezTo>
                  <a:cubicBezTo>
                    <a:pt x="3517" y="692"/>
                    <a:pt x="3517" y="692"/>
                    <a:pt x="3517" y="692"/>
                  </a:cubicBezTo>
                  <a:cubicBezTo>
                    <a:pt x="3578" y="692"/>
                    <a:pt x="3578" y="692"/>
                    <a:pt x="3578" y="692"/>
                  </a:cubicBezTo>
                  <a:cubicBezTo>
                    <a:pt x="3689" y="321"/>
                    <a:pt x="3689" y="321"/>
                    <a:pt x="3689" y="321"/>
                  </a:cubicBezTo>
                  <a:lnTo>
                    <a:pt x="3631" y="321"/>
                  </a:lnTo>
                  <a:close/>
                  <a:moveTo>
                    <a:pt x="3919" y="531"/>
                  </a:moveTo>
                  <a:cubicBezTo>
                    <a:pt x="3905" y="514"/>
                    <a:pt x="3880" y="499"/>
                    <a:pt x="3845" y="484"/>
                  </a:cubicBezTo>
                  <a:cubicBezTo>
                    <a:pt x="3816" y="472"/>
                    <a:pt x="3797" y="461"/>
                    <a:pt x="3788" y="452"/>
                  </a:cubicBezTo>
                  <a:cubicBezTo>
                    <a:pt x="3779" y="444"/>
                    <a:pt x="3775" y="431"/>
                    <a:pt x="3775" y="414"/>
                  </a:cubicBezTo>
                  <a:cubicBezTo>
                    <a:pt x="3775" y="399"/>
                    <a:pt x="3781" y="387"/>
                    <a:pt x="3792" y="377"/>
                  </a:cubicBezTo>
                  <a:cubicBezTo>
                    <a:pt x="3804" y="368"/>
                    <a:pt x="3820" y="363"/>
                    <a:pt x="3840" y="363"/>
                  </a:cubicBezTo>
                  <a:cubicBezTo>
                    <a:pt x="3872" y="363"/>
                    <a:pt x="3899" y="372"/>
                    <a:pt x="3924" y="389"/>
                  </a:cubicBezTo>
                  <a:cubicBezTo>
                    <a:pt x="3924" y="329"/>
                    <a:pt x="3924" y="329"/>
                    <a:pt x="3924" y="329"/>
                  </a:cubicBezTo>
                  <a:cubicBezTo>
                    <a:pt x="3900" y="318"/>
                    <a:pt x="3874" y="312"/>
                    <a:pt x="3844" y="312"/>
                  </a:cubicBezTo>
                  <a:cubicBezTo>
                    <a:pt x="3807" y="312"/>
                    <a:pt x="3775" y="322"/>
                    <a:pt x="3751" y="343"/>
                  </a:cubicBezTo>
                  <a:cubicBezTo>
                    <a:pt x="3726" y="363"/>
                    <a:pt x="3714" y="389"/>
                    <a:pt x="3714" y="420"/>
                  </a:cubicBezTo>
                  <a:cubicBezTo>
                    <a:pt x="3714" y="446"/>
                    <a:pt x="3721" y="467"/>
                    <a:pt x="3734" y="483"/>
                  </a:cubicBezTo>
                  <a:cubicBezTo>
                    <a:pt x="3748" y="499"/>
                    <a:pt x="3771" y="514"/>
                    <a:pt x="3803" y="528"/>
                  </a:cubicBezTo>
                  <a:cubicBezTo>
                    <a:pt x="3836" y="543"/>
                    <a:pt x="3857" y="555"/>
                    <a:pt x="3866" y="564"/>
                  </a:cubicBezTo>
                  <a:cubicBezTo>
                    <a:pt x="3875" y="573"/>
                    <a:pt x="3880" y="584"/>
                    <a:pt x="3880" y="598"/>
                  </a:cubicBezTo>
                  <a:cubicBezTo>
                    <a:pt x="3880" y="633"/>
                    <a:pt x="3856" y="650"/>
                    <a:pt x="3809" y="650"/>
                  </a:cubicBezTo>
                  <a:cubicBezTo>
                    <a:pt x="3774" y="650"/>
                    <a:pt x="3742" y="638"/>
                    <a:pt x="3713" y="615"/>
                  </a:cubicBezTo>
                  <a:cubicBezTo>
                    <a:pt x="3713" y="678"/>
                    <a:pt x="3713" y="678"/>
                    <a:pt x="3713" y="678"/>
                  </a:cubicBezTo>
                  <a:cubicBezTo>
                    <a:pt x="3739" y="693"/>
                    <a:pt x="3770" y="701"/>
                    <a:pt x="3805" y="701"/>
                  </a:cubicBezTo>
                  <a:cubicBezTo>
                    <a:pt x="3846" y="701"/>
                    <a:pt x="3879" y="691"/>
                    <a:pt x="3904" y="671"/>
                  </a:cubicBezTo>
                  <a:cubicBezTo>
                    <a:pt x="3928" y="651"/>
                    <a:pt x="3941" y="625"/>
                    <a:pt x="3941" y="593"/>
                  </a:cubicBezTo>
                  <a:cubicBezTo>
                    <a:pt x="3941" y="568"/>
                    <a:pt x="3934" y="547"/>
                    <a:pt x="3919" y="531"/>
                  </a:cubicBezTo>
                  <a:close/>
                </a:path>
              </a:pathLst>
            </a:custGeom>
            <a:solidFill>
              <a:schemeClr val="bg1"/>
            </a:solidFill>
            <a:ln>
              <a:noFill/>
            </a:ln>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94" name="Freeform 26"/>
            <p:cNvSpPr>
              <a:spLocks noChangeAspect="1" noEditPoints="1"/>
            </p:cNvSpPr>
            <p:nvPr/>
          </p:nvSpPr>
          <p:spPr bwMode="auto">
            <a:xfrm>
              <a:off x="2903998" y="4818048"/>
              <a:ext cx="340903" cy="275421"/>
            </a:xfrm>
            <a:custGeom>
              <a:avLst/>
              <a:gdLst>
                <a:gd name="T0" fmla="*/ 913 w 1219"/>
                <a:gd name="T1" fmla="*/ 603 h 985"/>
                <a:gd name="T2" fmla="*/ 1214 w 1219"/>
                <a:gd name="T3" fmla="*/ 523 h 985"/>
                <a:gd name="T4" fmla="*/ 1214 w 1219"/>
                <a:gd name="T5" fmla="*/ 660 h 985"/>
                <a:gd name="T6" fmla="*/ 1130 w 1219"/>
                <a:gd name="T7" fmla="*/ 732 h 985"/>
                <a:gd name="T8" fmla="*/ 1156 w 1219"/>
                <a:gd name="T9" fmla="*/ 814 h 985"/>
                <a:gd name="T10" fmla="*/ 1005 w 1219"/>
                <a:gd name="T11" fmla="*/ 873 h 985"/>
                <a:gd name="T12" fmla="*/ 937 w 1219"/>
                <a:gd name="T13" fmla="*/ 906 h 985"/>
                <a:gd name="T14" fmla="*/ 788 w 1219"/>
                <a:gd name="T15" fmla="*/ 985 h 985"/>
                <a:gd name="T16" fmla="*/ 749 w 1219"/>
                <a:gd name="T17" fmla="*/ 891 h 985"/>
                <a:gd name="T18" fmla="*/ 631 w 1219"/>
                <a:gd name="T19" fmla="*/ 899 h 985"/>
                <a:gd name="T20" fmla="*/ 533 w 1219"/>
                <a:gd name="T21" fmla="*/ 802 h 985"/>
                <a:gd name="T22" fmla="*/ 546 w 1219"/>
                <a:gd name="T23" fmla="*/ 689 h 985"/>
                <a:gd name="T24" fmla="*/ 463 w 1219"/>
                <a:gd name="T25" fmla="*/ 649 h 985"/>
                <a:gd name="T26" fmla="*/ 536 w 1219"/>
                <a:gd name="T27" fmla="*/ 501 h 985"/>
                <a:gd name="T28" fmla="*/ 563 w 1219"/>
                <a:gd name="T29" fmla="*/ 436 h 985"/>
                <a:gd name="T30" fmla="*/ 619 w 1219"/>
                <a:gd name="T31" fmla="*/ 279 h 985"/>
                <a:gd name="T32" fmla="*/ 706 w 1219"/>
                <a:gd name="T33" fmla="*/ 308 h 985"/>
                <a:gd name="T34" fmla="*/ 778 w 1219"/>
                <a:gd name="T35" fmla="*/ 230 h 985"/>
                <a:gd name="T36" fmla="*/ 915 w 1219"/>
                <a:gd name="T37" fmla="*/ 230 h 985"/>
                <a:gd name="T38" fmla="*/ 986 w 1219"/>
                <a:gd name="T39" fmla="*/ 307 h 985"/>
                <a:gd name="T40" fmla="*/ 1072 w 1219"/>
                <a:gd name="T41" fmla="*/ 279 h 985"/>
                <a:gd name="T42" fmla="*/ 1129 w 1219"/>
                <a:gd name="T43" fmla="*/ 434 h 985"/>
                <a:gd name="T44" fmla="*/ 1156 w 1219"/>
                <a:gd name="T45" fmla="*/ 501 h 985"/>
                <a:gd name="T46" fmla="*/ 1035 w 1219"/>
                <a:gd name="T47" fmla="*/ 603 h 985"/>
                <a:gd name="T48" fmla="*/ 846 w 1219"/>
                <a:gd name="T49" fmla="*/ 792 h 985"/>
                <a:gd name="T50" fmla="*/ 316 w 1219"/>
                <a:gd name="T51" fmla="*/ 263 h 985"/>
                <a:gd name="T52" fmla="*/ 526 w 1219"/>
                <a:gd name="T53" fmla="*/ 206 h 985"/>
                <a:gd name="T54" fmla="*/ 526 w 1219"/>
                <a:gd name="T55" fmla="*/ 302 h 985"/>
                <a:gd name="T56" fmla="*/ 468 w 1219"/>
                <a:gd name="T57" fmla="*/ 352 h 985"/>
                <a:gd name="T58" fmla="*/ 486 w 1219"/>
                <a:gd name="T59" fmla="*/ 410 h 985"/>
                <a:gd name="T60" fmla="*/ 380 w 1219"/>
                <a:gd name="T61" fmla="*/ 452 h 985"/>
                <a:gd name="T62" fmla="*/ 333 w 1219"/>
                <a:gd name="T63" fmla="*/ 475 h 985"/>
                <a:gd name="T64" fmla="*/ 229 w 1219"/>
                <a:gd name="T65" fmla="*/ 532 h 985"/>
                <a:gd name="T66" fmla="*/ 200 w 1219"/>
                <a:gd name="T67" fmla="*/ 465 h 985"/>
                <a:gd name="T68" fmla="*/ 118 w 1219"/>
                <a:gd name="T69" fmla="*/ 470 h 985"/>
                <a:gd name="T70" fmla="*/ 50 w 1219"/>
                <a:gd name="T71" fmla="*/ 402 h 985"/>
                <a:gd name="T72" fmla="*/ 59 w 1219"/>
                <a:gd name="T73" fmla="*/ 323 h 985"/>
                <a:gd name="T74" fmla="*/ 0 w 1219"/>
                <a:gd name="T75" fmla="*/ 295 h 985"/>
                <a:gd name="T76" fmla="*/ 53 w 1219"/>
                <a:gd name="T77" fmla="*/ 192 h 985"/>
                <a:gd name="T78" fmla="*/ 72 w 1219"/>
                <a:gd name="T79" fmla="*/ 146 h 985"/>
                <a:gd name="T80" fmla="*/ 109 w 1219"/>
                <a:gd name="T81" fmla="*/ 36 h 985"/>
                <a:gd name="T82" fmla="*/ 171 w 1219"/>
                <a:gd name="T83" fmla="*/ 56 h 985"/>
                <a:gd name="T84" fmla="*/ 222 w 1219"/>
                <a:gd name="T85" fmla="*/ 2 h 985"/>
                <a:gd name="T86" fmla="*/ 318 w 1219"/>
                <a:gd name="T87" fmla="*/ 2 h 985"/>
                <a:gd name="T88" fmla="*/ 368 w 1219"/>
                <a:gd name="T89" fmla="*/ 55 h 985"/>
                <a:gd name="T90" fmla="*/ 428 w 1219"/>
                <a:gd name="T91" fmla="*/ 36 h 985"/>
                <a:gd name="T92" fmla="*/ 467 w 1219"/>
                <a:gd name="T93" fmla="*/ 145 h 985"/>
                <a:gd name="T94" fmla="*/ 486 w 1219"/>
                <a:gd name="T95" fmla="*/ 192 h 985"/>
                <a:gd name="T96" fmla="*/ 401 w 1219"/>
                <a:gd name="T97" fmla="*/ 263 h 985"/>
                <a:gd name="T98" fmla="*/ 269 w 1219"/>
                <a:gd name="T99" fmla="*/ 395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19" h="985">
                  <a:moveTo>
                    <a:pt x="778" y="603"/>
                  </a:moveTo>
                  <a:cubicBezTo>
                    <a:pt x="778" y="566"/>
                    <a:pt x="808" y="536"/>
                    <a:pt x="845" y="536"/>
                  </a:cubicBezTo>
                  <a:cubicBezTo>
                    <a:pt x="882" y="536"/>
                    <a:pt x="913" y="566"/>
                    <a:pt x="913" y="603"/>
                  </a:cubicBezTo>
                  <a:cubicBezTo>
                    <a:pt x="913" y="640"/>
                    <a:pt x="882" y="670"/>
                    <a:pt x="845" y="670"/>
                  </a:cubicBezTo>
                  <a:cubicBezTo>
                    <a:pt x="808" y="670"/>
                    <a:pt x="778" y="640"/>
                    <a:pt x="778" y="603"/>
                  </a:cubicBezTo>
                  <a:close/>
                  <a:moveTo>
                    <a:pt x="1214" y="523"/>
                  </a:moveTo>
                  <a:cubicBezTo>
                    <a:pt x="1218" y="524"/>
                    <a:pt x="1219" y="529"/>
                    <a:pt x="1219" y="532"/>
                  </a:cubicBezTo>
                  <a:cubicBezTo>
                    <a:pt x="1219" y="532"/>
                    <a:pt x="1219" y="532"/>
                    <a:pt x="1219" y="649"/>
                  </a:cubicBezTo>
                  <a:cubicBezTo>
                    <a:pt x="1219" y="654"/>
                    <a:pt x="1218" y="658"/>
                    <a:pt x="1214" y="660"/>
                  </a:cubicBezTo>
                  <a:cubicBezTo>
                    <a:pt x="1214" y="660"/>
                    <a:pt x="1214" y="660"/>
                    <a:pt x="1157" y="680"/>
                  </a:cubicBezTo>
                  <a:cubicBezTo>
                    <a:pt x="1154" y="681"/>
                    <a:pt x="1149" y="686"/>
                    <a:pt x="1148" y="689"/>
                  </a:cubicBezTo>
                  <a:cubicBezTo>
                    <a:pt x="1148" y="689"/>
                    <a:pt x="1148" y="689"/>
                    <a:pt x="1130" y="732"/>
                  </a:cubicBezTo>
                  <a:cubicBezTo>
                    <a:pt x="1129" y="735"/>
                    <a:pt x="1129" y="742"/>
                    <a:pt x="1130" y="746"/>
                  </a:cubicBezTo>
                  <a:cubicBezTo>
                    <a:pt x="1130" y="746"/>
                    <a:pt x="1130" y="746"/>
                    <a:pt x="1157" y="802"/>
                  </a:cubicBezTo>
                  <a:cubicBezTo>
                    <a:pt x="1160" y="806"/>
                    <a:pt x="1159" y="812"/>
                    <a:pt x="1156" y="814"/>
                  </a:cubicBezTo>
                  <a:cubicBezTo>
                    <a:pt x="1156" y="814"/>
                    <a:pt x="1156" y="814"/>
                    <a:pt x="1072" y="897"/>
                  </a:cubicBezTo>
                  <a:cubicBezTo>
                    <a:pt x="1070" y="900"/>
                    <a:pt x="1064" y="902"/>
                    <a:pt x="1061" y="899"/>
                  </a:cubicBezTo>
                  <a:cubicBezTo>
                    <a:pt x="1061" y="899"/>
                    <a:pt x="1061" y="899"/>
                    <a:pt x="1005" y="873"/>
                  </a:cubicBezTo>
                  <a:cubicBezTo>
                    <a:pt x="1002" y="871"/>
                    <a:pt x="996" y="872"/>
                    <a:pt x="991" y="873"/>
                  </a:cubicBezTo>
                  <a:cubicBezTo>
                    <a:pt x="991" y="873"/>
                    <a:pt x="991" y="873"/>
                    <a:pt x="946" y="893"/>
                  </a:cubicBezTo>
                  <a:cubicBezTo>
                    <a:pt x="941" y="896"/>
                    <a:pt x="938" y="902"/>
                    <a:pt x="937" y="906"/>
                  </a:cubicBezTo>
                  <a:cubicBezTo>
                    <a:pt x="937" y="906"/>
                    <a:pt x="937" y="906"/>
                    <a:pt x="915" y="969"/>
                  </a:cubicBezTo>
                  <a:cubicBezTo>
                    <a:pt x="914" y="972"/>
                    <a:pt x="909" y="985"/>
                    <a:pt x="906" y="985"/>
                  </a:cubicBezTo>
                  <a:cubicBezTo>
                    <a:pt x="906" y="985"/>
                    <a:pt x="906" y="985"/>
                    <a:pt x="788" y="985"/>
                  </a:cubicBezTo>
                  <a:cubicBezTo>
                    <a:pt x="784" y="985"/>
                    <a:pt x="779" y="972"/>
                    <a:pt x="778" y="969"/>
                  </a:cubicBezTo>
                  <a:cubicBezTo>
                    <a:pt x="778" y="969"/>
                    <a:pt x="778" y="969"/>
                    <a:pt x="758" y="902"/>
                  </a:cubicBezTo>
                  <a:cubicBezTo>
                    <a:pt x="757" y="897"/>
                    <a:pt x="752" y="893"/>
                    <a:pt x="749" y="891"/>
                  </a:cubicBezTo>
                  <a:cubicBezTo>
                    <a:pt x="749" y="891"/>
                    <a:pt x="749" y="891"/>
                    <a:pt x="701" y="872"/>
                  </a:cubicBezTo>
                  <a:cubicBezTo>
                    <a:pt x="698" y="870"/>
                    <a:pt x="691" y="870"/>
                    <a:pt x="687" y="872"/>
                  </a:cubicBezTo>
                  <a:cubicBezTo>
                    <a:pt x="687" y="872"/>
                    <a:pt x="687" y="872"/>
                    <a:pt x="631" y="899"/>
                  </a:cubicBezTo>
                  <a:cubicBezTo>
                    <a:pt x="627" y="902"/>
                    <a:pt x="621" y="900"/>
                    <a:pt x="619" y="897"/>
                  </a:cubicBezTo>
                  <a:cubicBezTo>
                    <a:pt x="619" y="897"/>
                    <a:pt x="619" y="897"/>
                    <a:pt x="535" y="814"/>
                  </a:cubicBezTo>
                  <a:cubicBezTo>
                    <a:pt x="533" y="812"/>
                    <a:pt x="531" y="806"/>
                    <a:pt x="533" y="802"/>
                  </a:cubicBezTo>
                  <a:cubicBezTo>
                    <a:pt x="533" y="802"/>
                    <a:pt x="533" y="802"/>
                    <a:pt x="562" y="742"/>
                  </a:cubicBezTo>
                  <a:cubicBezTo>
                    <a:pt x="563" y="739"/>
                    <a:pt x="563" y="733"/>
                    <a:pt x="562" y="729"/>
                  </a:cubicBezTo>
                  <a:cubicBezTo>
                    <a:pt x="562" y="729"/>
                    <a:pt x="562" y="729"/>
                    <a:pt x="546" y="689"/>
                  </a:cubicBezTo>
                  <a:cubicBezTo>
                    <a:pt x="543" y="686"/>
                    <a:pt x="538" y="681"/>
                    <a:pt x="535" y="680"/>
                  </a:cubicBezTo>
                  <a:cubicBezTo>
                    <a:pt x="535" y="680"/>
                    <a:pt x="535" y="680"/>
                    <a:pt x="473" y="660"/>
                  </a:cubicBezTo>
                  <a:cubicBezTo>
                    <a:pt x="470" y="658"/>
                    <a:pt x="463" y="654"/>
                    <a:pt x="463" y="649"/>
                  </a:cubicBezTo>
                  <a:cubicBezTo>
                    <a:pt x="463" y="649"/>
                    <a:pt x="463" y="649"/>
                    <a:pt x="463" y="532"/>
                  </a:cubicBezTo>
                  <a:cubicBezTo>
                    <a:pt x="463" y="529"/>
                    <a:pt x="470" y="524"/>
                    <a:pt x="473" y="523"/>
                  </a:cubicBezTo>
                  <a:cubicBezTo>
                    <a:pt x="473" y="523"/>
                    <a:pt x="473" y="523"/>
                    <a:pt x="536" y="501"/>
                  </a:cubicBezTo>
                  <a:cubicBezTo>
                    <a:pt x="541" y="500"/>
                    <a:pt x="544" y="496"/>
                    <a:pt x="546" y="492"/>
                  </a:cubicBezTo>
                  <a:cubicBezTo>
                    <a:pt x="546" y="492"/>
                    <a:pt x="546" y="492"/>
                    <a:pt x="563" y="449"/>
                  </a:cubicBezTo>
                  <a:cubicBezTo>
                    <a:pt x="566" y="446"/>
                    <a:pt x="564" y="440"/>
                    <a:pt x="563" y="436"/>
                  </a:cubicBezTo>
                  <a:cubicBezTo>
                    <a:pt x="563" y="436"/>
                    <a:pt x="563" y="436"/>
                    <a:pt x="534" y="374"/>
                  </a:cubicBezTo>
                  <a:cubicBezTo>
                    <a:pt x="531" y="370"/>
                    <a:pt x="533" y="366"/>
                    <a:pt x="535" y="362"/>
                  </a:cubicBezTo>
                  <a:cubicBezTo>
                    <a:pt x="535" y="362"/>
                    <a:pt x="535" y="362"/>
                    <a:pt x="619" y="279"/>
                  </a:cubicBezTo>
                  <a:cubicBezTo>
                    <a:pt x="621" y="277"/>
                    <a:pt x="627" y="276"/>
                    <a:pt x="631" y="277"/>
                  </a:cubicBezTo>
                  <a:cubicBezTo>
                    <a:pt x="631" y="277"/>
                    <a:pt x="631" y="277"/>
                    <a:pt x="692" y="308"/>
                  </a:cubicBezTo>
                  <a:cubicBezTo>
                    <a:pt x="696" y="309"/>
                    <a:pt x="703" y="310"/>
                    <a:pt x="706" y="308"/>
                  </a:cubicBezTo>
                  <a:cubicBezTo>
                    <a:pt x="706" y="308"/>
                    <a:pt x="706" y="308"/>
                    <a:pt x="749" y="292"/>
                  </a:cubicBezTo>
                  <a:cubicBezTo>
                    <a:pt x="752" y="290"/>
                    <a:pt x="757" y="288"/>
                    <a:pt x="758" y="284"/>
                  </a:cubicBezTo>
                  <a:cubicBezTo>
                    <a:pt x="758" y="284"/>
                    <a:pt x="758" y="284"/>
                    <a:pt x="778" y="230"/>
                  </a:cubicBezTo>
                  <a:cubicBezTo>
                    <a:pt x="779" y="225"/>
                    <a:pt x="784" y="230"/>
                    <a:pt x="788" y="230"/>
                  </a:cubicBezTo>
                  <a:cubicBezTo>
                    <a:pt x="788" y="230"/>
                    <a:pt x="788" y="230"/>
                    <a:pt x="906" y="230"/>
                  </a:cubicBezTo>
                  <a:cubicBezTo>
                    <a:pt x="909" y="230"/>
                    <a:pt x="914" y="225"/>
                    <a:pt x="915" y="230"/>
                  </a:cubicBezTo>
                  <a:cubicBezTo>
                    <a:pt x="915" y="230"/>
                    <a:pt x="915" y="230"/>
                    <a:pt x="937" y="281"/>
                  </a:cubicBezTo>
                  <a:cubicBezTo>
                    <a:pt x="938" y="284"/>
                    <a:pt x="941" y="289"/>
                    <a:pt x="946" y="290"/>
                  </a:cubicBezTo>
                  <a:cubicBezTo>
                    <a:pt x="946" y="290"/>
                    <a:pt x="946" y="290"/>
                    <a:pt x="986" y="307"/>
                  </a:cubicBezTo>
                  <a:cubicBezTo>
                    <a:pt x="990" y="309"/>
                    <a:pt x="997" y="308"/>
                    <a:pt x="1000" y="307"/>
                  </a:cubicBezTo>
                  <a:cubicBezTo>
                    <a:pt x="1000" y="307"/>
                    <a:pt x="1000" y="307"/>
                    <a:pt x="1061" y="277"/>
                  </a:cubicBezTo>
                  <a:cubicBezTo>
                    <a:pt x="1064" y="276"/>
                    <a:pt x="1070" y="276"/>
                    <a:pt x="1072" y="279"/>
                  </a:cubicBezTo>
                  <a:cubicBezTo>
                    <a:pt x="1072" y="279"/>
                    <a:pt x="1072" y="279"/>
                    <a:pt x="1156" y="362"/>
                  </a:cubicBezTo>
                  <a:cubicBezTo>
                    <a:pt x="1159" y="366"/>
                    <a:pt x="1160" y="370"/>
                    <a:pt x="1157" y="374"/>
                  </a:cubicBezTo>
                  <a:cubicBezTo>
                    <a:pt x="1157" y="374"/>
                    <a:pt x="1157" y="374"/>
                    <a:pt x="1129" y="434"/>
                  </a:cubicBezTo>
                  <a:cubicBezTo>
                    <a:pt x="1127" y="438"/>
                    <a:pt x="1127" y="444"/>
                    <a:pt x="1129" y="447"/>
                  </a:cubicBezTo>
                  <a:cubicBezTo>
                    <a:pt x="1129" y="447"/>
                    <a:pt x="1129" y="447"/>
                    <a:pt x="1147" y="492"/>
                  </a:cubicBezTo>
                  <a:cubicBezTo>
                    <a:pt x="1149" y="496"/>
                    <a:pt x="1153" y="500"/>
                    <a:pt x="1156" y="501"/>
                  </a:cubicBezTo>
                  <a:cubicBezTo>
                    <a:pt x="1156" y="501"/>
                    <a:pt x="1156" y="501"/>
                    <a:pt x="1214" y="523"/>
                  </a:cubicBezTo>
                  <a:close/>
                  <a:moveTo>
                    <a:pt x="846" y="792"/>
                  </a:moveTo>
                  <a:cubicBezTo>
                    <a:pt x="950" y="792"/>
                    <a:pt x="1035" y="707"/>
                    <a:pt x="1035" y="603"/>
                  </a:cubicBezTo>
                  <a:cubicBezTo>
                    <a:pt x="1035" y="499"/>
                    <a:pt x="950" y="414"/>
                    <a:pt x="846" y="414"/>
                  </a:cubicBezTo>
                  <a:cubicBezTo>
                    <a:pt x="742" y="414"/>
                    <a:pt x="657" y="499"/>
                    <a:pt x="657" y="603"/>
                  </a:cubicBezTo>
                  <a:cubicBezTo>
                    <a:pt x="657" y="707"/>
                    <a:pt x="742" y="792"/>
                    <a:pt x="846" y="792"/>
                  </a:cubicBezTo>
                  <a:close/>
                  <a:moveTo>
                    <a:pt x="222" y="263"/>
                  </a:moveTo>
                  <a:cubicBezTo>
                    <a:pt x="222" y="289"/>
                    <a:pt x="243" y="310"/>
                    <a:pt x="269" y="310"/>
                  </a:cubicBezTo>
                  <a:cubicBezTo>
                    <a:pt x="295" y="310"/>
                    <a:pt x="316" y="289"/>
                    <a:pt x="316" y="263"/>
                  </a:cubicBezTo>
                  <a:cubicBezTo>
                    <a:pt x="316" y="237"/>
                    <a:pt x="295" y="216"/>
                    <a:pt x="269" y="216"/>
                  </a:cubicBezTo>
                  <a:cubicBezTo>
                    <a:pt x="243" y="216"/>
                    <a:pt x="222" y="237"/>
                    <a:pt x="222" y="263"/>
                  </a:cubicBezTo>
                  <a:close/>
                  <a:moveTo>
                    <a:pt x="526" y="206"/>
                  </a:moveTo>
                  <a:cubicBezTo>
                    <a:pt x="529" y="207"/>
                    <a:pt x="529" y="211"/>
                    <a:pt x="529" y="213"/>
                  </a:cubicBezTo>
                  <a:cubicBezTo>
                    <a:pt x="529" y="213"/>
                    <a:pt x="529" y="213"/>
                    <a:pt x="529" y="295"/>
                  </a:cubicBezTo>
                  <a:cubicBezTo>
                    <a:pt x="529" y="298"/>
                    <a:pt x="529" y="302"/>
                    <a:pt x="526" y="302"/>
                  </a:cubicBezTo>
                  <a:cubicBezTo>
                    <a:pt x="526" y="302"/>
                    <a:pt x="526" y="302"/>
                    <a:pt x="487" y="317"/>
                  </a:cubicBezTo>
                  <a:cubicBezTo>
                    <a:pt x="485" y="317"/>
                    <a:pt x="481" y="321"/>
                    <a:pt x="480" y="323"/>
                  </a:cubicBezTo>
                  <a:cubicBezTo>
                    <a:pt x="480" y="323"/>
                    <a:pt x="480" y="323"/>
                    <a:pt x="468" y="352"/>
                  </a:cubicBezTo>
                  <a:cubicBezTo>
                    <a:pt x="467" y="356"/>
                    <a:pt x="467" y="360"/>
                    <a:pt x="468" y="363"/>
                  </a:cubicBezTo>
                  <a:cubicBezTo>
                    <a:pt x="468" y="363"/>
                    <a:pt x="468" y="363"/>
                    <a:pt x="487" y="402"/>
                  </a:cubicBezTo>
                  <a:cubicBezTo>
                    <a:pt x="488" y="404"/>
                    <a:pt x="488" y="409"/>
                    <a:pt x="486" y="410"/>
                  </a:cubicBezTo>
                  <a:cubicBezTo>
                    <a:pt x="486" y="410"/>
                    <a:pt x="486" y="410"/>
                    <a:pt x="428" y="469"/>
                  </a:cubicBezTo>
                  <a:cubicBezTo>
                    <a:pt x="426" y="470"/>
                    <a:pt x="422" y="472"/>
                    <a:pt x="420" y="470"/>
                  </a:cubicBezTo>
                  <a:cubicBezTo>
                    <a:pt x="420" y="470"/>
                    <a:pt x="420" y="470"/>
                    <a:pt x="380" y="452"/>
                  </a:cubicBezTo>
                  <a:cubicBezTo>
                    <a:pt x="377" y="450"/>
                    <a:pt x="374" y="450"/>
                    <a:pt x="370" y="453"/>
                  </a:cubicBezTo>
                  <a:cubicBezTo>
                    <a:pt x="370" y="453"/>
                    <a:pt x="370" y="453"/>
                    <a:pt x="339" y="467"/>
                  </a:cubicBezTo>
                  <a:cubicBezTo>
                    <a:pt x="336" y="467"/>
                    <a:pt x="333" y="473"/>
                    <a:pt x="333" y="475"/>
                  </a:cubicBezTo>
                  <a:cubicBezTo>
                    <a:pt x="333" y="475"/>
                    <a:pt x="333" y="475"/>
                    <a:pt x="318" y="520"/>
                  </a:cubicBezTo>
                  <a:cubicBezTo>
                    <a:pt x="317" y="522"/>
                    <a:pt x="314" y="532"/>
                    <a:pt x="311" y="532"/>
                  </a:cubicBezTo>
                  <a:cubicBezTo>
                    <a:pt x="311" y="532"/>
                    <a:pt x="311" y="532"/>
                    <a:pt x="229" y="532"/>
                  </a:cubicBezTo>
                  <a:cubicBezTo>
                    <a:pt x="226" y="532"/>
                    <a:pt x="223" y="522"/>
                    <a:pt x="222" y="520"/>
                  </a:cubicBezTo>
                  <a:cubicBezTo>
                    <a:pt x="222" y="520"/>
                    <a:pt x="222" y="520"/>
                    <a:pt x="207" y="472"/>
                  </a:cubicBezTo>
                  <a:cubicBezTo>
                    <a:pt x="206" y="468"/>
                    <a:pt x="204" y="466"/>
                    <a:pt x="200" y="465"/>
                  </a:cubicBezTo>
                  <a:cubicBezTo>
                    <a:pt x="200" y="465"/>
                    <a:pt x="200" y="465"/>
                    <a:pt x="167" y="450"/>
                  </a:cubicBezTo>
                  <a:cubicBezTo>
                    <a:pt x="165" y="449"/>
                    <a:pt x="161" y="449"/>
                    <a:pt x="158" y="450"/>
                  </a:cubicBezTo>
                  <a:cubicBezTo>
                    <a:pt x="158" y="450"/>
                    <a:pt x="158" y="450"/>
                    <a:pt x="118" y="470"/>
                  </a:cubicBezTo>
                  <a:cubicBezTo>
                    <a:pt x="115" y="472"/>
                    <a:pt x="112" y="470"/>
                    <a:pt x="109" y="469"/>
                  </a:cubicBezTo>
                  <a:cubicBezTo>
                    <a:pt x="109" y="469"/>
                    <a:pt x="109" y="469"/>
                    <a:pt x="52" y="410"/>
                  </a:cubicBezTo>
                  <a:cubicBezTo>
                    <a:pt x="49" y="409"/>
                    <a:pt x="49" y="404"/>
                    <a:pt x="50" y="402"/>
                  </a:cubicBezTo>
                  <a:cubicBezTo>
                    <a:pt x="50" y="402"/>
                    <a:pt x="50" y="402"/>
                    <a:pt x="71" y="361"/>
                  </a:cubicBezTo>
                  <a:cubicBezTo>
                    <a:pt x="72" y="358"/>
                    <a:pt x="72" y="354"/>
                    <a:pt x="71" y="351"/>
                  </a:cubicBezTo>
                  <a:cubicBezTo>
                    <a:pt x="71" y="351"/>
                    <a:pt x="71" y="351"/>
                    <a:pt x="59" y="323"/>
                  </a:cubicBezTo>
                  <a:cubicBezTo>
                    <a:pt x="58" y="321"/>
                    <a:pt x="54" y="317"/>
                    <a:pt x="50" y="317"/>
                  </a:cubicBezTo>
                  <a:cubicBezTo>
                    <a:pt x="50" y="317"/>
                    <a:pt x="50" y="317"/>
                    <a:pt x="8" y="302"/>
                  </a:cubicBezTo>
                  <a:cubicBezTo>
                    <a:pt x="6" y="302"/>
                    <a:pt x="0" y="298"/>
                    <a:pt x="0" y="295"/>
                  </a:cubicBezTo>
                  <a:cubicBezTo>
                    <a:pt x="0" y="295"/>
                    <a:pt x="0" y="295"/>
                    <a:pt x="0" y="213"/>
                  </a:cubicBezTo>
                  <a:cubicBezTo>
                    <a:pt x="0" y="211"/>
                    <a:pt x="6" y="207"/>
                    <a:pt x="8" y="206"/>
                  </a:cubicBezTo>
                  <a:cubicBezTo>
                    <a:pt x="8" y="206"/>
                    <a:pt x="8" y="206"/>
                    <a:pt x="53" y="192"/>
                  </a:cubicBezTo>
                  <a:cubicBezTo>
                    <a:pt x="55" y="191"/>
                    <a:pt x="59" y="188"/>
                    <a:pt x="59" y="185"/>
                  </a:cubicBezTo>
                  <a:cubicBezTo>
                    <a:pt x="59" y="185"/>
                    <a:pt x="59" y="185"/>
                    <a:pt x="72" y="155"/>
                  </a:cubicBezTo>
                  <a:cubicBezTo>
                    <a:pt x="73" y="153"/>
                    <a:pt x="73" y="148"/>
                    <a:pt x="72" y="146"/>
                  </a:cubicBezTo>
                  <a:cubicBezTo>
                    <a:pt x="72" y="146"/>
                    <a:pt x="72" y="146"/>
                    <a:pt x="50" y="102"/>
                  </a:cubicBezTo>
                  <a:cubicBezTo>
                    <a:pt x="49" y="100"/>
                    <a:pt x="49" y="96"/>
                    <a:pt x="52" y="94"/>
                  </a:cubicBezTo>
                  <a:cubicBezTo>
                    <a:pt x="52" y="94"/>
                    <a:pt x="52" y="94"/>
                    <a:pt x="109" y="36"/>
                  </a:cubicBezTo>
                  <a:cubicBezTo>
                    <a:pt x="112" y="34"/>
                    <a:pt x="115" y="34"/>
                    <a:pt x="118" y="35"/>
                  </a:cubicBezTo>
                  <a:cubicBezTo>
                    <a:pt x="118" y="35"/>
                    <a:pt x="118" y="35"/>
                    <a:pt x="161" y="56"/>
                  </a:cubicBezTo>
                  <a:cubicBezTo>
                    <a:pt x="164" y="57"/>
                    <a:pt x="169" y="57"/>
                    <a:pt x="171" y="56"/>
                  </a:cubicBezTo>
                  <a:cubicBezTo>
                    <a:pt x="171" y="56"/>
                    <a:pt x="171" y="56"/>
                    <a:pt x="200" y="46"/>
                  </a:cubicBezTo>
                  <a:cubicBezTo>
                    <a:pt x="204" y="44"/>
                    <a:pt x="206" y="43"/>
                    <a:pt x="207" y="40"/>
                  </a:cubicBezTo>
                  <a:cubicBezTo>
                    <a:pt x="207" y="40"/>
                    <a:pt x="207" y="40"/>
                    <a:pt x="222" y="2"/>
                  </a:cubicBezTo>
                  <a:cubicBezTo>
                    <a:pt x="223" y="0"/>
                    <a:pt x="226" y="3"/>
                    <a:pt x="229" y="3"/>
                  </a:cubicBezTo>
                  <a:cubicBezTo>
                    <a:pt x="229" y="3"/>
                    <a:pt x="229" y="3"/>
                    <a:pt x="311" y="3"/>
                  </a:cubicBezTo>
                  <a:cubicBezTo>
                    <a:pt x="314" y="3"/>
                    <a:pt x="317" y="0"/>
                    <a:pt x="318" y="2"/>
                  </a:cubicBezTo>
                  <a:cubicBezTo>
                    <a:pt x="318" y="2"/>
                    <a:pt x="318" y="2"/>
                    <a:pt x="333" y="37"/>
                  </a:cubicBezTo>
                  <a:cubicBezTo>
                    <a:pt x="333" y="40"/>
                    <a:pt x="336" y="43"/>
                    <a:pt x="339" y="43"/>
                  </a:cubicBezTo>
                  <a:cubicBezTo>
                    <a:pt x="339" y="43"/>
                    <a:pt x="339" y="43"/>
                    <a:pt x="368" y="55"/>
                  </a:cubicBezTo>
                  <a:cubicBezTo>
                    <a:pt x="370" y="56"/>
                    <a:pt x="374" y="56"/>
                    <a:pt x="377" y="55"/>
                  </a:cubicBezTo>
                  <a:cubicBezTo>
                    <a:pt x="377" y="55"/>
                    <a:pt x="377" y="55"/>
                    <a:pt x="420" y="35"/>
                  </a:cubicBezTo>
                  <a:cubicBezTo>
                    <a:pt x="422" y="34"/>
                    <a:pt x="426" y="34"/>
                    <a:pt x="428" y="36"/>
                  </a:cubicBezTo>
                  <a:cubicBezTo>
                    <a:pt x="428" y="36"/>
                    <a:pt x="428" y="36"/>
                    <a:pt x="486" y="94"/>
                  </a:cubicBezTo>
                  <a:cubicBezTo>
                    <a:pt x="488" y="96"/>
                    <a:pt x="488" y="100"/>
                    <a:pt x="487" y="102"/>
                  </a:cubicBezTo>
                  <a:cubicBezTo>
                    <a:pt x="487" y="102"/>
                    <a:pt x="487" y="102"/>
                    <a:pt x="467" y="145"/>
                  </a:cubicBezTo>
                  <a:cubicBezTo>
                    <a:pt x="466" y="147"/>
                    <a:pt x="466" y="151"/>
                    <a:pt x="467" y="154"/>
                  </a:cubicBezTo>
                  <a:cubicBezTo>
                    <a:pt x="467" y="154"/>
                    <a:pt x="467" y="154"/>
                    <a:pt x="480" y="185"/>
                  </a:cubicBezTo>
                  <a:cubicBezTo>
                    <a:pt x="481" y="188"/>
                    <a:pt x="484" y="191"/>
                    <a:pt x="486" y="192"/>
                  </a:cubicBezTo>
                  <a:cubicBezTo>
                    <a:pt x="486" y="192"/>
                    <a:pt x="486" y="192"/>
                    <a:pt x="526" y="206"/>
                  </a:cubicBezTo>
                  <a:close/>
                  <a:moveTo>
                    <a:pt x="269" y="395"/>
                  </a:moveTo>
                  <a:cubicBezTo>
                    <a:pt x="342" y="395"/>
                    <a:pt x="401" y="336"/>
                    <a:pt x="401" y="263"/>
                  </a:cubicBezTo>
                  <a:cubicBezTo>
                    <a:pt x="401" y="190"/>
                    <a:pt x="342" y="131"/>
                    <a:pt x="269" y="131"/>
                  </a:cubicBezTo>
                  <a:cubicBezTo>
                    <a:pt x="196" y="131"/>
                    <a:pt x="137" y="190"/>
                    <a:pt x="137" y="263"/>
                  </a:cubicBezTo>
                  <a:cubicBezTo>
                    <a:pt x="137" y="336"/>
                    <a:pt x="196" y="395"/>
                    <a:pt x="269" y="395"/>
                  </a:cubicBezTo>
                  <a:close/>
                </a:path>
              </a:pathLst>
            </a:custGeom>
            <a:solidFill>
              <a:schemeClr val="bg1"/>
            </a:solidFill>
            <a:ln>
              <a:noFill/>
            </a:ln>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95" name="Freeform 33"/>
            <p:cNvSpPr>
              <a:spLocks noChangeAspect="1" noEditPoints="1"/>
            </p:cNvSpPr>
            <p:nvPr/>
          </p:nvSpPr>
          <p:spPr bwMode="auto">
            <a:xfrm>
              <a:off x="1805486" y="5977458"/>
              <a:ext cx="1618978" cy="183037"/>
            </a:xfrm>
            <a:custGeom>
              <a:avLst/>
              <a:gdLst>
                <a:gd name="T0" fmla="*/ 8 w 1061"/>
                <a:gd name="T1" fmla="*/ 95 h 117"/>
                <a:gd name="T2" fmla="*/ 64 w 1061"/>
                <a:gd name="T3" fmla="*/ 36 h 117"/>
                <a:gd name="T4" fmla="*/ 80 w 1061"/>
                <a:gd name="T5" fmla="*/ 23 h 117"/>
                <a:gd name="T6" fmla="*/ 621 w 1061"/>
                <a:gd name="T7" fmla="*/ 116 h 117"/>
                <a:gd name="T8" fmla="*/ 473 w 1061"/>
                <a:gd name="T9" fmla="*/ 41 h 117"/>
                <a:gd name="T10" fmla="*/ 424 w 1061"/>
                <a:gd name="T11" fmla="*/ 32 h 117"/>
                <a:gd name="T12" fmla="*/ 412 w 1061"/>
                <a:gd name="T13" fmla="*/ 32 h 117"/>
                <a:gd name="T14" fmla="*/ 423 w 1061"/>
                <a:gd name="T15" fmla="*/ 95 h 117"/>
                <a:gd name="T16" fmla="*/ 474 w 1061"/>
                <a:gd name="T17" fmla="*/ 95 h 117"/>
                <a:gd name="T18" fmla="*/ 1011 w 1061"/>
                <a:gd name="T19" fmla="*/ 60 h 117"/>
                <a:gd name="T20" fmla="*/ 552 w 1061"/>
                <a:gd name="T21" fmla="*/ 9 h 117"/>
                <a:gd name="T22" fmla="*/ 530 w 1061"/>
                <a:gd name="T23" fmla="*/ 88 h 117"/>
                <a:gd name="T24" fmla="*/ 518 w 1061"/>
                <a:gd name="T25" fmla="*/ 28 h 117"/>
                <a:gd name="T26" fmla="*/ 847 w 1061"/>
                <a:gd name="T27" fmla="*/ 66 h 117"/>
                <a:gd name="T28" fmla="*/ 843 w 1061"/>
                <a:gd name="T29" fmla="*/ 88 h 117"/>
                <a:gd name="T30" fmla="*/ 752 w 1061"/>
                <a:gd name="T31" fmla="*/ 40 h 117"/>
                <a:gd name="T32" fmla="*/ 736 w 1061"/>
                <a:gd name="T33" fmla="*/ 36 h 117"/>
                <a:gd name="T34" fmla="*/ 264 w 1061"/>
                <a:gd name="T35" fmla="*/ 32 h 117"/>
                <a:gd name="T36" fmla="*/ 340 w 1061"/>
                <a:gd name="T37" fmla="*/ 49 h 117"/>
                <a:gd name="T38" fmla="*/ 707 w 1061"/>
                <a:gd name="T39" fmla="*/ 95 h 117"/>
                <a:gd name="T40" fmla="*/ 661 w 1061"/>
                <a:gd name="T41" fmla="*/ 9 h 117"/>
                <a:gd name="T42" fmla="*/ 919 w 1061"/>
                <a:gd name="T43" fmla="*/ 95 h 117"/>
                <a:gd name="T44" fmla="*/ 294 w 1061"/>
                <a:gd name="T45" fmla="*/ 94 h 117"/>
                <a:gd name="T46" fmla="*/ 329 w 1061"/>
                <a:gd name="T47" fmla="*/ 34 h 117"/>
                <a:gd name="T48" fmla="*/ 293 w 1061"/>
                <a:gd name="T49" fmla="*/ 92 h 117"/>
                <a:gd name="T50" fmla="*/ 134 w 1061"/>
                <a:gd name="T51" fmla="*/ 48 h 117"/>
                <a:gd name="T52" fmla="*/ 191 w 1061"/>
                <a:gd name="T53" fmla="*/ 32 h 117"/>
                <a:gd name="T54" fmla="*/ 222 w 1061"/>
                <a:gd name="T55" fmla="*/ 42 h 117"/>
                <a:gd name="T56" fmla="*/ 1023 w 1061"/>
                <a:gd name="T57" fmla="*/ 32 h 117"/>
                <a:gd name="T58" fmla="*/ 1054 w 1061"/>
                <a:gd name="T59" fmla="*/ 33 h 117"/>
                <a:gd name="T60" fmla="*/ 858 w 1061"/>
                <a:gd name="T61" fmla="*/ 94 h 117"/>
                <a:gd name="T62" fmla="*/ 890 w 1061"/>
                <a:gd name="T63" fmla="*/ 31 h 117"/>
                <a:gd name="T64" fmla="*/ 109 w 1061"/>
                <a:gd name="T65" fmla="*/ 95 h 117"/>
                <a:gd name="T66" fmla="*/ 480 w 1061"/>
                <a:gd name="T67" fmla="*/ 36 h 117"/>
                <a:gd name="T68" fmla="*/ 481 w 1061"/>
                <a:gd name="T69" fmla="*/ 33 h 117"/>
                <a:gd name="T70" fmla="*/ 480 w 1061"/>
                <a:gd name="T71" fmla="*/ 33 h 117"/>
                <a:gd name="T72" fmla="*/ 1061 w 1061"/>
                <a:gd name="T73" fmla="*/ 34 h 117"/>
                <a:gd name="T74" fmla="*/ 1058 w 1061"/>
                <a:gd name="T75" fmla="*/ 36 h 117"/>
                <a:gd name="T76" fmla="*/ 1061 w 1061"/>
                <a:gd name="T77" fmla="*/ 36 h 117"/>
                <a:gd name="T78" fmla="*/ 480 w 1061"/>
                <a:gd name="T79" fmla="*/ 36 h 117"/>
                <a:gd name="T80" fmla="*/ 477 w 1061"/>
                <a:gd name="T81" fmla="*/ 33 h 117"/>
                <a:gd name="T82" fmla="*/ 481 w 1061"/>
                <a:gd name="T83" fmla="*/ 36 h 117"/>
                <a:gd name="T84" fmla="*/ 620 w 1061"/>
                <a:gd name="T85" fmla="*/ 17 h 117"/>
                <a:gd name="T86" fmla="*/ 1000 w 1061"/>
                <a:gd name="T87" fmla="*/ 57 h 117"/>
                <a:gd name="T88" fmla="*/ 809 w 1061"/>
                <a:gd name="T89" fmla="*/ 45 h 117"/>
                <a:gd name="T90" fmla="*/ 235 w 1061"/>
                <a:gd name="T91" fmla="*/ 52 h 117"/>
                <a:gd name="T92" fmla="*/ 348 w 1061"/>
                <a:gd name="T93" fmla="*/ 64 h 117"/>
                <a:gd name="T94" fmla="*/ 478 w 1061"/>
                <a:gd name="T95" fmla="*/ 36 h 117"/>
                <a:gd name="T96" fmla="*/ 481 w 1061"/>
                <a:gd name="T97" fmla="*/ 35 h 117"/>
                <a:gd name="T98" fmla="*/ 1057 w 1061"/>
                <a:gd name="T99" fmla="*/ 34 h 117"/>
                <a:gd name="T100" fmla="*/ 1060 w 1061"/>
                <a:gd name="T101" fmla="*/ 35 h 117"/>
                <a:gd name="T102" fmla="*/ 478 w 1061"/>
                <a:gd name="T103" fmla="*/ 32 h 117"/>
                <a:gd name="T104" fmla="*/ 1059 w 1061"/>
                <a:gd name="T105" fmla="*/ 35 h 117"/>
                <a:gd name="T106" fmla="*/ 480 w 1061"/>
                <a:gd name="T107" fmla="*/ 35 h 117"/>
                <a:gd name="T108" fmla="*/ 478 w 1061"/>
                <a:gd name="T109" fmla="*/ 33 h 117"/>
                <a:gd name="T110" fmla="*/ 1060 w 1061"/>
                <a:gd name="T111" fmla="*/ 33 h 117"/>
                <a:gd name="T112" fmla="*/ 1060 w 1061"/>
                <a:gd name="T113" fmla="*/ 33 h 117"/>
                <a:gd name="T114" fmla="*/ 1060 w 1061"/>
                <a:gd name="T115" fmla="*/ 34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61" h="117">
                  <a:moveTo>
                    <a:pt x="80" y="23"/>
                  </a:moveTo>
                  <a:cubicBezTo>
                    <a:pt x="80" y="24"/>
                    <a:pt x="80" y="24"/>
                    <a:pt x="79" y="25"/>
                  </a:cubicBezTo>
                  <a:cubicBezTo>
                    <a:pt x="69" y="48"/>
                    <a:pt x="59" y="71"/>
                    <a:pt x="49" y="94"/>
                  </a:cubicBezTo>
                  <a:cubicBezTo>
                    <a:pt x="49" y="94"/>
                    <a:pt x="49" y="94"/>
                    <a:pt x="49" y="95"/>
                  </a:cubicBezTo>
                  <a:cubicBezTo>
                    <a:pt x="48" y="95"/>
                    <a:pt x="48" y="96"/>
                    <a:pt x="47" y="95"/>
                  </a:cubicBezTo>
                  <a:cubicBezTo>
                    <a:pt x="46" y="95"/>
                    <a:pt x="44" y="96"/>
                    <a:pt x="43" y="95"/>
                  </a:cubicBezTo>
                  <a:cubicBezTo>
                    <a:pt x="42" y="95"/>
                    <a:pt x="42" y="93"/>
                    <a:pt x="41" y="92"/>
                  </a:cubicBezTo>
                  <a:cubicBezTo>
                    <a:pt x="31" y="69"/>
                    <a:pt x="21" y="47"/>
                    <a:pt x="11" y="25"/>
                  </a:cubicBezTo>
                  <a:cubicBezTo>
                    <a:pt x="11" y="24"/>
                    <a:pt x="11" y="24"/>
                    <a:pt x="10" y="23"/>
                  </a:cubicBezTo>
                  <a:cubicBezTo>
                    <a:pt x="10" y="24"/>
                    <a:pt x="10" y="25"/>
                    <a:pt x="10" y="25"/>
                  </a:cubicBezTo>
                  <a:cubicBezTo>
                    <a:pt x="10" y="48"/>
                    <a:pt x="10" y="71"/>
                    <a:pt x="10" y="93"/>
                  </a:cubicBezTo>
                  <a:cubicBezTo>
                    <a:pt x="10" y="96"/>
                    <a:pt x="11" y="95"/>
                    <a:pt x="8" y="95"/>
                  </a:cubicBezTo>
                  <a:cubicBezTo>
                    <a:pt x="6" y="95"/>
                    <a:pt x="4" y="95"/>
                    <a:pt x="1" y="95"/>
                  </a:cubicBezTo>
                  <a:cubicBezTo>
                    <a:pt x="0" y="95"/>
                    <a:pt x="0" y="95"/>
                    <a:pt x="0" y="95"/>
                  </a:cubicBezTo>
                  <a:cubicBezTo>
                    <a:pt x="0" y="94"/>
                    <a:pt x="0" y="94"/>
                    <a:pt x="0" y="93"/>
                  </a:cubicBezTo>
                  <a:cubicBezTo>
                    <a:pt x="0" y="65"/>
                    <a:pt x="0" y="37"/>
                    <a:pt x="0" y="9"/>
                  </a:cubicBezTo>
                  <a:cubicBezTo>
                    <a:pt x="0" y="7"/>
                    <a:pt x="0" y="7"/>
                    <a:pt x="2" y="7"/>
                  </a:cubicBezTo>
                  <a:cubicBezTo>
                    <a:pt x="6" y="7"/>
                    <a:pt x="9" y="7"/>
                    <a:pt x="12" y="7"/>
                  </a:cubicBezTo>
                  <a:cubicBezTo>
                    <a:pt x="14" y="7"/>
                    <a:pt x="14" y="7"/>
                    <a:pt x="15" y="8"/>
                  </a:cubicBezTo>
                  <a:cubicBezTo>
                    <a:pt x="21" y="24"/>
                    <a:pt x="28" y="39"/>
                    <a:pt x="35" y="55"/>
                  </a:cubicBezTo>
                  <a:cubicBezTo>
                    <a:pt x="38" y="62"/>
                    <a:pt x="41" y="69"/>
                    <a:pt x="45" y="76"/>
                  </a:cubicBezTo>
                  <a:cubicBezTo>
                    <a:pt x="45" y="77"/>
                    <a:pt x="45" y="77"/>
                    <a:pt x="45" y="78"/>
                  </a:cubicBezTo>
                  <a:cubicBezTo>
                    <a:pt x="46" y="77"/>
                    <a:pt x="46" y="77"/>
                    <a:pt x="46" y="76"/>
                  </a:cubicBezTo>
                  <a:cubicBezTo>
                    <a:pt x="52" y="63"/>
                    <a:pt x="58" y="50"/>
                    <a:pt x="64" y="36"/>
                  </a:cubicBezTo>
                  <a:cubicBezTo>
                    <a:pt x="69" y="27"/>
                    <a:pt x="73" y="18"/>
                    <a:pt x="77" y="8"/>
                  </a:cubicBezTo>
                  <a:cubicBezTo>
                    <a:pt x="77" y="7"/>
                    <a:pt x="78" y="7"/>
                    <a:pt x="79" y="7"/>
                  </a:cubicBezTo>
                  <a:cubicBezTo>
                    <a:pt x="83" y="7"/>
                    <a:pt x="86" y="7"/>
                    <a:pt x="90" y="7"/>
                  </a:cubicBezTo>
                  <a:cubicBezTo>
                    <a:pt x="91" y="7"/>
                    <a:pt x="91" y="7"/>
                    <a:pt x="91" y="8"/>
                  </a:cubicBezTo>
                  <a:cubicBezTo>
                    <a:pt x="91" y="11"/>
                    <a:pt x="91" y="13"/>
                    <a:pt x="91" y="16"/>
                  </a:cubicBezTo>
                  <a:cubicBezTo>
                    <a:pt x="91" y="42"/>
                    <a:pt x="91" y="68"/>
                    <a:pt x="91" y="94"/>
                  </a:cubicBezTo>
                  <a:cubicBezTo>
                    <a:pt x="91" y="96"/>
                    <a:pt x="91" y="95"/>
                    <a:pt x="89" y="95"/>
                  </a:cubicBezTo>
                  <a:cubicBezTo>
                    <a:pt x="86" y="95"/>
                    <a:pt x="84" y="95"/>
                    <a:pt x="82" y="95"/>
                  </a:cubicBezTo>
                  <a:cubicBezTo>
                    <a:pt x="80" y="95"/>
                    <a:pt x="80" y="95"/>
                    <a:pt x="80" y="94"/>
                  </a:cubicBezTo>
                  <a:cubicBezTo>
                    <a:pt x="80" y="94"/>
                    <a:pt x="80" y="94"/>
                    <a:pt x="80" y="93"/>
                  </a:cubicBezTo>
                  <a:cubicBezTo>
                    <a:pt x="80" y="71"/>
                    <a:pt x="80" y="48"/>
                    <a:pt x="80" y="25"/>
                  </a:cubicBezTo>
                  <a:cubicBezTo>
                    <a:pt x="80" y="25"/>
                    <a:pt x="80" y="24"/>
                    <a:pt x="80" y="23"/>
                  </a:cubicBezTo>
                  <a:close/>
                  <a:moveTo>
                    <a:pt x="644" y="72"/>
                  </a:moveTo>
                  <a:cubicBezTo>
                    <a:pt x="647" y="65"/>
                    <a:pt x="648" y="58"/>
                    <a:pt x="648" y="50"/>
                  </a:cubicBezTo>
                  <a:cubicBezTo>
                    <a:pt x="648" y="43"/>
                    <a:pt x="647" y="37"/>
                    <a:pt x="644" y="30"/>
                  </a:cubicBezTo>
                  <a:cubicBezTo>
                    <a:pt x="640" y="19"/>
                    <a:pt x="631" y="11"/>
                    <a:pt x="620" y="7"/>
                  </a:cubicBezTo>
                  <a:cubicBezTo>
                    <a:pt x="612" y="5"/>
                    <a:pt x="605" y="5"/>
                    <a:pt x="597" y="6"/>
                  </a:cubicBezTo>
                  <a:cubicBezTo>
                    <a:pt x="585" y="9"/>
                    <a:pt x="575" y="16"/>
                    <a:pt x="569" y="27"/>
                  </a:cubicBezTo>
                  <a:cubicBezTo>
                    <a:pt x="566" y="34"/>
                    <a:pt x="564" y="42"/>
                    <a:pt x="564" y="50"/>
                  </a:cubicBezTo>
                  <a:cubicBezTo>
                    <a:pt x="564" y="57"/>
                    <a:pt x="565" y="64"/>
                    <a:pt x="567" y="71"/>
                  </a:cubicBezTo>
                  <a:cubicBezTo>
                    <a:pt x="571" y="80"/>
                    <a:pt x="577" y="88"/>
                    <a:pt x="586" y="93"/>
                  </a:cubicBezTo>
                  <a:cubicBezTo>
                    <a:pt x="591" y="95"/>
                    <a:pt x="597" y="97"/>
                    <a:pt x="603" y="97"/>
                  </a:cubicBezTo>
                  <a:cubicBezTo>
                    <a:pt x="605" y="97"/>
                    <a:pt x="605" y="97"/>
                    <a:pt x="606" y="98"/>
                  </a:cubicBezTo>
                  <a:cubicBezTo>
                    <a:pt x="611" y="104"/>
                    <a:pt x="616" y="110"/>
                    <a:pt x="621" y="116"/>
                  </a:cubicBezTo>
                  <a:cubicBezTo>
                    <a:pt x="622" y="117"/>
                    <a:pt x="623" y="117"/>
                    <a:pt x="624" y="117"/>
                  </a:cubicBezTo>
                  <a:cubicBezTo>
                    <a:pt x="628" y="117"/>
                    <a:pt x="631" y="117"/>
                    <a:pt x="635" y="117"/>
                  </a:cubicBezTo>
                  <a:cubicBezTo>
                    <a:pt x="636" y="117"/>
                    <a:pt x="636" y="117"/>
                    <a:pt x="637" y="117"/>
                  </a:cubicBezTo>
                  <a:cubicBezTo>
                    <a:pt x="630" y="110"/>
                    <a:pt x="623" y="103"/>
                    <a:pt x="616" y="96"/>
                  </a:cubicBezTo>
                  <a:cubicBezTo>
                    <a:pt x="630" y="92"/>
                    <a:pt x="639" y="85"/>
                    <a:pt x="644" y="72"/>
                  </a:cubicBezTo>
                  <a:close/>
                  <a:moveTo>
                    <a:pt x="474" y="87"/>
                  </a:moveTo>
                  <a:cubicBezTo>
                    <a:pt x="471" y="88"/>
                    <a:pt x="468" y="88"/>
                    <a:pt x="465" y="88"/>
                  </a:cubicBezTo>
                  <a:cubicBezTo>
                    <a:pt x="462" y="87"/>
                    <a:pt x="460" y="86"/>
                    <a:pt x="459" y="83"/>
                  </a:cubicBezTo>
                  <a:cubicBezTo>
                    <a:pt x="459" y="81"/>
                    <a:pt x="458" y="79"/>
                    <a:pt x="458" y="77"/>
                  </a:cubicBezTo>
                  <a:cubicBezTo>
                    <a:pt x="458" y="65"/>
                    <a:pt x="458" y="54"/>
                    <a:pt x="458" y="42"/>
                  </a:cubicBezTo>
                  <a:cubicBezTo>
                    <a:pt x="458" y="41"/>
                    <a:pt x="458" y="41"/>
                    <a:pt x="460" y="41"/>
                  </a:cubicBezTo>
                  <a:cubicBezTo>
                    <a:pt x="465" y="41"/>
                    <a:pt x="469" y="41"/>
                    <a:pt x="473" y="41"/>
                  </a:cubicBezTo>
                  <a:cubicBezTo>
                    <a:pt x="474" y="41"/>
                    <a:pt x="474" y="41"/>
                    <a:pt x="474" y="40"/>
                  </a:cubicBezTo>
                  <a:cubicBezTo>
                    <a:pt x="474" y="38"/>
                    <a:pt x="474" y="35"/>
                    <a:pt x="474" y="33"/>
                  </a:cubicBezTo>
                  <a:cubicBezTo>
                    <a:pt x="474" y="32"/>
                    <a:pt x="474" y="32"/>
                    <a:pt x="473" y="32"/>
                  </a:cubicBezTo>
                  <a:cubicBezTo>
                    <a:pt x="469" y="32"/>
                    <a:pt x="465" y="32"/>
                    <a:pt x="461" y="32"/>
                  </a:cubicBezTo>
                  <a:cubicBezTo>
                    <a:pt x="458" y="32"/>
                    <a:pt x="458" y="32"/>
                    <a:pt x="458" y="30"/>
                  </a:cubicBezTo>
                  <a:cubicBezTo>
                    <a:pt x="458" y="25"/>
                    <a:pt x="458" y="20"/>
                    <a:pt x="458" y="15"/>
                  </a:cubicBezTo>
                  <a:cubicBezTo>
                    <a:pt x="458" y="14"/>
                    <a:pt x="459" y="14"/>
                    <a:pt x="458" y="13"/>
                  </a:cubicBezTo>
                  <a:cubicBezTo>
                    <a:pt x="455" y="14"/>
                    <a:pt x="452" y="15"/>
                    <a:pt x="450" y="16"/>
                  </a:cubicBezTo>
                  <a:cubicBezTo>
                    <a:pt x="448" y="17"/>
                    <a:pt x="448" y="16"/>
                    <a:pt x="448" y="18"/>
                  </a:cubicBezTo>
                  <a:cubicBezTo>
                    <a:pt x="448" y="22"/>
                    <a:pt x="448" y="27"/>
                    <a:pt x="448" y="31"/>
                  </a:cubicBezTo>
                  <a:cubicBezTo>
                    <a:pt x="448" y="32"/>
                    <a:pt x="448" y="32"/>
                    <a:pt x="447" y="32"/>
                  </a:cubicBezTo>
                  <a:cubicBezTo>
                    <a:pt x="440" y="32"/>
                    <a:pt x="432" y="32"/>
                    <a:pt x="424" y="32"/>
                  </a:cubicBezTo>
                  <a:cubicBezTo>
                    <a:pt x="424" y="32"/>
                    <a:pt x="423" y="32"/>
                    <a:pt x="423" y="31"/>
                  </a:cubicBezTo>
                  <a:cubicBezTo>
                    <a:pt x="423" y="28"/>
                    <a:pt x="423" y="25"/>
                    <a:pt x="423" y="22"/>
                  </a:cubicBezTo>
                  <a:cubicBezTo>
                    <a:pt x="423" y="20"/>
                    <a:pt x="424" y="17"/>
                    <a:pt x="424" y="15"/>
                  </a:cubicBezTo>
                  <a:cubicBezTo>
                    <a:pt x="425" y="12"/>
                    <a:pt x="427" y="10"/>
                    <a:pt x="430" y="10"/>
                  </a:cubicBezTo>
                  <a:cubicBezTo>
                    <a:pt x="431" y="9"/>
                    <a:pt x="433" y="9"/>
                    <a:pt x="435" y="9"/>
                  </a:cubicBezTo>
                  <a:cubicBezTo>
                    <a:pt x="437" y="9"/>
                    <a:pt x="439" y="10"/>
                    <a:pt x="441" y="10"/>
                  </a:cubicBezTo>
                  <a:cubicBezTo>
                    <a:pt x="441" y="8"/>
                    <a:pt x="441" y="5"/>
                    <a:pt x="441" y="2"/>
                  </a:cubicBezTo>
                  <a:cubicBezTo>
                    <a:pt x="441" y="2"/>
                    <a:pt x="440" y="1"/>
                    <a:pt x="440" y="1"/>
                  </a:cubicBezTo>
                  <a:cubicBezTo>
                    <a:pt x="434" y="0"/>
                    <a:pt x="429" y="0"/>
                    <a:pt x="424" y="2"/>
                  </a:cubicBezTo>
                  <a:cubicBezTo>
                    <a:pt x="417" y="6"/>
                    <a:pt x="414" y="12"/>
                    <a:pt x="413" y="19"/>
                  </a:cubicBezTo>
                  <a:cubicBezTo>
                    <a:pt x="413" y="23"/>
                    <a:pt x="413" y="27"/>
                    <a:pt x="413" y="31"/>
                  </a:cubicBezTo>
                  <a:cubicBezTo>
                    <a:pt x="413" y="32"/>
                    <a:pt x="413" y="32"/>
                    <a:pt x="412" y="32"/>
                  </a:cubicBezTo>
                  <a:cubicBezTo>
                    <a:pt x="409" y="32"/>
                    <a:pt x="406" y="32"/>
                    <a:pt x="403" y="32"/>
                  </a:cubicBezTo>
                  <a:cubicBezTo>
                    <a:pt x="403" y="32"/>
                    <a:pt x="402" y="32"/>
                    <a:pt x="402" y="33"/>
                  </a:cubicBezTo>
                  <a:cubicBezTo>
                    <a:pt x="402" y="35"/>
                    <a:pt x="402" y="38"/>
                    <a:pt x="402" y="40"/>
                  </a:cubicBezTo>
                  <a:cubicBezTo>
                    <a:pt x="402" y="40"/>
                    <a:pt x="403" y="41"/>
                    <a:pt x="403" y="41"/>
                  </a:cubicBezTo>
                  <a:cubicBezTo>
                    <a:pt x="406" y="41"/>
                    <a:pt x="409" y="41"/>
                    <a:pt x="412" y="41"/>
                  </a:cubicBezTo>
                  <a:cubicBezTo>
                    <a:pt x="413" y="41"/>
                    <a:pt x="413" y="41"/>
                    <a:pt x="413" y="42"/>
                  </a:cubicBezTo>
                  <a:cubicBezTo>
                    <a:pt x="413" y="42"/>
                    <a:pt x="413" y="43"/>
                    <a:pt x="413" y="43"/>
                  </a:cubicBezTo>
                  <a:cubicBezTo>
                    <a:pt x="413" y="60"/>
                    <a:pt x="413" y="77"/>
                    <a:pt x="413" y="93"/>
                  </a:cubicBezTo>
                  <a:cubicBezTo>
                    <a:pt x="413" y="94"/>
                    <a:pt x="413" y="94"/>
                    <a:pt x="413" y="94"/>
                  </a:cubicBezTo>
                  <a:cubicBezTo>
                    <a:pt x="413" y="95"/>
                    <a:pt x="413" y="95"/>
                    <a:pt x="414" y="95"/>
                  </a:cubicBezTo>
                  <a:cubicBezTo>
                    <a:pt x="416" y="95"/>
                    <a:pt x="418" y="96"/>
                    <a:pt x="420" y="95"/>
                  </a:cubicBezTo>
                  <a:cubicBezTo>
                    <a:pt x="421" y="95"/>
                    <a:pt x="422" y="96"/>
                    <a:pt x="423" y="95"/>
                  </a:cubicBezTo>
                  <a:cubicBezTo>
                    <a:pt x="424" y="95"/>
                    <a:pt x="423" y="93"/>
                    <a:pt x="423" y="92"/>
                  </a:cubicBezTo>
                  <a:cubicBezTo>
                    <a:pt x="423" y="75"/>
                    <a:pt x="423" y="59"/>
                    <a:pt x="423" y="42"/>
                  </a:cubicBezTo>
                  <a:cubicBezTo>
                    <a:pt x="423" y="40"/>
                    <a:pt x="423" y="41"/>
                    <a:pt x="425" y="41"/>
                  </a:cubicBezTo>
                  <a:cubicBezTo>
                    <a:pt x="432" y="41"/>
                    <a:pt x="439" y="41"/>
                    <a:pt x="446" y="41"/>
                  </a:cubicBezTo>
                  <a:cubicBezTo>
                    <a:pt x="447" y="41"/>
                    <a:pt x="447" y="41"/>
                    <a:pt x="447" y="41"/>
                  </a:cubicBezTo>
                  <a:cubicBezTo>
                    <a:pt x="448" y="41"/>
                    <a:pt x="448" y="41"/>
                    <a:pt x="448" y="42"/>
                  </a:cubicBezTo>
                  <a:cubicBezTo>
                    <a:pt x="448" y="42"/>
                    <a:pt x="448" y="42"/>
                    <a:pt x="448" y="43"/>
                  </a:cubicBezTo>
                  <a:cubicBezTo>
                    <a:pt x="448" y="55"/>
                    <a:pt x="448" y="66"/>
                    <a:pt x="448" y="78"/>
                  </a:cubicBezTo>
                  <a:cubicBezTo>
                    <a:pt x="448" y="81"/>
                    <a:pt x="449" y="85"/>
                    <a:pt x="450" y="88"/>
                  </a:cubicBezTo>
                  <a:cubicBezTo>
                    <a:pt x="451" y="92"/>
                    <a:pt x="454" y="95"/>
                    <a:pt x="459" y="96"/>
                  </a:cubicBezTo>
                  <a:cubicBezTo>
                    <a:pt x="462" y="97"/>
                    <a:pt x="465" y="97"/>
                    <a:pt x="469" y="97"/>
                  </a:cubicBezTo>
                  <a:cubicBezTo>
                    <a:pt x="470" y="96"/>
                    <a:pt x="472" y="96"/>
                    <a:pt x="474" y="95"/>
                  </a:cubicBezTo>
                  <a:cubicBezTo>
                    <a:pt x="474" y="95"/>
                    <a:pt x="474" y="95"/>
                    <a:pt x="474" y="94"/>
                  </a:cubicBezTo>
                  <a:cubicBezTo>
                    <a:pt x="474" y="92"/>
                    <a:pt x="474" y="89"/>
                    <a:pt x="474" y="87"/>
                  </a:cubicBezTo>
                  <a:cubicBezTo>
                    <a:pt x="474" y="86"/>
                    <a:pt x="474" y="86"/>
                    <a:pt x="474" y="87"/>
                  </a:cubicBezTo>
                  <a:close/>
                  <a:moveTo>
                    <a:pt x="1004" y="83"/>
                  </a:moveTo>
                  <a:cubicBezTo>
                    <a:pt x="998" y="87"/>
                    <a:pt x="990" y="89"/>
                    <a:pt x="982" y="88"/>
                  </a:cubicBezTo>
                  <a:cubicBezTo>
                    <a:pt x="975" y="87"/>
                    <a:pt x="971" y="83"/>
                    <a:pt x="968" y="77"/>
                  </a:cubicBezTo>
                  <a:cubicBezTo>
                    <a:pt x="967" y="74"/>
                    <a:pt x="966" y="71"/>
                    <a:pt x="966" y="68"/>
                  </a:cubicBezTo>
                  <a:cubicBezTo>
                    <a:pt x="966" y="66"/>
                    <a:pt x="966" y="66"/>
                    <a:pt x="968" y="66"/>
                  </a:cubicBezTo>
                  <a:cubicBezTo>
                    <a:pt x="981" y="66"/>
                    <a:pt x="995" y="66"/>
                    <a:pt x="1009" y="66"/>
                  </a:cubicBezTo>
                  <a:cubicBezTo>
                    <a:pt x="1009" y="66"/>
                    <a:pt x="1009" y="66"/>
                    <a:pt x="1010" y="66"/>
                  </a:cubicBezTo>
                  <a:cubicBezTo>
                    <a:pt x="1010" y="66"/>
                    <a:pt x="1011" y="66"/>
                    <a:pt x="1011" y="65"/>
                  </a:cubicBezTo>
                  <a:cubicBezTo>
                    <a:pt x="1011" y="63"/>
                    <a:pt x="1011" y="62"/>
                    <a:pt x="1011" y="60"/>
                  </a:cubicBezTo>
                  <a:cubicBezTo>
                    <a:pt x="1010" y="55"/>
                    <a:pt x="1010" y="50"/>
                    <a:pt x="1008" y="46"/>
                  </a:cubicBezTo>
                  <a:cubicBezTo>
                    <a:pt x="1005" y="39"/>
                    <a:pt x="1001" y="34"/>
                    <a:pt x="994" y="32"/>
                  </a:cubicBezTo>
                  <a:cubicBezTo>
                    <a:pt x="988" y="30"/>
                    <a:pt x="982" y="30"/>
                    <a:pt x="977" y="32"/>
                  </a:cubicBezTo>
                  <a:cubicBezTo>
                    <a:pt x="968" y="34"/>
                    <a:pt x="963" y="39"/>
                    <a:pt x="959" y="47"/>
                  </a:cubicBezTo>
                  <a:cubicBezTo>
                    <a:pt x="954" y="58"/>
                    <a:pt x="954" y="70"/>
                    <a:pt x="958" y="81"/>
                  </a:cubicBezTo>
                  <a:cubicBezTo>
                    <a:pt x="962" y="90"/>
                    <a:pt x="968" y="95"/>
                    <a:pt x="977" y="96"/>
                  </a:cubicBezTo>
                  <a:cubicBezTo>
                    <a:pt x="984" y="98"/>
                    <a:pt x="991" y="97"/>
                    <a:pt x="997" y="95"/>
                  </a:cubicBezTo>
                  <a:cubicBezTo>
                    <a:pt x="1000" y="94"/>
                    <a:pt x="1003" y="93"/>
                    <a:pt x="1005" y="92"/>
                  </a:cubicBezTo>
                  <a:cubicBezTo>
                    <a:pt x="1006" y="91"/>
                    <a:pt x="1006" y="91"/>
                    <a:pt x="1006" y="90"/>
                  </a:cubicBezTo>
                  <a:cubicBezTo>
                    <a:pt x="1006" y="87"/>
                    <a:pt x="1006" y="85"/>
                    <a:pt x="1006" y="81"/>
                  </a:cubicBezTo>
                  <a:cubicBezTo>
                    <a:pt x="1005" y="82"/>
                    <a:pt x="1005" y="82"/>
                    <a:pt x="1004" y="83"/>
                  </a:cubicBezTo>
                  <a:close/>
                  <a:moveTo>
                    <a:pt x="552" y="9"/>
                  </a:moveTo>
                  <a:cubicBezTo>
                    <a:pt x="552" y="8"/>
                    <a:pt x="552" y="8"/>
                    <a:pt x="552" y="8"/>
                  </a:cubicBezTo>
                  <a:cubicBezTo>
                    <a:pt x="551" y="7"/>
                    <a:pt x="550" y="7"/>
                    <a:pt x="549" y="7"/>
                  </a:cubicBezTo>
                  <a:cubicBezTo>
                    <a:pt x="545" y="6"/>
                    <a:pt x="542" y="5"/>
                    <a:pt x="539" y="5"/>
                  </a:cubicBezTo>
                  <a:cubicBezTo>
                    <a:pt x="534" y="5"/>
                    <a:pt x="529" y="5"/>
                    <a:pt x="524" y="7"/>
                  </a:cubicBezTo>
                  <a:cubicBezTo>
                    <a:pt x="513" y="10"/>
                    <a:pt x="507" y="18"/>
                    <a:pt x="507" y="28"/>
                  </a:cubicBezTo>
                  <a:cubicBezTo>
                    <a:pt x="507" y="35"/>
                    <a:pt x="509" y="40"/>
                    <a:pt x="513" y="45"/>
                  </a:cubicBezTo>
                  <a:cubicBezTo>
                    <a:pt x="516" y="48"/>
                    <a:pt x="519" y="50"/>
                    <a:pt x="522" y="52"/>
                  </a:cubicBezTo>
                  <a:cubicBezTo>
                    <a:pt x="525" y="53"/>
                    <a:pt x="528" y="55"/>
                    <a:pt x="531" y="57"/>
                  </a:cubicBezTo>
                  <a:cubicBezTo>
                    <a:pt x="534" y="59"/>
                    <a:pt x="537" y="61"/>
                    <a:pt x="540" y="63"/>
                  </a:cubicBezTo>
                  <a:cubicBezTo>
                    <a:pt x="544" y="66"/>
                    <a:pt x="545" y="71"/>
                    <a:pt x="545" y="76"/>
                  </a:cubicBezTo>
                  <a:cubicBezTo>
                    <a:pt x="545" y="81"/>
                    <a:pt x="542" y="84"/>
                    <a:pt x="537" y="86"/>
                  </a:cubicBezTo>
                  <a:cubicBezTo>
                    <a:pt x="535" y="87"/>
                    <a:pt x="532" y="87"/>
                    <a:pt x="530" y="88"/>
                  </a:cubicBezTo>
                  <a:cubicBezTo>
                    <a:pt x="522" y="88"/>
                    <a:pt x="514" y="85"/>
                    <a:pt x="508" y="81"/>
                  </a:cubicBezTo>
                  <a:cubicBezTo>
                    <a:pt x="507" y="80"/>
                    <a:pt x="507" y="80"/>
                    <a:pt x="507" y="80"/>
                  </a:cubicBezTo>
                  <a:cubicBezTo>
                    <a:pt x="507" y="84"/>
                    <a:pt x="507" y="87"/>
                    <a:pt x="507" y="91"/>
                  </a:cubicBezTo>
                  <a:cubicBezTo>
                    <a:pt x="507" y="92"/>
                    <a:pt x="507" y="92"/>
                    <a:pt x="508" y="92"/>
                  </a:cubicBezTo>
                  <a:cubicBezTo>
                    <a:pt x="509" y="93"/>
                    <a:pt x="511" y="94"/>
                    <a:pt x="513" y="95"/>
                  </a:cubicBezTo>
                  <a:cubicBezTo>
                    <a:pt x="521" y="97"/>
                    <a:pt x="529" y="98"/>
                    <a:pt x="537" y="96"/>
                  </a:cubicBezTo>
                  <a:cubicBezTo>
                    <a:pt x="543" y="94"/>
                    <a:pt x="548" y="92"/>
                    <a:pt x="551" y="88"/>
                  </a:cubicBezTo>
                  <a:cubicBezTo>
                    <a:pt x="557" y="81"/>
                    <a:pt x="559" y="66"/>
                    <a:pt x="549" y="57"/>
                  </a:cubicBezTo>
                  <a:cubicBezTo>
                    <a:pt x="547" y="55"/>
                    <a:pt x="545" y="53"/>
                    <a:pt x="542" y="52"/>
                  </a:cubicBezTo>
                  <a:cubicBezTo>
                    <a:pt x="539" y="50"/>
                    <a:pt x="536" y="48"/>
                    <a:pt x="533" y="46"/>
                  </a:cubicBezTo>
                  <a:cubicBezTo>
                    <a:pt x="530" y="44"/>
                    <a:pt x="526" y="42"/>
                    <a:pt x="523" y="40"/>
                  </a:cubicBezTo>
                  <a:cubicBezTo>
                    <a:pt x="519" y="37"/>
                    <a:pt x="518" y="33"/>
                    <a:pt x="518" y="28"/>
                  </a:cubicBezTo>
                  <a:cubicBezTo>
                    <a:pt x="518" y="23"/>
                    <a:pt x="520" y="20"/>
                    <a:pt x="524" y="17"/>
                  </a:cubicBezTo>
                  <a:cubicBezTo>
                    <a:pt x="525" y="16"/>
                    <a:pt x="527" y="16"/>
                    <a:pt x="528" y="15"/>
                  </a:cubicBezTo>
                  <a:cubicBezTo>
                    <a:pt x="533" y="14"/>
                    <a:pt x="537" y="14"/>
                    <a:pt x="541" y="15"/>
                  </a:cubicBezTo>
                  <a:cubicBezTo>
                    <a:pt x="545" y="16"/>
                    <a:pt x="549" y="17"/>
                    <a:pt x="552" y="20"/>
                  </a:cubicBezTo>
                  <a:cubicBezTo>
                    <a:pt x="552" y="16"/>
                    <a:pt x="552" y="13"/>
                    <a:pt x="552" y="9"/>
                  </a:cubicBezTo>
                  <a:close/>
                  <a:moveTo>
                    <a:pt x="842" y="82"/>
                  </a:moveTo>
                  <a:cubicBezTo>
                    <a:pt x="835" y="87"/>
                    <a:pt x="827" y="89"/>
                    <a:pt x="819" y="88"/>
                  </a:cubicBezTo>
                  <a:cubicBezTo>
                    <a:pt x="812" y="87"/>
                    <a:pt x="807" y="83"/>
                    <a:pt x="805" y="77"/>
                  </a:cubicBezTo>
                  <a:cubicBezTo>
                    <a:pt x="804" y="74"/>
                    <a:pt x="803" y="71"/>
                    <a:pt x="803" y="68"/>
                  </a:cubicBezTo>
                  <a:cubicBezTo>
                    <a:pt x="803" y="66"/>
                    <a:pt x="803" y="66"/>
                    <a:pt x="804" y="66"/>
                  </a:cubicBezTo>
                  <a:cubicBezTo>
                    <a:pt x="818" y="66"/>
                    <a:pt x="832" y="66"/>
                    <a:pt x="845" y="66"/>
                  </a:cubicBezTo>
                  <a:cubicBezTo>
                    <a:pt x="846" y="66"/>
                    <a:pt x="846" y="66"/>
                    <a:pt x="847" y="66"/>
                  </a:cubicBezTo>
                  <a:cubicBezTo>
                    <a:pt x="847" y="66"/>
                    <a:pt x="847" y="66"/>
                    <a:pt x="847" y="65"/>
                  </a:cubicBezTo>
                  <a:cubicBezTo>
                    <a:pt x="847" y="63"/>
                    <a:pt x="847" y="60"/>
                    <a:pt x="847" y="57"/>
                  </a:cubicBezTo>
                  <a:cubicBezTo>
                    <a:pt x="847" y="53"/>
                    <a:pt x="847" y="50"/>
                    <a:pt x="845" y="47"/>
                  </a:cubicBezTo>
                  <a:cubicBezTo>
                    <a:pt x="843" y="40"/>
                    <a:pt x="839" y="35"/>
                    <a:pt x="831" y="32"/>
                  </a:cubicBezTo>
                  <a:cubicBezTo>
                    <a:pt x="825" y="30"/>
                    <a:pt x="818" y="30"/>
                    <a:pt x="811" y="32"/>
                  </a:cubicBezTo>
                  <a:cubicBezTo>
                    <a:pt x="804" y="35"/>
                    <a:pt x="798" y="41"/>
                    <a:pt x="795" y="49"/>
                  </a:cubicBezTo>
                  <a:cubicBezTo>
                    <a:pt x="792" y="55"/>
                    <a:pt x="792" y="62"/>
                    <a:pt x="792" y="68"/>
                  </a:cubicBezTo>
                  <a:cubicBezTo>
                    <a:pt x="793" y="73"/>
                    <a:pt x="793" y="77"/>
                    <a:pt x="795" y="81"/>
                  </a:cubicBezTo>
                  <a:cubicBezTo>
                    <a:pt x="799" y="89"/>
                    <a:pt x="805" y="94"/>
                    <a:pt x="814" y="96"/>
                  </a:cubicBezTo>
                  <a:cubicBezTo>
                    <a:pt x="818" y="97"/>
                    <a:pt x="822" y="97"/>
                    <a:pt x="826" y="97"/>
                  </a:cubicBezTo>
                  <a:cubicBezTo>
                    <a:pt x="831" y="96"/>
                    <a:pt x="836" y="95"/>
                    <a:pt x="841" y="92"/>
                  </a:cubicBezTo>
                  <a:cubicBezTo>
                    <a:pt x="843" y="91"/>
                    <a:pt x="843" y="91"/>
                    <a:pt x="843" y="88"/>
                  </a:cubicBezTo>
                  <a:cubicBezTo>
                    <a:pt x="843" y="86"/>
                    <a:pt x="843" y="84"/>
                    <a:pt x="843" y="82"/>
                  </a:cubicBezTo>
                  <a:cubicBezTo>
                    <a:pt x="842" y="82"/>
                    <a:pt x="842" y="82"/>
                    <a:pt x="842" y="82"/>
                  </a:cubicBezTo>
                  <a:close/>
                  <a:moveTo>
                    <a:pt x="735" y="81"/>
                  </a:moveTo>
                  <a:cubicBezTo>
                    <a:pt x="735" y="84"/>
                    <a:pt x="735" y="87"/>
                    <a:pt x="735" y="91"/>
                  </a:cubicBezTo>
                  <a:cubicBezTo>
                    <a:pt x="735" y="92"/>
                    <a:pt x="736" y="92"/>
                    <a:pt x="737" y="93"/>
                  </a:cubicBezTo>
                  <a:cubicBezTo>
                    <a:pt x="739" y="94"/>
                    <a:pt x="742" y="95"/>
                    <a:pt x="745" y="96"/>
                  </a:cubicBezTo>
                  <a:cubicBezTo>
                    <a:pt x="753" y="98"/>
                    <a:pt x="761" y="98"/>
                    <a:pt x="768" y="95"/>
                  </a:cubicBezTo>
                  <a:cubicBezTo>
                    <a:pt x="777" y="92"/>
                    <a:pt x="783" y="87"/>
                    <a:pt x="784" y="77"/>
                  </a:cubicBezTo>
                  <a:cubicBezTo>
                    <a:pt x="786" y="70"/>
                    <a:pt x="784" y="63"/>
                    <a:pt x="778" y="58"/>
                  </a:cubicBezTo>
                  <a:cubicBezTo>
                    <a:pt x="776" y="56"/>
                    <a:pt x="774" y="54"/>
                    <a:pt x="771" y="52"/>
                  </a:cubicBezTo>
                  <a:cubicBezTo>
                    <a:pt x="768" y="50"/>
                    <a:pt x="764" y="48"/>
                    <a:pt x="761" y="46"/>
                  </a:cubicBezTo>
                  <a:cubicBezTo>
                    <a:pt x="758" y="44"/>
                    <a:pt x="755" y="42"/>
                    <a:pt x="752" y="40"/>
                  </a:cubicBezTo>
                  <a:cubicBezTo>
                    <a:pt x="748" y="37"/>
                    <a:pt x="746" y="34"/>
                    <a:pt x="746" y="29"/>
                  </a:cubicBezTo>
                  <a:cubicBezTo>
                    <a:pt x="746" y="24"/>
                    <a:pt x="748" y="21"/>
                    <a:pt x="751" y="18"/>
                  </a:cubicBezTo>
                  <a:cubicBezTo>
                    <a:pt x="753" y="17"/>
                    <a:pt x="755" y="16"/>
                    <a:pt x="757" y="15"/>
                  </a:cubicBezTo>
                  <a:cubicBezTo>
                    <a:pt x="765" y="14"/>
                    <a:pt x="773" y="15"/>
                    <a:pt x="780" y="19"/>
                  </a:cubicBezTo>
                  <a:cubicBezTo>
                    <a:pt x="780" y="19"/>
                    <a:pt x="780" y="20"/>
                    <a:pt x="781" y="20"/>
                  </a:cubicBezTo>
                  <a:cubicBezTo>
                    <a:pt x="781" y="20"/>
                    <a:pt x="781" y="20"/>
                    <a:pt x="781" y="20"/>
                  </a:cubicBezTo>
                  <a:cubicBezTo>
                    <a:pt x="781" y="16"/>
                    <a:pt x="781" y="13"/>
                    <a:pt x="781" y="9"/>
                  </a:cubicBezTo>
                  <a:cubicBezTo>
                    <a:pt x="781" y="8"/>
                    <a:pt x="781" y="8"/>
                    <a:pt x="780" y="8"/>
                  </a:cubicBezTo>
                  <a:cubicBezTo>
                    <a:pt x="779" y="7"/>
                    <a:pt x="778" y="7"/>
                    <a:pt x="777" y="7"/>
                  </a:cubicBezTo>
                  <a:cubicBezTo>
                    <a:pt x="772" y="5"/>
                    <a:pt x="766" y="5"/>
                    <a:pt x="760" y="5"/>
                  </a:cubicBezTo>
                  <a:cubicBezTo>
                    <a:pt x="756" y="6"/>
                    <a:pt x="753" y="6"/>
                    <a:pt x="749" y="8"/>
                  </a:cubicBezTo>
                  <a:cubicBezTo>
                    <a:pt x="737" y="14"/>
                    <a:pt x="733" y="25"/>
                    <a:pt x="736" y="36"/>
                  </a:cubicBezTo>
                  <a:cubicBezTo>
                    <a:pt x="738" y="41"/>
                    <a:pt x="741" y="44"/>
                    <a:pt x="744" y="47"/>
                  </a:cubicBezTo>
                  <a:cubicBezTo>
                    <a:pt x="748" y="50"/>
                    <a:pt x="751" y="52"/>
                    <a:pt x="755" y="54"/>
                  </a:cubicBezTo>
                  <a:cubicBezTo>
                    <a:pt x="758" y="56"/>
                    <a:pt x="762" y="58"/>
                    <a:pt x="765" y="61"/>
                  </a:cubicBezTo>
                  <a:cubicBezTo>
                    <a:pt x="767" y="62"/>
                    <a:pt x="769" y="63"/>
                    <a:pt x="770" y="65"/>
                  </a:cubicBezTo>
                  <a:cubicBezTo>
                    <a:pt x="774" y="69"/>
                    <a:pt x="775" y="74"/>
                    <a:pt x="773" y="79"/>
                  </a:cubicBezTo>
                  <a:cubicBezTo>
                    <a:pt x="772" y="83"/>
                    <a:pt x="768" y="86"/>
                    <a:pt x="764" y="87"/>
                  </a:cubicBezTo>
                  <a:cubicBezTo>
                    <a:pt x="764" y="87"/>
                    <a:pt x="763" y="87"/>
                    <a:pt x="763" y="87"/>
                  </a:cubicBezTo>
                  <a:cubicBezTo>
                    <a:pt x="757" y="88"/>
                    <a:pt x="751" y="87"/>
                    <a:pt x="745" y="85"/>
                  </a:cubicBezTo>
                  <a:cubicBezTo>
                    <a:pt x="742" y="84"/>
                    <a:pt x="738" y="82"/>
                    <a:pt x="735" y="80"/>
                  </a:cubicBezTo>
                  <a:cubicBezTo>
                    <a:pt x="735" y="80"/>
                    <a:pt x="735" y="81"/>
                    <a:pt x="735" y="81"/>
                  </a:cubicBezTo>
                  <a:close/>
                  <a:moveTo>
                    <a:pt x="283" y="50"/>
                  </a:moveTo>
                  <a:cubicBezTo>
                    <a:pt x="280" y="41"/>
                    <a:pt x="274" y="34"/>
                    <a:pt x="264" y="32"/>
                  </a:cubicBezTo>
                  <a:cubicBezTo>
                    <a:pt x="259" y="30"/>
                    <a:pt x="254" y="30"/>
                    <a:pt x="248" y="31"/>
                  </a:cubicBezTo>
                  <a:cubicBezTo>
                    <a:pt x="237" y="33"/>
                    <a:pt x="230" y="39"/>
                    <a:pt x="226" y="49"/>
                  </a:cubicBezTo>
                  <a:cubicBezTo>
                    <a:pt x="222" y="58"/>
                    <a:pt x="222" y="68"/>
                    <a:pt x="225" y="77"/>
                  </a:cubicBezTo>
                  <a:cubicBezTo>
                    <a:pt x="228" y="86"/>
                    <a:pt x="234" y="92"/>
                    <a:pt x="243" y="95"/>
                  </a:cubicBezTo>
                  <a:cubicBezTo>
                    <a:pt x="248" y="97"/>
                    <a:pt x="254" y="97"/>
                    <a:pt x="260" y="97"/>
                  </a:cubicBezTo>
                  <a:cubicBezTo>
                    <a:pt x="270" y="95"/>
                    <a:pt x="277" y="90"/>
                    <a:pt x="282" y="81"/>
                  </a:cubicBezTo>
                  <a:cubicBezTo>
                    <a:pt x="284" y="76"/>
                    <a:pt x="285" y="70"/>
                    <a:pt x="285" y="65"/>
                  </a:cubicBezTo>
                  <a:cubicBezTo>
                    <a:pt x="285" y="59"/>
                    <a:pt x="285" y="54"/>
                    <a:pt x="283" y="50"/>
                  </a:cubicBezTo>
                  <a:close/>
                  <a:moveTo>
                    <a:pt x="398" y="50"/>
                  </a:moveTo>
                  <a:cubicBezTo>
                    <a:pt x="395" y="41"/>
                    <a:pt x="389" y="34"/>
                    <a:pt x="379" y="32"/>
                  </a:cubicBezTo>
                  <a:cubicBezTo>
                    <a:pt x="374" y="30"/>
                    <a:pt x="368" y="30"/>
                    <a:pt x="363" y="31"/>
                  </a:cubicBezTo>
                  <a:cubicBezTo>
                    <a:pt x="352" y="33"/>
                    <a:pt x="344" y="39"/>
                    <a:pt x="340" y="49"/>
                  </a:cubicBezTo>
                  <a:cubicBezTo>
                    <a:pt x="337" y="58"/>
                    <a:pt x="336" y="68"/>
                    <a:pt x="339" y="77"/>
                  </a:cubicBezTo>
                  <a:cubicBezTo>
                    <a:pt x="342" y="86"/>
                    <a:pt x="349" y="93"/>
                    <a:pt x="358" y="96"/>
                  </a:cubicBezTo>
                  <a:cubicBezTo>
                    <a:pt x="364" y="97"/>
                    <a:pt x="369" y="97"/>
                    <a:pt x="375" y="97"/>
                  </a:cubicBezTo>
                  <a:cubicBezTo>
                    <a:pt x="385" y="95"/>
                    <a:pt x="392" y="89"/>
                    <a:pt x="397" y="80"/>
                  </a:cubicBezTo>
                  <a:cubicBezTo>
                    <a:pt x="399" y="75"/>
                    <a:pt x="400" y="69"/>
                    <a:pt x="400" y="63"/>
                  </a:cubicBezTo>
                  <a:cubicBezTo>
                    <a:pt x="400" y="59"/>
                    <a:pt x="400" y="54"/>
                    <a:pt x="398" y="50"/>
                  </a:cubicBezTo>
                  <a:close/>
                  <a:moveTo>
                    <a:pt x="661" y="93"/>
                  </a:moveTo>
                  <a:cubicBezTo>
                    <a:pt x="661" y="94"/>
                    <a:pt x="661" y="94"/>
                    <a:pt x="661" y="95"/>
                  </a:cubicBezTo>
                  <a:cubicBezTo>
                    <a:pt x="661" y="95"/>
                    <a:pt x="662" y="96"/>
                    <a:pt x="662" y="95"/>
                  </a:cubicBezTo>
                  <a:cubicBezTo>
                    <a:pt x="663" y="95"/>
                    <a:pt x="663" y="95"/>
                    <a:pt x="663" y="95"/>
                  </a:cubicBezTo>
                  <a:cubicBezTo>
                    <a:pt x="677" y="95"/>
                    <a:pt x="691" y="95"/>
                    <a:pt x="706" y="95"/>
                  </a:cubicBezTo>
                  <a:cubicBezTo>
                    <a:pt x="706" y="95"/>
                    <a:pt x="706" y="95"/>
                    <a:pt x="707" y="95"/>
                  </a:cubicBezTo>
                  <a:cubicBezTo>
                    <a:pt x="707" y="95"/>
                    <a:pt x="707" y="95"/>
                    <a:pt x="707" y="95"/>
                  </a:cubicBezTo>
                  <a:cubicBezTo>
                    <a:pt x="707" y="92"/>
                    <a:pt x="707" y="89"/>
                    <a:pt x="707" y="87"/>
                  </a:cubicBezTo>
                  <a:cubicBezTo>
                    <a:pt x="707" y="86"/>
                    <a:pt x="707" y="86"/>
                    <a:pt x="707" y="86"/>
                  </a:cubicBezTo>
                  <a:cubicBezTo>
                    <a:pt x="706" y="86"/>
                    <a:pt x="706" y="86"/>
                    <a:pt x="705" y="86"/>
                  </a:cubicBezTo>
                  <a:cubicBezTo>
                    <a:pt x="695" y="86"/>
                    <a:pt x="684" y="86"/>
                    <a:pt x="674" y="86"/>
                  </a:cubicBezTo>
                  <a:cubicBezTo>
                    <a:pt x="672" y="86"/>
                    <a:pt x="672" y="86"/>
                    <a:pt x="672" y="84"/>
                  </a:cubicBezTo>
                  <a:cubicBezTo>
                    <a:pt x="672" y="59"/>
                    <a:pt x="672" y="34"/>
                    <a:pt x="672" y="9"/>
                  </a:cubicBezTo>
                  <a:cubicBezTo>
                    <a:pt x="672" y="9"/>
                    <a:pt x="672" y="8"/>
                    <a:pt x="672" y="8"/>
                  </a:cubicBezTo>
                  <a:cubicBezTo>
                    <a:pt x="672" y="7"/>
                    <a:pt x="671" y="7"/>
                    <a:pt x="671" y="7"/>
                  </a:cubicBezTo>
                  <a:cubicBezTo>
                    <a:pt x="668" y="7"/>
                    <a:pt x="665" y="7"/>
                    <a:pt x="663" y="7"/>
                  </a:cubicBezTo>
                  <a:cubicBezTo>
                    <a:pt x="661" y="7"/>
                    <a:pt x="661" y="6"/>
                    <a:pt x="661" y="8"/>
                  </a:cubicBezTo>
                  <a:cubicBezTo>
                    <a:pt x="661" y="8"/>
                    <a:pt x="661" y="9"/>
                    <a:pt x="661" y="9"/>
                  </a:cubicBezTo>
                  <a:cubicBezTo>
                    <a:pt x="661" y="23"/>
                    <a:pt x="661" y="37"/>
                    <a:pt x="661" y="51"/>
                  </a:cubicBezTo>
                  <a:cubicBezTo>
                    <a:pt x="661" y="65"/>
                    <a:pt x="661" y="79"/>
                    <a:pt x="661" y="93"/>
                  </a:cubicBezTo>
                  <a:close/>
                  <a:moveTo>
                    <a:pt x="923" y="83"/>
                  </a:moveTo>
                  <a:cubicBezTo>
                    <a:pt x="920" y="73"/>
                    <a:pt x="916" y="64"/>
                    <a:pt x="913" y="54"/>
                  </a:cubicBezTo>
                  <a:cubicBezTo>
                    <a:pt x="911" y="47"/>
                    <a:pt x="908" y="41"/>
                    <a:pt x="906" y="34"/>
                  </a:cubicBezTo>
                  <a:cubicBezTo>
                    <a:pt x="905" y="32"/>
                    <a:pt x="905" y="32"/>
                    <a:pt x="904" y="32"/>
                  </a:cubicBezTo>
                  <a:cubicBezTo>
                    <a:pt x="901" y="32"/>
                    <a:pt x="899" y="32"/>
                    <a:pt x="897" y="32"/>
                  </a:cubicBezTo>
                  <a:cubicBezTo>
                    <a:pt x="896" y="32"/>
                    <a:pt x="895" y="32"/>
                    <a:pt x="894" y="32"/>
                  </a:cubicBezTo>
                  <a:cubicBezTo>
                    <a:pt x="894" y="33"/>
                    <a:pt x="894" y="33"/>
                    <a:pt x="895" y="33"/>
                  </a:cubicBezTo>
                  <a:cubicBezTo>
                    <a:pt x="899" y="45"/>
                    <a:pt x="903" y="56"/>
                    <a:pt x="907" y="67"/>
                  </a:cubicBezTo>
                  <a:cubicBezTo>
                    <a:pt x="911" y="76"/>
                    <a:pt x="914" y="85"/>
                    <a:pt x="917" y="94"/>
                  </a:cubicBezTo>
                  <a:cubicBezTo>
                    <a:pt x="918" y="96"/>
                    <a:pt x="918" y="95"/>
                    <a:pt x="919" y="95"/>
                  </a:cubicBezTo>
                  <a:cubicBezTo>
                    <a:pt x="922" y="95"/>
                    <a:pt x="924" y="95"/>
                    <a:pt x="927" y="95"/>
                  </a:cubicBezTo>
                  <a:cubicBezTo>
                    <a:pt x="928" y="95"/>
                    <a:pt x="928" y="96"/>
                    <a:pt x="929" y="94"/>
                  </a:cubicBezTo>
                  <a:cubicBezTo>
                    <a:pt x="937" y="74"/>
                    <a:pt x="945" y="54"/>
                    <a:pt x="953" y="34"/>
                  </a:cubicBezTo>
                  <a:cubicBezTo>
                    <a:pt x="953" y="33"/>
                    <a:pt x="953" y="33"/>
                    <a:pt x="953" y="32"/>
                  </a:cubicBezTo>
                  <a:cubicBezTo>
                    <a:pt x="953" y="32"/>
                    <a:pt x="952" y="32"/>
                    <a:pt x="952" y="32"/>
                  </a:cubicBezTo>
                  <a:cubicBezTo>
                    <a:pt x="949" y="32"/>
                    <a:pt x="947" y="32"/>
                    <a:pt x="944" y="32"/>
                  </a:cubicBezTo>
                  <a:cubicBezTo>
                    <a:pt x="943" y="32"/>
                    <a:pt x="943" y="32"/>
                    <a:pt x="942" y="34"/>
                  </a:cubicBezTo>
                  <a:cubicBezTo>
                    <a:pt x="936" y="50"/>
                    <a:pt x="930" y="66"/>
                    <a:pt x="924" y="82"/>
                  </a:cubicBezTo>
                  <a:cubicBezTo>
                    <a:pt x="924" y="83"/>
                    <a:pt x="924" y="83"/>
                    <a:pt x="923" y="84"/>
                  </a:cubicBezTo>
                  <a:cubicBezTo>
                    <a:pt x="923" y="83"/>
                    <a:pt x="923" y="83"/>
                    <a:pt x="923" y="83"/>
                  </a:cubicBezTo>
                  <a:close/>
                  <a:moveTo>
                    <a:pt x="293" y="92"/>
                  </a:moveTo>
                  <a:cubicBezTo>
                    <a:pt x="293" y="93"/>
                    <a:pt x="293" y="93"/>
                    <a:pt x="294" y="94"/>
                  </a:cubicBezTo>
                  <a:cubicBezTo>
                    <a:pt x="299" y="96"/>
                    <a:pt x="304" y="97"/>
                    <a:pt x="310" y="97"/>
                  </a:cubicBezTo>
                  <a:cubicBezTo>
                    <a:pt x="314" y="97"/>
                    <a:pt x="318" y="96"/>
                    <a:pt x="321" y="94"/>
                  </a:cubicBezTo>
                  <a:cubicBezTo>
                    <a:pt x="329" y="91"/>
                    <a:pt x="333" y="83"/>
                    <a:pt x="331" y="74"/>
                  </a:cubicBezTo>
                  <a:cubicBezTo>
                    <a:pt x="330" y="71"/>
                    <a:pt x="328" y="68"/>
                    <a:pt x="325" y="66"/>
                  </a:cubicBezTo>
                  <a:cubicBezTo>
                    <a:pt x="322" y="63"/>
                    <a:pt x="319" y="61"/>
                    <a:pt x="316" y="60"/>
                  </a:cubicBezTo>
                  <a:cubicBezTo>
                    <a:pt x="314" y="59"/>
                    <a:pt x="311" y="58"/>
                    <a:pt x="309" y="57"/>
                  </a:cubicBezTo>
                  <a:cubicBezTo>
                    <a:pt x="308" y="56"/>
                    <a:pt x="307" y="56"/>
                    <a:pt x="306" y="55"/>
                  </a:cubicBezTo>
                  <a:cubicBezTo>
                    <a:pt x="302" y="52"/>
                    <a:pt x="302" y="46"/>
                    <a:pt x="305" y="42"/>
                  </a:cubicBezTo>
                  <a:cubicBezTo>
                    <a:pt x="307" y="40"/>
                    <a:pt x="310" y="40"/>
                    <a:pt x="312" y="39"/>
                  </a:cubicBezTo>
                  <a:cubicBezTo>
                    <a:pt x="318" y="39"/>
                    <a:pt x="323" y="40"/>
                    <a:pt x="328" y="43"/>
                  </a:cubicBezTo>
                  <a:cubicBezTo>
                    <a:pt x="328" y="43"/>
                    <a:pt x="328" y="44"/>
                    <a:pt x="329" y="43"/>
                  </a:cubicBezTo>
                  <a:cubicBezTo>
                    <a:pt x="329" y="40"/>
                    <a:pt x="329" y="37"/>
                    <a:pt x="329" y="34"/>
                  </a:cubicBezTo>
                  <a:cubicBezTo>
                    <a:pt x="329" y="34"/>
                    <a:pt x="328" y="33"/>
                    <a:pt x="328" y="33"/>
                  </a:cubicBezTo>
                  <a:cubicBezTo>
                    <a:pt x="320" y="30"/>
                    <a:pt x="313" y="29"/>
                    <a:pt x="306" y="32"/>
                  </a:cubicBezTo>
                  <a:cubicBezTo>
                    <a:pt x="298" y="35"/>
                    <a:pt x="294" y="39"/>
                    <a:pt x="293" y="47"/>
                  </a:cubicBezTo>
                  <a:cubicBezTo>
                    <a:pt x="292" y="54"/>
                    <a:pt x="294" y="59"/>
                    <a:pt x="300" y="63"/>
                  </a:cubicBezTo>
                  <a:cubicBezTo>
                    <a:pt x="302" y="65"/>
                    <a:pt x="305" y="66"/>
                    <a:pt x="307" y="67"/>
                  </a:cubicBezTo>
                  <a:cubicBezTo>
                    <a:pt x="310" y="68"/>
                    <a:pt x="313" y="70"/>
                    <a:pt x="315" y="71"/>
                  </a:cubicBezTo>
                  <a:cubicBezTo>
                    <a:pt x="316" y="72"/>
                    <a:pt x="318" y="73"/>
                    <a:pt x="319" y="73"/>
                  </a:cubicBezTo>
                  <a:cubicBezTo>
                    <a:pt x="322" y="77"/>
                    <a:pt x="322" y="85"/>
                    <a:pt x="317" y="87"/>
                  </a:cubicBezTo>
                  <a:cubicBezTo>
                    <a:pt x="315" y="88"/>
                    <a:pt x="313" y="88"/>
                    <a:pt x="311" y="88"/>
                  </a:cubicBezTo>
                  <a:cubicBezTo>
                    <a:pt x="305" y="89"/>
                    <a:pt x="299" y="87"/>
                    <a:pt x="294" y="83"/>
                  </a:cubicBezTo>
                  <a:cubicBezTo>
                    <a:pt x="294" y="83"/>
                    <a:pt x="293" y="83"/>
                    <a:pt x="293" y="83"/>
                  </a:cubicBezTo>
                  <a:cubicBezTo>
                    <a:pt x="293" y="86"/>
                    <a:pt x="293" y="89"/>
                    <a:pt x="293" y="92"/>
                  </a:cubicBezTo>
                  <a:close/>
                  <a:moveTo>
                    <a:pt x="177" y="84"/>
                  </a:moveTo>
                  <a:cubicBezTo>
                    <a:pt x="172" y="87"/>
                    <a:pt x="166" y="89"/>
                    <a:pt x="161" y="88"/>
                  </a:cubicBezTo>
                  <a:cubicBezTo>
                    <a:pt x="153" y="88"/>
                    <a:pt x="147" y="84"/>
                    <a:pt x="144" y="77"/>
                  </a:cubicBezTo>
                  <a:cubicBezTo>
                    <a:pt x="140" y="68"/>
                    <a:pt x="140" y="59"/>
                    <a:pt x="144" y="50"/>
                  </a:cubicBezTo>
                  <a:cubicBezTo>
                    <a:pt x="148" y="44"/>
                    <a:pt x="153" y="40"/>
                    <a:pt x="160" y="39"/>
                  </a:cubicBezTo>
                  <a:cubicBezTo>
                    <a:pt x="166" y="39"/>
                    <a:pt x="171" y="40"/>
                    <a:pt x="176" y="43"/>
                  </a:cubicBezTo>
                  <a:cubicBezTo>
                    <a:pt x="177" y="43"/>
                    <a:pt x="177" y="44"/>
                    <a:pt x="178" y="44"/>
                  </a:cubicBezTo>
                  <a:cubicBezTo>
                    <a:pt x="178" y="43"/>
                    <a:pt x="178" y="43"/>
                    <a:pt x="178" y="43"/>
                  </a:cubicBezTo>
                  <a:cubicBezTo>
                    <a:pt x="178" y="40"/>
                    <a:pt x="178" y="38"/>
                    <a:pt x="178" y="36"/>
                  </a:cubicBezTo>
                  <a:cubicBezTo>
                    <a:pt x="178" y="34"/>
                    <a:pt x="178" y="34"/>
                    <a:pt x="176" y="33"/>
                  </a:cubicBezTo>
                  <a:cubicBezTo>
                    <a:pt x="170" y="30"/>
                    <a:pt x="163" y="30"/>
                    <a:pt x="157" y="31"/>
                  </a:cubicBezTo>
                  <a:cubicBezTo>
                    <a:pt x="146" y="33"/>
                    <a:pt x="138" y="39"/>
                    <a:pt x="134" y="48"/>
                  </a:cubicBezTo>
                  <a:cubicBezTo>
                    <a:pt x="130" y="58"/>
                    <a:pt x="129" y="67"/>
                    <a:pt x="132" y="77"/>
                  </a:cubicBezTo>
                  <a:cubicBezTo>
                    <a:pt x="135" y="86"/>
                    <a:pt x="141" y="92"/>
                    <a:pt x="150" y="95"/>
                  </a:cubicBezTo>
                  <a:cubicBezTo>
                    <a:pt x="156" y="97"/>
                    <a:pt x="162" y="97"/>
                    <a:pt x="168" y="96"/>
                  </a:cubicBezTo>
                  <a:cubicBezTo>
                    <a:pt x="171" y="96"/>
                    <a:pt x="174" y="95"/>
                    <a:pt x="177" y="93"/>
                  </a:cubicBezTo>
                  <a:cubicBezTo>
                    <a:pt x="178" y="93"/>
                    <a:pt x="178" y="93"/>
                    <a:pt x="178" y="92"/>
                  </a:cubicBezTo>
                  <a:cubicBezTo>
                    <a:pt x="178" y="89"/>
                    <a:pt x="178" y="86"/>
                    <a:pt x="178" y="83"/>
                  </a:cubicBezTo>
                  <a:cubicBezTo>
                    <a:pt x="177" y="83"/>
                    <a:pt x="177" y="84"/>
                    <a:pt x="177" y="84"/>
                  </a:cubicBezTo>
                  <a:close/>
                  <a:moveTo>
                    <a:pt x="200" y="44"/>
                  </a:moveTo>
                  <a:cubicBezTo>
                    <a:pt x="200" y="44"/>
                    <a:pt x="200" y="43"/>
                    <a:pt x="200" y="43"/>
                  </a:cubicBezTo>
                  <a:cubicBezTo>
                    <a:pt x="200" y="40"/>
                    <a:pt x="199" y="36"/>
                    <a:pt x="200" y="33"/>
                  </a:cubicBezTo>
                  <a:cubicBezTo>
                    <a:pt x="200" y="32"/>
                    <a:pt x="199" y="32"/>
                    <a:pt x="198" y="32"/>
                  </a:cubicBezTo>
                  <a:cubicBezTo>
                    <a:pt x="196" y="32"/>
                    <a:pt x="194" y="32"/>
                    <a:pt x="191" y="32"/>
                  </a:cubicBezTo>
                  <a:cubicBezTo>
                    <a:pt x="189" y="32"/>
                    <a:pt x="189" y="32"/>
                    <a:pt x="189" y="34"/>
                  </a:cubicBezTo>
                  <a:cubicBezTo>
                    <a:pt x="189" y="54"/>
                    <a:pt x="189" y="74"/>
                    <a:pt x="189" y="93"/>
                  </a:cubicBezTo>
                  <a:cubicBezTo>
                    <a:pt x="189" y="94"/>
                    <a:pt x="189" y="94"/>
                    <a:pt x="189" y="94"/>
                  </a:cubicBezTo>
                  <a:cubicBezTo>
                    <a:pt x="189" y="95"/>
                    <a:pt x="190" y="96"/>
                    <a:pt x="190" y="95"/>
                  </a:cubicBezTo>
                  <a:cubicBezTo>
                    <a:pt x="193" y="95"/>
                    <a:pt x="196" y="95"/>
                    <a:pt x="198" y="95"/>
                  </a:cubicBezTo>
                  <a:cubicBezTo>
                    <a:pt x="199" y="95"/>
                    <a:pt x="200" y="95"/>
                    <a:pt x="200" y="94"/>
                  </a:cubicBezTo>
                  <a:cubicBezTo>
                    <a:pt x="200" y="94"/>
                    <a:pt x="200" y="94"/>
                    <a:pt x="200" y="93"/>
                  </a:cubicBezTo>
                  <a:cubicBezTo>
                    <a:pt x="200" y="83"/>
                    <a:pt x="200" y="73"/>
                    <a:pt x="200" y="63"/>
                  </a:cubicBezTo>
                  <a:cubicBezTo>
                    <a:pt x="200" y="61"/>
                    <a:pt x="200" y="59"/>
                    <a:pt x="200" y="56"/>
                  </a:cubicBezTo>
                  <a:cubicBezTo>
                    <a:pt x="201" y="52"/>
                    <a:pt x="202" y="48"/>
                    <a:pt x="205" y="45"/>
                  </a:cubicBezTo>
                  <a:cubicBezTo>
                    <a:pt x="208" y="42"/>
                    <a:pt x="211" y="40"/>
                    <a:pt x="215" y="40"/>
                  </a:cubicBezTo>
                  <a:cubicBezTo>
                    <a:pt x="217" y="40"/>
                    <a:pt x="220" y="41"/>
                    <a:pt x="222" y="42"/>
                  </a:cubicBezTo>
                  <a:cubicBezTo>
                    <a:pt x="222" y="39"/>
                    <a:pt x="222" y="36"/>
                    <a:pt x="222" y="32"/>
                  </a:cubicBezTo>
                  <a:cubicBezTo>
                    <a:pt x="222" y="32"/>
                    <a:pt x="222" y="32"/>
                    <a:pt x="221" y="31"/>
                  </a:cubicBezTo>
                  <a:cubicBezTo>
                    <a:pt x="220" y="31"/>
                    <a:pt x="219" y="31"/>
                    <a:pt x="217" y="31"/>
                  </a:cubicBezTo>
                  <a:cubicBezTo>
                    <a:pt x="213" y="31"/>
                    <a:pt x="210" y="32"/>
                    <a:pt x="206" y="35"/>
                  </a:cubicBezTo>
                  <a:cubicBezTo>
                    <a:pt x="204" y="37"/>
                    <a:pt x="202" y="39"/>
                    <a:pt x="201" y="42"/>
                  </a:cubicBezTo>
                  <a:cubicBezTo>
                    <a:pt x="201" y="43"/>
                    <a:pt x="200" y="44"/>
                    <a:pt x="200" y="44"/>
                  </a:cubicBezTo>
                  <a:cubicBezTo>
                    <a:pt x="200" y="44"/>
                    <a:pt x="200" y="44"/>
                    <a:pt x="200" y="44"/>
                  </a:cubicBezTo>
                  <a:close/>
                  <a:moveTo>
                    <a:pt x="1032" y="44"/>
                  </a:moveTo>
                  <a:cubicBezTo>
                    <a:pt x="1032" y="44"/>
                    <a:pt x="1032" y="44"/>
                    <a:pt x="1032" y="43"/>
                  </a:cubicBezTo>
                  <a:cubicBezTo>
                    <a:pt x="1032" y="40"/>
                    <a:pt x="1032" y="37"/>
                    <a:pt x="1032" y="33"/>
                  </a:cubicBezTo>
                  <a:cubicBezTo>
                    <a:pt x="1032" y="32"/>
                    <a:pt x="1031" y="32"/>
                    <a:pt x="1030" y="32"/>
                  </a:cubicBezTo>
                  <a:cubicBezTo>
                    <a:pt x="1028" y="32"/>
                    <a:pt x="1026" y="32"/>
                    <a:pt x="1023" y="32"/>
                  </a:cubicBezTo>
                  <a:cubicBezTo>
                    <a:pt x="1021" y="32"/>
                    <a:pt x="1021" y="32"/>
                    <a:pt x="1021" y="34"/>
                  </a:cubicBezTo>
                  <a:cubicBezTo>
                    <a:pt x="1021" y="54"/>
                    <a:pt x="1021" y="74"/>
                    <a:pt x="1021" y="94"/>
                  </a:cubicBezTo>
                  <a:cubicBezTo>
                    <a:pt x="1021" y="94"/>
                    <a:pt x="1021" y="94"/>
                    <a:pt x="1021" y="94"/>
                  </a:cubicBezTo>
                  <a:cubicBezTo>
                    <a:pt x="1021" y="95"/>
                    <a:pt x="1021" y="95"/>
                    <a:pt x="1023" y="95"/>
                  </a:cubicBezTo>
                  <a:cubicBezTo>
                    <a:pt x="1025" y="95"/>
                    <a:pt x="1027" y="95"/>
                    <a:pt x="1030" y="95"/>
                  </a:cubicBezTo>
                  <a:cubicBezTo>
                    <a:pt x="1032" y="95"/>
                    <a:pt x="1032" y="96"/>
                    <a:pt x="1032" y="94"/>
                  </a:cubicBezTo>
                  <a:cubicBezTo>
                    <a:pt x="1032" y="84"/>
                    <a:pt x="1032" y="74"/>
                    <a:pt x="1032" y="63"/>
                  </a:cubicBezTo>
                  <a:cubicBezTo>
                    <a:pt x="1032" y="61"/>
                    <a:pt x="1032" y="59"/>
                    <a:pt x="1032" y="57"/>
                  </a:cubicBezTo>
                  <a:cubicBezTo>
                    <a:pt x="1033" y="52"/>
                    <a:pt x="1034" y="48"/>
                    <a:pt x="1038" y="44"/>
                  </a:cubicBezTo>
                  <a:cubicBezTo>
                    <a:pt x="1040" y="42"/>
                    <a:pt x="1043" y="40"/>
                    <a:pt x="1047" y="40"/>
                  </a:cubicBezTo>
                  <a:cubicBezTo>
                    <a:pt x="1049" y="40"/>
                    <a:pt x="1052" y="41"/>
                    <a:pt x="1054" y="42"/>
                  </a:cubicBezTo>
                  <a:cubicBezTo>
                    <a:pt x="1054" y="39"/>
                    <a:pt x="1054" y="36"/>
                    <a:pt x="1054" y="33"/>
                  </a:cubicBezTo>
                  <a:cubicBezTo>
                    <a:pt x="1054" y="32"/>
                    <a:pt x="1054" y="32"/>
                    <a:pt x="1053" y="31"/>
                  </a:cubicBezTo>
                  <a:cubicBezTo>
                    <a:pt x="1052" y="31"/>
                    <a:pt x="1050" y="31"/>
                    <a:pt x="1049" y="31"/>
                  </a:cubicBezTo>
                  <a:cubicBezTo>
                    <a:pt x="1045" y="31"/>
                    <a:pt x="1042" y="32"/>
                    <a:pt x="1039" y="34"/>
                  </a:cubicBezTo>
                  <a:cubicBezTo>
                    <a:pt x="1036" y="37"/>
                    <a:pt x="1034" y="39"/>
                    <a:pt x="1033" y="43"/>
                  </a:cubicBezTo>
                  <a:cubicBezTo>
                    <a:pt x="1032" y="43"/>
                    <a:pt x="1032" y="44"/>
                    <a:pt x="1032" y="45"/>
                  </a:cubicBezTo>
                  <a:cubicBezTo>
                    <a:pt x="1032" y="44"/>
                    <a:pt x="1032" y="44"/>
                    <a:pt x="1032" y="44"/>
                  </a:cubicBezTo>
                  <a:close/>
                  <a:moveTo>
                    <a:pt x="868" y="43"/>
                  </a:moveTo>
                  <a:cubicBezTo>
                    <a:pt x="868" y="40"/>
                    <a:pt x="868" y="37"/>
                    <a:pt x="868" y="33"/>
                  </a:cubicBezTo>
                  <a:cubicBezTo>
                    <a:pt x="868" y="32"/>
                    <a:pt x="868" y="32"/>
                    <a:pt x="867" y="32"/>
                  </a:cubicBezTo>
                  <a:cubicBezTo>
                    <a:pt x="865" y="32"/>
                    <a:pt x="862" y="32"/>
                    <a:pt x="860" y="32"/>
                  </a:cubicBezTo>
                  <a:cubicBezTo>
                    <a:pt x="858" y="32"/>
                    <a:pt x="858" y="32"/>
                    <a:pt x="858" y="34"/>
                  </a:cubicBezTo>
                  <a:cubicBezTo>
                    <a:pt x="858" y="54"/>
                    <a:pt x="858" y="74"/>
                    <a:pt x="858" y="94"/>
                  </a:cubicBezTo>
                  <a:cubicBezTo>
                    <a:pt x="858" y="94"/>
                    <a:pt x="858" y="94"/>
                    <a:pt x="858" y="95"/>
                  </a:cubicBezTo>
                  <a:cubicBezTo>
                    <a:pt x="858" y="95"/>
                    <a:pt x="858" y="95"/>
                    <a:pt x="859" y="95"/>
                  </a:cubicBezTo>
                  <a:cubicBezTo>
                    <a:pt x="862" y="95"/>
                    <a:pt x="865" y="95"/>
                    <a:pt x="868" y="95"/>
                  </a:cubicBezTo>
                  <a:cubicBezTo>
                    <a:pt x="868" y="95"/>
                    <a:pt x="868" y="95"/>
                    <a:pt x="868" y="95"/>
                  </a:cubicBezTo>
                  <a:cubicBezTo>
                    <a:pt x="868" y="94"/>
                    <a:pt x="868" y="94"/>
                    <a:pt x="868" y="94"/>
                  </a:cubicBezTo>
                  <a:cubicBezTo>
                    <a:pt x="868" y="84"/>
                    <a:pt x="868" y="74"/>
                    <a:pt x="868" y="65"/>
                  </a:cubicBezTo>
                  <a:cubicBezTo>
                    <a:pt x="868" y="62"/>
                    <a:pt x="868" y="60"/>
                    <a:pt x="869" y="58"/>
                  </a:cubicBezTo>
                  <a:cubicBezTo>
                    <a:pt x="869" y="53"/>
                    <a:pt x="871" y="49"/>
                    <a:pt x="874" y="45"/>
                  </a:cubicBezTo>
                  <a:cubicBezTo>
                    <a:pt x="878" y="39"/>
                    <a:pt x="886" y="40"/>
                    <a:pt x="890" y="42"/>
                  </a:cubicBezTo>
                  <a:cubicBezTo>
                    <a:pt x="891" y="42"/>
                    <a:pt x="891" y="42"/>
                    <a:pt x="891" y="42"/>
                  </a:cubicBezTo>
                  <a:cubicBezTo>
                    <a:pt x="891" y="39"/>
                    <a:pt x="891" y="36"/>
                    <a:pt x="891" y="33"/>
                  </a:cubicBezTo>
                  <a:cubicBezTo>
                    <a:pt x="891" y="32"/>
                    <a:pt x="891" y="32"/>
                    <a:pt x="890" y="31"/>
                  </a:cubicBezTo>
                  <a:cubicBezTo>
                    <a:pt x="889" y="31"/>
                    <a:pt x="888" y="31"/>
                    <a:pt x="886" y="31"/>
                  </a:cubicBezTo>
                  <a:cubicBezTo>
                    <a:pt x="882" y="31"/>
                    <a:pt x="878" y="32"/>
                    <a:pt x="874" y="35"/>
                  </a:cubicBezTo>
                  <a:cubicBezTo>
                    <a:pt x="872" y="38"/>
                    <a:pt x="871" y="40"/>
                    <a:pt x="869" y="43"/>
                  </a:cubicBezTo>
                  <a:cubicBezTo>
                    <a:pt x="869" y="44"/>
                    <a:pt x="869" y="44"/>
                    <a:pt x="868" y="45"/>
                  </a:cubicBezTo>
                  <a:cubicBezTo>
                    <a:pt x="868" y="44"/>
                    <a:pt x="868" y="44"/>
                    <a:pt x="868" y="43"/>
                  </a:cubicBezTo>
                  <a:close/>
                  <a:moveTo>
                    <a:pt x="119" y="58"/>
                  </a:moveTo>
                  <a:cubicBezTo>
                    <a:pt x="119" y="50"/>
                    <a:pt x="119" y="42"/>
                    <a:pt x="119" y="34"/>
                  </a:cubicBezTo>
                  <a:cubicBezTo>
                    <a:pt x="119" y="32"/>
                    <a:pt x="119" y="32"/>
                    <a:pt x="117" y="32"/>
                  </a:cubicBezTo>
                  <a:cubicBezTo>
                    <a:pt x="115" y="32"/>
                    <a:pt x="113" y="32"/>
                    <a:pt x="110" y="32"/>
                  </a:cubicBezTo>
                  <a:cubicBezTo>
                    <a:pt x="108" y="32"/>
                    <a:pt x="109" y="32"/>
                    <a:pt x="109" y="34"/>
                  </a:cubicBezTo>
                  <a:cubicBezTo>
                    <a:pt x="109" y="54"/>
                    <a:pt x="109" y="74"/>
                    <a:pt x="109" y="94"/>
                  </a:cubicBezTo>
                  <a:cubicBezTo>
                    <a:pt x="109" y="94"/>
                    <a:pt x="109" y="94"/>
                    <a:pt x="109" y="95"/>
                  </a:cubicBezTo>
                  <a:cubicBezTo>
                    <a:pt x="109" y="95"/>
                    <a:pt x="109" y="95"/>
                    <a:pt x="109" y="95"/>
                  </a:cubicBezTo>
                  <a:cubicBezTo>
                    <a:pt x="112" y="95"/>
                    <a:pt x="115" y="95"/>
                    <a:pt x="118" y="95"/>
                  </a:cubicBezTo>
                  <a:cubicBezTo>
                    <a:pt x="119" y="95"/>
                    <a:pt x="119" y="95"/>
                    <a:pt x="119" y="95"/>
                  </a:cubicBezTo>
                  <a:cubicBezTo>
                    <a:pt x="119" y="94"/>
                    <a:pt x="119" y="94"/>
                    <a:pt x="119" y="94"/>
                  </a:cubicBezTo>
                  <a:cubicBezTo>
                    <a:pt x="119" y="84"/>
                    <a:pt x="119" y="74"/>
                    <a:pt x="119" y="64"/>
                  </a:cubicBezTo>
                  <a:cubicBezTo>
                    <a:pt x="119" y="62"/>
                    <a:pt x="119" y="60"/>
                    <a:pt x="119" y="58"/>
                  </a:cubicBezTo>
                  <a:close/>
                  <a:moveTo>
                    <a:pt x="114" y="3"/>
                  </a:moveTo>
                  <a:cubicBezTo>
                    <a:pt x="110" y="3"/>
                    <a:pt x="107" y="6"/>
                    <a:pt x="107" y="9"/>
                  </a:cubicBezTo>
                  <a:cubicBezTo>
                    <a:pt x="107" y="13"/>
                    <a:pt x="110" y="16"/>
                    <a:pt x="114" y="16"/>
                  </a:cubicBezTo>
                  <a:cubicBezTo>
                    <a:pt x="118" y="16"/>
                    <a:pt x="121" y="13"/>
                    <a:pt x="121" y="9"/>
                  </a:cubicBezTo>
                  <a:cubicBezTo>
                    <a:pt x="121" y="6"/>
                    <a:pt x="118" y="3"/>
                    <a:pt x="114" y="3"/>
                  </a:cubicBezTo>
                  <a:close/>
                  <a:moveTo>
                    <a:pt x="480" y="36"/>
                  </a:moveTo>
                  <a:cubicBezTo>
                    <a:pt x="479" y="36"/>
                    <a:pt x="479" y="36"/>
                    <a:pt x="478" y="35"/>
                  </a:cubicBezTo>
                  <a:cubicBezTo>
                    <a:pt x="478" y="35"/>
                    <a:pt x="478" y="34"/>
                    <a:pt x="478" y="34"/>
                  </a:cubicBezTo>
                  <a:cubicBezTo>
                    <a:pt x="477" y="34"/>
                    <a:pt x="477" y="33"/>
                    <a:pt x="477" y="33"/>
                  </a:cubicBezTo>
                  <a:cubicBezTo>
                    <a:pt x="476" y="34"/>
                    <a:pt x="477" y="35"/>
                    <a:pt x="477" y="36"/>
                  </a:cubicBezTo>
                  <a:cubicBezTo>
                    <a:pt x="478" y="36"/>
                    <a:pt x="479" y="37"/>
                    <a:pt x="480" y="36"/>
                  </a:cubicBezTo>
                  <a:cubicBezTo>
                    <a:pt x="480" y="36"/>
                    <a:pt x="480" y="36"/>
                    <a:pt x="480" y="36"/>
                  </a:cubicBezTo>
                  <a:close/>
                  <a:moveTo>
                    <a:pt x="480" y="33"/>
                  </a:moveTo>
                  <a:cubicBezTo>
                    <a:pt x="480" y="33"/>
                    <a:pt x="480" y="33"/>
                    <a:pt x="480" y="33"/>
                  </a:cubicBezTo>
                  <a:cubicBezTo>
                    <a:pt x="480" y="33"/>
                    <a:pt x="480" y="33"/>
                    <a:pt x="480" y="33"/>
                  </a:cubicBezTo>
                  <a:cubicBezTo>
                    <a:pt x="481" y="34"/>
                    <a:pt x="480" y="35"/>
                    <a:pt x="481" y="35"/>
                  </a:cubicBezTo>
                  <a:cubicBezTo>
                    <a:pt x="481" y="36"/>
                    <a:pt x="481" y="35"/>
                    <a:pt x="481" y="35"/>
                  </a:cubicBezTo>
                  <a:cubicBezTo>
                    <a:pt x="482" y="34"/>
                    <a:pt x="482" y="34"/>
                    <a:pt x="481" y="33"/>
                  </a:cubicBezTo>
                  <a:cubicBezTo>
                    <a:pt x="481" y="33"/>
                    <a:pt x="480" y="33"/>
                    <a:pt x="480" y="33"/>
                  </a:cubicBezTo>
                  <a:close/>
                  <a:moveTo>
                    <a:pt x="1059" y="36"/>
                  </a:moveTo>
                  <a:cubicBezTo>
                    <a:pt x="1059" y="36"/>
                    <a:pt x="1058" y="36"/>
                    <a:pt x="1058" y="35"/>
                  </a:cubicBezTo>
                  <a:cubicBezTo>
                    <a:pt x="1058" y="35"/>
                    <a:pt x="1058" y="35"/>
                    <a:pt x="1057" y="35"/>
                  </a:cubicBezTo>
                  <a:cubicBezTo>
                    <a:pt x="1057" y="35"/>
                    <a:pt x="1057" y="35"/>
                    <a:pt x="1057" y="35"/>
                  </a:cubicBezTo>
                  <a:cubicBezTo>
                    <a:pt x="1057" y="36"/>
                    <a:pt x="1057" y="36"/>
                    <a:pt x="1058" y="36"/>
                  </a:cubicBezTo>
                  <a:cubicBezTo>
                    <a:pt x="1059" y="37"/>
                    <a:pt x="1059" y="36"/>
                    <a:pt x="1059" y="36"/>
                  </a:cubicBezTo>
                  <a:close/>
                  <a:moveTo>
                    <a:pt x="478" y="33"/>
                  </a:moveTo>
                  <a:cubicBezTo>
                    <a:pt x="478" y="33"/>
                    <a:pt x="478" y="33"/>
                    <a:pt x="478" y="33"/>
                  </a:cubicBezTo>
                  <a:cubicBezTo>
                    <a:pt x="479" y="33"/>
                    <a:pt x="479" y="33"/>
                    <a:pt x="480" y="33"/>
                  </a:cubicBezTo>
                  <a:cubicBezTo>
                    <a:pt x="480" y="33"/>
                    <a:pt x="480" y="33"/>
                    <a:pt x="480" y="33"/>
                  </a:cubicBezTo>
                  <a:cubicBezTo>
                    <a:pt x="480" y="33"/>
                    <a:pt x="480" y="33"/>
                    <a:pt x="480" y="33"/>
                  </a:cubicBezTo>
                  <a:cubicBezTo>
                    <a:pt x="480" y="33"/>
                    <a:pt x="480" y="32"/>
                    <a:pt x="480" y="32"/>
                  </a:cubicBezTo>
                  <a:cubicBezTo>
                    <a:pt x="480" y="32"/>
                    <a:pt x="479" y="32"/>
                    <a:pt x="478" y="32"/>
                  </a:cubicBezTo>
                  <a:cubicBezTo>
                    <a:pt x="478" y="32"/>
                    <a:pt x="478" y="32"/>
                    <a:pt x="478" y="33"/>
                  </a:cubicBezTo>
                  <a:close/>
                  <a:moveTo>
                    <a:pt x="1057" y="34"/>
                  </a:moveTo>
                  <a:cubicBezTo>
                    <a:pt x="1058" y="34"/>
                    <a:pt x="1058" y="33"/>
                    <a:pt x="1058" y="33"/>
                  </a:cubicBezTo>
                  <a:cubicBezTo>
                    <a:pt x="1058" y="33"/>
                    <a:pt x="1058" y="33"/>
                    <a:pt x="1058" y="33"/>
                  </a:cubicBezTo>
                  <a:cubicBezTo>
                    <a:pt x="1058" y="32"/>
                    <a:pt x="1058" y="32"/>
                    <a:pt x="1058" y="32"/>
                  </a:cubicBezTo>
                  <a:cubicBezTo>
                    <a:pt x="1057" y="32"/>
                    <a:pt x="1057" y="33"/>
                    <a:pt x="1057" y="34"/>
                  </a:cubicBezTo>
                  <a:cubicBezTo>
                    <a:pt x="1057" y="34"/>
                    <a:pt x="1057" y="34"/>
                    <a:pt x="1057" y="34"/>
                  </a:cubicBezTo>
                  <a:close/>
                  <a:moveTo>
                    <a:pt x="1060" y="33"/>
                  </a:moveTo>
                  <a:cubicBezTo>
                    <a:pt x="1060" y="33"/>
                    <a:pt x="1060" y="33"/>
                    <a:pt x="1060" y="33"/>
                  </a:cubicBezTo>
                  <a:cubicBezTo>
                    <a:pt x="1060" y="33"/>
                    <a:pt x="1060" y="33"/>
                    <a:pt x="1061" y="34"/>
                  </a:cubicBezTo>
                  <a:cubicBezTo>
                    <a:pt x="1061" y="34"/>
                    <a:pt x="1061" y="34"/>
                    <a:pt x="1061" y="33"/>
                  </a:cubicBezTo>
                  <a:cubicBezTo>
                    <a:pt x="1061" y="33"/>
                    <a:pt x="1061" y="32"/>
                    <a:pt x="1060" y="32"/>
                  </a:cubicBezTo>
                  <a:cubicBezTo>
                    <a:pt x="1060" y="32"/>
                    <a:pt x="1060" y="32"/>
                    <a:pt x="1060" y="33"/>
                  </a:cubicBezTo>
                  <a:close/>
                  <a:moveTo>
                    <a:pt x="1058" y="32"/>
                  </a:moveTo>
                  <a:cubicBezTo>
                    <a:pt x="1058" y="32"/>
                    <a:pt x="1058" y="32"/>
                    <a:pt x="1058" y="33"/>
                  </a:cubicBezTo>
                  <a:cubicBezTo>
                    <a:pt x="1059" y="33"/>
                    <a:pt x="1059" y="33"/>
                    <a:pt x="1060" y="32"/>
                  </a:cubicBezTo>
                  <a:cubicBezTo>
                    <a:pt x="1060" y="32"/>
                    <a:pt x="1060" y="32"/>
                    <a:pt x="1060" y="32"/>
                  </a:cubicBezTo>
                  <a:cubicBezTo>
                    <a:pt x="1059" y="32"/>
                    <a:pt x="1059" y="32"/>
                    <a:pt x="1058" y="32"/>
                  </a:cubicBezTo>
                  <a:close/>
                  <a:moveTo>
                    <a:pt x="1060" y="36"/>
                  </a:moveTo>
                  <a:cubicBezTo>
                    <a:pt x="1060" y="36"/>
                    <a:pt x="1060" y="36"/>
                    <a:pt x="1059" y="36"/>
                  </a:cubicBezTo>
                  <a:cubicBezTo>
                    <a:pt x="1059" y="36"/>
                    <a:pt x="1059" y="36"/>
                    <a:pt x="1059" y="36"/>
                  </a:cubicBezTo>
                  <a:cubicBezTo>
                    <a:pt x="1059" y="36"/>
                    <a:pt x="1058" y="36"/>
                    <a:pt x="1058" y="36"/>
                  </a:cubicBezTo>
                  <a:cubicBezTo>
                    <a:pt x="1059" y="37"/>
                    <a:pt x="1059" y="37"/>
                    <a:pt x="1060" y="36"/>
                  </a:cubicBezTo>
                  <a:close/>
                  <a:moveTo>
                    <a:pt x="1061" y="35"/>
                  </a:moveTo>
                  <a:cubicBezTo>
                    <a:pt x="1061" y="35"/>
                    <a:pt x="1061" y="35"/>
                    <a:pt x="1061" y="35"/>
                  </a:cubicBezTo>
                  <a:cubicBezTo>
                    <a:pt x="1061" y="34"/>
                    <a:pt x="1061" y="34"/>
                    <a:pt x="1061" y="33"/>
                  </a:cubicBezTo>
                  <a:cubicBezTo>
                    <a:pt x="1061" y="33"/>
                    <a:pt x="1061" y="33"/>
                    <a:pt x="1061" y="33"/>
                  </a:cubicBezTo>
                  <a:cubicBezTo>
                    <a:pt x="1061" y="34"/>
                    <a:pt x="1061" y="34"/>
                    <a:pt x="1061" y="35"/>
                  </a:cubicBezTo>
                  <a:close/>
                  <a:moveTo>
                    <a:pt x="1061" y="36"/>
                  </a:moveTo>
                  <a:cubicBezTo>
                    <a:pt x="1061" y="36"/>
                    <a:pt x="1061" y="36"/>
                    <a:pt x="1060" y="35"/>
                  </a:cubicBezTo>
                  <a:cubicBezTo>
                    <a:pt x="1060" y="35"/>
                    <a:pt x="1060" y="35"/>
                    <a:pt x="1060" y="36"/>
                  </a:cubicBezTo>
                  <a:cubicBezTo>
                    <a:pt x="1060" y="36"/>
                    <a:pt x="1059" y="36"/>
                    <a:pt x="1059" y="36"/>
                  </a:cubicBezTo>
                  <a:cubicBezTo>
                    <a:pt x="1059" y="36"/>
                    <a:pt x="1060" y="36"/>
                    <a:pt x="1060" y="36"/>
                  </a:cubicBezTo>
                  <a:cubicBezTo>
                    <a:pt x="1060" y="36"/>
                    <a:pt x="1061" y="36"/>
                    <a:pt x="1061" y="36"/>
                  </a:cubicBezTo>
                  <a:close/>
                  <a:moveTo>
                    <a:pt x="1057" y="35"/>
                  </a:moveTo>
                  <a:cubicBezTo>
                    <a:pt x="1057" y="35"/>
                    <a:pt x="1057" y="35"/>
                    <a:pt x="1057" y="35"/>
                  </a:cubicBezTo>
                  <a:cubicBezTo>
                    <a:pt x="1057" y="34"/>
                    <a:pt x="1057" y="34"/>
                    <a:pt x="1057" y="34"/>
                  </a:cubicBezTo>
                  <a:cubicBezTo>
                    <a:pt x="1057" y="34"/>
                    <a:pt x="1057" y="34"/>
                    <a:pt x="1057" y="34"/>
                  </a:cubicBezTo>
                  <a:cubicBezTo>
                    <a:pt x="1057" y="34"/>
                    <a:pt x="1057" y="35"/>
                    <a:pt x="1057" y="35"/>
                  </a:cubicBezTo>
                  <a:close/>
                  <a:moveTo>
                    <a:pt x="480" y="36"/>
                  </a:moveTo>
                  <a:cubicBezTo>
                    <a:pt x="480" y="36"/>
                    <a:pt x="480" y="36"/>
                    <a:pt x="480" y="36"/>
                  </a:cubicBezTo>
                  <a:cubicBezTo>
                    <a:pt x="480" y="35"/>
                    <a:pt x="480" y="35"/>
                    <a:pt x="480" y="35"/>
                  </a:cubicBezTo>
                  <a:cubicBezTo>
                    <a:pt x="480" y="35"/>
                    <a:pt x="480" y="35"/>
                    <a:pt x="480" y="35"/>
                  </a:cubicBezTo>
                  <a:cubicBezTo>
                    <a:pt x="480" y="36"/>
                    <a:pt x="480" y="36"/>
                    <a:pt x="480" y="36"/>
                  </a:cubicBezTo>
                  <a:cubicBezTo>
                    <a:pt x="480" y="36"/>
                    <a:pt x="480" y="36"/>
                    <a:pt x="480" y="36"/>
                  </a:cubicBezTo>
                  <a:cubicBezTo>
                    <a:pt x="480" y="36"/>
                    <a:pt x="480" y="36"/>
                    <a:pt x="480" y="36"/>
                  </a:cubicBezTo>
                  <a:close/>
                  <a:moveTo>
                    <a:pt x="1061" y="35"/>
                  </a:moveTo>
                  <a:cubicBezTo>
                    <a:pt x="1061" y="35"/>
                    <a:pt x="1061" y="35"/>
                    <a:pt x="1061" y="35"/>
                  </a:cubicBezTo>
                  <a:cubicBezTo>
                    <a:pt x="1060" y="35"/>
                    <a:pt x="1060" y="35"/>
                    <a:pt x="1060" y="36"/>
                  </a:cubicBezTo>
                  <a:cubicBezTo>
                    <a:pt x="1060" y="36"/>
                    <a:pt x="1061" y="36"/>
                    <a:pt x="1061" y="36"/>
                  </a:cubicBezTo>
                  <a:cubicBezTo>
                    <a:pt x="1061" y="36"/>
                    <a:pt x="1061" y="35"/>
                    <a:pt x="1061" y="35"/>
                  </a:cubicBezTo>
                  <a:close/>
                  <a:moveTo>
                    <a:pt x="478" y="33"/>
                  </a:moveTo>
                  <a:cubicBezTo>
                    <a:pt x="478" y="33"/>
                    <a:pt x="478" y="33"/>
                    <a:pt x="478" y="33"/>
                  </a:cubicBezTo>
                  <a:cubicBezTo>
                    <a:pt x="477" y="33"/>
                    <a:pt x="477" y="33"/>
                    <a:pt x="477" y="33"/>
                  </a:cubicBezTo>
                  <a:cubicBezTo>
                    <a:pt x="477" y="33"/>
                    <a:pt x="477" y="33"/>
                    <a:pt x="477" y="33"/>
                  </a:cubicBezTo>
                  <a:cubicBezTo>
                    <a:pt x="477" y="33"/>
                    <a:pt x="477" y="34"/>
                    <a:pt x="477" y="34"/>
                  </a:cubicBezTo>
                  <a:cubicBezTo>
                    <a:pt x="478" y="34"/>
                    <a:pt x="478" y="33"/>
                    <a:pt x="478" y="33"/>
                  </a:cubicBezTo>
                  <a:close/>
                  <a:moveTo>
                    <a:pt x="477" y="33"/>
                  </a:moveTo>
                  <a:cubicBezTo>
                    <a:pt x="478" y="33"/>
                    <a:pt x="478" y="33"/>
                    <a:pt x="478" y="33"/>
                  </a:cubicBezTo>
                  <a:cubicBezTo>
                    <a:pt x="478" y="33"/>
                    <a:pt x="478" y="33"/>
                    <a:pt x="478" y="33"/>
                  </a:cubicBezTo>
                  <a:cubicBezTo>
                    <a:pt x="478" y="33"/>
                    <a:pt x="478" y="33"/>
                    <a:pt x="478" y="33"/>
                  </a:cubicBezTo>
                  <a:cubicBezTo>
                    <a:pt x="478" y="33"/>
                    <a:pt x="478" y="33"/>
                    <a:pt x="478" y="33"/>
                  </a:cubicBezTo>
                  <a:cubicBezTo>
                    <a:pt x="478" y="33"/>
                    <a:pt x="478" y="32"/>
                    <a:pt x="478" y="32"/>
                  </a:cubicBezTo>
                  <a:cubicBezTo>
                    <a:pt x="478" y="32"/>
                    <a:pt x="478" y="32"/>
                    <a:pt x="478" y="32"/>
                  </a:cubicBezTo>
                  <a:cubicBezTo>
                    <a:pt x="478" y="32"/>
                    <a:pt x="478" y="32"/>
                    <a:pt x="477" y="33"/>
                  </a:cubicBezTo>
                  <a:close/>
                  <a:moveTo>
                    <a:pt x="481" y="36"/>
                  </a:moveTo>
                  <a:cubicBezTo>
                    <a:pt x="481" y="36"/>
                    <a:pt x="481" y="36"/>
                    <a:pt x="481" y="36"/>
                  </a:cubicBezTo>
                  <a:cubicBezTo>
                    <a:pt x="480" y="36"/>
                    <a:pt x="480" y="36"/>
                    <a:pt x="480" y="36"/>
                  </a:cubicBezTo>
                  <a:cubicBezTo>
                    <a:pt x="480" y="36"/>
                    <a:pt x="480" y="36"/>
                    <a:pt x="480" y="36"/>
                  </a:cubicBezTo>
                  <a:cubicBezTo>
                    <a:pt x="481" y="36"/>
                    <a:pt x="481" y="36"/>
                    <a:pt x="481" y="36"/>
                  </a:cubicBezTo>
                  <a:close/>
                  <a:moveTo>
                    <a:pt x="481" y="33"/>
                  </a:moveTo>
                  <a:cubicBezTo>
                    <a:pt x="481" y="33"/>
                    <a:pt x="481" y="32"/>
                    <a:pt x="480" y="32"/>
                  </a:cubicBezTo>
                  <a:cubicBezTo>
                    <a:pt x="480" y="32"/>
                    <a:pt x="480" y="33"/>
                    <a:pt x="480" y="33"/>
                  </a:cubicBezTo>
                  <a:cubicBezTo>
                    <a:pt x="481" y="33"/>
                    <a:pt x="481" y="33"/>
                    <a:pt x="481" y="33"/>
                  </a:cubicBezTo>
                  <a:close/>
                  <a:moveTo>
                    <a:pt x="481" y="36"/>
                  </a:moveTo>
                  <a:cubicBezTo>
                    <a:pt x="481" y="36"/>
                    <a:pt x="481" y="36"/>
                    <a:pt x="481" y="36"/>
                  </a:cubicBezTo>
                  <a:cubicBezTo>
                    <a:pt x="481" y="36"/>
                    <a:pt x="481" y="36"/>
                    <a:pt x="481" y="35"/>
                  </a:cubicBezTo>
                  <a:cubicBezTo>
                    <a:pt x="481" y="35"/>
                    <a:pt x="481" y="35"/>
                    <a:pt x="481" y="35"/>
                  </a:cubicBezTo>
                  <a:cubicBezTo>
                    <a:pt x="481" y="35"/>
                    <a:pt x="480" y="36"/>
                    <a:pt x="481" y="36"/>
                  </a:cubicBezTo>
                  <a:close/>
                  <a:moveTo>
                    <a:pt x="637" y="52"/>
                  </a:moveTo>
                  <a:cubicBezTo>
                    <a:pt x="637" y="46"/>
                    <a:pt x="636" y="39"/>
                    <a:pt x="634" y="33"/>
                  </a:cubicBezTo>
                  <a:cubicBezTo>
                    <a:pt x="631" y="26"/>
                    <a:pt x="627" y="21"/>
                    <a:pt x="620" y="17"/>
                  </a:cubicBezTo>
                  <a:cubicBezTo>
                    <a:pt x="614" y="14"/>
                    <a:pt x="607" y="14"/>
                    <a:pt x="600" y="15"/>
                  </a:cubicBezTo>
                  <a:cubicBezTo>
                    <a:pt x="591" y="17"/>
                    <a:pt x="584" y="22"/>
                    <a:pt x="580" y="30"/>
                  </a:cubicBezTo>
                  <a:cubicBezTo>
                    <a:pt x="577" y="35"/>
                    <a:pt x="576" y="40"/>
                    <a:pt x="575" y="46"/>
                  </a:cubicBezTo>
                  <a:cubicBezTo>
                    <a:pt x="574" y="54"/>
                    <a:pt x="575" y="61"/>
                    <a:pt x="578" y="68"/>
                  </a:cubicBezTo>
                  <a:cubicBezTo>
                    <a:pt x="581" y="76"/>
                    <a:pt x="586" y="82"/>
                    <a:pt x="594" y="85"/>
                  </a:cubicBezTo>
                  <a:cubicBezTo>
                    <a:pt x="599" y="87"/>
                    <a:pt x="604" y="88"/>
                    <a:pt x="610" y="87"/>
                  </a:cubicBezTo>
                  <a:cubicBezTo>
                    <a:pt x="620" y="86"/>
                    <a:pt x="628" y="81"/>
                    <a:pt x="632" y="72"/>
                  </a:cubicBezTo>
                  <a:cubicBezTo>
                    <a:pt x="636" y="66"/>
                    <a:pt x="637" y="60"/>
                    <a:pt x="637" y="52"/>
                  </a:cubicBezTo>
                  <a:cubicBezTo>
                    <a:pt x="637" y="52"/>
                    <a:pt x="637" y="52"/>
                    <a:pt x="637" y="52"/>
                  </a:cubicBezTo>
                  <a:close/>
                  <a:moveTo>
                    <a:pt x="967" y="58"/>
                  </a:moveTo>
                  <a:cubicBezTo>
                    <a:pt x="977" y="58"/>
                    <a:pt x="988" y="58"/>
                    <a:pt x="999" y="58"/>
                  </a:cubicBezTo>
                  <a:cubicBezTo>
                    <a:pt x="1000" y="58"/>
                    <a:pt x="1000" y="57"/>
                    <a:pt x="1000" y="57"/>
                  </a:cubicBezTo>
                  <a:cubicBezTo>
                    <a:pt x="1000" y="54"/>
                    <a:pt x="999" y="51"/>
                    <a:pt x="998" y="48"/>
                  </a:cubicBezTo>
                  <a:cubicBezTo>
                    <a:pt x="997" y="44"/>
                    <a:pt x="994" y="42"/>
                    <a:pt x="991" y="40"/>
                  </a:cubicBezTo>
                  <a:cubicBezTo>
                    <a:pt x="985" y="38"/>
                    <a:pt x="980" y="39"/>
                    <a:pt x="975" y="42"/>
                  </a:cubicBezTo>
                  <a:cubicBezTo>
                    <a:pt x="969" y="46"/>
                    <a:pt x="967" y="51"/>
                    <a:pt x="966" y="58"/>
                  </a:cubicBezTo>
                  <a:cubicBezTo>
                    <a:pt x="966" y="58"/>
                    <a:pt x="966" y="58"/>
                    <a:pt x="967" y="58"/>
                  </a:cubicBezTo>
                  <a:close/>
                  <a:moveTo>
                    <a:pt x="804" y="58"/>
                  </a:moveTo>
                  <a:cubicBezTo>
                    <a:pt x="814" y="58"/>
                    <a:pt x="825" y="58"/>
                    <a:pt x="836" y="58"/>
                  </a:cubicBezTo>
                  <a:cubicBezTo>
                    <a:pt x="836" y="58"/>
                    <a:pt x="836" y="58"/>
                    <a:pt x="836" y="58"/>
                  </a:cubicBezTo>
                  <a:cubicBezTo>
                    <a:pt x="837" y="58"/>
                    <a:pt x="837" y="57"/>
                    <a:pt x="837" y="57"/>
                  </a:cubicBezTo>
                  <a:cubicBezTo>
                    <a:pt x="837" y="54"/>
                    <a:pt x="836" y="51"/>
                    <a:pt x="835" y="49"/>
                  </a:cubicBezTo>
                  <a:cubicBezTo>
                    <a:pt x="834" y="44"/>
                    <a:pt x="831" y="41"/>
                    <a:pt x="826" y="40"/>
                  </a:cubicBezTo>
                  <a:cubicBezTo>
                    <a:pt x="819" y="38"/>
                    <a:pt x="813" y="40"/>
                    <a:pt x="809" y="45"/>
                  </a:cubicBezTo>
                  <a:cubicBezTo>
                    <a:pt x="805" y="48"/>
                    <a:pt x="804" y="53"/>
                    <a:pt x="803" y="58"/>
                  </a:cubicBezTo>
                  <a:cubicBezTo>
                    <a:pt x="803" y="58"/>
                    <a:pt x="803" y="58"/>
                    <a:pt x="804" y="58"/>
                  </a:cubicBezTo>
                  <a:close/>
                  <a:moveTo>
                    <a:pt x="234" y="69"/>
                  </a:moveTo>
                  <a:cubicBezTo>
                    <a:pt x="234" y="70"/>
                    <a:pt x="234" y="72"/>
                    <a:pt x="235" y="73"/>
                  </a:cubicBezTo>
                  <a:cubicBezTo>
                    <a:pt x="236" y="80"/>
                    <a:pt x="240" y="85"/>
                    <a:pt x="247" y="87"/>
                  </a:cubicBezTo>
                  <a:cubicBezTo>
                    <a:pt x="250" y="88"/>
                    <a:pt x="254" y="89"/>
                    <a:pt x="258" y="88"/>
                  </a:cubicBezTo>
                  <a:cubicBezTo>
                    <a:pt x="266" y="87"/>
                    <a:pt x="271" y="83"/>
                    <a:pt x="273" y="75"/>
                  </a:cubicBezTo>
                  <a:cubicBezTo>
                    <a:pt x="274" y="72"/>
                    <a:pt x="275" y="70"/>
                    <a:pt x="275" y="67"/>
                  </a:cubicBezTo>
                  <a:cubicBezTo>
                    <a:pt x="275" y="62"/>
                    <a:pt x="275" y="57"/>
                    <a:pt x="273" y="51"/>
                  </a:cubicBezTo>
                  <a:cubicBezTo>
                    <a:pt x="271" y="46"/>
                    <a:pt x="267" y="42"/>
                    <a:pt x="261" y="40"/>
                  </a:cubicBezTo>
                  <a:cubicBezTo>
                    <a:pt x="259" y="39"/>
                    <a:pt x="256" y="39"/>
                    <a:pt x="253" y="39"/>
                  </a:cubicBezTo>
                  <a:cubicBezTo>
                    <a:pt x="245" y="39"/>
                    <a:pt x="239" y="44"/>
                    <a:pt x="235" y="52"/>
                  </a:cubicBezTo>
                  <a:cubicBezTo>
                    <a:pt x="234" y="56"/>
                    <a:pt x="233" y="60"/>
                    <a:pt x="233" y="64"/>
                  </a:cubicBezTo>
                  <a:cubicBezTo>
                    <a:pt x="233" y="66"/>
                    <a:pt x="233" y="67"/>
                    <a:pt x="234" y="69"/>
                  </a:cubicBezTo>
                  <a:close/>
                  <a:moveTo>
                    <a:pt x="349" y="74"/>
                  </a:moveTo>
                  <a:cubicBezTo>
                    <a:pt x="351" y="80"/>
                    <a:pt x="356" y="85"/>
                    <a:pt x="363" y="87"/>
                  </a:cubicBezTo>
                  <a:cubicBezTo>
                    <a:pt x="365" y="88"/>
                    <a:pt x="368" y="88"/>
                    <a:pt x="371" y="88"/>
                  </a:cubicBezTo>
                  <a:cubicBezTo>
                    <a:pt x="379" y="88"/>
                    <a:pt x="385" y="84"/>
                    <a:pt x="388" y="76"/>
                  </a:cubicBezTo>
                  <a:cubicBezTo>
                    <a:pt x="389" y="72"/>
                    <a:pt x="390" y="68"/>
                    <a:pt x="390" y="64"/>
                  </a:cubicBezTo>
                  <a:cubicBezTo>
                    <a:pt x="390" y="60"/>
                    <a:pt x="389" y="55"/>
                    <a:pt x="387" y="51"/>
                  </a:cubicBezTo>
                  <a:cubicBezTo>
                    <a:pt x="385" y="45"/>
                    <a:pt x="381" y="41"/>
                    <a:pt x="375" y="40"/>
                  </a:cubicBezTo>
                  <a:cubicBezTo>
                    <a:pt x="372" y="39"/>
                    <a:pt x="370" y="39"/>
                    <a:pt x="368" y="39"/>
                  </a:cubicBezTo>
                  <a:cubicBezTo>
                    <a:pt x="360" y="40"/>
                    <a:pt x="354" y="44"/>
                    <a:pt x="350" y="51"/>
                  </a:cubicBezTo>
                  <a:cubicBezTo>
                    <a:pt x="349" y="55"/>
                    <a:pt x="348" y="60"/>
                    <a:pt x="348" y="64"/>
                  </a:cubicBezTo>
                  <a:cubicBezTo>
                    <a:pt x="348" y="67"/>
                    <a:pt x="348" y="70"/>
                    <a:pt x="349" y="74"/>
                  </a:cubicBezTo>
                  <a:close/>
                  <a:moveTo>
                    <a:pt x="477" y="33"/>
                  </a:moveTo>
                  <a:cubicBezTo>
                    <a:pt x="477" y="33"/>
                    <a:pt x="477" y="34"/>
                    <a:pt x="477" y="34"/>
                  </a:cubicBezTo>
                  <a:cubicBezTo>
                    <a:pt x="477" y="34"/>
                    <a:pt x="477" y="35"/>
                    <a:pt x="478" y="36"/>
                  </a:cubicBezTo>
                  <a:cubicBezTo>
                    <a:pt x="478" y="36"/>
                    <a:pt x="478" y="36"/>
                    <a:pt x="478" y="35"/>
                  </a:cubicBezTo>
                  <a:cubicBezTo>
                    <a:pt x="479" y="35"/>
                    <a:pt x="479" y="34"/>
                    <a:pt x="478" y="33"/>
                  </a:cubicBezTo>
                  <a:cubicBezTo>
                    <a:pt x="478" y="33"/>
                    <a:pt x="478" y="33"/>
                    <a:pt x="478" y="33"/>
                  </a:cubicBezTo>
                  <a:cubicBezTo>
                    <a:pt x="478" y="33"/>
                    <a:pt x="477" y="33"/>
                    <a:pt x="477" y="33"/>
                  </a:cubicBezTo>
                  <a:close/>
                  <a:moveTo>
                    <a:pt x="480" y="35"/>
                  </a:moveTo>
                  <a:cubicBezTo>
                    <a:pt x="478" y="34"/>
                    <a:pt x="478" y="35"/>
                    <a:pt x="478" y="35"/>
                  </a:cubicBezTo>
                  <a:cubicBezTo>
                    <a:pt x="478" y="36"/>
                    <a:pt x="478" y="36"/>
                    <a:pt x="478" y="36"/>
                  </a:cubicBezTo>
                  <a:cubicBezTo>
                    <a:pt x="478" y="36"/>
                    <a:pt x="478" y="36"/>
                    <a:pt x="478" y="36"/>
                  </a:cubicBezTo>
                  <a:cubicBezTo>
                    <a:pt x="478" y="36"/>
                    <a:pt x="479" y="36"/>
                    <a:pt x="480" y="36"/>
                  </a:cubicBezTo>
                  <a:cubicBezTo>
                    <a:pt x="480" y="36"/>
                    <a:pt x="480" y="36"/>
                    <a:pt x="480" y="36"/>
                  </a:cubicBezTo>
                  <a:cubicBezTo>
                    <a:pt x="480" y="35"/>
                    <a:pt x="480" y="35"/>
                    <a:pt x="480" y="35"/>
                  </a:cubicBezTo>
                  <a:close/>
                  <a:moveTo>
                    <a:pt x="480" y="33"/>
                  </a:moveTo>
                  <a:cubicBezTo>
                    <a:pt x="480" y="33"/>
                    <a:pt x="480" y="33"/>
                    <a:pt x="480" y="33"/>
                  </a:cubicBezTo>
                  <a:cubicBezTo>
                    <a:pt x="480" y="33"/>
                    <a:pt x="480" y="33"/>
                    <a:pt x="480" y="33"/>
                  </a:cubicBezTo>
                  <a:cubicBezTo>
                    <a:pt x="480" y="33"/>
                    <a:pt x="480" y="34"/>
                    <a:pt x="479" y="34"/>
                  </a:cubicBezTo>
                  <a:cubicBezTo>
                    <a:pt x="479" y="34"/>
                    <a:pt x="479" y="35"/>
                    <a:pt x="480" y="35"/>
                  </a:cubicBezTo>
                  <a:cubicBezTo>
                    <a:pt x="480" y="35"/>
                    <a:pt x="480" y="35"/>
                    <a:pt x="480" y="35"/>
                  </a:cubicBezTo>
                  <a:cubicBezTo>
                    <a:pt x="480" y="35"/>
                    <a:pt x="480" y="36"/>
                    <a:pt x="480" y="36"/>
                  </a:cubicBezTo>
                  <a:cubicBezTo>
                    <a:pt x="480" y="36"/>
                    <a:pt x="481" y="36"/>
                    <a:pt x="481" y="36"/>
                  </a:cubicBezTo>
                  <a:cubicBezTo>
                    <a:pt x="481" y="36"/>
                    <a:pt x="481" y="35"/>
                    <a:pt x="481" y="35"/>
                  </a:cubicBezTo>
                  <a:cubicBezTo>
                    <a:pt x="481" y="35"/>
                    <a:pt x="481" y="34"/>
                    <a:pt x="480" y="33"/>
                  </a:cubicBezTo>
                  <a:close/>
                  <a:moveTo>
                    <a:pt x="480" y="33"/>
                  </a:moveTo>
                  <a:cubicBezTo>
                    <a:pt x="480" y="33"/>
                    <a:pt x="480" y="33"/>
                    <a:pt x="480" y="33"/>
                  </a:cubicBezTo>
                  <a:cubicBezTo>
                    <a:pt x="480" y="33"/>
                    <a:pt x="480" y="33"/>
                    <a:pt x="480" y="33"/>
                  </a:cubicBezTo>
                  <a:cubicBezTo>
                    <a:pt x="480" y="33"/>
                    <a:pt x="480" y="33"/>
                    <a:pt x="480" y="33"/>
                  </a:cubicBezTo>
                  <a:cubicBezTo>
                    <a:pt x="480" y="33"/>
                    <a:pt x="480" y="33"/>
                    <a:pt x="480" y="33"/>
                  </a:cubicBezTo>
                  <a:cubicBezTo>
                    <a:pt x="480" y="33"/>
                    <a:pt x="480" y="33"/>
                    <a:pt x="480" y="33"/>
                  </a:cubicBezTo>
                  <a:close/>
                  <a:moveTo>
                    <a:pt x="1058" y="36"/>
                  </a:moveTo>
                  <a:cubicBezTo>
                    <a:pt x="1058" y="36"/>
                    <a:pt x="1058" y="36"/>
                    <a:pt x="1058" y="36"/>
                  </a:cubicBezTo>
                  <a:cubicBezTo>
                    <a:pt x="1059" y="35"/>
                    <a:pt x="1059" y="34"/>
                    <a:pt x="1058" y="33"/>
                  </a:cubicBezTo>
                  <a:cubicBezTo>
                    <a:pt x="1058" y="33"/>
                    <a:pt x="1058" y="33"/>
                    <a:pt x="1058" y="33"/>
                  </a:cubicBezTo>
                  <a:cubicBezTo>
                    <a:pt x="1057" y="33"/>
                    <a:pt x="1057" y="33"/>
                    <a:pt x="1057" y="34"/>
                  </a:cubicBezTo>
                  <a:cubicBezTo>
                    <a:pt x="1057" y="34"/>
                    <a:pt x="1057" y="34"/>
                    <a:pt x="1057" y="35"/>
                  </a:cubicBezTo>
                  <a:cubicBezTo>
                    <a:pt x="1057" y="35"/>
                    <a:pt x="1057" y="36"/>
                    <a:pt x="1058" y="36"/>
                  </a:cubicBezTo>
                  <a:close/>
                  <a:moveTo>
                    <a:pt x="1060" y="35"/>
                  </a:moveTo>
                  <a:cubicBezTo>
                    <a:pt x="1060" y="35"/>
                    <a:pt x="1060" y="35"/>
                    <a:pt x="1060" y="35"/>
                  </a:cubicBezTo>
                  <a:cubicBezTo>
                    <a:pt x="1059" y="35"/>
                    <a:pt x="1059" y="35"/>
                    <a:pt x="1059" y="34"/>
                  </a:cubicBezTo>
                  <a:cubicBezTo>
                    <a:pt x="1059" y="34"/>
                    <a:pt x="1059" y="34"/>
                    <a:pt x="1058" y="35"/>
                  </a:cubicBezTo>
                  <a:cubicBezTo>
                    <a:pt x="1058" y="35"/>
                    <a:pt x="1058" y="35"/>
                    <a:pt x="1058" y="36"/>
                  </a:cubicBezTo>
                  <a:cubicBezTo>
                    <a:pt x="1058" y="36"/>
                    <a:pt x="1058" y="36"/>
                    <a:pt x="1058" y="36"/>
                  </a:cubicBezTo>
                  <a:cubicBezTo>
                    <a:pt x="1058" y="36"/>
                    <a:pt x="1058" y="36"/>
                    <a:pt x="1059" y="36"/>
                  </a:cubicBezTo>
                  <a:cubicBezTo>
                    <a:pt x="1059" y="36"/>
                    <a:pt x="1059" y="36"/>
                    <a:pt x="1059" y="36"/>
                  </a:cubicBezTo>
                  <a:cubicBezTo>
                    <a:pt x="1060" y="36"/>
                    <a:pt x="1060" y="36"/>
                    <a:pt x="1060" y="36"/>
                  </a:cubicBezTo>
                  <a:cubicBezTo>
                    <a:pt x="1060" y="36"/>
                    <a:pt x="1060" y="36"/>
                    <a:pt x="1060" y="35"/>
                  </a:cubicBezTo>
                  <a:close/>
                  <a:moveTo>
                    <a:pt x="479" y="33"/>
                  </a:moveTo>
                  <a:cubicBezTo>
                    <a:pt x="479" y="33"/>
                    <a:pt x="478" y="33"/>
                    <a:pt x="478" y="32"/>
                  </a:cubicBezTo>
                  <a:cubicBezTo>
                    <a:pt x="478" y="32"/>
                    <a:pt x="478" y="32"/>
                    <a:pt x="478" y="32"/>
                  </a:cubicBezTo>
                  <a:cubicBezTo>
                    <a:pt x="478" y="33"/>
                    <a:pt x="478" y="33"/>
                    <a:pt x="478" y="33"/>
                  </a:cubicBezTo>
                  <a:cubicBezTo>
                    <a:pt x="478" y="34"/>
                    <a:pt x="478" y="35"/>
                    <a:pt x="478" y="36"/>
                  </a:cubicBezTo>
                  <a:cubicBezTo>
                    <a:pt x="478" y="36"/>
                    <a:pt x="478" y="36"/>
                    <a:pt x="478" y="36"/>
                  </a:cubicBezTo>
                  <a:cubicBezTo>
                    <a:pt x="478" y="35"/>
                    <a:pt x="479" y="34"/>
                    <a:pt x="479" y="33"/>
                  </a:cubicBezTo>
                  <a:close/>
                  <a:moveTo>
                    <a:pt x="480" y="33"/>
                  </a:moveTo>
                  <a:cubicBezTo>
                    <a:pt x="480" y="33"/>
                    <a:pt x="480" y="33"/>
                    <a:pt x="480" y="33"/>
                  </a:cubicBezTo>
                  <a:cubicBezTo>
                    <a:pt x="480" y="33"/>
                    <a:pt x="480" y="33"/>
                    <a:pt x="480" y="33"/>
                  </a:cubicBezTo>
                  <a:cubicBezTo>
                    <a:pt x="480" y="33"/>
                    <a:pt x="480" y="33"/>
                    <a:pt x="480" y="33"/>
                  </a:cubicBezTo>
                  <a:cubicBezTo>
                    <a:pt x="480" y="32"/>
                    <a:pt x="479" y="32"/>
                    <a:pt x="478" y="32"/>
                  </a:cubicBezTo>
                  <a:cubicBezTo>
                    <a:pt x="478" y="33"/>
                    <a:pt x="478" y="33"/>
                    <a:pt x="478" y="33"/>
                  </a:cubicBezTo>
                  <a:cubicBezTo>
                    <a:pt x="479" y="33"/>
                    <a:pt x="479" y="33"/>
                    <a:pt x="480" y="33"/>
                  </a:cubicBezTo>
                  <a:close/>
                  <a:moveTo>
                    <a:pt x="1058" y="33"/>
                  </a:moveTo>
                  <a:cubicBezTo>
                    <a:pt x="1058" y="33"/>
                    <a:pt x="1058" y="33"/>
                    <a:pt x="1058" y="33"/>
                  </a:cubicBezTo>
                  <a:cubicBezTo>
                    <a:pt x="1059" y="33"/>
                    <a:pt x="1059" y="33"/>
                    <a:pt x="1060" y="33"/>
                  </a:cubicBezTo>
                  <a:cubicBezTo>
                    <a:pt x="1060" y="33"/>
                    <a:pt x="1060" y="33"/>
                    <a:pt x="1060" y="33"/>
                  </a:cubicBezTo>
                  <a:cubicBezTo>
                    <a:pt x="1060" y="33"/>
                    <a:pt x="1060" y="33"/>
                    <a:pt x="1060" y="32"/>
                  </a:cubicBezTo>
                  <a:cubicBezTo>
                    <a:pt x="1059" y="32"/>
                    <a:pt x="1059" y="32"/>
                    <a:pt x="1058" y="33"/>
                  </a:cubicBezTo>
                  <a:cubicBezTo>
                    <a:pt x="1058" y="33"/>
                    <a:pt x="1058" y="33"/>
                    <a:pt x="1058" y="33"/>
                  </a:cubicBezTo>
                  <a:close/>
                  <a:moveTo>
                    <a:pt x="1060" y="33"/>
                  </a:moveTo>
                  <a:cubicBezTo>
                    <a:pt x="1060" y="34"/>
                    <a:pt x="1060" y="34"/>
                    <a:pt x="1060" y="34"/>
                  </a:cubicBezTo>
                  <a:cubicBezTo>
                    <a:pt x="1059" y="34"/>
                    <a:pt x="1059" y="34"/>
                    <a:pt x="1059" y="35"/>
                  </a:cubicBezTo>
                  <a:cubicBezTo>
                    <a:pt x="1060" y="35"/>
                    <a:pt x="1060" y="35"/>
                    <a:pt x="1060" y="36"/>
                  </a:cubicBezTo>
                  <a:cubicBezTo>
                    <a:pt x="1060" y="36"/>
                    <a:pt x="1060" y="36"/>
                    <a:pt x="1060" y="36"/>
                  </a:cubicBezTo>
                  <a:cubicBezTo>
                    <a:pt x="1060" y="36"/>
                    <a:pt x="1060" y="36"/>
                    <a:pt x="1060" y="36"/>
                  </a:cubicBezTo>
                  <a:cubicBezTo>
                    <a:pt x="1060" y="36"/>
                    <a:pt x="1060" y="36"/>
                    <a:pt x="1060" y="36"/>
                  </a:cubicBezTo>
                  <a:cubicBezTo>
                    <a:pt x="1060" y="35"/>
                    <a:pt x="1061" y="35"/>
                    <a:pt x="1061" y="35"/>
                  </a:cubicBezTo>
                  <a:cubicBezTo>
                    <a:pt x="1061" y="34"/>
                    <a:pt x="1061" y="34"/>
                    <a:pt x="1061" y="33"/>
                  </a:cubicBezTo>
                  <a:cubicBezTo>
                    <a:pt x="1061" y="33"/>
                    <a:pt x="1060" y="33"/>
                    <a:pt x="1060" y="33"/>
                  </a:cubicBezTo>
                  <a:cubicBezTo>
                    <a:pt x="1060" y="33"/>
                    <a:pt x="1060" y="33"/>
                    <a:pt x="1060" y="33"/>
                  </a:cubicBezTo>
                  <a:cubicBezTo>
                    <a:pt x="1060" y="33"/>
                    <a:pt x="1060" y="33"/>
                    <a:pt x="1060" y="33"/>
                  </a:cubicBezTo>
                  <a:close/>
                  <a:moveTo>
                    <a:pt x="479" y="35"/>
                  </a:moveTo>
                  <a:cubicBezTo>
                    <a:pt x="479" y="35"/>
                    <a:pt x="480" y="36"/>
                    <a:pt x="480" y="36"/>
                  </a:cubicBezTo>
                  <a:cubicBezTo>
                    <a:pt x="480" y="36"/>
                    <a:pt x="480" y="35"/>
                    <a:pt x="480" y="35"/>
                  </a:cubicBezTo>
                  <a:cubicBezTo>
                    <a:pt x="480" y="35"/>
                    <a:pt x="480" y="35"/>
                    <a:pt x="480" y="35"/>
                  </a:cubicBezTo>
                  <a:cubicBezTo>
                    <a:pt x="480" y="35"/>
                    <a:pt x="479" y="35"/>
                    <a:pt x="479" y="35"/>
                  </a:cubicBezTo>
                  <a:close/>
                  <a:moveTo>
                    <a:pt x="478" y="33"/>
                  </a:moveTo>
                  <a:cubicBezTo>
                    <a:pt x="478" y="33"/>
                    <a:pt x="477" y="33"/>
                    <a:pt x="477" y="33"/>
                  </a:cubicBezTo>
                  <a:cubicBezTo>
                    <a:pt x="478" y="33"/>
                    <a:pt x="478" y="33"/>
                    <a:pt x="478" y="33"/>
                  </a:cubicBezTo>
                  <a:cubicBezTo>
                    <a:pt x="478" y="33"/>
                    <a:pt x="478" y="33"/>
                    <a:pt x="478" y="33"/>
                  </a:cubicBezTo>
                  <a:close/>
                  <a:moveTo>
                    <a:pt x="480" y="34"/>
                  </a:moveTo>
                  <a:cubicBezTo>
                    <a:pt x="480" y="34"/>
                    <a:pt x="480" y="34"/>
                    <a:pt x="480" y="34"/>
                  </a:cubicBezTo>
                  <a:cubicBezTo>
                    <a:pt x="479" y="34"/>
                    <a:pt x="480" y="34"/>
                    <a:pt x="480" y="33"/>
                  </a:cubicBezTo>
                  <a:cubicBezTo>
                    <a:pt x="480" y="33"/>
                    <a:pt x="480" y="33"/>
                    <a:pt x="480" y="33"/>
                  </a:cubicBezTo>
                  <a:cubicBezTo>
                    <a:pt x="480" y="33"/>
                    <a:pt x="480" y="33"/>
                    <a:pt x="480" y="33"/>
                  </a:cubicBezTo>
                  <a:cubicBezTo>
                    <a:pt x="479" y="33"/>
                    <a:pt x="479" y="33"/>
                    <a:pt x="478" y="33"/>
                  </a:cubicBezTo>
                  <a:cubicBezTo>
                    <a:pt x="478" y="34"/>
                    <a:pt x="478" y="35"/>
                    <a:pt x="478" y="36"/>
                  </a:cubicBezTo>
                  <a:cubicBezTo>
                    <a:pt x="479" y="36"/>
                    <a:pt x="479" y="35"/>
                    <a:pt x="479" y="35"/>
                  </a:cubicBezTo>
                  <a:cubicBezTo>
                    <a:pt x="479" y="34"/>
                    <a:pt x="479" y="35"/>
                    <a:pt x="479" y="35"/>
                  </a:cubicBezTo>
                  <a:cubicBezTo>
                    <a:pt x="479" y="35"/>
                    <a:pt x="480" y="35"/>
                    <a:pt x="480" y="35"/>
                  </a:cubicBezTo>
                  <a:cubicBezTo>
                    <a:pt x="480" y="34"/>
                    <a:pt x="480" y="34"/>
                    <a:pt x="480" y="34"/>
                  </a:cubicBezTo>
                  <a:close/>
                  <a:moveTo>
                    <a:pt x="480" y="34"/>
                  </a:moveTo>
                  <a:cubicBezTo>
                    <a:pt x="480" y="34"/>
                    <a:pt x="480" y="34"/>
                    <a:pt x="480" y="34"/>
                  </a:cubicBezTo>
                  <a:cubicBezTo>
                    <a:pt x="480" y="34"/>
                    <a:pt x="480" y="33"/>
                    <a:pt x="480" y="33"/>
                  </a:cubicBezTo>
                  <a:cubicBezTo>
                    <a:pt x="480" y="33"/>
                    <a:pt x="480" y="33"/>
                    <a:pt x="480" y="33"/>
                  </a:cubicBezTo>
                  <a:cubicBezTo>
                    <a:pt x="480" y="33"/>
                    <a:pt x="480" y="33"/>
                    <a:pt x="480" y="33"/>
                  </a:cubicBezTo>
                  <a:cubicBezTo>
                    <a:pt x="479" y="34"/>
                    <a:pt x="479" y="34"/>
                    <a:pt x="480" y="34"/>
                  </a:cubicBezTo>
                  <a:close/>
                  <a:moveTo>
                    <a:pt x="1060" y="33"/>
                  </a:moveTo>
                  <a:cubicBezTo>
                    <a:pt x="1060" y="33"/>
                    <a:pt x="1060" y="33"/>
                    <a:pt x="1060" y="33"/>
                  </a:cubicBezTo>
                  <a:cubicBezTo>
                    <a:pt x="1059" y="33"/>
                    <a:pt x="1059" y="33"/>
                    <a:pt x="1058" y="33"/>
                  </a:cubicBezTo>
                  <a:cubicBezTo>
                    <a:pt x="1058" y="34"/>
                    <a:pt x="1058" y="35"/>
                    <a:pt x="1058" y="36"/>
                  </a:cubicBezTo>
                  <a:cubicBezTo>
                    <a:pt x="1059" y="36"/>
                    <a:pt x="1058" y="35"/>
                    <a:pt x="1059" y="34"/>
                  </a:cubicBezTo>
                  <a:cubicBezTo>
                    <a:pt x="1059" y="34"/>
                    <a:pt x="1059" y="34"/>
                    <a:pt x="1059" y="34"/>
                  </a:cubicBezTo>
                  <a:cubicBezTo>
                    <a:pt x="1059" y="34"/>
                    <a:pt x="1059" y="34"/>
                    <a:pt x="1059" y="34"/>
                  </a:cubicBezTo>
                  <a:cubicBezTo>
                    <a:pt x="1059" y="34"/>
                    <a:pt x="1059" y="34"/>
                    <a:pt x="1059" y="34"/>
                  </a:cubicBezTo>
                  <a:cubicBezTo>
                    <a:pt x="1059" y="34"/>
                    <a:pt x="1059" y="35"/>
                    <a:pt x="1059" y="35"/>
                  </a:cubicBezTo>
                  <a:cubicBezTo>
                    <a:pt x="1059" y="35"/>
                    <a:pt x="1059" y="35"/>
                    <a:pt x="1059" y="35"/>
                  </a:cubicBezTo>
                  <a:cubicBezTo>
                    <a:pt x="1059" y="35"/>
                    <a:pt x="1060" y="35"/>
                    <a:pt x="1060" y="35"/>
                  </a:cubicBezTo>
                  <a:cubicBezTo>
                    <a:pt x="1060" y="34"/>
                    <a:pt x="1060" y="34"/>
                    <a:pt x="1060" y="34"/>
                  </a:cubicBezTo>
                  <a:cubicBezTo>
                    <a:pt x="1060" y="34"/>
                    <a:pt x="1060" y="34"/>
                    <a:pt x="1060" y="33"/>
                  </a:cubicBezTo>
                  <a:close/>
                  <a:moveTo>
                    <a:pt x="1059" y="35"/>
                  </a:moveTo>
                  <a:cubicBezTo>
                    <a:pt x="1059" y="35"/>
                    <a:pt x="1059" y="34"/>
                    <a:pt x="1059" y="34"/>
                  </a:cubicBezTo>
                  <a:cubicBezTo>
                    <a:pt x="1059" y="34"/>
                    <a:pt x="1059" y="34"/>
                    <a:pt x="1059" y="34"/>
                  </a:cubicBezTo>
                  <a:cubicBezTo>
                    <a:pt x="1058" y="34"/>
                    <a:pt x="1059" y="34"/>
                    <a:pt x="1059" y="34"/>
                  </a:cubicBezTo>
                  <a:cubicBezTo>
                    <a:pt x="1059" y="35"/>
                    <a:pt x="1059" y="35"/>
                    <a:pt x="1059" y="35"/>
                  </a:cubicBezTo>
                  <a:close/>
                  <a:moveTo>
                    <a:pt x="1060" y="36"/>
                  </a:moveTo>
                  <a:cubicBezTo>
                    <a:pt x="1060" y="35"/>
                    <a:pt x="1060" y="35"/>
                    <a:pt x="1060" y="35"/>
                  </a:cubicBezTo>
                  <a:cubicBezTo>
                    <a:pt x="1059" y="35"/>
                    <a:pt x="1059" y="35"/>
                    <a:pt x="1059" y="35"/>
                  </a:cubicBezTo>
                  <a:cubicBezTo>
                    <a:pt x="1059" y="35"/>
                    <a:pt x="1059" y="36"/>
                    <a:pt x="1060" y="36"/>
                  </a:cubicBezTo>
                  <a:close/>
                  <a:moveTo>
                    <a:pt x="1060" y="34"/>
                  </a:moveTo>
                  <a:cubicBezTo>
                    <a:pt x="1060" y="34"/>
                    <a:pt x="1060" y="33"/>
                    <a:pt x="1060" y="33"/>
                  </a:cubicBezTo>
                  <a:cubicBezTo>
                    <a:pt x="1060" y="34"/>
                    <a:pt x="1060" y="34"/>
                    <a:pt x="1060" y="34"/>
                  </a:cubicBezTo>
                  <a:cubicBezTo>
                    <a:pt x="1060" y="34"/>
                    <a:pt x="1060" y="34"/>
                    <a:pt x="1060" y="34"/>
                  </a:cubicBezTo>
                  <a:close/>
                  <a:moveTo>
                    <a:pt x="479" y="33"/>
                  </a:moveTo>
                  <a:cubicBezTo>
                    <a:pt x="479" y="33"/>
                    <a:pt x="479" y="34"/>
                    <a:pt x="479" y="34"/>
                  </a:cubicBezTo>
                  <a:cubicBezTo>
                    <a:pt x="479" y="34"/>
                    <a:pt x="479" y="34"/>
                    <a:pt x="480" y="34"/>
                  </a:cubicBezTo>
                  <a:cubicBezTo>
                    <a:pt x="480" y="34"/>
                    <a:pt x="480" y="34"/>
                    <a:pt x="480" y="34"/>
                  </a:cubicBezTo>
                  <a:cubicBezTo>
                    <a:pt x="480" y="34"/>
                    <a:pt x="480" y="34"/>
                    <a:pt x="480" y="33"/>
                  </a:cubicBezTo>
                  <a:cubicBezTo>
                    <a:pt x="479" y="33"/>
                    <a:pt x="479" y="33"/>
                    <a:pt x="479" y="33"/>
                  </a:cubicBezTo>
                  <a:close/>
                  <a:moveTo>
                    <a:pt x="1059" y="33"/>
                  </a:moveTo>
                  <a:cubicBezTo>
                    <a:pt x="1058" y="33"/>
                    <a:pt x="1059" y="34"/>
                    <a:pt x="1059" y="34"/>
                  </a:cubicBezTo>
                  <a:cubicBezTo>
                    <a:pt x="1059" y="34"/>
                    <a:pt x="1059" y="34"/>
                    <a:pt x="1059" y="34"/>
                  </a:cubicBezTo>
                  <a:cubicBezTo>
                    <a:pt x="1059" y="34"/>
                    <a:pt x="1059" y="33"/>
                    <a:pt x="1059" y="33"/>
                  </a:cubicBezTo>
                  <a:close/>
                </a:path>
              </a:pathLst>
            </a:custGeom>
            <a:solidFill>
              <a:schemeClr val="bg1"/>
            </a:solidFill>
            <a:ln>
              <a:noFill/>
            </a:ln>
          </p:spPr>
          <p:txBody>
            <a:bodyPr vert="horz" wrap="square" lIns="87834" tIns="43917" rIns="87834" bIns="43917" numCol="1" anchor="t" anchorCtr="0" compatLnSpc="1">
              <a:prstTxWarp prst="textNoShape">
                <a:avLst/>
              </a:prstTxWarp>
            </a:bodyPr>
            <a:lstStyle/>
            <a:p>
              <a:pPr defTabSz="914180"/>
              <a:endParaRPr lang="en-US" sz="1729">
                <a:solidFill>
                  <a:prstClr val="black"/>
                </a:solidFill>
              </a:endParaRPr>
            </a:p>
          </p:txBody>
        </p:sp>
        <p:grpSp>
          <p:nvGrpSpPr>
            <p:cNvPr id="18" name="Group 17"/>
            <p:cNvGrpSpPr/>
            <p:nvPr/>
          </p:nvGrpSpPr>
          <p:grpSpPr>
            <a:xfrm>
              <a:off x="367210" y="5693980"/>
              <a:ext cx="4407408" cy="99980"/>
              <a:chOff x="367210" y="5693980"/>
              <a:chExt cx="4479428" cy="99980"/>
            </a:xfrm>
          </p:grpSpPr>
          <p:cxnSp>
            <p:nvCxnSpPr>
              <p:cNvPr id="17" name="Straight Connector 16"/>
              <p:cNvCxnSpPr/>
              <p:nvPr/>
            </p:nvCxnSpPr>
            <p:spPr>
              <a:xfrm>
                <a:off x="367210" y="5743970"/>
                <a:ext cx="4407408" cy="0"/>
              </a:xfrm>
              <a:prstGeom prst="line">
                <a:avLst/>
              </a:prstGeom>
              <a:ln w="38100">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439230" y="5693980"/>
                <a:ext cx="4407408" cy="0"/>
              </a:xfrm>
              <a:prstGeom prst="line">
                <a:avLst/>
              </a:prstGeom>
              <a:ln w="38100">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439230" y="5793960"/>
                <a:ext cx="4407408" cy="0"/>
              </a:xfrm>
              <a:prstGeom prst="line">
                <a:avLst/>
              </a:prstGeom>
              <a:ln w="38100">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2" name="Title 1"/>
          <p:cNvSpPr>
            <a:spLocks noGrp="1"/>
          </p:cNvSpPr>
          <p:nvPr>
            <p:ph type="title"/>
          </p:nvPr>
        </p:nvSpPr>
        <p:spPr/>
        <p:txBody>
          <a:bodyPr/>
          <a:lstStyle/>
          <a:p>
            <a:r>
              <a:rPr lang="en-US" smtClean="0"/>
              <a:t>App Model Redux</a:t>
            </a:r>
            <a:endParaRPr lang="en-US" dirty="0"/>
          </a:p>
        </p:txBody>
      </p:sp>
      <p:grpSp>
        <p:nvGrpSpPr>
          <p:cNvPr id="3" name="Group 2"/>
          <p:cNvGrpSpPr/>
          <p:nvPr/>
        </p:nvGrpSpPr>
        <p:grpSpPr>
          <a:xfrm>
            <a:off x="269168" y="1190077"/>
            <a:ext cx="11652806" cy="1846154"/>
            <a:chOff x="274637" y="1212849"/>
            <a:chExt cx="11889565" cy="1883664"/>
          </a:xfrm>
        </p:grpSpPr>
        <p:sp>
          <p:nvSpPr>
            <p:cNvPr id="11" name="Rectangle 10"/>
            <p:cNvSpPr/>
            <p:nvPr/>
          </p:nvSpPr>
          <p:spPr bwMode="auto">
            <a:xfrm>
              <a:off x="367210" y="1727597"/>
              <a:ext cx="3849624" cy="128016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t" anchorCtr="0" compatLnSpc="1">
              <a:prstTxWarp prst="textNoShape">
                <a:avLst/>
              </a:prstTxWarp>
            </a:bodyPr>
            <a:lstStyle/>
            <a:p>
              <a:pPr defTabSz="914180">
                <a:lnSpc>
                  <a:spcPct val="90000"/>
                </a:lnSpc>
                <a:spcAft>
                  <a:spcPts val="588"/>
                </a:spcAft>
              </a:pPr>
              <a:r>
                <a:rPr lang="en-US" sz="1764" dirty="0">
                  <a:gradFill>
                    <a:gsLst>
                      <a:gs pos="2917">
                        <a:srgbClr val="505050"/>
                      </a:gs>
                      <a:gs pos="30000">
                        <a:srgbClr val="505050"/>
                      </a:gs>
                    </a:gsLst>
                    <a:lin ang="5400000" scaled="0"/>
                  </a:gradFill>
                  <a:cs typeface="Segoe UI Semilight" panose="020B0402040204020203" pitchFamily="34" charset="0"/>
                </a:rPr>
                <a:t>Designed for </a:t>
              </a:r>
              <a:br>
                <a:rPr lang="en-US" sz="1764" dirty="0">
                  <a:gradFill>
                    <a:gsLst>
                      <a:gs pos="2917">
                        <a:srgbClr val="505050"/>
                      </a:gs>
                      <a:gs pos="30000">
                        <a:srgbClr val="505050"/>
                      </a:gs>
                    </a:gsLst>
                    <a:lin ang="5400000" scaled="0"/>
                  </a:gradFill>
                  <a:cs typeface="Segoe UI Semilight" panose="020B0402040204020203" pitchFamily="34" charset="0"/>
                </a:rPr>
              </a:br>
              <a:r>
                <a:rPr lang="en-US" sz="1764" b="1" dirty="0">
                  <a:gradFill>
                    <a:gsLst>
                      <a:gs pos="64957">
                        <a:srgbClr val="DC3C00"/>
                      </a:gs>
                      <a:gs pos="52000">
                        <a:srgbClr val="DC3C00"/>
                      </a:gs>
                    </a:gsLst>
                    <a:lin ang="5400000" scaled="0"/>
                  </a:gradFill>
                  <a:cs typeface="Segoe UI Semibold" panose="020B0702040204020203" pitchFamily="34" charset="0"/>
                </a:rPr>
                <a:t>openness </a:t>
              </a:r>
              <a:r>
                <a:rPr lang="en-US" sz="1764" dirty="0">
                  <a:gradFill>
                    <a:gsLst>
                      <a:gs pos="2917">
                        <a:srgbClr val="505050"/>
                      </a:gs>
                      <a:gs pos="30000">
                        <a:srgbClr val="505050"/>
                      </a:gs>
                    </a:gsLst>
                    <a:lin ang="5400000" scaled="0"/>
                  </a:gradFill>
                  <a:cs typeface="Segoe UI Semilight" panose="020B0402040204020203" pitchFamily="34" charset="0"/>
                </a:rPr>
                <a:t>and</a:t>
              </a:r>
              <a:r>
                <a:rPr lang="en-US" sz="1764" b="1" dirty="0">
                  <a:gradFill>
                    <a:gsLst>
                      <a:gs pos="2917">
                        <a:srgbClr val="505050"/>
                      </a:gs>
                      <a:gs pos="30000">
                        <a:srgbClr val="505050"/>
                      </a:gs>
                    </a:gsLst>
                    <a:lin ang="5400000" scaled="0"/>
                  </a:gradFill>
                  <a:cs typeface="Segoe UI Semilight" panose="020B0402040204020203" pitchFamily="34" charset="0"/>
                </a:rPr>
                <a:t> </a:t>
              </a:r>
              <a:br>
                <a:rPr lang="en-US" sz="1764" b="1" dirty="0">
                  <a:gradFill>
                    <a:gsLst>
                      <a:gs pos="2917">
                        <a:srgbClr val="505050"/>
                      </a:gs>
                      <a:gs pos="30000">
                        <a:srgbClr val="505050"/>
                      </a:gs>
                    </a:gsLst>
                    <a:lin ang="5400000" scaled="0"/>
                  </a:gradFill>
                  <a:cs typeface="Segoe UI Semilight" panose="020B0402040204020203" pitchFamily="34" charset="0"/>
                </a:rPr>
              </a:br>
              <a:r>
                <a:rPr lang="en-US" sz="1764" b="1" dirty="0">
                  <a:gradFill>
                    <a:gsLst>
                      <a:gs pos="64957">
                        <a:srgbClr val="DC3C00"/>
                      </a:gs>
                      <a:gs pos="52000">
                        <a:srgbClr val="DC3C00"/>
                      </a:gs>
                    </a:gsLst>
                    <a:lin ang="5400000" scaled="0"/>
                  </a:gradFill>
                  <a:cs typeface="Segoe UI Semibold" panose="020B0702040204020203" pitchFamily="34" charset="0"/>
                </a:rPr>
                <a:t>flexibility</a:t>
              </a:r>
            </a:p>
          </p:txBody>
        </p:sp>
        <p:sp>
          <p:nvSpPr>
            <p:cNvPr id="43" name="Rectangle 42"/>
            <p:cNvSpPr/>
            <p:nvPr/>
          </p:nvSpPr>
          <p:spPr bwMode="auto">
            <a:xfrm>
              <a:off x="4271748" y="1727597"/>
              <a:ext cx="3849624" cy="128016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t" anchorCtr="0" compatLnSpc="1">
              <a:prstTxWarp prst="textNoShape">
                <a:avLst/>
              </a:prstTxWarp>
            </a:bodyPr>
            <a:lstStyle/>
            <a:p>
              <a:pPr defTabSz="914180">
                <a:lnSpc>
                  <a:spcPct val="90000"/>
                </a:lnSpc>
                <a:spcAft>
                  <a:spcPts val="588"/>
                </a:spcAft>
              </a:pPr>
              <a:r>
                <a:rPr lang="en-US" sz="1764" dirty="0">
                  <a:gradFill>
                    <a:gsLst>
                      <a:gs pos="2917">
                        <a:srgbClr val="505050"/>
                      </a:gs>
                      <a:gs pos="30000">
                        <a:srgbClr val="505050"/>
                      </a:gs>
                    </a:gsLst>
                    <a:lin ang="5400000" scaled="0"/>
                  </a:gradFill>
                  <a:cs typeface="Segoe UI Semilight" panose="020B0402040204020203" pitchFamily="34" charset="0"/>
                </a:rPr>
                <a:t>Enabling a </a:t>
              </a:r>
              <a:br>
                <a:rPr lang="en-US" sz="1764" dirty="0">
                  <a:gradFill>
                    <a:gsLst>
                      <a:gs pos="2917">
                        <a:srgbClr val="505050"/>
                      </a:gs>
                      <a:gs pos="30000">
                        <a:srgbClr val="505050"/>
                      </a:gs>
                    </a:gsLst>
                    <a:lin ang="5400000" scaled="0"/>
                  </a:gradFill>
                  <a:cs typeface="Segoe UI Semilight" panose="020B0402040204020203" pitchFamily="34" charset="0"/>
                </a:rPr>
              </a:br>
              <a:r>
                <a:rPr lang="en-US" sz="1764" b="1" dirty="0">
                  <a:gradFill>
                    <a:gsLst>
                      <a:gs pos="64957">
                        <a:srgbClr val="DC3C00"/>
                      </a:gs>
                      <a:gs pos="52000">
                        <a:srgbClr val="DC3C00"/>
                      </a:gs>
                    </a:gsLst>
                    <a:lin ang="5400000" scaled="0"/>
                  </a:gradFill>
                  <a:cs typeface="Segoe UI Semibold" panose="020B0702040204020203" pitchFamily="34" charset="0"/>
                </a:rPr>
                <a:t>consistent</a:t>
              </a:r>
              <a:r>
                <a:rPr lang="en-US" sz="1764" dirty="0">
                  <a:gradFill>
                    <a:gsLst>
                      <a:gs pos="2917">
                        <a:srgbClr val="505050"/>
                      </a:gs>
                      <a:gs pos="30000">
                        <a:srgbClr val="505050"/>
                      </a:gs>
                    </a:gsLst>
                    <a:lin ang="5400000" scaled="0"/>
                  </a:gradFill>
                  <a:cs typeface="Segoe UI Semilight" panose="020B0402040204020203" pitchFamily="34" charset="0"/>
                </a:rPr>
                <a:t> </a:t>
              </a:r>
              <a:br>
                <a:rPr lang="en-US" sz="1764" dirty="0">
                  <a:gradFill>
                    <a:gsLst>
                      <a:gs pos="2917">
                        <a:srgbClr val="505050"/>
                      </a:gs>
                      <a:gs pos="30000">
                        <a:srgbClr val="505050"/>
                      </a:gs>
                    </a:gsLst>
                    <a:lin ang="5400000" scaled="0"/>
                  </a:gradFill>
                  <a:cs typeface="Segoe UI Semilight" panose="020B0402040204020203" pitchFamily="34" charset="0"/>
                </a:rPr>
              </a:br>
              <a:r>
                <a:rPr lang="en-US" sz="1764" dirty="0">
                  <a:gradFill>
                    <a:gsLst>
                      <a:gs pos="2917">
                        <a:srgbClr val="505050"/>
                      </a:gs>
                      <a:gs pos="30000">
                        <a:srgbClr val="505050"/>
                      </a:gs>
                    </a:gsLst>
                    <a:lin ang="5400000" scaled="0"/>
                  </a:gradFill>
                  <a:cs typeface="Segoe UI Semilight" panose="020B0402040204020203" pitchFamily="34" charset="0"/>
                </a:rPr>
                <a:t>development </a:t>
              </a:r>
              <a:br>
                <a:rPr lang="en-US" sz="1764" dirty="0">
                  <a:gradFill>
                    <a:gsLst>
                      <a:gs pos="2917">
                        <a:srgbClr val="505050"/>
                      </a:gs>
                      <a:gs pos="30000">
                        <a:srgbClr val="505050"/>
                      </a:gs>
                    </a:gsLst>
                    <a:lin ang="5400000" scaled="0"/>
                  </a:gradFill>
                  <a:cs typeface="Segoe UI Semilight" panose="020B0402040204020203" pitchFamily="34" charset="0"/>
                </a:rPr>
              </a:br>
              <a:r>
                <a:rPr lang="en-US" sz="1764" dirty="0">
                  <a:gradFill>
                    <a:gsLst>
                      <a:gs pos="2917">
                        <a:srgbClr val="505050"/>
                      </a:gs>
                      <a:gs pos="30000">
                        <a:srgbClr val="505050"/>
                      </a:gs>
                    </a:gsLst>
                    <a:lin ang="5400000" scaled="0"/>
                  </a:gradFill>
                  <a:cs typeface="Segoe UI Semilight" panose="020B0402040204020203" pitchFamily="34" charset="0"/>
                </a:rPr>
                <a:t>platform</a:t>
              </a:r>
            </a:p>
          </p:txBody>
        </p:sp>
        <p:sp>
          <p:nvSpPr>
            <p:cNvPr id="46" name="Rectangle 45"/>
            <p:cNvSpPr/>
            <p:nvPr/>
          </p:nvSpPr>
          <p:spPr bwMode="auto">
            <a:xfrm>
              <a:off x="8176285" y="1727597"/>
              <a:ext cx="3895344" cy="128016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t" anchorCtr="0" compatLnSpc="1">
              <a:prstTxWarp prst="textNoShape">
                <a:avLst/>
              </a:prstTxWarp>
            </a:bodyPr>
            <a:lstStyle/>
            <a:p>
              <a:pPr defTabSz="914180">
                <a:lnSpc>
                  <a:spcPct val="90000"/>
                </a:lnSpc>
                <a:spcAft>
                  <a:spcPts val="588"/>
                </a:spcAft>
              </a:pPr>
              <a:r>
                <a:rPr lang="en-US" sz="1764" dirty="0">
                  <a:gradFill>
                    <a:gsLst>
                      <a:gs pos="2917">
                        <a:srgbClr val="505050"/>
                      </a:gs>
                      <a:gs pos="30000">
                        <a:srgbClr val="505050"/>
                      </a:gs>
                    </a:gsLst>
                    <a:lin ang="5400000" scaled="0"/>
                  </a:gradFill>
                  <a:cs typeface="Segoe UI Semilight" panose="020B0402040204020203" pitchFamily="34" charset="0"/>
                </a:rPr>
                <a:t>Powering </a:t>
              </a:r>
              <a:br>
                <a:rPr lang="en-US" sz="1764" dirty="0">
                  <a:gradFill>
                    <a:gsLst>
                      <a:gs pos="2917">
                        <a:srgbClr val="505050"/>
                      </a:gs>
                      <a:gs pos="30000">
                        <a:srgbClr val="505050"/>
                      </a:gs>
                    </a:gsLst>
                    <a:lin ang="5400000" scaled="0"/>
                  </a:gradFill>
                  <a:cs typeface="Segoe UI Semilight" panose="020B0402040204020203" pitchFamily="34" charset="0"/>
                </a:rPr>
              </a:br>
              <a:r>
                <a:rPr lang="en-US" sz="1764" dirty="0">
                  <a:gradFill>
                    <a:gsLst>
                      <a:gs pos="2917">
                        <a:srgbClr val="505050"/>
                      </a:gs>
                      <a:gs pos="30000">
                        <a:srgbClr val="505050"/>
                      </a:gs>
                    </a:gsLst>
                    <a:lin ang="5400000" scaled="0"/>
                  </a:gradFill>
                  <a:cs typeface="Segoe UI Semilight" panose="020B0402040204020203" pitchFamily="34" charset="0"/>
                </a:rPr>
                <a:t>a world </a:t>
              </a:r>
              <a:br>
                <a:rPr lang="en-US" sz="1764" dirty="0">
                  <a:gradFill>
                    <a:gsLst>
                      <a:gs pos="2917">
                        <a:srgbClr val="505050"/>
                      </a:gs>
                      <a:gs pos="30000">
                        <a:srgbClr val="505050"/>
                      </a:gs>
                    </a:gsLst>
                    <a:lin ang="5400000" scaled="0"/>
                  </a:gradFill>
                  <a:cs typeface="Segoe UI Semilight" panose="020B0402040204020203" pitchFamily="34" charset="0"/>
                </a:rPr>
              </a:br>
              <a:r>
                <a:rPr lang="en-US" sz="1764" dirty="0">
                  <a:gradFill>
                    <a:gsLst>
                      <a:gs pos="2917">
                        <a:srgbClr val="505050"/>
                      </a:gs>
                      <a:gs pos="30000">
                        <a:srgbClr val="505050"/>
                      </a:gs>
                    </a:gsLst>
                    <a:lin ang="5400000" scaled="0"/>
                  </a:gradFill>
                  <a:cs typeface="Segoe UI Semilight" panose="020B0402040204020203" pitchFamily="34" charset="0"/>
                </a:rPr>
                <a:t>of </a:t>
              </a:r>
              <a:r>
                <a:rPr lang="en-US" sz="1764" b="1" dirty="0">
                  <a:gradFill>
                    <a:gsLst>
                      <a:gs pos="64957">
                        <a:srgbClr val="DC3C00"/>
                      </a:gs>
                      <a:gs pos="52000">
                        <a:srgbClr val="DC3C00"/>
                      </a:gs>
                    </a:gsLst>
                    <a:lin ang="5400000" scaled="0"/>
                  </a:gradFill>
                  <a:cs typeface="Segoe UI Semibold" panose="020B0702040204020203" pitchFamily="34" charset="0"/>
                </a:rPr>
                <a:t>devices</a:t>
              </a:r>
            </a:p>
          </p:txBody>
        </p:sp>
        <p:sp>
          <p:nvSpPr>
            <p:cNvPr id="6" name="Rectangle 5"/>
            <p:cNvSpPr/>
            <p:nvPr/>
          </p:nvSpPr>
          <p:spPr bwMode="auto">
            <a:xfrm>
              <a:off x="274637" y="1212849"/>
              <a:ext cx="11889565" cy="1883664"/>
            </a:xfrm>
            <a:prstGeom prst="rect">
              <a:avLst/>
            </a:prstGeom>
            <a:noFill/>
            <a:ln w="12700">
              <a:solidFill>
                <a:schemeClr val="bg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t" anchorCtr="0" compatLnSpc="1">
              <a:prstTxWarp prst="textNoShape">
                <a:avLst/>
              </a:prstTxWarp>
            </a:bodyPr>
            <a:lstStyle/>
            <a:p>
              <a:pPr defTabSz="913916" fontAlgn="base">
                <a:lnSpc>
                  <a:spcPct val="90000"/>
                </a:lnSpc>
                <a:spcBef>
                  <a:spcPct val="0"/>
                </a:spcBef>
                <a:spcAft>
                  <a:spcPct val="0"/>
                </a:spcAft>
              </a:pPr>
              <a:r>
                <a:rPr lang="en-US" sz="1764" b="1" dirty="0">
                  <a:gradFill>
                    <a:gsLst>
                      <a:gs pos="26496">
                        <a:srgbClr val="505050"/>
                      </a:gs>
                      <a:gs pos="44000">
                        <a:srgbClr val="505050"/>
                      </a:gs>
                    </a:gsLst>
                    <a:lin ang="5400000" scaled="0"/>
                  </a:gradFill>
                </a:rPr>
                <a:t>PRINCIPLES</a:t>
              </a:r>
              <a:endParaRPr lang="en-US" sz="1960" b="1" dirty="0">
                <a:gradFill>
                  <a:gsLst>
                    <a:gs pos="26496">
                      <a:srgbClr val="505050"/>
                    </a:gs>
                    <a:gs pos="44000">
                      <a:srgbClr val="505050"/>
                    </a:gs>
                  </a:gsLst>
                  <a:lin ang="5400000" scaled="0"/>
                </a:gradFill>
              </a:endParaRPr>
            </a:p>
          </p:txBody>
        </p:sp>
        <p:sp>
          <p:nvSpPr>
            <p:cNvPr id="32" name="Freeform 5"/>
            <p:cNvSpPr>
              <a:spLocks noChangeAspect="1" noEditPoints="1"/>
            </p:cNvSpPr>
            <p:nvPr/>
          </p:nvSpPr>
          <p:spPr bwMode="auto">
            <a:xfrm>
              <a:off x="2729180" y="2015647"/>
              <a:ext cx="1021729" cy="653261"/>
            </a:xfrm>
            <a:custGeom>
              <a:avLst/>
              <a:gdLst>
                <a:gd name="T0" fmla="*/ 54 w 266"/>
                <a:gd name="T1" fmla="*/ 154 h 169"/>
                <a:gd name="T2" fmla="*/ 25 w 266"/>
                <a:gd name="T3" fmla="*/ 154 h 169"/>
                <a:gd name="T4" fmla="*/ 0 w 266"/>
                <a:gd name="T5" fmla="*/ 116 h 169"/>
                <a:gd name="T6" fmla="*/ 29 w 266"/>
                <a:gd name="T7" fmla="*/ 75 h 169"/>
                <a:gd name="T8" fmla="*/ 55 w 266"/>
                <a:gd name="T9" fmla="*/ 29 h 169"/>
                <a:gd name="T10" fmla="*/ 99 w 266"/>
                <a:gd name="T11" fmla="*/ 30 h 169"/>
                <a:gd name="T12" fmla="*/ 144 w 266"/>
                <a:gd name="T13" fmla="*/ 0 h 169"/>
                <a:gd name="T14" fmla="*/ 200 w 266"/>
                <a:gd name="T15" fmla="*/ 54 h 169"/>
                <a:gd name="T16" fmla="*/ 182 w 266"/>
                <a:gd name="T17" fmla="*/ 56 h 169"/>
                <a:gd name="T18" fmla="*/ 141 w 266"/>
                <a:gd name="T19" fmla="*/ 33 h 169"/>
                <a:gd name="T20" fmla="*/ 91 w 266"/>
                <a:gd name="T21" fmla="*/ 81 h 169"/>
                <a:gd name="T22" fmla="*/ 50 w 266"/>
                <a:gd name="T23" fmla="*/ 129 h 169"/>
                <a:gd name="T24" fmla="*/ 54 w 266"/>
                <a:gd name="T25" fmla="*/ 154 h 169"/>
                <a:gd name="T26" fmla="*/ 89 w 266"/>
                <a:gd name="T27" fmla="*/ 168 h 169"/>
                <a:gd name="T28" fmla="*/ 245 w 266"/>
                <a:gd name="T29" fmla="*/ 168 h 169"/>
                <a:gd name="T30" fmla="*/ 266 w 266"/>
                <a:gd name="T31" fmla="*/ 137 h 169"/>
                <a:gd name="T32" fmla="*/ 242 w 266"/>
                <a:gd name="T33" fmla="*/ 104 h 169"/>
                <a:gd name="T34" fmla="*/ 220 w 266"/>
                <a:gd name="T35" fmla="*/ 64 h 169"/>
                <a:gd name="T36" fmla="*/ 179 w 266"/>
                <a:gd name="T37" fmla="*/ 64 h 169"/>
                <a:gd name="T38" fmla="*/ 141 w 266"/>
                <a:gd name="T39" fmla="*/ 42 h 169"/>
                <a:gd name="T40" fmla="*/ 98 w 266"/>
                <a:gd name="T41" fmla="*/ 87 h 169"/>
                <a:gd name="T42" fmla="*/ 58 w 266"/>
                <a:gd name="T43" fmla="*/ 126 h 169"/>
                <a:gd name="T44" fmla="*/ 89 w 266"/>
                <a:gd name="T45" fmla="*/ 168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6" h="169">
                  <a:moveTo>
                    <a:pt x="54" y="154"/>
                  </a:moveTo>
                  <a:cubicBezTo>
                    <a:pt x="25" y="154"/>
                    <a:pt x="25" y="154"/>
                    <a:pt x="25" y="154"/>
                  </a:cubicBezTo>
                  <a:cubicBezTo>
                    <a:pt x="25" y="154"/>
                    <a:pt x="1" y="149"/>
                    <a:pt x="0" y="116"/>
                  </a:cubicBezTo>
                  <a:cubicBezTo>
                    <a:pt x="0" y="83"/>
                    <a:pt x="29" y="75"/>
                    <a:pt x="29" y="75"/>
                  </a:cubicBezTo>
                  <a:cubicBezTo>
                    <a:pt x="29" y="75"/>
                    <a:pt x="27" y="41"/>
                    <a:pt x="55" y="29"/>
                  </a:cubicBezTo>
                  <a:cubicBezTo>
                    <a:pt x="83" y="17"/>
                    <a:pt x="99" y="30"/>
                    <a:pt x="99" y="30"/>
                  </a:cubicBezTo>
                  <a:cubicBezTo>
                    <a:pt x="99" y="30"/>
                    <a:pt x="109" y="0"/>
                    <a:pt x="144" y="0"/>
                  </a:cubicBezTo>
                  <a:cubicBezTo>
                    <a:pt x="175" y="0"/>
                    <a:pt x="207" y="30"/>
                    <a:pt x="200" y="54"/>
                  </a:cubicBezTo>
                  <a:cubicBezTo>
                    <a:pt x="189" y="54"/>
                    <a:pt x="182" y="56"/>
                    <a:pt x="182" y="56"/>
                  </a:cubicBezTo>
                  <a:cubicBezTo>
                    <a:pt x="182" y="56"/>
                    <a:pt x="174" y="33"/>
                    <a:pt x="141" y="33"/>
                  </a:cubicBezTo>
                  <a:cubicBezTo>
                    <a:pt x="113" y="33"/>
                    <a:pt x="84" y="60"/>
                    <a:pt x="91" y="81"/>
                  </a:cubicBezTo>
                  <a:cubicBezTo>
                    <a:pt x="91" y="81"/>
                    <a:pt x="50" y="83"/>
                    <a:pt x="50" y="129"/>
                  </a:cubicBezTo>
                  <a:cubicBezTo>
                    <a:pt x="50" y="140"/>
                    <a:pt x="52" y="148"/>
                    <a:pt x="54" y="154"/>
                  </a:cubicBezTo>
                  <a:close/>
                  <a:moveTo>
                    <a:pt x="89" y="168"/>
                  </a:moveTo>
                  <a:cubicBezTo>
                    <a:pt x="245" y="168"/>
                    <a:pt x="245" y="168"/>
                    <a:pt x="245" y="168"/>
                  </a:cubicBezTo>
                  <a:cubicBezTo>
                    <a:pt x="245" y="168"/>
                    <a:pt x="265" y="164"/>
                    <a:pt x="266" y="137"/>
                  </a:cubicBezTo>
                  <a:cubicBezTo>
                    <a:pt x="266" y="110"/>
                    <a:pt x="242" y="104"/>
                    <a:pt x="242" y="104"/>
                  </a:cubicBezTo>
                  <a:cubicBezTo>
                    <a:pt x="242" y="104"/>
                    <a:pt x="244" y="74"/>
                    <a:pt x="220" y="64"/>
                  </a:cubicBezTo>
                  <a:cubicBezTo>
                    <a:pt x="197" y="54"/>
                    <a:pt x="179" y="64"/>
                    <a:pt x="179" y="64"/>
                  </a:cubicBezTo>
                  <a:cubicBezTo>
                    <a:pt x="179" y="64"/>
                    <a:pt x="171" y="42"/>
                    <a:pt x="141" y="42"/>
                  </a:cubicBezTo>
                  <a:cubicBezTo>
                    <a:pt x="115" y="42"/>
                    <a:pt x="92" y="68"/>
                    <a:pt x="98" y="87"/>
                  </a:cubicBezTo>
                  <a:cubicBezTo>
                    <a:pt x="98" y="87"/>
                    <a:pt x="58" y="84"/>
                    <a:pt x="58" y="126"/>
                  </a:cubicBezTo>
                  <a:cubicBezTo>
                    <a:pt x="58" y="169"/>
                    <a:pt x="89" y="168"/>
                    <a:pt x="89" y="168"/>
                  </a:cubicBezTo>
                  <a:close/>
                </a:path>
              </a:pathLst>
            </a:custGeom>
            <a:solidFill>
              <a:schemeClr val="tx1"/>
            </a:solidFill>
            <a:ln>
              <a:noFill/>
            </a:ln>
            <a:extLst/>
          </p:spPr>
          <p:txBody>
            <a:bodyPr vert="horz" wrap="square" lIns="89619" tIns="44810" rIns="89619" bIns="44810" numCol="1" anchor="t" anchorCtr="0" compatLnSpc="1">
              <a:prstTxWarp prst="textNoShape">
                <a:avLst/>
              </a:prstTxWarp>
            </a:bodyPr>
            <a:lstStyle/>
            <a:p>
              <a:pPr defTabSz="914180">
                <a:lnSpc>
                  <a:spcPct val="90000"/>
                </a:lnSpc>
              </a:pPr>
              <a:endParaRPr lang="en-US" sz="1764">
                <a:solidFill>
                  <a:srgbClr val="505050"/>
                </a:solidFill>
              </a:endParaRPr>
            </a:p>
          </p:txBody>
        </p:sp>
        <p:sp>
          <p:nvSpPr>
            <p:cNvPr id="33" name="Arc 32"/>
            <p:cNvSpPr/>
            <p:nvPr/>
          </p:nvSpPr>
          <p:spPr>
            <a:xfrm rot="20676240">
              <a:off x="7036394" y="2339401"/>
              <a:ext cx="716800" cy="448792"/>
            </a:xfrm>
            <a:prstGeom prst="arc">
              <a:avLst>
                <a:gd name="adj1" fmla="val 21436060"/>
                <a:gd name="adj2" fmla="val 9297984"/>
              </a:avLst>
            </a:prstGeom>
            <a:ln w="317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914180">
                <a:lnSpc>
                  <a:spcPct val="90000"/>
                </a:lnSpc>
              </a:pPr>
              <a:endParaRPr lang="en-US" sz="1764">
                <a:solidFill>
                  <a:srgbClr val="505050"/>
                </a:solidFill>
              </a:endParaRPr>
            </a:p>
          </p:txBody>
        </p:sp>
        <p:grpSp>
          <p:nvGrpSpPr>
            <p:cNvPr id="39" name="Group 38"/>
            <p:cNvGrpSpPr>
              <a:grpSpLocks noChangeAspect="1"/>
            </p:cNvGrpSpPr>
            <p:nvPr/>
          </p:nvGrpSpPr>
          <p:grpSpPr>
            <a:xfrm>
              <a:off x="10437267" y="2062784"/>
              <a:ext cx="1037392" cy="630450"/>
              <a:chOff x="3742936" y="4845974"/>
              <a:chExt cx="1597183" cy="970652"/>
            </a:xfrm>
            <a:solidFill>
              <a:schemeClr val="tx1"/>
            </a:solidFill>
          </p:grpSpPr>
          <p:sp>
            <p:nvSpPr>
              <p:cNvPr id="40" name="Freeform 39"/>
              <p:cNvSpPr>
                <a:spLocks noEditPoints="1"/>
              </p:cNvSpPr>
              <p:nvPr/>
            </p:nvSpPr>
            <p:spPr bwMode="black">
              <a:xfrm>
                <a:off x="4939193" y="5008123"/>
                <a:ext cx="400926" cy="808503"/>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lnSpc>
                    <a:spcPct val="90000"/>
                  </a:lnSpc>
                </a:pPr>
                <a:endParaRPr lang="en-US" sz="1764" dirty="0">
                  <a:solidFill>
                    <a:srgbClr val="505050"/>
                  </a:solidFill>
                </a:endParaRPr>
              </a:p>
            </p:txBody>
          </p:sp>
          <p:sp>
            <p:nvSpPr>
              <p:cNvPr id="41" name="Freeform 88"/>
              <p:cNvSpPr>
                <a:spLocks noEditPoints="1"/>
              </p:cNvSpPr>
              <p:nvPr/>
            </p:nvSpPr>
            <p:spPr bwMode="black">
              <a:xfrm>
                <a:off x="3742936" y="4845974"/>
                <a:ext cx="1144646" cy="970652"/>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lnSpc>
                    <a:spcPct val="90000"/>
                  </a:lnSpc>
                </a:pPr>
                <a:endParaRPr lang="en-US" sz="1764" dirty="0">
                  <a:solidFill>
                    <a:srgbClr val="505050"/>
                  </a:solidFill>
                </a:endParaRPr>
              </a:p>
            </p:txBody>
          </p:sp>
        </p:grpSp>
        <p:sp>
          <p:nvSpPr>
            <p:cNvPr id="47" name="Freeform 5"/>
            <p:cNvSpPr>
              <a:spLocks noChangeAspect="1" noEditPoints="1"/>
            </p:cNvSpPr>
            <p:nvPr/>
          </p:nvSpPr>
          <p:spPr bwMode="auto">
            <a:xfrm>
              <a:off x="11632118" y="2237376"/>
              <a:ext cx="237114" cy="455858"/>
            </a:xfrm>
            <a:custGeom>
              <a:avLst/>
              <a:gdLst>
                <a:gd name="T0" fmla="*/ 0 w 822"/>
                <a:gd name="T1" fmla="*/ 32 h 1583"/>
                <a:gd name="T2" fmla="*/ 822 w 822"/>
                <a:gd name="T3" fmla="*/ 1551 h 1583"/>
                <a:gd name="T4" fmla="*/ 16 w 822"/>
                <a:gd name="T5" fmla="*/ 1551 h 1583"/>
                <a:gd name="T6" fmla="*/ 806 w 822"/>
                <a:gd name="T7" fmla="*/ 32 h 1583"/>
                <a:gd name="T8" fmla="*/ 419 w 822"/>
                <a:gd name="T9" fmla="*/ 311 h 1583"/>
                <a:gd name="T10" fmla="*/ 574 w 822"/>
                <a:gd name="T11" fmla="*/ 447 h 1583"/>
                <a:gd name="T12" fmla="*/ 574 w 822"/>
                <a:gd name="T13" fmla="*/ 447 h 1583"/>
                <a:gd name="T14" fmla="*/ 403 w 822"/>
                <a:gd name="T15" fmla="*/ 447 h 1583"/>
                <a:gd name="T16" fmla="*/ 419 w 822"/>
                <a:gd name="T17" fmla="*/ 773 h 1583"/>
                <a:gd name="T18" fmla="*/ 112 w 822"/>
                <a:gd name="T19" fmla="*/ 773 h 1583"/>
                <a:gd name="T20" fmla="*/ 403 w 822"/>
                <a:gd name="T21" fmla="*/ 1068 h 1583"/>
                <a:gd name="T22" fmla="*/ 712 w 822"/>
                <a:gd name="T23" fmla="*/ 1068 h 1583"/>
                <a:gd name="T24" fmla="*/ 712 w 822"/>
                <a:gd name="T25" fmla="*/ 1223 h 1583"/>
                <a:gd name="T26" fmla="*/ 574 w 822"/>
                <a:gd name="T27" fmla="*/ 463 h 1583"/>
                <a:gd name="T28" fmla="*/ 574 w 822"/>
                <a:gd name="T29" fmla="*/ 463 h 1583"/>
                <a:gd name="T30" fmla="*/ 264 w 822"/>
                <a:gd name="T31" fmla="*/ 1084 h 1583"/>
                <a:gd name="T32" fmla="*/ 403 w 822"/>
                <a:gd name="T33" fmla="*/ 1349 h 1583"/>
                <a:gd name="T34" fmla="*/ 419 w 822"/>
                <a:gd name="T35" fmla="*/ 1239 h 1583"/>
                <a:gd name="T36" fmla="*/ 574 w 822"/>
                <a:gd name="T37" fmla="*/ 1239 h 1583"/>
                <a:gd name="T38" fmla="*/ 712 w 822"/>
                <a:gd name="T39" fmla="*/ 618 h 1583"/>
                <a:gd name="T40" fmla="*/ 248 w 822"/>
                <a:gd name="T41" fmla="*/ 757 h 1583"/>
                <a:gd name="T42" fmla="*/ 403 w 822"/>
                <a:gd name="T43" fmla="*/ 602 h 1583"/>
                <a:gd name="T44" fmla="*/ 112 w 822"/>
                <a:gd name="T45" fmla="*/ 463 h 1583"/>
                <a:gd name="T46" fmla="*/ 112 w 822"/>
                <a:gd name="T47" fmla="*/ 447 h 1583"/>
                <a:gd name="T48" fmla="*/ 100 w 822"/>
                <a:gd name="T49" fmla="*/ 93 h 1583"/>
                <a:gd name="T50" fmla="*/ 662 w 822"/>
                <a:gd name="T51" fmla="*/ 1447 h 1583"/>
                <a:gd name="T52" fmla="*/ 764 w 822"/>
                <a:gd name="T53" fmla="*/ 33 h 1583"/>
                <a:gd name="T54" fmla="*/ 58 w 822"/>
                <a:gd name="T55" fmla="*/ 1542 h 1583"/>
                <a:gd name="T56" fmla="*/ 764 w 822"/>
                <a:gd name="T57" fmla="*/ 33 h 1583"/>
                <a:gd name="T58" fmla="*/ 572 w 822"/>
                <a:gd name="T59" fmla="*/ 119 h 1583"/>
                <a:gd name="T60" fmla="*/ 100 w 822"/>
                <a:gd name="T61" fmla="*/ 77 h 1583"/>
                <a:gd name="T62" fmla="*/ 100 w 822"/>
                <a:gd name="T63" fmla="*/ 77 h 1583"/>
                <a:gd name="T64" fmla="*/ 158 w 822"/>
                <a:gd name="T65" fmla="*/ 1466 h 1583"/>
                <a:gd name="T66" fmla="*/ 139 w 822"/>
                <a:gd name="T67" fmla="*/ 1452 h 1583"/>
                <a:gd name="T68" fmla="*/ 158 w 822"/>
                <a:gd name="T69" fmla="*/ 1435 h 1583"/>
                <a:gd name="T70" fmla="*/ 176 w 822"/>
                <a:gd name="T71" fmla="*/ 1451 h 1583"/>
                <a:gd name="T72" fmla="*/ 391 w 822"/>
                <a:gd name="T73" fmla="*/ 1452 h 1583"/>
                <a:gd name="T74" fmla="*/ 391 w 822"/>
                <a:gd name="T75" fmla="*/ 1450 h 1583"/>
                <a:gd name="T76" fmla="*/ 434 w 822"/>
                <a:gd name="T77" fmla="*/ 1472 h 1583"/>
                <a:gd name="T78" fmla="*/ 434 w 822"/>
                <a:gd name="T79" fmla="*/ 1472 h 1583"/>
                <a:gd name="T80" fmla="*/ 434 w 822"/>
                <a:gd name="T81" fmla="*/ 1429 h 1583"/>
                <a:gd name="T82" fmla="*/ 655 w 822"/>
                <a:gd name="T83" fmla="*/ 1467 h 1583"/>
                <a:gd name="T84" fmla="*/ 656 w 822"/>
                <a:gd name="T85" fmla="*/ 1455 h 1583"/>
                <a:gd name="T86" fmla="*/ 669 w 822"/>
                <a:gd name="T87" fmla="*/ 1462 h 1583"/>
                <a:gd name="T88" fmla="*/ 744 w 822"/>
                <a:gd name="T89" fmla="*/ 199 h 1583"/>
                <a:gd name="T90" fmla="*/ 557 w 822"/>
                <a:gd name="T91" fmla="*/ 1084 h 1583"/>
                <a:gd name="T92" fmla="*/ 419 w 822"/>
                <a:gd name="T93" fmla="*/ 602 h 1583"/>
                <a:gd name="T94" fmla="*/ 419 w 822"/>
                <a:gd name="T95" fmla="*/ 618 h 1583"/>
                <a:gd name="T96" fmla="*/ 419 w 822"/>
                <a:gd name="T97" fmla="*/ 618 h 1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22" h="1583">
                  <a:moveTo>
                    <a:pt x="790" y="1583"/>
                  </a:moveTo>
                  <a:cubicBezTo>
                    <a:pt x="32" y="1583"/>
                    <a:pt x="32" y="1583"/>
                    <a:pt x="32" y="1583"/>
                  </a:cubicBezTo>
                  <a:cubicBezTo>
                    <a:pt x="14" y="1583"/>
                    <a:pt x="0" y="1569"/>
                    <a:pt x="0" y="1551"/>
                  </a:cubicBezTo>
                  <a:cubicBezTo>
                    <a:pt x="0" y="32"/>
                    <a:pt x="0" y="32"/>
                    <a:pt x="0" y="32"/>
                  </a:cubicBezTo>
                  <a:cubicBezTo>
                    <a:pt x="0" y="14"/>
                    <a:pt x="14" y="0"/>
                    <a:pt x="32" y="0"/>
                  </a:cubicBezTo>
                  <a:cubicBezTo>
                    <a:pt x="790" y="0"/>
                    <a:pt x="790" y="0"/>
                    <a:pt x="790" y="0"/>
                  </a:cubicBezTo>
                  <a:cubicBezTo>
                    <a:pt x="808" y="0"/>
                    <a:pt x="822" y="14"/>
                    <a:pt x="822" y="32"/>
                  </a:cubicBezTo>
                  <a:cubicBezTo>
                    <a:pt x="822" y="1551"/>
                    <a:pt x="822" y="1551"/>
                    <a:pt x="822" y="1551"/>
                  </a:cubicBezTo>
                  <a:cubicBezTo>
                    <a:pt x="822" y="1569"/>
                    <a:pt x="808" y="1583"/>
                    <a:pt x="790" y="1583"/>
                  </a:cubicBezTo>
                  <a:close/>
                  <a:moveTo>
                    <a:pt x="32" y="16"/>
                  </a:moveTo>
                  <a:cubicBezTo>
                    <a:pt x="23" y="16"/>
                    <a:pt x="16" y="23"/>
                    <a:pt x="16" y="32"/>
                  </a:cubicBezTo>
                  <a:cubicBezTo>
                    <a:pt x="16" y="1551"/>
                    <a:pt x="16" y="1551"/>
                    <a:pt x="16" y="1551"/>
                  </a:cubicBezTo>
                  <a:cubicBezTo>
                    <a:pt x="16" y="1560"/>
                    <a:pt x="23" y="1567"/>
                    <a:pt x="32" y="1567"/>
                  </a:cubicBezTo>
                  <a:cubicBezTo>
                    <a:pt x="790" y="1567"/>
                    <a:pt x="790" y="1567"/>
                    <a:pt x="790" y="1567"/>
                  </a:cubicBezTo>
                  <a:cubicBezTo>
                    <a:pt x="799" y="1567"/>
                    <a:pt x="806" y="1560"/>
                    <a:pt x="806" y="1551"/>
                  </a:cubicBezTo>
                  <a:cubicBezTo>
                    <a:pt x="806" y="32"/>
                    <a:pt x="806" y="32"/>
                    <a:pt x="806" y="32"/>
                  </a:cubicBezTo>
                  <a:cubicBezTo>
                    <a:pt x="806" y="23"/>
                    <a:pt x="799" y="16"/>
                    <a:pt x="790" y="16"/>
                  </a:cubicBezTo>
                  <a:lnTo>
                    <a:pt x="32" y="16"/>
                  </a:lnTo>
                  <a:close/>
                  <a:moveTo>
                    <a:pt x="558" y="311"/>
                  </a:moveTo>
                  <a:cubicBezTo>
                    <a:pt x="419" y="311"/>
                    <a:pt x="419" y="311"/>
                    <a:pt x="419" y="311"/>
                  </a:cubicBezTo>
                  <a:cubicBezTo>
                    <a:pt x="419" y="447"/>
                    <a:pt x="419" y="447"/>
                    <a:pt x="419" y="447"/>
                  </a:cubicBezTo>
                  <a:cubicBezTo>
                    <a:pt x="558" y="447"/>
                    <a:pt x="558" y="447"/>
                    <a:pt x="558" y="447"/>
                  </a:cubicBezTo>
                  <a:lnTo>
                    <a:pt x="558" y="311"/>
                  </a:lnTo>
                  <a:close/>
                  <a:moveTo>
                    <a:pt x="574" y="447"/>
                  </a:moveTo>
                  <a:cubicBezTo>
                    <a:pt x="712" y="447"/>
                    <a:pt x="712" y="447"/>
                    <a:pt x="712" y="447"/>
                  </a:cubicBezTo>
                  <a:cubicBezTo>
                    <a:pt x="712" y="311"/>
                    <a:pt x="712" y="311"/>
                    <a:pt x="712" y="311"/>
                  </a:cubicBezTo>
                  <a:cubicBezTo>
                    <a:pt x="574" y="311"/>
                    <a:pt x="574" y="311"/>
                    <a:pt x="574" y="311"/>
                  </a:cubicBezTo>
                  <a:lnTo>
                    <a:pt x="574" y="447"/>
                  </a:lnTo>
                  <a:close/>
                  <a:moveTo>
                    <a:pt x="403" y="311"/>
                  </a:moveTo>
                  <a:cubicBezTo>
                    <a:pt x="264" y="311"/>
                    <a:pt x="264" y="311"/>
                    <a:pt x="264" y="311"/>
                  </a:cubicBezTo>
                  <a:cubicBezTo>
                    <a:pt x="264" y="447"/>
                    <a:pt x="264" y="447"/>
                    <a:pt x="264" y="447"/>
                  </a:cubicBezTo>
                  <a:cubicBezTo>
                    <a:pt x="403" y="447"/>
                    <a:pt x="403" y="447"/>
                    <a:pt x="403" y="447"/>
                  </a:cubicBezTo>
                  <a:lnTo>
                    <a:pt x="403" y="311"/>
                  </a:lnTo>
                  <a:close/>
                  <a:moveTo>
                    <a:pt x="574" y="773"/>
                  </a:moveTo>
                  <a:cubicBezTo>
                    <a:pt x="558" y="773"/>
                    <a:pt x="558" y="773"/>
                    <a:pt x="558" y="773"/>
                  </a:cubicBezTo>
                  <a:cubicBezTo>
                    <a:pt x="419" y="773"/>
                    <a:pt x="419" y="773"/>
                    <a:pt x="419" y="773"/>
                  </a:cubicBezTo>
                  <a:cubicBezTo>
                    <a:pt x="403" y="773"/>
                    <a:pt x="403" y="773"/>
                    <a:pt x="403" y="773"/>
                  </a:cubicBezTo>
                  <a:cubicBezTo>
                    <a:pt x="264" y="773"/>
                    <a:pt x="264" y="773"/>
                    <a:pt x="264" y="773"/>
                  </a:cubicBezTo>
                  <a:cubicBezTo>
                    <a:pt x="248" y="773"/>
                    <a:pt x="248" y="773"/>
                    <a:pt x="248" y="773"/>
                  </a:cubicBezTo>
                  <a:cubicBezTo>
                    <a:pt x="112" y="773"/>
                    <a:pt x="112" y="773"/>
                    <a:pt x="112" y="773"/>
                  </a:cubicBezTo>
                  <a:cubicBezTo>
                    <a:pt x="112" y="1068"/>
                    <a:pt x="112" y="1068"/>
                    <a:pt x="112" y="1068"/>
                  </a:cubicBezTo>
                  <a:cubicBezTo>
                    <a:pt x="248" y="1068"/>
                    <a:pt x="248" y="1068"/>
                    <a:pt x="248" y="1068"/>
                  </a:cubicBezTo>
                  <a:cubicBezTo>
                    <a:pt x="264" y="1068"/>
                    <a:pt x="264" y="1068"/>
                    <a:pt x="264" y="1068"/>
                  </a:cubicBezTo>
                  <a:cubicBezTo>
                    <a:pt x="403" y="1068"/>
                    <a:pt x="403" y="1068"/>
                    <a:pt x="403" y="1068"/>
                  </a:cubicBezTo>
                  <a:cubicBezTo>
                    <a:pt x="419" y="1068"/>
                    <a:pt x="419" y="1068"/>
                    <a:pt x="419" y="1068"/>
                  </a:cubicBezTo>
                  <a:cubicBezTo>
                    <a:pt x="558" y="1068"/>
                    <a:pt x="558" y="1068"/>
                    <a:pt x="558" y="1068"/>
                  </a:cubicBezTo>
                  <a:cubicBezTo>
                    <a:pt x="574" y="1068"/>
                    <a:pt x="574" y="1068"/>
                    <a:pt x="574" y="1068"/>
                  </a:cubicBezTo>
                  <a:cubicBezTo>
                    <a:pt x="712" y="1068"/>
                    <a:pt x="712" y="1068"/>
                    <a:pt x="712" y="1068"/>
                  </a:cubicBezTo>
                  <a:cubicBezTo>
                    <a:pt x="712" y="773"/>
                    <a:pt x="712" y="773"/>
                    <a:pt x="712" y="773"/>
                  </a:cubicBezTo>
                  <a:lnTo>
                    <a:pt x="574" y="773"/>
                  </a:lnTo>
                  <a:close/>
                  <a:moveTo>
                    <a:pt x="574" y="1223"/>
                  </a:moveTo>
                  <a:cubicBezTo>
                    <a:pt x="712" y="1223"/>
                    <a:pt x="712" y="1223"/>
                    <a:pt x="712" y="1223"/>
                  </a:cubicBezTo>
                  <a:cubicBezTo>
                    <a:pt x="712" y="1084"/>
                    <a:pt x="712" y="1084"/>
                    <a:pt x="712" y="1084"/>
                  </a:cubicBezTo>
                  <a:cubicBezTo>
                    <a:pt x="574" y="1084"/>
                    <a:pt x="574" y="1084"/>
                    <a:pt x="574" y="1084"/>
                  </a:cubicBezTo>
                  <a:lnTo>
                    <a:pt x="574" y="1223"/>
                  </a:lnTo>
                  <a:close/>
                  <a:moveTo>
                    <a:pt x="574" y="463"/>
                  </a:moveTo>
                  <a:cubicBezTo>
                    <a:pt x="574" y="602"/>
                    <a:pt x="574" y="602"/>
                    <a:pt x="574" y="602"/>
                  </a:cubicBezTo>
                  <a:cubicBezTo>
                    <a:pt x="712" y="602"/>
                    <a:pt x="712" y="602"/>
                    <a:pt x="712" y="602"/>
                  </a:cubicBezTo>
                  <a:cubicBezTo>
                    <a:pt x="712" y="463"/>
                    <a:pt x="712" y="463"/>
                    <a:pt x="712" y="463"/>
                  </a:cubicBezTo>
                  <a:lnTo>
                    <a:pt x="574" y="463"/>
                  </a:lnTo>
                  <a:close/>
                  <a:moveTo>
                    <a:pt x="403" y="1239"/>
                  </a:moveTo>
                  <a:cubicBezTo>
                    <a:pt x="403" y="1223"/>
                    <a:pt x="403" y="1223"/>
                    <a:pt x="403" y="1223"/>
                  </a:cubicBezTo>
                  <a:cubicBezTo>
                    <a:pt x="403" y="1084"/>
                    <a:pt x="403" y="1084"/>
                    <a:pt x="403" y="1084"/>
                  </a:cubicBezTo>
                  <a:cubicBezTo>
                    <a:pt x="264" y="1084"/>
                    <a:pt x="264" y="1084"/>
                    <a:pt x="264" y="1084"/>
                  </a:cubicBezTo>
                  <a:cubicBezTo>
                    <a:pt x="248" y="1084"/>
                    <a:pt x="248" y="1084"/>
                    <a:pt x="248" y="1084"/>
                  </a:cubicBezTo>
                  <a:cubicBezTo>
                    <a:pt x="112" y="1084"/>
                    <a:pt x="112" y="1084"/>
                    <a:pt x="112" y="1084"/>
                  </a:cubicBezTo>
                  <a:cubicBezTo>
                    <a:pt x="112" y="1349"/>
                    <a:pt x="112" y="1349"/>
                    <a:pt x="112" y="1349"/>
                  </a:cubicBezTo>
                  <a:cubicBezTo>
                    <a:pt x="403" y="1349"/>
                    <a:pt x="403" y="1349"/>
                    <a:pt x="403" y="1349"/>
                  </a:cubicBezTo>
                  <a:lnTo>
                    <a:pt x="403" y="1239"/>
                  </a:lnTo>
                  <a:close/>
                  <a:moveTo>
                    <a:pt x="574" y="1239"/>
                  </a:moveTo>
                  <a:cubicBezTo>
                    <a:pt x="558" y="1239"/>
                    <a:pt x="558" y="1239"/>
                    <a:pt x="558" y="1239"/>
                  </a:cubicBezTo>
                  <a:cubicBezTo>
                    <a:pt x="419" y="1239"/>
                    <a:pt x="419" y="1239"/>
                    <a:pt x="419" y="1239"/>
                  </a:cubicBezTo>
                  <a:cubicBezTo>
                    <a:pt x="419" y="1349"/>
                    <a:pt x="419" y="1349"/>
                    <a:pt x="419" y="1349"/>
                  </a:cubicBezTo>
                  <a:cubicBezTo>
                    <a:pt x="712" y="1349"/>
                    <a:pt x="712" y="1349"/>
                    <a:pt x="712" y="1349"/>
                  </a:cubicBezTo>
                  <a:cubicBezTo>
                    <a:pt x="712" y="1239"/>
                    <a:pt x="712" y="1239"/>
                    <a:pt x="712" y="1239"/>
                  </a:cubicBezTo>
                  <a:lnTo>
                    <a:pt x="574" y="1239"/>
                  </a:lnTo>
                  <a:close/>
                  <a:moveTo>
                    <a:pt x="574" y="618"/>
                  </a:moveTo>
                  <a:cubicBezTo>
                    <a:pt x="574" y="757"/>
                    <a:pt x="574" y="757"/>
                    <a:pt x="574" y="757"/>
                  </a:cubicBezTo>
                  <a:cubicBezTo>
                    <a:pt x="712" y="757"/>
                    <a:pt x="712" y="757"/>
                    <a:pt x="712" y="757"/>
                  </a:cubicBezTo>
                  <a:cubicBezTo>
                    <a:pt x="712" y="618"/>
                    <a:pt x="712" y="618"/>
                    <a:pt x="712" y="618"/>
                  </a:cubicBezTo>
                  <a:lnTo>
                    <a:pt x="574" y="618"/>
                  </a:lnTo>
                  <a:close/>
                  <a:moveTo>
                    <a:pt x="112" y="463"/>
                  </a:moveTo>
                  <a:cubicBezTo>
                    <a:pt x="112" y="757"/>
                    <a:pt x="112" y="757"/>
                    <a:pt x="112" y="757"/>
                  </a:cubicBezTo>
                  <a:cubicBezTo>
                    <a:pt x="248" y="757"/>
                    <a:pt x="248" y="757"/>
                    <a:pt x="248" y="757"/>
                  </a:cubicBezTo>
                  <a:cubicBezTo>
                    <a:pt x="264" y="757"/>
                    <a:pt x="264" y="757"/>
                    <a:pt x="264" y="757"/>
                  </a:cubicBezTo>
                  <a:cubicBezTo>
                    <a:pt x="403" y="757"/>
                    <a:pt x="403" y="757"/>
                    <a:pt x="403" y="757"/>
                  </a:cubicBezTo>
                  <a:cubicBezTo>
                    <a:pt x="403" y="618"/>
                    <a:pt x="403" y="618"/>
                    <a:pt x="403" y="618"/>
                  </a:cubicBezTo>
                  <a:cubicBezTo>
                    <a:pt x="403" y="602"/>
                    <a:pt x="403" y="602"/>
                    <a:pt x="403" y="602"/>
                  </a:cubicBezTo>
                  <a:cubicBezTo>
                    <a:pt x="403" y="463"/>
                    <a:pt x="403" y="463"/>
                    <a:pt x="403" y="463"/>
                  </a:cubicBezTo>
                  <a:cubicBezTo>
                    <a:pt x="264" y="463"/>
                    <a:pt x="264" y="463"/>
                    <a:pt x="264" y="463"/>
                  </a:cubicBezTo>
                  <a:cubicBezTo>
                    <a:pt x="248" y="463"/>
                    <a:pt x="248" y="463"/>
                    <a:pt x="248" y="463"/>
                  </a:cubicBezTo>
                  <a:lnTo>
                    <a:pt x="112" y="463"/>
                  </a:lnTo>
                  <a:close/>
                  <a:moveTo>
                    <a:pt x="248" y="447"/>
                  </a:moveTo>
                  <a:cubicBezTo>
                    <a:pt x="248" y="311"/>
                    <a:pt x="248" y="311"/>
                    <a:pt x="248" y="311"/>
                  </a:cubicBezTo>
                  <a:cubicBezTo>
                    <a:pt x="112" y="311"/>
                    <a:pt x="112" y="311"/>
                    <a:pt x="112" y="311"/>
                  </a:cubicBezTo>
                  <a:cubicBezTo>
                    <a:pt x="112" y="447"/>
                    <a:pt x="112" y="447"/>
                    <a:pt x="112" y="447"/>
                  </a:cubicBezTo>
                  <a:lnTo>
                    <a:pt x="248" y="447"/>
                  </a:lnTo>
                  <a:close/>
                  <a:moveTo>
                    <a:pt x="100" y="117"/>
                  </a:moveTo>
                  <a:cubicBezTo>
                    <a:pt x="107" y="117"/>
                    <a:pt x="112" y="112"/>
                    <a:pt x="112" y="105"/>
                  </a:cubicBezTo>
                  <a:cubicBezTo>
                    <a:pt x="112" y="98"/>
                    <a:pt x="107" y="93"/>
                    <a:pt x="100" y="93"/>
                  </a:cubicBezTo>
                  <a:cubicBezTo>
                    <a:pt x="93" y="93"/>
                    <a:pt x="88" y="98"/>
                    <a:pt x="88" y="105"/>
                  </a:cubicBezTo>
                  <a:cubicBezTo>
                    <a:pt x="88" y="112"/>
                    <a:pt x="93" y="117"/>
                    <a:pt x="100" y="117"/>
                  </a:cubicBezTo>
                  <a:close/>
                  <a:moveTo>
                    <a:pt x="669" y="1441"/>
                  </a:moveTo>
                  <a:cubicBezTo>
                    <a:pt x="665" y="1441"/>
                    <a:pt x="662" y="1444"/>
                    <a:pt x="662" y="1447"/>
                  </a:cubicBezTo>
                  <a:cubicBezTo>
                    <a:pt x="662" y="1451"/>
                    <a:pt x="665" y="1454"/>
                    <a:pt x="669" y="1454"/>
                  </a:cubicBezTo>
                  <a:cubicBezTo>
                    <a:pt x="672" y="1454"/>
                    <a:pt x="675" y="1451"/>
                    <a:pt x="675" y="1447"/>
                  </a:cubicBezTo>
                  <a:cubicBezTo>
                    <a:pt x="675" y="1444"/>
                    <a:pt x="672" y="1441"/>
                    <a:pt x="669" y="1441"/>
                  </a:cubicBezTo>
                  <a:close/>
                  <a:moveTo>
                    <a:pt x="764" y="33"/>
                  </a:moveTo>
                  <a:cubicBezTo>
                    <a:pt x="58" y="33"/>
                    <a:pt x="58" y="33"/>
                    <a:pt x="58" y="33"/>
                  </a:cubicBezTo>
                  <a:cubicBezTo>
                    <a:pt x="45" y="33"/>
                    <a:pt x="34" y="44"/>
                    <a:pt x="34" y="57"/>
                  </a:cubicBezTo>
                  <a:cubicBezTo>
                    <a:pt x="34" y="1518"/>
                    <a:pt x="34" y="1518"/>
                    <a:pt x="34" y="1518"/>
                  </a:cubicBezTo>
                  <a:cubicBezTo>
                    <a:pt x="34" y="1531"/>
                    <a:pt x="45" y="1542"/>
                    <a:pt x="58" y="1542"/>
                  </a:cubicBezTo>
                  <a:cubicBezTo>
                    <a:pt x="764" y="1542"/>
                    <a:pt x="764" y="1542"/>
                    <a:pt x="764" y="1542"/>
                  </a:cubicBezTo>
                  <a:cubicBezTo>
                    <a:pt x="777" y="1542"/>
                    <a:pt x="788" y="1531"/>
                    <a:pt x="788" y="1518"/>
                  </a:cubicBezTo>
                  <a:cubicBezTo>
                    <a:pt x="788" y="57"/>
                    <a:pt x="788" y="57"/>
                    <a:pt x="788" y="57"/>
                  </a:cubicBezTo>
                  <a:cubicBezTo>
                    <a:pt x="788" y="44"/>
                    <a:pt x="777" y="33"/>
                    <a:pt x="764" y="33"/>
                  </a:cubicBezTo>
                  <a:close/>
                  <a:moveTo>
                    <a:pt x="242" y="91"/>
                  </a:moveTo>
                  <a:cubicBezTo>
                    <a:pt x="572" y="91"/>
                    <a:pt x="572" y="91"/>
                    <a:pt x="572" y="91"/>
                  </a:cubicBezTo>
                  <a:cubicBezTo>
                    <a:pt x="580" y="91"/>
                    <a:pt x="586" y="97"/>
                    <a:pt x="586" y="105"/>
                  </a:cubicBezTo>
                  <a:cubicBezTo>
                    <a:pt x="586" y="113"/>
                    <a:pt x="580" y="119"/>
                    <a:pt x="572" y="119"/>
                  </a:cubicBezTo>
                  <a:cubicBezTo>
                    <a:pt x="242" y="119"/>
                    <a:pt x="242" y="119"/>
                    <a:pt x="242" y="119"/>
                  </a:cubicBezTo>
                  <a:cubicBezTo>
                    <a:pt x="234" y="119"/>
                    <a:pt x="228" y="113"/>
                    <a:pt x="228" y="105"/>
                  </a:cubicBezTo>
                  <a:cubicBezTo>
                    <a:pt x="228" y="97"/>
                    <a:pt x="234" y="91"/>
                    <a:pt x="242" y="91"/>
                  </a:cubicBezTo>
                  <a:close/>
                  <a:moveTo>
                    <a:pt x="100" y="77"/>
                  </a:moveTo>
                  <a:cubicBezTo>
                    <a:pt x="115" y="77"/>
                    <a:pt x="128" y="90"/>
                    <a:pt x="128" y="105"/>
                  </a:cubicBezTo>
                  <a:cubicBezTo>
                    <a:pt x="128" y="120"/>
                    <a:pt x="115" y="133"/>
                    <a:pt x="100" y="133"/>
                  </a:cubicBezTo>
                  <a:cubicBezTo>
                    <a:pt x="85" y="133"/>
                    <a:pt x="72" y="120"/>
                    <a:pt x="72" y="105"/>
                  </a:cubicBezTo>
                  <a:cubicBezTo>
                    <a:pt x="72" y="90"/>
                    <a:pt x="85" y="77"/>
                    <a:pt x="100" y="77"/>
                  </a:cubicBezTo>
                  <a:close/>
                  <a:moveTo>
                    <a:pt x="172" y="1455"/>
                  </a:moveTo>
                  <a:cubicBezTo>
                    <a:pt x="152" y="1455"/>
                    <a:pt x="152" y="1455"/>
                    <a:pt x="152" y="1455"/>
                  </a:cubicBezTo>
                  <a:cubicBezTo>
                    <a:pt x="158" y="1461"/>
                    <a:pt x="158" y="1461"/>
                    <a:pt x="158" y="1461"/>
                  </a:cubicBezTo>
                  <a:cubicBezTo>
                    <a:pt x="160" y="1462"/>
                    <a:pt x="160" y="1465"/>
                    <a:pt x="158" y="1466"/>
                  </a:cubicBezTo>
                  <a:cubicBezTo>
                    <a:pt x="157" y="1467"/>
                    <a:pt x="156" y="1467"/>
                    <a:pt x="155" y="1467"/>
                  </a:cubicBezTo>
                  <a:cubicBezTo>
                    <a:pt x="154" y="1467"/>
                    <a:pt x="153" y="1467"/>
                    <a:pt x="153" y="1466"/>
                  </a:cubicBezTo>
                  <a:cubicBezTo>
                    <a:pt x="140" y="1454"/>
                    <a:pt x="140" y="1454"/>
                    <a:pt x="140" y="1454"/>
                  </a:cubicBezTo>
                  <a:cubicBezTo>
                    <a:pt x="139" y="1453"/>
                    <a:pt x="139" y="1453"/>
                    <a:pt x="139" y="1452"/>
                  </a:cubicBezTo>
                  <a:cubicBezTo>
                    <a:pt x="139" y="1451"/>
                    <a:pt x="139" y="1450"/>
                    <a:pt x="139" y="1449"/>
                  </a:cubicBezTo>
                  <a:cubicBezTo>
                    <a:pt x="139" y="1449"/>
                    <a:pt x="139" y="1448"/>
                    <a:pt x="140" y="1448"/>
                  </a:cubicBezTo>
                  <a:cubicBezTo>
                    <a:pt x="153" y="1435"/>
                    <a:pt x="153" y="1435"/>
                    <a:pt x="153" y="1435"/>
                  </a:cubicBezTo>
                  <a:cubicBezTo>
                    <a:pt x="154" y="1434"/>
                    <a:pt x="157" y="1434"/>
                    <a:pt x="158" y="1435"/>
                  </a:cubicBezTo>
                  <a:cubicBezTo>
                    <a:pt x="160" y="1437"/>
                    <a:pt x="160" y="1439"/>
                    <a:pt x="158" y="1441"/>
                  </a:cubicBezTo>
                  <a:cubicBezTo>
                    <a:pt x="152" y="1447"/>
                    <a:pt x="152" y="1447"/>
                    <a:pt x="152" y="1447"/>
                  </a:cubicBezTo>
                  <a:cubicBezTo>
                    <a:pt x="172" y="1447"/>
                    <a:pt x="172" y="1447"/>
                    <a:pt x="172" y="1447"/>
                  </a:cubicBezTo>
                  <a:cubicBezTo>
                    <a:pt x="174" y="1447"/>
                    <a:pt x="176" y="1448"/>
                    <a:pt x="176" y="1451"/>
                  </a:cubicBezTo>
                  <a:cubicBezTo>
                    <a:pt x="176" y="1453"/>
                    <a:pt x="174" y="1455"/>
                    <a:pt x="172" y="1455"/>
                  </a:cubicBezTo>
                  <a:close/>
                  <a:moveTo>
                    <a:pt x="410" y="1467"/>
                  </a:moveTo>
                  <a:cubicBezTo>
                    <a:pt x="391" y="1464"/>
                    <a:pt x="391" y="1464"/>
                    <a:pt x="391" y="1464"/>
                  </a:cubicBezTo>
                  <a:cubicBezTo>
                    <a:pt x="391" y="1452"/>
                    <a:pt x="391" y="1452"/>
                    <a:pt x="391" y="1452"/>
                  </a:cubicBezTo>
                  <a:cubicBezTo>
                    <a:pt x="410" y="1452"/>
                    <a:pt x="410" y="1452"/>
                    <a:pt x="410" y="1452"/>
                  </a:cubicBezTo>
                  <a:lnTo>
                    <a:pt x="410" y="1467"/>
                  </a:lnTo>
                  <a:close/>
                  <a:moveTo>
                    <a:pt x="410" y="1450"/>
                  </a:moveTo>
                  <a:cubicBezTo>
                    <a:pt x="391" y="1450"/>
                    <a:pt x="391" y="1450"/>
                    <a:pt x="391" y="1450"/>
                  </a:cubicBezTo>
                  <a:cubicBezTo>
                    <a:pt x="391" y="1434"/>
                    <a:pt x="391" y="1434"/>
                    <a:pt x="391" y="1434"/>
                  </a:cubicBezTo>
                  <a:cubicBezTo>
                    <a:pt x="410" y="1432"/>
                    <a:pt x="410" y="1432"/>
                    <a:pt x="410" y="1432"/>
                  </a:cubicBezTo>
                  <a:lnTo>
                    <a:pt x="410" y="1450"/>
                  </a:lnTo>
                  <a:close/>
                  <a:moveTo>
                    <a:pt x="434" y="1472"/>
                  </a:moveTo>
                  <a:cubicBezTo>
                    <a:pt x="412" y="1468"/>
                    <a:pt x="412" y="1468"/>
                    <a:pt x="412" y="1468"/>
                  </a:cubicBezTo>
                  <a:cubicBezTo>
                    <a:pt x="412" y="1452"/>
                    <a:pt x="412" y="1452"/>
                    <a:pt x="412" y="1452"/>
                  </a:cubicBezTo>
                  <a:cubicBezTo>
                    <a:pt x="434" y="1452"/>
                    <a:pt x="434" y="1452"/>
                    <a:pt x="434" y="1452"/>
                  </a:cubicBezTo>
                  <a:lnTo>
                    <a:pt x="434" y="1472"/>
                  </a:lnTo>
                  <a:close/>
                  <a:moveTo>
                    <a:pt x="434" y="1450"/>
                  </a:moveTo>
                  <a:cubicBezTo>
                    <a:pt x="412" y="1450"/>
                    <a:pt x="412" y="1450"/>
                    <a:pt x="412" y="1450"/>
                  </a:cubicBezTo>
                  <a:cubicBezTo>
                    <a:pt x="412" y="1431"/>
                    <a:pt x="412" y="1431"/>
                    <a:pt x="412" y="1431"/>
                  </a:cubicBezTo>
                  <a:cubicBezTo>
                    <a:pt x="434" y="1429"/>
                    <a:pt x="434" y="1429"/>
                    <a:pt x="434" y="1429"/>
                  </a:cubicBezTo>
                  <a:lnTo>
                    <a:pt x="434" y="1450"/>
                  </a:lnTo>
                  <a:close/>
                  <a:moveTo>
                    <a:pt x="669" y="1462"/>
                  </a:moveTo>
                  <a:cubicBezTo>
                    <a:pt x="666" y="1462"/>
                    <a:pt x="664" y="1461"/>
                    <a:pt x="662" y="1460"/>
                  </a:cubicBezTo>
                  <a:cubicBezTo>
                    <a:pt x="655" y="1467"/>
                    <a:pt x="655" y="1467"/>
                    <a:pt x="655" y="1467"/>
                  </a:cubicBezTo>
                  <a:cubicBezTo>
                    <a:pt x="654" y="1468"/>
                    <a:pt x="653" y="1469"/>
                    <a:pt x="652" y="1469"/>
                  </a:cubicBezTo>
                  <a:cubicBezTo>
                    <a:pt x="651" y="1469"/>
                    <a:pt x="650" y="1468"/>
                    <a:pt x="649" y="1467"/>
                  </a:cubicBezTo>
                  <a:cubicBezTo>
                    <a:pt x="648" y="1466"/>
                    <a:pt x="648" y="1463"/>
                    <a:pt x="649" y="1462"/>
                  </a:cubicBezTo>
                  <a:cubicBezTo>
                    <a:pt x="656" y="1455"/>
                    <a:pt x="656" y="1455"/>
                    <a:pt x="656" y="1455"/>
                  </a:cubicBezTo>
                  <a:cubicBezTo>
                    <a:pt x="655" y="1453"/>
                    <a:pt x="654" y="1450"/>
                    <a:pt x="654" y="1447"/>
                  </a:cubicBezTo>
                  <a:cubicBezTo>
                    <a:pt x="654" y="1439"/>
                    <a:pt x="661" y="1433"/>
                    <a:pt x="669" y="1433"/>
                  </a:cubicBezTo>
                  <a:cubicBezTo>
                    <a:pt x="677" y="1433"/>
                    <a:pt x="683" y="1439"/>
                    <a:pt x="683" y="1447"/>
                  </a:cubicBezTo>
                  <a:cubicBezTo>
                    <a:pt x="683" y="1455"/>
                    <a:pt x="677" y="1462"/>
                    <a:pt x="669" y="1462"/>
                  </a:cubicBezTo>
                  <a:close/>
                  <a:moveTo>
                    <a:pt x="744" y="1352"/>
                  </a:moveTo>
                  <a:cubicBezTo>
                    <a:pt x="78" y="1352"/>
                    <a:pt x="78" y="1352"/>
                    <a:pt x="78" y="1352"/>
                  </a:cubicBezTo>
                  <a:cubicBezTo>
                    <a:pt x="78" y="199"/>
                    <a:pt x="78" y="199"/>
                    <a:pt x="78" y="199"/>
                  </a:cubicBezTo>
                  <a:cubicBezTo>
                    <a:pt x="744" y="199"/>
                    <a:pt x="744" y="199"/>
                    <a:pt x="744" y="199"/>
                  </a:cubicBezTo>
                  <a:lnTo>
                    <a:pt x="744" y="1352"/>
                  </a:lnTo>
                  <a:close/>
                  <a:moveTo>
                    <a:pt x="419" y="1223"/>
                  </a:moveTo>
                  <a:cubicBezTo>
                    <a:pt x="557" y="1223"/>
                    <a:pt x="557" y="1223"/>
                    <a:pt x="557" y="1223"/>
                  </a:cubicBezTo>
                  <a:cubicBezTo>
                    <a:pt x="557" y="1084"/>
                    <a:pt x="557" y="1084"/>
                    <a:pt x="557" y="1084"/>
                  </a:cubicBezTo>
                  <a:cubicBezTo>
                    <a:pt x="419" y="1084"/>
                    <a:pt x="419" y="1084"/>
                    <a:pt x="419" y="1084"/>
                  </a:cubicBezTo>
                  <a:lnTo>
                    <a:pt x="419" y="1223"/>
                  </a:lnTo>
                  <a:close/>
                  <a:moveTo>
                    <a:pt x="419" y="463"/>
                  </a:moveTo>
                  <a:cubicBezTo>
                    <a:pt x="419" y="602"/>
                    <a:pt x="419" y="602"/>
                    <a:pt x="419" y="602"/>
                  </a:cubicBezTo>
                  <a:cubicBezTo>
                    <a:pt x="557" y="602"/>
                    <a:pt x="557" y="602"/>
                    <a:pt x="557" y="602"/>
                  </a:cubicBezTo>
                  <a:cubicBezTo>
                    <a:pt x="557" y="463"/>
                    <a:pt x="557" y="463"/>
                    <a:pt x="557" y="463"/>
                  </a:cubicBezTo>
                  <a:lnTo>
                    <a:pt x="419" y="463"/>
                  </a:lnTo>
                  <a:close/>
                  <a:moveTo>
                    <a:pt x="419" y="618"/>
                  </a:moveTo>
                  <a:cubicBezTo>
                    <a:pt x="419" y="757"/>
                    <a:pt x="419" y="757"/>
                    <a:pt x="419" y="757"/>
                  </a:cubicBezTo>
                  <a:cubicBezTo>
                    <a:pt x="557" y="757"/>
                    <a:pt x="557" y="757"/>
                    <a:pt x="557" y="757"/>
                  </a:cubicBezTo>
                  <a:cubicBezTo>
                    <a:pt x="557" y="618"/>
                    <a:pt x="557" y="618"/>
                    <a:pt x="557" y="618"/>
                  </a:cubicBezTo>
                  <a:lnTo>
                    <a:pt x="419" y="618"/>
                  </a:lnTo>
                  <a:close/>
                </a:path>
              </a:pathLst>
            </a:custGeom>
            <a:solidFill>
              <a:schemeClr val="tx1"/>
            </a:solidFill>
            <a:ln>
              <a:noFill/>
            </a:ln>
            <a:extLst/>
          </p:spPr>
          <p:txBody>
            <a:bodyPr vert="horz" wrap="square" lIns="89619" tIns="44810" rIns="89619" bIns="44810" numCol="1" anchor="t" anchorCtr="0" compatLnSpc="1">
              <a:prstTxWarp prst="textNoShape">
                <a:avLst/>
              </a:prstTxWarp>
            </a:bodyPr>
            <a:lstStyle/>
            <a:p>
              <a:pPr defTabSz="914180">
                <a:lnSpc>
                  <a:spcPct val="90000"/>
                </a:lnSpc>
              </a:pPr>
              <a:endParaRPr lang="en-US" sz="1764">
                <a:solidFill>
                  <a:srgbClr val="505050"/>
                </a:solidFill>
              </a:endParaRPr>
            </a:p>
          </p:txBody>
        </p:sp>
        <p:sp>
          <p:nvSpPr>
            <p:cNvPr id="48" name="Freeform 5"/>
            <p:cNvSpPr>
              <a:spLocks noChangeAspect="1" noEditPoints="1"/>
            </p:cNvSpPr>
            <p:nvPr/>
          </p:nvSpPr>
          <p:spPr bwMode="auto">
            <a:xfrm>
              <a:off x="9694624" y="2245344"/>
              <a:ext cx="601058" cy="447890"/>
            </a:xfrm>
            <a:custGeom>
              <a:avLst/>
              <a:gdLst>
                <a:gd name="T0" fmla="*/ 209 w 216"/>
                <a:gd name="T1" fmla="*/ 0 h 160"/>
                <a:gd name="T2" fmla="*/ 7 w 216"/>
                <a:gd name="T3" fmla="*/ 0 h 160"/>
                <a:gd name="T4" fmla="*/ 0 w 216"/>
                <a:gd name="T5" fmla="*/ 7 h 160"/>
                <a:gd name="T6" fmla="*/ 0 w 216"/>
                <a:gd name="T7" fmla="*/ 153 h 160"/>
                <a:gd name="T8" fmla="*/ 7 w 216"/>
                <a:gd name="T9" fmla="*/ 160 h 160"/>
                <a:gd name="T10" fmla="*/ 209 w 216"/>
                <a:gd name="T11" fmla="*/ 160 h 160"/>
                <a:gd name="T12" fmla="*/ 216 w 216"/>
                <a:gd name="T13" fmla="*/ 153 h 160"/>
                <a:gd name="T14" fmla="*/ 216 w 216"/>
                <a:gd name="T15" fmla="*/ 7 h 160"/>
                <a:gd name="T16" fmla="*/ 209 w 216"/>
                <a:gd name="T17" fmla="*/ 0 h 160"/>
                <a:gd name="T18" fmla="*/ 107 w 216"/>
                <a:gd name="T19" fmla="*/ 154 h 160"/>
                <a:gd name="T20" fmla="*/ 103 w 216"/>
                <a:gd name="T21" fmla="*/ 153 h 160"/>
                <a:gd name="T22" fmla="*/ 103 w 216"/>
                <a:gd name="T23" fmla="*/ 150 h 160"/>
                <a:gd name="T24" fmla="*/ 107 w 216"/>
                <a:gd name="T25" fmla="*/ 150 h 160"/>
                <a:gd name="T26" fmla="*/ 107 w 216"/>
                <a:gd name="T27" fmla="*/ 154 h 160"/>
                <a:gd name="T28" fmla="*/ 107 w 216"/>
                <a:gd name="T29" fmla="*/ 149 h 160"/>
                <a:gd name="T30" fmla="*/ 103 w 216"/>
                <a:gd name="T31" fmla="*/ 149 h 160"/>
                <a:gd name="T32" fmla="*/ 103 w 216"/>
                <a:gd name="T33" fmla="*/ 146 h 160"/>
                <a:gd name="T34" fmla="*/ 107 w 216"/>
                <a:gd name="T35" fmla="*/ 145 h 160"/>
                <a:gd name="T36" fmla="*/ 107 w 216"/>
                <a:gd name="T37" fmla="*/ 149 h 160"/>
                <a:gd name="T38" fmla="*/ 114 w 216"/>
                <a:gd name="T39" fmla="*/ 155 h 160"/>
                <a:gd name="T40" fmla="*/ 108 w 216"/>
                <a:gd name="T41" fmla="*/ 154 h 160"/>
                <a:gd name="T42" fmla="*/ 108 w 216"/>
                <a:gd name="T43" fmla="*/ 150 h 160"/>
                <a:gd name="T44" fmla="*/ 114 w 216"/>
                <a:gd name="T45" fmla="*/ 150 h 160"/>
                <a:gd name="T46" fmla="*/ 114 w 216"/>
                <a:gd name="T47" fmla="*/ 155 h 160"/>
                <a:gd name="T48" fmla="*/ 114 w 216"/>
                <a:gd name="T49" fmla="*/ 149 h 160"/>
                <a:gd name="T50" fmla="*/ 108 w 216"/>
                <a:gd name="T51" fmla="*/ 149 h 160"/>
                <a:gd name="T52" fmla="*/ 108 w 216"/>
                <a:gd name="T53" fmla="*/ 145 h 160"/>
                <a:gd name="T54" fmla="*/ 114 w 216"/>
                <a:gd name="T55" fmla="*/ 144 h 160"/>
                <a:gd name="T56" fmla="*/ 114 w 216"/>
                <a:gd name="T57" fmla="*/ 149 h 160"/>
                <a:gd name="T58" fmla="*/ 204 w 216"/>
                <a:gd name="T59" fmla="*/ 134 h 160"/>
                <a:gd name="T60" fmla="*/ 198 w 216"/>
                <a:gd name="T61" fmla="*/ 140 h 160"/>
                <a:gd name="T62" fmla="*/ 19 w 216"/>
                <a:gd name="T63" fmla="*/ 140 h 160"/>
                <a:gd name="T64" fmla="*/ 12 w 216"/>
                <a:gd name="T65" fmla="*/ 134 h 160"/>
                <a:gd name="T66" fmla="*/ 12 w 216"/>
                <a:gd name="T67" fmla="*/ 19 h 160"/>
                <a:gd name="T68" fmla="*/ 19 w 216"/>
                <a:gd name="T69" fmla="*/ 12 h 160"/>
                <a:gd name="T70" fmla="*/ 198 w 216"/>
                <a:gd name="T71" fmla="*/ 12 h 160"/>
                <a:gd name="T72" fmla="*/ 204 w 216"/>
                <a:gd name="T73" fmla="*/ 19 h 160"/>
                <a:gd name="T74" fmla="*/ 204 w 216"/>
                <a:gd name="T75" fmla="*/ 134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160">
                  <a:moveTo>
                    <a:pt x="209" y="0"/>
                  </a:moveTo>
                  <a:cubicBezTo>
                    <a:pt x="7" y="0"/>
                    <a:pt x="7" y="0"/>
                    <a:pt x="7" y="0"/>
                  </a:cubicBezTo>
                  <a:cubicBezTo>
                    <a:pt x="3" y="0"/>
                    <a:pt x="0" y="4"/>
                    <a:pt x="0" y="7"/>
                  </a:cubicBezTo>
                  <a:cubicBezTo>
                    <a:pt x="0" y="145"/>
                    <a:pt x="0" y="153"/>
                    <a:pt x="0" y="153"/>
                  </a:cubicBezTo>
                  <a:cubicBezTo>
                    <a:pt x="0" y="157"/>
                    <a:pt x="3" y="160"/>
                    <a:pt x="7" y="160"/>
                  </a:cubicBezTo>
                  <a:cubicBezTo>
                    <a:pt x="209" y="160"/>
                    <a:pt x="209" y="160"/>
                    <a:pt x="209" y="160"/>
                  </a:cubicBezTo>
                  <a:cubicBezTo>
                    <a:pt x="213" y="160"/>
                    <a:pt x="216" y="157"/>
                    <a:pt x="216" y="153"/>
                  </a:cubicBezTo>
                  <a:cubicBezTo>
                    <a:pt x="216" y="15"/>
                    <a:pt x="216" y="7"/>
                    <a:pt x="216" y="7"/>
                  </a:cubicBezTo>
                  <a:cubicBezTo>
                    <a:pt x="216" y="4"/>
                    <a:pt x="213" y="0"/>
                    <a:pt x="209" y="0"/>
                  </a:cubicBezTo>
                  <a:close/>
                  <a:moveTo>
                    <a:pt x="107" y="154"/>
                  </a:moveTo>
                  <a:cubicBezTo>
                    <a:pt x="103" y="153"/>
                    <a:pt x="103" y="153"/>
                    <a:pt x="103" y="153"/>
                  </a:cubicBezTo>
                  <a:cubicBezTo>
                    <a:pt x="103" y="150"/>
                    <a:pt x="103" y="150"/>
                    <a:pt x="103" y="150"/>
                  </a:cubicBezTo>
                  <a:cubicBezTo>
                    <a:pt x="107" y="150"/>
                    <a:pt x="107" y="150"/>
                    <a:pt x="107" y="150"/>
                  </a:cubicBezTo>
                  <a:lnTo>
                    <a:pt x="107" y="154"/>
                  </a:lnTo>
                  <a:close/>
                  <a:moveTo>
                    <a:pt x="107" y="149"/>
                  </a:moveTo>
                  <a:cubicBezTo>
                    <a:pt x="103" y="149"/>
                    <a:pt x="103" y="149"/>
                    <a:pt x="103" y="149"/>
                  </a:cubicBezTo>
                  <a:cubicBezTo>
                    <a:pt x="103" y="146"/>
                    <a:pt x="103" y="146"/>
                    <a:pt x="103" y="146"/>
                  </a:cubicBezTo>
                  <a:cubicBezTo>
                    <a:pt x="107" y="145"/>
                    <a:pt x="107" y="145"/>
                    <a:pt x="107" y="145"/>
                  </a:cubicBezTo>
                  <a:lnTo>
                    <a:pt x="107" y="149"/>
                  </a:lnTo>
                  <a:close/>
                  <a:moveTo>
                    <a:pt x="114" y="155"/>
                  </a:moveTo>
                  <a:cubicBezTo>
                    <a:pt x="108" y="154"/>
                    <a:pt x="108" y="154"/>
                    <a:pt x="108" y="154"/>
                  </a:cubicBezTo>
                  <a:cubicBezTo>
                    <a:pt x="108" y="150"/>
                    <a:pt x="108" y="150"/>
                    <a:pt x="108" y="150"/>
                  </a:cubicBezTo>
                  <a:cubicBezTo>
                    <a:pt x="114" y="150"/>
                    <a:pt x="114" y="150"/>
                    <a:pt x="114" y="150"/>
                  </a:cubicBezTo>
                  <a:lnTo>
                    <a:pt x="114" y="155"/>
                  </a:lnTo>
                  <a:close/>
                  <a:moveTo>
                    <a:pt x="114" y="149"/>
                  </a:moveTo>
                  <a:cubicBezTo>
                    <a:pt x="108" y="149"/>
                    <a:pt x="108" y="149"/>
                    <a:pt x="108" y="149"/>
                  </a:cubicBezTo>
                  <a:cubicBezTo>
                    <a:pt x="108" y="145"/>
                    <a:pt x="108" y="145"/>
                    <a:pt x="108" y="145"/>
                  </a:cubicBezTo>
                  <a:cubicBezTo>
                    <a:pt x="114" y="144"/>
                    <a:pt x="114" y="144"/>
                    <a:pt x="114" y="144"/>
                  </a:cubicBezTo>
                  <a:lnTo>
                    <a:pt x="114" y="149"/>
                  </a:lnTo>
                  <a:close/>
                  <a:moveTo>
                    <a:pt x="204" y="134"/>
                  </a:moveTo>
                  <a:cubicBezTo>
                    <a:pt x="204" y="137"/>
                    <a:pt x="201" y="140"/>
                    <a:pt x="198" y="140"/>
                  </a:cubicBezTo>
                  <a:cubicBezTo>
                    <a:pt x="19" y="140"/>
                    <a:pt x="19" y="140"/>
                    <a:pt x="19" y="140"/>
                  </a:cubicBezTo>
                  <a:cubicBezTo>
                    <a:pt x="16" y="140"/>
                    <a:pt x="12" y="137"/>
                    <a:pt x="12" y="134"/>
                  </a:cubicBezTo>
                  <a:cubicBezTo>
                    <a:pt x="12" y="19"/>
                    <a:pt x="12" y="19"/>
                    <a:pt x="12" y="19"/>
                  </a:cubicBezTo>
                  <a:cubicBezTo>
                    <a:pt x="12" y="15"/>
                    <a:pt x="16" y="12"/>
                    <a:pt x="19" y="12"/>
                  </a:cubicBezTo>
                  <a:cubicBezTo>
                    <a:pt x="198" y="12"/>
                    <a:pt x="198" y="12"/>
                    <a:pt x="198" y="12"/>
                  </a:cubicBezTo>
                  <a:cubicBezTo>
                    <a:pt x="201" y="12"/>
                    <a:pt x="204" y="15"/>
                    <a:pt x="204" y="19"/>
                  </a:cubicBezTo>
                  <a:lnTo>
                    <a:pt x="204" y="134"/>
                  </a:lnTo>
                  <a:close/>
                </a:path>
              </a:pathLst>
            </a:custGeom>
            <a:solidFill>
              <a:schemeClr val="tx1"/>
            </a:solidFill>
            <a:ln>
              <a:noFill/>
            </a:ln>
            <a:extLst/>
          </p:spPr>
          <p:txBody>
            <a:bodyPr vert="horz" wrap="square" lIns="89619" tIns="44810" rIns="89619" bIns="44810" numCol="1" anchor="t" anchorCtr="0" compatLnSpc="1">
              <a:prstTxWarp prst="textNoShape">
                <a:avLst/>
              </a:prstTxWarp>
            </a:bodyPr>
            <a:lstStyle/>
            <a:p>
              <a:pPr defTabSz="914180">
                <a:lnSpc>
                  <a:spcPct val="90000"/>
                </a:lnSpc>
              </a:pPr>
              <a:endParaRPr lang="en-US" sz="1764">
                <a:solidFill>
                  <a:srgbClr val="505050"/>
                </a:solidFill>
              </a:endParaRPr>
            </a:p>
          </p:txBody>
        </p:sp>
        <p:grpSp>
          <p:nvGrpSpPr>
            <p:cNvPr id="50" name="Group 49"/>
            <p:cNvGrpSpPr/>
            <p:nvPr/>
          </p:nvGrpSpPr>
          <p:grpSpPr>
            <a:xfrm>
              <a:off x="6325647" y="1902124"/>
              <a:ext cx="1534235" cy="924357"/>
              <a:chOff x="6293519" y="1918846"/>
              <a:chExt cx="1534235" cy="924357"/>
            </a:xfrm>
          </p:grpSpPr>
          <p:sp>
            <p:nvSpPr>
              <p:cNvPr id="38" name="Freeform 5"/>
              <p:cNvSpPr>
                <a:spLocks noChangeAspect="1" noEditPoints="1"/>
              </p:cNvSpPr>
              <p:nvPr/>
            </p:nvSpPr>
            <p:spPr bwMode="auto">
              <a:xfrm>
                <a:off x="6293519" y="2400273"/>
                <a:ext cx="692760" cy="442930"/>
              </a:xfrm>
              <a:custGeom>
                <a:avLst/>
                <a:gdLst>
                  <a:gd name="T0" fmla="*/ 54 w 266"/>
                  <a:gd name="T1" fmla="*/ 154 h 169"/>
                  <a:gd name="T2" fmla="*/ 25 w 266"/>
                  <a:gd name="T3" fmla="*/ 154 h 169"/>
                  <a:gd name="T4" fmla="*/ 0 w 266"/>
                  <a:gd name="T5" fmla="*/ 116 h 169"/>
                  <a:gd name="T6" fmla="*/ 29 w 266"/>
                  <a:gd name="T7" fmla="*/ 75 h 169"/>
                  <a:gd name="T8" fmla="*/ 55 w 266"/>
                  <a:gd name="T9" fmla="*/ 29 h 169"/>
                  <a:gd name="T10" fmla="*/ 99 w 266"/>
                  <a:gd name="T11" fmla="*/ 30 h 169"/>
                  <a:gd name="T12" fmla="*/ 144 w 266"/>
                  <a:gd name="T13" fmla="*/ 0 h 169"/>
                  <a:gd name="T14" fmla="*/ 200 w 266"/>
                  <a:gd name="T15" fmla="*/ 54 h 169"/>
                  <a:gd name="T16" fmla="*/ 182 w 266"/>
                  <a:gd name="T17" fmla="*/ 56 h 169"/>
                  <a:gd name="T18" fmla="*/ 141 w 266"/>
                  <a:gd name="T19" fmla="*/ 33 h 169"/>
                  <a:gd name="T20" fmla="*/ 91 w 266"/>
                  <a:gd name="T21" fmla="*/ 81 h 169"/>
                  <a:gd name="T22" fmla="*/ 50 w 266"/>
                  <a:gd name="T23" fmla="*/ 129 h 169"/>
                  <a:gd name="T24" fmla="*/ 54 w 266"/>
                  <a:gd name="T25" fmla="*/ 154 h 169"/>
                  <a:gd name="T26" fmla="*/ 89 w 266"/>
                  <a:gd name="T27" fmla="*/ 168 h 169"/>
                  <a:gd name="T28" fmla="*/ 245 w 266"/>
                  <a:gd name="T29" fmla="*/ 168 h 169"/>
                  <a:gd name="T30" fmla="*/ 266 w 266"/>
                  <a:gd name="T31" fmla="*/ 137 h 169"/>
                  <a:gd name="T32" fmla="*/ 242 w 266"/>
                  <a:gd name="T33" fmla="*/ 104 h 169"/>
                  <a:gd name="T34" fmla="*/ 220 w 266"/>
                  <a:gd name="T35" fmla="*/ 64 h 169"/>
                  <a:gd name="T36" fmla="*/ 179 w 266"/>
                  <a:gd name="T37" fmla="*/ 64 h 169"/>
                  <a:gd name="T38" fmla="*/ 141 w 266"/>
                  <a:gd name="T39" fmla="*/ 42 h 169"/>
                  <a:gd name="T40" fmla="*/ 98 w 266"/>
                  <a:gd name="T41" fmla="*/ 87 h 169"/>
                  <a:gd name="T42" fmla="*/ 58 w 266"/>
                  <a:gd name="T43" fmla="*/ 126 h 169"/>
                  <a:gd name="T44" fmla="*/ 89 w 266"/>
                  <a:gd name="T45" fmla="*/ 168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6" h="169">
                    <a:moveTo>
                      <a:pt x="54" y="154"/>
                    </a:moveTo>
                    <a:cubicBezTo>
                      <a:pt x="25" y="154"/>
                      <a:pt x="25" y="154"/>
                      <a:pt x="25" y="154"/>
                    </a:cubicBezTo>
                    <a:cubicBezTo>
                      <a:pt x="25" y="154"/>
                      <a:pt x="1" y="149"/>
                      <a:pt x="0" y="116"/>
                    </a:cubicBezTo>
                    <a:cubicBezTo>
                      <a:pt x="0" y="83"/>
                      <a:pt x="29" y="75"/>
                      <a:pt x="29" y="75"/>
                    </a:cubicBezTo>
                    <a:cubicBezTo>
                      <a:pt x="29" y="75"/>
                      <a:pt x="27" y="41"/>
                      <a:pt x="55" y="29"/>
                    </a:cubicBezTo>
                    <a:cubicBezTo>
                      <a:pt x="83" y="17"/>
                      <a:pt x="99" y="30"/>
                      <a:pt x="99" y="30"/>
                    </a:cubicBezTo>
                    <a:cubicBezTo>
                      <a:pt x="99" y="30"/>
                      <a:pt x="109" y="0"/>
                      <a:pt x="144" y="0"/>
                    </a:cubicBezTo>
                    <a:cubicBezTo>
                      <a:pt x="175" y="0"/>
                      <a:pt x="207" y="30"/>
                      <a:pt x="200" y="54"/>
                    </a:cubicBezTo>
                    <a:cubicBezTo>
                      <a:pt x="189" y="54"/>
                      <a:pt x="182" y="56"/>
                      <a:pt x="182" y="56"/>
                    </a:cubicBezTo>
                    <a:cubicBezTo>
                      <a:pt x="182" y="56"/>
                      <a:pt x="174" y="33"/>
                      <a:pt x="141" y="33"/>
                    </a:cubicBezTo>
                    <a:cubicBezTo>
                      <a:pt x="113" y="33"/>
                      <a:pt x="84" y="60"/>
                      <a:pt x="91" y="81"/>
                    </a:cubicBezTo>
                    <a:cubicBezTo>
                      <a:pt x="91" y="81"/>
                      <a:pt x="50" y="83"/>
                      <a:pt x="50" y="129"/>
                    </a:cubicBezTo>
                    <a:cubicBezTo>
                      <a:pt x="50" y="140"/>
                      <a:pt x="52" y="148"/>
                      <a:pt x="54" y="154"/>
                    </a:cubicBezTo>
                    <a:close/>
                    <a:moveTo>
                      <a:pt x="89" y="168"/>
                    </a:moveTo>
                    <a:cubicBezTo>
                      <a:pt x="245" y="168"/>
                      <a:pt x="245" y="168"/>
                      <a:pt x="245" y="168"/>
                    </a:cubicBezTo>
                    <a:cubicBezTo>
                      <a:pt x="245" y="168"/>
                      <a:pt x="265" y="164"/>
                      <a:pt x="266" y="137"/>
                    </a:cubicBezTo>
                    <a:cubicBezTo>
                      <a:pt x="266" y="110"/>
                      <a:pt x="242" y="104"/>
                      <a:pt x="242" y="104"/>
                    </a:cubicBezTo>
                    <a:cubicBezTo>
                      <a:pt x="242" y="104"/>
                      <a:pt x="244" y="74"/>
                      <a:pt x="220" y="64"/>
                    </a:cubicBezTo>
                    <a:cubicBezTo>
                      <a:pt x="197" y="54"/>
                      <a:pt x="179" y="64"/>
                      <a:pt x="179" y="64"/>
                    </a:cubicBezTo>
                    <a:cubicBezTo>
                      <a:pt x="179" y="64"/>
                      <a:pt x="171" y="42"/>
                      <a:pt x="141" y="42"/>
                    </a:cubicBezTo>
                    <a:cubicBezTo>
                      <a:pt x="115" y="42"/>
                      <a:pt x="92" y="68"/>
                      <a:pt x="98" y="87"/>
                    </a:cubicBezTo>
                    <a:cubicBezTo>
                      <a:pt x="98" y="87"/>
                      <a:pt x="58" y="84"/>
                      <a:pt x="58" y="126"/>
                    </a:cubicBezTo>
                    <a:cubicBezTo>
                      <a:pt x="58" y="169"/>
                      <a:pt x="89" y="168"/>
                      <a:pt x="89" y="168"/>
                    </a:cubicBezTo>
                    <a:close/>
                  </a:path>
                </a:pathLst>
              </a:custGeom>
              <a:solidFill>
                <a:schemeClr val="tx1"/>
              </a:solidFill>
              <a:ln>
                <a:noFill/>
              </a:ln>
              <a:extLst/>
            </p:spPr>
            <p:txBody>
              <a:bodyPr vert="horz" wrap="square" lIns="89619" tIns="44810" rIns="89619" bIns="44810" numCol="1" anchor="t" anchorCtr="0" compatLnSpc="1">
                <a:prstTxWarp prst="textNoShape">
                  <a:avLst/>
                </a:prstTxWarp>
              </a:bodyPr>
              <a:lstStyle/>
              <a:p>
                <a:pPr defTabSz="914180">
                  <a:lnSpc>
                    <a:spcPct val="90000"/>
                  </a:lnSpc>
                </a:pPr>
                <a:endParaRPr lang="en-US" sz="1764">
                  <a:solidFill>
                    <a:srgbClr val="505050"/>
                  </a:solidFill>
                </a:endParaRPr>
              </a:p>
            </p:txBody>
          </p:sp>
          <p:sp>
            <p:nvSpPr>
              <p:cNvPr id="49" name="Freeform 27"/>
              <p:cNvSpPr>
                <a:spLocks noChangeAspect="1" noEditPoints="1"/>
              </p:cNvSpPr>
              <p:nvPr/>
            </p:nvSpPr>
            <p:spPr bwMode="black">
              <a:xfrm>
                <a:off x="7137798" y="1918846"/>
                <a:ext cx="689956" cy="4444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a:extLst/>
            </p:spPr>
            <p:txBody>
              <a:bodyPr vert="horz" wrap="square" lIns="89619" tIns="44810" rIns="89619" bIns="44810" numCol="1" anchor="t" anchorCtr="0" compatLnSpc="1">
                <a:prstTxWarp prst="textNoShape">
                  <a:avLst/>
                </a:prstTxWarp>
              </a:bodyPr>
              <a:lstStyle/>
              <a:p>
                <a:pPr defTabSz="914180">
                  <a:lnSpc>
                    <a:spcPct val="90000"/>
                  </a:lnSpc>
                </a:pPr>
                <a:endParaRPr lang="en-US" sz="1764">
                  <a:solidFill>
                    <a:srgbClr val="505050"/>
                  </a:solidFill>
                </a:endParaRPr>
              </a:p>
            </p:txBody>
          </p:sp>
        </p:grpSp>
        <p:sp>
          <p:nvSpPr>
            <p:cNvPr id="51" name="Arc 50"/>
            <p:cNvSpPr/>
            <p:nvPr/>
          </p:nvSpPr>
          <p:spPr>
            <a:xfrm rot="9876240">
              <a:off x="6476985" y="1957288"/>
              <a:ext cx="716800" cy="448792"/>
            </a:xfrm>
            <a:prstGeom prst="arc">
              <a:avLst>
                <a:gd name="adj1" fmla="val 21436060"/>
                <a:gd name="adj2" fmla="val 9297984"/>
              </a:avLst>
            </a:prstGeom>
            <a:ln w="317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914180">
                <a:lnSpc>
                  <a:spcPct val="90000"/>
                </a:lnSpc>
              </a:pPr>
              <a:endParaRPr lang="en-US" sz="1764">
                <a:solidFill>
                  <a:srgbClr val="505050"/>
                </a:solidFill>
              </a:endParaRPr>
            </a:p>
          </p:txBody>
        </p:sp>
      </p:grpSp>
      <p:grpSp>
        <p:nvGrpSpPr>
          <p:cNvPr id="102" name="Group 101"/>
          <p:cNvGrpSpPr>
            <a:grpSpLocks noChangeAspect="1"/>
          </p:cNvGrpSpPr>
          <p:nvPr/>
        </p:nvGrpSpPr>
        <p:grpSpPr>
          <a:xfrm>
            <a:off x="4352012" y="3100603"/>
            <a:ext cx="543749" cy="543749"/>
            <a:chOff x="5915250" y="4231307"/>
            <a:chExt cx="1189257" cy="1189257"/>
          </a:xfrm>
          <a:solidFill>
            <a:schemeClr val="accent4"/>
          </a:solidFill>
        </p:grpSpPr>
        <p:sp>
          <p:nvSpPr>
            <p:cNvPr id="97" name="Oval 96"/>
            <p:cNvSpPr/>
            <p:nvPr/>
          </p:nvSpPr>
          <p:spPr bwMode="auto">
            <a:xfrm>
              <a:off x="5915250" y="4231307"/>
              <a:ext cx="1189257" cy="118925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96" name="Freeform 6"/>
            <p:cNvSpPr>
              <a:spLocks noChangeAspect="1" noEditPoints="1"/>
            </p:cNvSpPr>
            <p:nvPr/>
          </p:nvSpPr>
          <p:spPr bwMode="auto">
            <a:xfrm>
              <a:off x="6108530" y="4425006"/>
              <a:ext cx="802698" cy="801858"/>
            </a:xfrm>
            <a:custGeom>
              <a:avLst/>
              <a:gdLst>
                <a:gd name="T0" fmla="*/ 202 w 404"/>
                <a:gd name="T1" fmla="*/ 0 h 404"/>
                <a:gd name="T2" fmla="*/ 0 w 404"/>
                <a:gd name="T3" fmla="*/ 202 h 404"/>
                <a:gd name="T4" fmla="*/ 202 w 404"/>
                <a:gd name="T5" fmla="*/ 404 h 404"/>
                <a:gd name="T6" fmla="*/ 404 w 404"/>
                <a:gd name="T7" fmla="*/ 202 h 404"/>
                <a:gd name="T8" fmla="*/ 202 w 404"/>
                <a:gd name="T9" fmla="*/ 0 h 404"/>
                <a:gd name="T10" fmla="*/ 280 w 404"/>
                <a:gd name="T11" fmla="*/ 315 h 404"/>
                <a:gd name="T12" fmla="*/ 202 w 404"/>
                <a:gd name="T13" fmla="*/ 236 h 404"/>
                <a:gd name="T14" fmla="*/ 126 w 404"/>
                <a:gd name="T15" fmla="*/ 311 h 404"/>
                <a:gd name="T16" fmla="*/ 93 w 404"/>
                <a:gd name="T17" fmla="*/ 278 h 404"/>
                <a:gd name="T18" fmla="*/ 169 w 404"/>
                <a:gd name="T19" fmla="*/ 203 h 404"/>
                <a:gd name="T20" fmla="*/ 90 w 404"/>
                <a:gd name="T21" fmla="*/ 124 h 404"/>
                <a:gd name="T22" fmla="*/ 124 w 404"/>
                <a:gd name="T23" fmla="*/ 90 h 404"/>
                <a:gd name="T24" fmla="*/ 203 w 404"/>
                <a:gd name="T25" fmla="*/ 168 h 404"/>
                <a:gd name="T26" fmla="*/ 280 w 404"/>
                <a:gd name="T27" fmla="*/ 91 h 404"/>
                <a:gd name="T28" fmla="*/ 313 w 404"/>
                <a:gd name="T29" fmla="*/ 124 h 404"/>
                <a:gd name="T30" fmla="*/ 236 w 404"/>
                <a:gd name="T31" fmla="*/ 201 h 404"/>
                <a:gd name="T32" fmla="*/ 315 w 404"/>
                <a:gd name="T33" fmla="*/ 280 h 404"/>
                <a:gd name="T34" fmla="*/ 280 w 404"/>
                <a:gd name="T35" fmla="*/ 315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4" h="404">
                  <a:moveTo>
                    <a:pt x="202" y="0"/>
                  </a:moveTo>
                  <a:cubicBezTo>
                    <a:pt x="91" y="0"/>
                    <a:pt x="0" y="90"/>
                    <a:pt x="0" y="202"/>
                  </a:cubicBezTo>
                  <a:cubicBezTo>
                    <a:pt x="0" y="313"/>
                    <a:pt x="91" y="404"/>
                    <a:pt x="202" y="404"/>
                  </a:cubicBezTo>
                  <a:cubicBezTo>
                    <a:pt x="314" y="404"/>
                    <a:pt x="404" y="313"/>
                    <a:pt x="404" y="202"/>
                  </a:cubicBezTo>
                  <a:cubicBezTo>
                    <a:pt x="404" y="90"/>
                    <a:pt x="314" y="0"/>
                    <a:pt x="202" y="0"/>
                  </a:cubicBezTo>
                  <a:close/>
                  <a:moveTo>
                    <a:pt x="280" y="315"/>
                  </a:moveTo>
                  <a:cubicBezTo>
                    <a:pt x="202" y="236"/>
                    <a:pt x="202" y="236"/>
                    <a:pt x="202" y="236"/>
                  </a:cubicBezTo>
                  <a:cubicBezTo>
                    <a:pt x="126" y="311"/>
                    <a:pt x="126" y="311"/>
                    <a:pt x="126" y="311"/>
                  </a:cubicBezTo>
                  <a:cubicBezTo>
                    <a:pt x="93" y="278"/>
                    <a:pt x="93" y="278"/>
                    <a:pt x="93" y="278"/>
                  </a:cubicBezTo>
                  <a:cubicBezTo>
                    <a:pt x="169" y="203"/>
                    <a:pt x="169" y="203"/>
                    <a:pt x="169" y="203"/>
                  </a:cubicBezTo>
                  <a:cubicBezTo>
                    <a:pt x="90" y="124"/>
                    <a:pt x="90" y="124"/>
                    <a:pt x="90" y="124"/>
                  </a:cubicBezTo>
                  <a:cubicBezTo>
                    <a:pt x="124" y="90"/>
                    <a:pt x="124" y="90"/>
                    <a:pt x="124" y="90"/>
                  </a:cubicBezTo>
                  <a:cubicBezTo>
                    <a:pt x="203" y="168"/>
                    <a:pt x="203" y="168"/>
                    <a:pt x="203" y="168"/>
                  </a:cubicBezTo>
                  <a:cubicBezTo>
                    <a:pt x="280" y="91"/>
                    <a:pt x="280" y="91"/>
                    <a:pt x="280" y="91"/>
                  </a:cubicBezTo>
                  <a:cubicBezTo>
                    <a:pt x="313" y="124"/>
                    <a:pt x="313" y="124"/>
                    <a:pt x="313" y="124"/>
                  </a:cubicBezTo>
                  <a:cubicBezTo>
                    <a:pt x="236" y="201"/>
                    <a:pt x="236" y="201"/>
                    <a:pt x="236" y="201"/>
                  </a:cubicBezTo>
                  <a:cubicBezTo>
                    <a:pt x="315" y="280"/>
                    <a:pt x="315" y="280"/>
                    <a:pt x="315" y="280"/>
                  </a:cubicBezTo>
                  <a:lnTo>
                    <a:pt x="280" y="315"/>
                  </a:lnTo>
                  <a:close/>
                </a:path>
              </a:pathLst>
            </a:custGeom>
            <a:solidFill>
              <a:schemeClr val="bg1"/>
            </a:solidFill>
            <a:ln>
              <a:noFill/>
            </a:ln>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nvGrpSpPr>
          <p:cNvPr id="9" name="Group 8"/>
          <p:cNvGrpSpPr/>
          <p:nvPr/>
        </p:nvGrpSpPr>
        <p:grpSpPr>
          <a:xfrm>
            <a:off x="4949606" y="3213915"/>
            <a:ext cx="6972369" cy="3351756"/>
            <a:chOff x="5050171" y="3277807"/>
            <a:chExt cx="7114032" cy="3419856"/>
          </a:xfrm>
        </p:grpSpPr>
        <p:sp>
          <p:nvSpPr>
            <p:cNvPr id="121" name="Rectangle 120"/>
            <p:cNvSpPr/>
            <p:nvPr/>
          </p:nvSpPr>
          <p:spPr bwMode="auto">
            <a:xfrm>
              <a:off x="5137162" y="3810000"/>
              <a:ext cx="2999232" cy="1888743"/>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4180">
                <a:lnSpc>
                  <a:spcPct val="90000"/>
                </a:lnSpc>
                <a:spcAft>
                  <a:spcPts val="588"/>
                </a:spcAft>
              </a:pPr>
              <a:r>
                <a:rPr lang="en-US" sz="1764" dirty="0">
                  <a:gradFill>
                    <a:gsLst>
                      <a:gs pos="76068">
                        <a:srgbClr val="FFFFFF"/>
                      </a:gs>
                      <a:gs pos="55000">
                        <a:srgbClr val="FFFFFF"/>
                      </a:gs>
                    </a:gsLst>
                    <a:lin ang="5400000" scaled="0"/>
                  </a:gradFill>
                  <a:cs typeface="Segoe UI Semilight" panose="020B0402040204020203" pitchFamily="34" charset="0"/>
                </a:rPr>
                <a:t>Solution host</a:t>
              </a:r>
            </a:p>
          </p:txBody>
        </p:sp>
        <p:sp>
          <p:nvSpPr>
            <p:cNvPr id="71" name="Rectangle 70"/>
            <p:cNvSpPr/>
            <p:nvPr/>
          </p:nvSpPr>
          <p:spPr bwMode="auto">
            <a:xfrm>
              <a:off x="5050171" y="3277807"/>
              <a:ext cx="7114032" cy="3419856"/>
            </a:xfrm>
            <a:prstGeom prst="rect">
              <a:avLst/>
            </a:prstGeom>
            <a:noFill/>
            <a:ln w="12700">
              <a:solidFill>
                <a:schemeClr val="bg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t" anchorCtr="0" compatLnSpc="1">
              <a:prstTxWarp prst="textNoShape">
                <a:avLst/>
              </a:prstTxWarp>
            </a:bodyPr>
            <a:lstStyle/>
            <a:p>
              <a:pPr defTabSz="913916" fontAlgn="base">
                <a:lnSpc>
                  <a:spcPct val="90000"/>
                </a:lnSpc>
                <a:spcBef>
                  <a:spcPct val="0"/>
                </a:spcBef>
                <a:spcAft>
                  <a:spcPct val="0"/>
                </a:spcAft>
              </a:pPr>
              <a:r>
                <a:rPr lang="en-US" sz="1764" b="1" dirty="0">
                  <a:gradFill>
                    <a:gsLst>
                      <a:gs pos="26496">
                        <a:srgbClr val="505050"/>
                      </a:gs>
                      <a:gs pos="44000">
                        <a:srgbClr val="505050"/>
                      </a:gs>
                    </a:gsLst>
                    <a:lin ang="5400000" scaled="0"/>
                  </a:gradFill>
                </a:rPr>
                <a:t>LOOSELY COUPLED</a:t>
              </a:r>
            </a:p>
          </p:txBody>
        </p:sp>
        <p:sp>
          <p:nvSpPr>
            <p:cNvPr id="122" name="Rectangle 121"/>
            <p:cNvSpPr/>
            <p:nvPr/>
          </p:nvSpPr>
          <p:spPr bwMode="auto">
            <a:xfrm>
              <a:off x="5137162" y="5793960"/>
              <a:ext cx="2984210" cy="814458"/>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4180">
                <a:lnSpc>
                  <a:spcPct val="90000"/>
                </a:lnSpc>
                <a:spcAft>
                  <a:spcPts val="588"/>
                </a:spcAft>
              </a:pPr>
              <a:r>
                <a:rPr lang="en-US" sz="1764" dirty="0">
                  <a:gradFill>
                    <a:gsLst>
                      <a:gs pos="82051">
                        <a:srgbClr val="FFFFFF"/>
                      </a:gs>
                      <a:gs pos="62000">
                        <a:srgbClr val="FFFFFF"/>
                      </a:gs>
                    </a:gsLst>
                    <a:lin ang="5400000" scaled="0"/>
                  </a:gradFill>
                  <a:cs typeface="Segoe UI Semilight" panose="020B0402040204020203" pitchFamily="34" charset="0"/>
                </a:rPr>
                <a:t>Platform</a:t>
              </a:r>
            </a:p>
          </p:txBody>
        </p:sp>
        <p:sp>
          <p:nvSpPr>
            <p:cNvPr id="123" name="Rectangle 122"/>
            <p:cNvSpPr/>
            <p:nvPr/>
          </p:nvSpPr>
          <p:spPr bwMode="auto">
            <a:xfrm>
              <a:off x="5264276" y="4697631"/>
              <a:ext cx="2745005" cy="876598"/>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537715" bIns="45708" numCol="1" rtlCol="0" anchor="ctr" anchorCtr="0" compatLnSpc="1">
              <a:prstTxWarp prst="textNoShape">
                <a:avLst/>
              </a:prstTxWarp>
            </a:bodyPr>
            <a:lstStyle/>
            <a:p>
              <a:pPr algn="ctr" defTabSz="913916" fontAlgn="base">
                <a:lnSpc>
                  <a:spcPct val="90000"/>
                </a:lnSpc>
                <a:spcBef>
                  <a:spcPct val="0"/>
                </a:spcBef>
                <a:spcAft>
                  <a:spcPct val="0"/>
                </a:spcAft>
              </a:pPr>
              <a:r>
                <a:rPr lang="en-US" sz="1764" b="1" dirty="0">
                  <a:gradFill>
                    <a:gsLst>
                      <a:gs pos="0">
                        <a:srgbClr val="FFFFFF"/>
                      </a:gs>
                      <a:gs pos="100000">
                        <a:srgbClr val="FFFFFF"/>
                      </a:gs>
                    </a:gsLst>
                    <a:lin ang="5400000" scaled="0"/>
                  </a:gradFill>
                </a:rPr>
                <a:t>Solution</a:t>
              </a:r>
            </a:p>
          </p:txBody>
        </p:sp>
        <p:sp>
          <p:nvSpPr>
            <p:cNvPr id="148" name="Rectangle 147"/>
            <p:cNvSpPr/>
            <p:nvPr/>
          </p:nvSpPr>
          <p:spPr bwMode="auto">
            <a:xfrm rot="5400000">
              <a:off x="7660023" y="4357343"/>
              <a:ext cx="1888743" cy="794064"/>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29" tIns="0" rIns="179238" bIns="0" numCol="1" spcCol="0" rtlCol="0" fromWordArt="0" anchor="ctr" anchorCtr="0" forceAA="0" compatLnSpc="1">
              <a:prstTxWarp prst="textNoShape">
                <a:avLst/>
              </a:prstTxWarp>
              <a:noAutofit/>
            </a:bodyPr>
            <a:lstStyle/>
            <a:p>
              <a:pPr defTabSz="914180">
                <a:lnSpc>
                  <a:spcPct val="90000"/>
                </a:lnSpc>
                <a:spcAft>
                  <a:spcPts val="588"/>
                </a:spcAft>
              </a:pPr>
              <a:r>
                <a:rPr lang="en-US" sz="1372" dirty="0">
                  <a:gradFill>
                    <a:gsLst>
                      <a:gs pos="76068">
                        <a:srgbClr val="FFFFFF"/>
                      </a:gs>
                      <a:gs pos="55000">
                        <a:srgbClr val="FFFFFF"/>
                      </a:gs>
                    </a:gsLst>
                    <a:lin ang="5400000" scaled="0"/>
                  </a:gradFill>
                  <a:cs typeface="Segoe UI Semilight" panose="020B0402040204020203" pitchFamily="34" charset="0"/>
                </a:rPr>
                <a:t>O365 </a:t>
              </a:r>
              <a:br>
                <a:rPr lang="en-US" sz="1372" dirty="0">
                  <a:gradFill>
                    <a:gsLst>
                      <a:gs pos="76068">
                        <a:srgbClr val="FFFFFF"/>
                      </a:gs>
                      <a:gs pos="55000">
                        <a:srgbClr val="FFFFFF"/>
                      </a:gs>
                    </a:gsLst>
                    <a:lin ang="5400000" scaled="0"/>
                  </a:gradFill>
                  <a:cs typeface="Segoe UI Semilight" panose="020B0402040204020203" pitchFamily="34" charset="0"/>
                </a:rPr>
              </a:br>
              <a:r>
                <a:rPr lang="en-US" sz="1372" dirty="0">
                  <a:gradFill>
                    <a:gsLst>
                      <a:gs pos="76068">
                        <a:srgbClr val="FFFFFF"/>
                      </a:gs>
                      <a:gs pos="55000">
                        <a:srgbClr val="FFFFFF"/>
                      </a:gs>
                    </a:gsLst>
                    <a:lin ang="5400000" scaled="0"/>
                  </a:gradFill>
                  <a:cs typeface="Segoe UI Semilight" panose="020B0402040204020203" pitchFamily="34" charset="0"/>
                </a:rPr>
                <a:t>APIs and </a:t>
              </a:r>
              <a:br>
                <a:rPr lang="en-US" sz="1372" dirty="0">
                  <a:gradFill>
                    <a:gsLst>
                      <a:gs pos="76068">
                        <a:srgbClr val="FFFFFF"/>
                      </a:gs>
                      <a:gs pos="55000">
                        <a:srgbClr val="FFFFFF"/>
                      </a:gs>
                    </a:gsLst>
                    <a:lin ang="5400000" scaled="0"/>
                  </a:gradFill>
                  <a:cs typeface="Segoe UI Semilight" panose="020B0402040204020203" pitchFamily="34" charset="0"/>
                </a:rPr>
              </a:br>
              <a:r>
                <a:rPr lang="en-US" sz="1372" dirty="0">
                  <a:gradFill>
                    <a:gsLst>
                      <a:gs pos="76068">
                        <a:srgbClr val="FFFFFF"/>
                      </a:gs>
                      <a:gs pos="55000">
                        <a:srgbClr val="FFFFFF"/>
                      </a:gs>
                    </a:gsLst>
                    <a:lin ang="5400000" scaled="0"/>
                  </a:gradFill>
                  <a:cs typeface="Segoe UI Semilight" panose="020B0402040204020203" pitchFamily="34" charset="0"/>
                </a:rPr>
                <a:t>Office.js</a:t>
              </a:r>
            </a:p>
          </p:txBody>
        </p:sp>
        <p:sp>
          <p:nvSpPr>
            <p:cNvPr id="149" name="Rectangle 148"/>
            <p:cNvSpPr/>
            <p:nvPr/>
          </p:nvSpPr>
          <p:spPr bwMode="auto">
            <a:xfrm>
              <a:off x="9072397" y="3810000"/>
              <a:ext cx="2999232" cy="1888743"/>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4180">
                <a:lnSpc>
                  <a:spcPct val="90000"/>
                </a:lnSpc>
                <a:spcAft>
                  <a:spcPts val="588"/>
                </a:spcAft>
              </a:pPr>
              <a:r>
                <a:rPr lang="en-US" sz="1764" dirty="0">
                  <a:gradFill>
                    <a:gsLst>
                      <a:gs pos="76068">
                        <a:srgbClr val="FFFFFF"/>
                      </a:gs>
                      <a:gs pos="55000">
                        <a:srgbClr val="FFFFFF"/>
                      </a:gs>
                    </a:gsLst>
                    <a:lin ang="5400000" scaled="0"/>
                  </a:gradFill>
                  <a:cs typeface="Segoe UI Semilight" panose="020B0402040204020203" pitchFamily="34" charset="0"/>
                </a:rPr>
                <a:t>Productivity service</a:t>
              </a:r>
            </a:p>
          </p:txBody>
        </p:sp>
        <p:sp>
          <p:nvSpPr>
            <p:cNvPr id="151" name="Freeform 17"/>
            <p:cNvSpPr>
              <a:spLocks noChangeAspect="1" noEditPoints="1"/>
            </p:cNvSpPr>
            <p:nvPr/>
          </p:nvSpPr>
          <p:spPr bwMode="auto">
            <a:xfrm>
              <a:off x="5276976" y="4346362"/>
              <a:ext cx="1371021" cy="201795"/>
            </a:xfrm>
            <a:custGeom>
              <a:avLst/>
              <a:gdLst>
                <a:gd name="T0" fmla="*/ 382 w 5870"/>
                <a:gd name="T1" fmla="*/ 425 h 864"/>
                <a:gd name="T2" fmla="*/ 0 w 5870"/>
                <a:gd name="T3" fmla="*/ 121 h 864"/>
                <a:gd name="T4" fmla="*/ 382 w 5870"/>
                <a:gd name="T5" fmla="*/ 797 h 864"/>
                <a:gd name="T6" fmla="*/ 368 w 5870"/>
                <a:gd name="T7" fmla="*/ 440 h 864"/>
                <a:gd name="T8" fmla="*/ 368 w 5870"/>
                <a:gd name="T9" fmla="*/ 440 h 864"/>
                <a:gd name="T10" fmla="*/ 1835 w 5870"/>
                <a:gd name="T11" fmla="*/ 200 h 864"/>
                <a:gd name="T12" fmla="*/ 1913 w 5870"/>
                <a:gd name="T13" fmla="*/ 200 h 864"/>
                <a:gd name="T14" fmla="*/ 1613 w 5870"/>
                <a:gd name="T15" fmla="*/ 607 h 864"/>
                <a:gd name="T16" fmla="*/ 1309 w 5870"/>
                <a:gd name="T17" fmla="*/ 606 h 864"/>
                <a:gd name="T18" fmla="*/ 1345 w 5870"/>
                <a:gd name="T19" fmla="*/ 692 h 864"/>
                <a:gd name="T20" fmla="*/ 1649 w 5870"/>
                <a:gd name="T21" fmla="*/ 692 h 864"/>
                <a:gd name="T22" fmla="*/ 1845 w 5870"/>
                <a:gd name="T23" fmla="*/ 321 h 864"/>
                <a:gd name="T24" fmla="*/ 2301 w 5870"/>
                <a:gd name="T25" fmla="*/ 465 h 864"/>
                <a:gd name="T26" fmla="*/ 2053 w 5870"/>
                <a:gd name="T27" fmla="*/ 383 h 864"/>
                <a:gd name="T28" fmla="*/ 2053 w 5870"/>
                <a:gd name="T29" fmla="*/ 692 h 864"/>
                <a:gd name="T30" fmla="*/ 2242 w 5870"/>
                <a:gd name="T31" fmla="*/ 480 h 864"/>
                <a:gd name="T32" fmla="*/ 2710 w 5870"/>
                <a:gd name="T33" fmla="*/ 143 h 864"/>
                <a:gd name="T34" fmla="*/ 2538 w 5870"/>
                <a:gd name="T35" fmla="*/ 312 h 864"/>
                <a:gd name="T36" fmla="*/ 2522 w 5870"/>
                <a:gd name="T37" fmla="*/ 701 h 864"/>
                <a:gd name="T38" fmla="*/ 2710 w 5870"/>
                <a:gd name="T39" fmla="*/ 692 h 864"/>
                <a:gd name="T40" fmla="*/ 2459 w 5870"/>
                <a:gd name="T41" fmla="*/ 613 h 864"/>
                <a:gd name="T42" fmla="*/ 2620 w 5870"/>
                <a:gd name="T43" fmla="*/ 393 h 864"/>
                <a:gd name="T44" fmla="*/ 3104 w 5870"/>
                <a:gd name="T45" fmla="*/ 364 h 864"/>
                <a:gd name="T46" fmla="*/ 2835 w 5870"/>
                <a:gd name="T47" fmla="*/ 648 h 864"/>
                <a:gd name="T48" fmla="*/ 3104 w 5870"/>
                <a:gd name="T49" fmla="*/ 364 h 864"/>
                <a:gd name="T50" fmla="*/ 2847 w 5870"/>
                <a:gd name="T51" fmla="*/ 509 h 864"/>
                <a:gd name="T52" fmla="*/ 3090 w 5870"/>
                <a:gd name="T53" fmla="*/ 507 h 864"/>
                <a:gd name="T54" fmla="*/ 3547 w 5870"/>
                <a:gd name="T55" fmla="*/ 620 h 864"/>
                <a:gd name="T56" fmla="*/ 3315 w 5870"/>
                <a:gd name="T57" fmla="*/ 620 h 864"/>
                <a:gd name="T58" fmla="*/ 3343 w 5870"/>
                <a:gd name="T59" fmla="*/ 692 h 864"/>
                <a:gd name="T60" fmla="*/ 3578 w 5870"/>
                <a:gd name="T61" fmla="*/ 692 h 864"/>
                <a:gd name="T62" fmla="*/ 3845 w 5870"/>
                <a:gd name="T63" fmla="*/ 484 h 864"/>
                <a:gd name="T64" fmla="*/ 3840 w 5870"/>
                <a:gd name="T65" fmla="*/ 363 h 864"/>
                <a:gd name="T66" fmla="*/ 3751 w 5870"/>
                <a:gd name="T67" fmla="*/ 343 h 864"/>
                <a:gd name="T68" fmla="*/ 3866 w 5870"/>
                <a:gd name="T69" fmla="*/ 564 h 864"/>
                <a:gd name="T70" fmla="*/ 3713 w 5870"/>
                <a:gd name="T71" fmla="*/ 678 h 864"/>
                <a:gd name="T72" fmla="*/ 3919 w 5870"/>
                <a:gd name="T73" fmla="*/ 531 h 864"/>
                <a:gd name="T74" fmla="*/ 4172 w 5870"/>
                <a:gd name="T75" fmla="*/ 692 h 864"/>
                <a:gd name="T76" fmla="*/ 4566 w 5870"/>
                <a:gd name="T77" fmla="*/ 692 h 864"/>
                <a:gd name="T78" fmla="*/ 4335 w 5870"/>
                <a:gd name="T79" fmla="*/ 249 h 864"/>
                <a:gd name="T80" fmla="*/ 4606 w 5870"/>
                <a:gd name="T81" fmla="*/ 321 h 864"/>
                <a:gd name="T82" fmla="*/ 4585 w 5870"/>
                <a:gd name="T83" fmla="*/ 692 h 864"/>
                <a:gd name="T84" fmla="*/ 4892 w 5870"/>
                <a:gd name="T85" fmla="*/ 338 h 864"/>
                <a:gd name="T86" fmla="*/ 5188 w 5870"/>
                <a:gd name="T87" fmla="*/ 535 h 864"/>
                <a:gd name="T88" fmla="*/ 5000 w 5870"/>
                <a:gd name="T89" fmla="*/ 321 h 864"/>
                <a:gd name="T90" fmla="*/ 5187 w 5870"/>
                <a:gd name="T91" fmla="*/ 633 h 864"/>
                <a:gd name="T92" fmla="*/ 5248 w 5870"/>
                <a:gd name="T93" fmla="*/ 321 h 864"/>
                <a:gd name="T94" fmla="*/ 5405 w 5870"/>
                <a:gd name="T95" fmla="*/ 397 h 864"/>
                <a:gd name="T96" fmla="*/ 5344 w 5870"/>
                <a:gd name="T97" fmla="*/ 692 h 864"/>
                <a:gd name="T98" fmla="*/ 5492 w 5870"/>
                <a:gd name="T99" fmla="*/ 369 h 864"/>
                <a:gd name="T100" fmla="*/ 5829 w 5870"/>
                <a:gd name="T101" fmla="*/ 359 h 864"/>
                <a:gd name="T102" fmla="*/ 5547 w 5870"/>
                <a:gd name="T103" fmla="*/ 508 h 864"/>
                <a:gd name="T104" fmla="*/ 5844 w 5870"/>
                <a:gd name="T105" fmla="*/ 610 h 864"/>
                <a:gd name="T106" fmla="*/ 5870 w 5870"/>
                <a:gd name="T107" fmla="*/ 521 h 864"/>
                <a:gd name="T108" fmla="*/ 5716 w 5870"/>
                <a:gd name="T109" fmla="*/ 363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870" h="864">
                  <a:moveTo>
                    <a:pt x="382" y="67"/>
                  </a:moveTo>
                  <a:cubicBezTo>
                    <a:pt x="864" y="0"/>
                    <a:pt x="864" y="0"/>
                    <a:pt x="864" y="0"/>
                  </a:cubicBezTo>
                  <a:cubicBezTo>
                    <a:pt x="864" y="425"/>
                    <a:pt x="864" y="425"/>
                    <a:pt x="864" y="425"/>
                  </a:cubicBezTo>
                  <a:cubicBezTo>
                    <a:pt x="382" y="425"/>
                    <a:pt x="382" y="425"/>
                    <a:pt x="382" y="425"/>
                  </a:cubicBezTo>
                  <a:lnTo>
                    <a:pt x="382" y="67"/>
                  </a:lnTo>
                  <a:close/>
                  <a:moveTo>
                    <a:pt x="368" y="425"/>
                  </a:moveTo>
                  <a:cubicBezTo>
                    <a:pt x="368" y="70"/>
                    <a:pt x="368" y="70"/>
                    <a:pt x="368" y="70"/>
                  </a:cubicBezTo>
                  <a:cubicBezTo>
                    <a:pt x="0" y="121"/>
                    <a:pt x="0" y="121"/>
                    <a:pt x="0" y="121"/>
                  </a:cubicBezTo>
                  <a:cubicBezTo>
                    <a:pt x="0" y="425"/>
                    <a:pt x="0" y="425"/>
                    <a:pt x="0" y="425"/>
                  </a:cubicBezTo>
                  <a:lnTo>
                    <a:pt x="368" y="425"/>
                  </a:lnTo>
                  <a:close/>
                  <a:moveTo>
                    <a:pt x="382" y="440"/>
                  </a:moveTo>
                  <a:cubicBezTo>
                    <a:pt x="382" y="797"/>
                    <a:pt x="382" y="797"/>
                    <a:pt x="382" y="797"/>
                  </a:cubicBezTo>
                  <a:cubicBezTo>
                    <a:pt x="864" y="864"/>
                    <a:pt x="864" y="864"/>
                    <a:pt x="864" y="864"/>
                  </a:cubicBezTo>
                  <a:cubicBezTo>
                    <a:pt x="864" y="440"/>
                    <a:pt x="864" y="440"/>
                    <a:pt x="864" y="440"/>
                  </a:cubicBezTo>
                  <a:lnTo>
                    <a:pt x="382" y="440"/>
                  </a:lnTo>
                  <a:close/>
                  <a:moveTo>
                    <a:pt x="368" y="440"/>
                  </a:moveTo>
                  <a:cubicBezTo>
                    <a:pt x="0" y="440"/>
                    <a:pt x="0" y="440"/>
                    <a:pt x="0" y="440"/>
                  </a:cubicBezTo>
                  <a:cubicBezTo>
                    <a:pt x="0" y="744"/>
                    <a:pt x="0" y="744"/>
                    <a:pt x="0" y="744"/>
                  </a:cubicBezTo>
                  <a:cubicBezTo>
                    <a:pt x="368" y="795"/>
                    <a:pt x="368" y="795"/>
                    <a:pt x="368" y="795"/>
                  </a:cubicBezTo>
                  <a:lnTo>
                    <a:pt x="368" y="440"/>
                  </a:lnTo>
                  <a:close/>
                  <a:moveTo>
                    <a:pt x="1902" y="173"/>
                  </a:moveTo>
                  <a:cubicBezTo>
                    <a:pt x="1894" y="165"/>
                    <a:pt x="1885" y="161"/>
                    <a:pt x="1874" y="161"/>
                  </a:cubicBezTo>
                  <a:cubicBezTo>
                    <a:pt x="1863" y="161"/>
                    <a:pt x="1853" y="165"/>
                    <a:pt x="1846" y="173"/>
                  </a:cubicBezTo>
                  <a:cubicBezTo>
                    <a:pt x="1839" y="180"/>
                    <a:pt x="1835" y="189"/>
                    <a:pt x="1835" y="200"/>
                  </a:cubicBezTo>
                  <a:cubicBezTo>
                    <a:pt x="1835" y="211"/>
                    <a:pt x="1839" y="221"/>
                    <a:pt x="1846" y="228"/>
                  </a:cubicBezTo>
                  <a:cubicBezTo>
                    <a:pt x="1854" y="235"/>
                    <a:pt x="1863" y="238"/>
                    <a:pt x="1874" y="238"/>
                  </a:cubicBezTo>
                  <a:cubicBezTo>
                    <a:pt x="1884" y="238"/>
                    <a:pt x="1894" y="235"/>
                    <a:pt x="1901" y="227"/>
                  </a:cubicBezTo>
                  <a:cubicBezTo>
                    <a:pt x="1909" y="220"/>
                    <a:pt x="1913" y="211"/>
                    <a:pt x="1913" y="200"/>
                  </a:cubicBezTo>
                  <a:cubicBezTo>
                    <a:pt x="1913" y="189"/>
                    <a:pt x="1909" y="180"/>
                    <a:pt x="1902" y="173"/>
                  </a:cubicBezTo>
                  <a:close/>
                  <a:moveTo>
                    <a:pt x="1730" y="173"/>
                  </a:moveTo>
                  <a:cubicBezTo>
                    <a:pt x="1615" y="607"/>
                    <a:pt x="1615" y="607"/>
                    <a:pt x="1615" y="607"/>
                  </a:cubicBezTo>
                  <a:cubicBezTo>
                    <a:pt x="1613" y="607"/>
                    <a:pt x="1613" y="607"/>
                    <a:pt x="1613" y="607"/>
                  </a:cubicBezTo>
                  <a:cubicBezTo>
                    <a:pt x="1495" y="173"/>
                    <a:pt x="1495" y="173"/>
                    <a:pt x="1495" y="173"/>
                  </a:cubicBezTo>
                  <a:cubicBezTo>
                    <a:pt x="1436" y="173"/>
                    <a:pt x="1436" y="173"/>
                    <a:pt x="1436" y="173"/>
                  </a:cubicBezTo>
                  <a:cubicBezTo>
                    <a:pt x="1311" y="606"/>
                    <a:pt x="1311" y="606"/>
                    <a:pt x="1311" y="606"/>
                  </a:cubicBezTo>
                  <a:cubicBezTo>
                    <a:pt x="1309" y="606"/>
                    <a:pt x="1309" y="606"/>
                    <a:pt x="1309" y="606"/>
                  </a:cubicBezTo>
                  <a:cubicBezTo>
                    <a:pt x="1189" y="173"/>
                    <a:pt x="1189" y="173"/>
                    <a:pt x="1189" y="173"/>
                  </a:cubicBezTo>
                  <a:cubicBezTo>
                    <a:pt x="1123" y="173"/>
                    <a:pt x="1123" y="173"/>
                    <a:pt x="1123" y="173"/>
                  </a:cubicBezTo>
                  <a:cubicBezTo>
                    <a:pt x="1274" y="692"/>
                    <a:pt x="1274" y="692"/>
                    <a:pt x="1274" y="692"/>
                  </a:cubicBezTo>
                  <a:cubicBezTo>
                    <a:pt x="1345" y="692"/>
                    <a:pt x="1345" y="692"/>
                    <a:pt x="1345" y="692"/>
                  </a:cubicBezTo>
                  <a:cubicBezTo>
                    <a:pt x="1461" y="281"/>
                    <a:pt x="1461" y="281"/>
                    <a:pt x="1461" y="281"/>
                  </a:cubicBezTo>
                  <a:cubicBezTo>
                    <a:pt x="1462" y="281"/>
                    <a:pt x="1462" y="281"/>
                    <a:pt x="1462" y="281"/>
                  </a:cubicBezTo>
                  <a:cubicBezTo>
                    <a:pt x="1578" y="692"/>
                    <a:pt x="1578" y="692"/>
                    <a:pt x="1578" y="692"/>
                  </a:cubicBezTo>
                  <a:cubicBezTo>
                    <a:pt x="1649" y="692"/>
                    <a:pt x="1649" y="692"/>
                    <a:pt x="1649" y="692"/>
                  </a:cubicBezTo>
                  <a:cubicBezTo>
                    <a:pt x="1796" y="173"/>
                    <a:pt x="1796" y="173"/>
                    <a:pt x="1796" y="173"/>
                  </a:cubicBezTo>
                  <a:lnTo>
                    <a:pt x="1730" y="173"/>
                  </a:lnTo>
                  <a:close/>
                  <a:moveTo>
                    <a:pt x="1905" y="321"/>
                  </a:moveTo>
                  <a:cubicBezTo>
                    <a:pt x="1845" y="321"/>
                    <a:pt x="1845" y="321"/>
                    <a:pt x="1845" y="321"/>
                  </a:cubicBezTo>
                  <a:cubicBezTo>
                    <a:pt x="1845" y="692"/>
                    <a:pt x="1845" y="692"/>
                    <a:pt x="1845" y="692"/>
                  </a:cubicBezTo>
                  <a:cubicBezTo>
                    <a:pt x="1905" y="692"/>
                    <a:pt x="1905" y="692"/>
                    <a:pt x="1905" y="692"/>
                  </a:cubicBezTo>
                  <a:lnTo>
                    <a:pt x="1905" y="321"/>
                  </a:lnTo>
                  <a:close/>
                  <a:moveTo>
                    <a:pt x="2301" y="465"/>
                  </a:moveTo>
                  <a:cubicBezTo>
                    <a:pt x="2301" y="416"/>
                    <a:pt x="2290" y="378"/>
                    <a:pt x="2269" y="352"/>
                  </a:cubicBezTo>
                  <a:cubicBezTo>
                    <a:pt x="2248" y="325"/>
                    <a:pt x="2217" y="312"/>
                    <a:pt x="2176" y="312"/>
                  </a:cubicBezTo>
                  <a:cubicBezTo>
                    <a:pt x="2123" y="312"/>
                    <a:pt x="2082" y="336"/>
                    <a:pt x="2054" y="383"/>
                  </a:cubicBezTo>
                  <a:cubicBezTo>
                    <a:pt x="2053" y="383"/>
                    <a:pt x="2053" y="383"/>
                    <a:pt x="2053" y="383"/>
                  </a:cubicBezTo>
                  <a:cubicBezTo>
                    <a:pt x="2053" y="321"/>
                    <a:pt x="2053" y="321"/>
                    <a:pt x="2053" y="321"/>
                  </a:cubicBezTo>
                  <a:cubicBezTo>
                    <a:pt x="1994" y="321"/>
                    <a:pt x="1994" y="321"/>
                    <a:pt x="1994" y="321"/>
                  </a:cubicBezTo>
                  <a:cubicBezTo>
                    <a:pt x="1994" y="692"/>
                    <a:pt x="1994" y="692"/>
                    <a:pt x="1994" y="692"/>
                  </a:cubicBezTo>
                  <a:cubicBezTo>
                    <a:pt x="2053" y="692"/>
                    <a:pt x="2053" y="692"/>
                    <a:pt x="2053" y="692"/>
                  </a:cubicBezTo>
                  <a:cubicBezTo>
                    <a:pt x="2053" y="480"/>
                    <a:pt x="2053" y="480"/>
                    <a:pt x="2053" y="480"/>
                  </a:cubicBezTo>
                  <a:cubicBezTo>
                    <a:pt x="2053" y="446"/>
                    <a:pt x="2063" y="418"/>
                    <a:pt x="2082" y="396"/>
                  </a:cubicBezTo>
                  <a:cubicBezTo>
                    <a:pt x="2102" y="374"/>
                    <a:pt x="2126" y="363"/>
                    <a:pt x="2156" y="363"/>
                  </a:cubicBezTo>
                  <a:cubicBezTo>
                    <a:pt x="2213" y="363"/>
                    <a:pt x="2242" y="402"/>
                    <a:pt x="2242" y="480"/>
                  </a:cubicBezTo>
                  <a:cubicBezTo>
                    <a:pt x="2242" y="692"/>
                    <a:pt x="2242" y="692"/>
                    <a:pt x="2242" y="692"/>
                  </a:cubicBezTo>
                  <a:cubicBezTo>
                    <a:pt x="2301" y="692"/>
                    <a:pt x="2301" y="692"/>
                    <a:pt x="2301" y="692"/>
                  </a:cubicBezTo>
                  <a:lnTo>
                    <a:pt x="2301" y="465"/>
                  </a:lnTo>
                  <a:close/>
                  <a:moveTo>
                    <a:pt x="2710" y="143"/>
                  </a:moveTo>
                  <a:cubicBezTo>
                    <a:pt x="2651" y="143"/>
                    <a:pt x="2651" y="143"/>
                    <a:pt x="2651" y="143"/>
                  </a:cubicBezTo>
                  <a:cubicBezTo>
                    <a:pt x="2651" y="372"/>
                    <a:pt x="2651" y="372"/>
                    <a:pt x="2651" y="372"/>
                  </a:cubicBezTo>
                  <a:cubicBezTo>
                    <a:pt x="2649" y="372"/>
                    <a:pt x="2649" y="372"/>
                    <a:pt x="2649" y="372"/>
                  </a:cubicBezTo>
                  <a:cubicBezTo>
                    <a:pt x="2626" y="332"/>
                    <a:pt x="2589" y="312"/>
                    <a:pt x="2538" y="312"/>
                  </a:cubicBezTo>
                  <a:cubicBezTo>
                    <a:pt x="2487" y="312"/>
                    <a:pt x="2445" y="331"/>
                    <a:pt x="2415" y="368"/>
                  </a:cubicBezTo>
                  <a:cubicBezTo>
                    <a:pt x="2384" y="405"/>
                    <a:pt x="2369" y="454"/>
                    <a:pt x="2369" y="515"/>
                  </a:cubicBezTo>
                  <a:cubicBezTo>
                    <a:pt x="2369" y="572"/>
                    <a:pt x="2382" y="617"/>
                    <a:pt x="2410" y="650"/>
                  </a:cubicBezTo>
                  <a:cubicBezTo>
                    <a:pt x="2438" y="684"/>
                    <a:pt x="2475" y="701"/>
                    <a:pt x="2522" y="701"/>
                  </a:cubicBezTo>
                  <a:cubicBezTo>
                    <a:pt x="2579" y="701"/>
                    <a:pt x="2622" y="677"/>
                    <a:pt x="2649" y="629"/>
                  </a:cubicBezTo>
                  <a:cubicBezTo>
                    <a:pt x="2651" y="629"/>
                    <a:pt x="2651" y="629"/>
                    <a:pt x="2651" y="629"/>
                  </a:cubicBezTo>
                  <a:cubicBezTo>
                    <a:pt x="2651" y="692"/>
                    <a:pt x="2651" y="692"/>
                    <a:pt x="2651" y="692"/>
                  </a:cubicBezTo>
                  <a:cubicBezTo>
                    <a:pt x="2710" y="692"/>
                    <a:pt x="2710" y="692"/>
                    <a:pt x="2710" y="692"/>
                  </a:cubicBezTo>
                  <a:lnTo>
                    <a:pt x="2710" y="143"/>
                  </a:lnTo>
                  <a:close/>
                  <a:moveTo>
                    <a:pt x="2619" y="615"/>
                  </a:moveTo>
                  <a:cubicBezTo>
                    <a:pt x="2598" y="638"/>
                    <a:pt x="2571" y="650"/>
                    <a:pt x="2539" y="650"/>
                  </a:cubicBezTo>
                  <a:cubicBezTo>
                    <a:pt x="2505" y="650"/>
                    <a:pt x="2479" y="638"/>
                    <a:pt x="2459" y="613"/>
                  </a:cubicBezTo>
                  <a:cubicBezTo>
                    <a:pt x="2439" y="588"/>
                    <a:pt x="2429" y="555"/>
                    <a:pt x="2429" y="512"/>
                  </a:cubicBezTo>
                  <a:cubicBezTo>
                    <a:pt x="2429" y="465"/>
                    <a:pt x="2440" y="429"/>
                    <a:pt x="2461" y="402"/>
                  </a:cubicBezTo>
                  <a:cubicBezTo>
                    <a:pt x="2482" y="376"/>
                    <a:pt x="2510" y="363"/>
                    <a:pt x="2546" y="363"/>
                  </a:cubicBezTo>
                  <a:cubicBezTo>
                    <a:pt x="2575" y="363"/>
                    <a:pt x="2600" y="373"/>
                    <a:pt x="2620" y="393"/>
                  </a:cubicBezTo>
                  <a:cubicBezTo>
                    <a:pt x="2641" y="413"/>
                    <a:pt x="2651" y="439"/>
                    <a:pt x="2651" y="469"/>
                  </a:cubicBezTo>
                  <a:cubicBezTo>
                    <a:pt x="2651" y="524"/>
                    <a:pt x="2651" y="524"/>
                    <a:pt x="2651" y="524"/>
                  </a:cubicBezTo>
                  <a:cubicBezTo>
                    <a:pt x="2651" y="561"/>
                    <a:pt x="2640" y="591"/>
                    <a:pt x="2619" y="615"/>
                  </a:cubicBezTo>
                  <a:close/>
                  <a:moveTo>
                    <a:pt x="3104" y="364"/>
                  </a:moveTo>
                  <a:cubicBezTo>
                    <a:pt x="3073" y="329"/>
                    <a:pt x="3030" y="312"/>
                    <a:pt x="2975" y="312"/>
                  </a:cubicBezTo>
                  <a:cubicBezTo>
                    <a:pt x="2916" y="312"/>
                    <a:pt x="2870" y="330"/>
                    <a:pt x="2836" y="365"/>
                  </a:cubicBezTo>
                  <a:cubicBezTo>
                    <a:pt x="2803" y="401"/>
                    <a:pt x="2786" y="449"/>
                    <a:pt x="2786" y="511"/>
                  </a:cubicBezTo>
                  <a:cubicBezTo>
                    <a:pt x="2786" y="568"/>
                    <a:pt x="2802" y="614"/>
                    <a:pt x="2835" y="648"/>
                  </a:cubicBezTo>
                  <a:cubicBezTo>
                    <a:pt x="2867" y="683"/>
                    <a:pt x="2911" y="701"/>
                    <a:pt x="2966" y="701"/>
                  </a:cubicBezTo>
                  <a:cubicBezTo>
                    <a:pt x="3022" y="701"/>
                    <a:pt x="3067" y="683"/>
                    <a:pt x="3100" y="647"/>
                  </a:cubicBezTo>
                  <a:cubicBezTo>
                    <a:pt x="3134" y="611"/>
                    <a:pt x="3150" y="564"/>
                    <a:pt x="3150" y="505"/>
                  </a:cubicBezTo>
                  <a:cubicBezTo>
                    <a:pt x="3150" y="445"/>
                    <a:pt x="3135" y="398"/>
                    <a:pt x="3104" y="364"/>
                  </a:cubicBezTo>
                  <a:close/>
                  <a:moveTo>
                    <a:pt x="3059" y="613"/>
                  </a:moveTo>
                  <a:cubicBezTo>
                    <a:pt x="3038" y="638"/>
                    <a:pt x="3009" y="650"/>
                    <a:pt x="2970" y="650"/>
                  </a:cubicBezTo>
                  <a:cubicBezTo>
                    <a:pt x="2932" y="650"/>
                    <a:pt x="2902" y="638"/>
                    <a:pt x="2880" y="613"/>
                  </a:cubicBezTo>
                  <a:cubicBezTo>
                    <a:pt x="2858" y="588"/>
                    <a:pt x="2847" y="553"/>
                    <a:pt x="2847" y="509"/>
                  </a:cubicBezTo>
                  <a:cubicBezTo>
                    <a:pt x="2847" y="462"/>
                    <a:pt x="2858" y="426"/>
                    <a:pt x="2880" y="401"/>
                  </a:cubicBezTo>
                  <a:cubicBezTo>
                    <a:pt x="2902" y="375"/>
                    <a:pt x="2932" y="363"/>
                    <a:pt x="2970" y="363"/>
                  </a:cubicBezTo>
                  <a:cubicBezTo>
                    <a:pt x="3009" y="363"/>
                    <a:pt x="3038" y="375"/>
                    <a:pt x="3059" y="400"/>
                  </a:cubicBezTo>
                  <a:cubicBezTo>
                    <a:pt x="3079" y="425"/>
                    <a:pt x="3090" y="461"/>
                    <a:pt x="3090" y="507"/>
                  </a:cubicBezTo>
                  <a:cubicBezTo>
                    <a:pt x="3090" y="553"/>
                    <a:pt x="3079" y="589"/>
                    <a:pt x="3059" y="613"/>
                  </a:cubicBezTo>
                  <a:close/>
                  <a:moveTo>
                    <a:pt x="3631" y="321"/>
                  </a:moveTo>
                  <a:cubicBezTo>
                    <a:pt x="3550" y="620"/>
                    <a:pt x="3550" y="620"/>
                    <a:pt x="3550" y="620"/>
                  </a:cubicBezTo>
                  <a:cubicBezTo>
                    <a:pt x="3547" y="620"/>
                    <a:pt x="3547" y="620"/>
                    <a:pt x="3547" y="620"/>
                  </a:cubicBezTo>
                  <a:cubicBezTo>
                    <a:pt x="3464" y="321"/>
                    <a:pt x="3464" y="321"/>
                    <a:pt x="3464" y="321"/>
                  </a:cubicBezTo>
                  <a:cubicBezTo>
                    <a:pt x="3410" y="321"/>
                    <a:pt x="3410" y="321"/>
                    <a:pt x="3410" y="321"/>
                  </a:cubicBezTo>
                  <a:cubicBezTo>
                    <a:pt x="3318" y="620"/>
                    <a:pt x="3318" y="620"/>
                    <a:pt x="3318" y="620"/>
                  </a:cubicBezTo>
                  <a:cubicBezTo>
                    <a:pt x="3315" y="620"/>
                    <a:pt x="3315" y="620"/>
                    <a:pt x="3315" y="620"/>
                  </a:cubicBezTo>
                  <a:cubicBezTo>
                    <a:pt x="3234" y="321"/>
                    <a:pt x="3234" y="321"/>
                    <a:pt x="3234" y="321"/>
                  </a:cubicBezTo>
                  <a:cubicBezTo>
                    <a:pt x="3171" y="321"/>
                    <a:pt x="3171" y="321"/>
                    <a:pt x="3171" y="321"/>
                  </a:cubicBezTo>
                  <a:cubicBezTo>
                    <a:pt x="3283" y="692"/>
                    <a:pt x="3283" y="692"/>
                    <a:pt x="3283" y="692"/>
                  </a:cubicBezTo>
                  <a:cubicBezTo>
                    <a:pt x="3343" y="692"/>
                    <a:pt x="3343" y="692"/>
                    <a:pt x="3343" y="692"/>
                  </a:cubicBezTo>
                  <a:cubicBezTo>
                    <a:pt x="3432" y="404"/>
                    <a:pt x="3432" y="404"/>
                    <a:pt x="3432" y="404"/>
                  </a:cubicBezTo>
                  <a:cubicBezTo>
                    <a:pt x="3434" y="404"/>
                    <a:pt x="3434" y="404"/>
                    <a:pt x="3434" y="404"/>
                  </a:cubicBezTo>
                  <a:cubicBezTo>
                    <a:pt x="3517" y="692"/>
                    <a:pt x="3517" y="692"/>
                    <a:pt x="3517" y="692"/>
                  </a:cubicBezTo>
                  <a:cubicBezTo>
                    <a:pt x="3578" y="692"/>
                    <a:pt x="3578" y="692"/>
                    <a:pt x="3578" y="692"/>
                  </a:cubicBezTo>
                  <a:cubicBezTo>
                    <a:pt x="3689" y="321"/>
                    <a:pt x="3689" y="321"/>
                    <a:pt x="3689" y="321"/>
                  </a:cubicBezTo>
                  <a:lnTo>
                    <a:pt x="3631" y="321"/>
                  </a:lnTo>
                  <a:close/>
                  <a:moveTo>
                    <a:pt x="3919" y="531"/>
                  </a:moveTo>
                  <a:cubicBezTo>
                    <a:pt x="3905" y="514"/>
                    <a:pt x="3880" y="499"/>
                    <a:pt x="3845" y="484"/>
                  </a:cubicBezTo>
                  <a:cubicBezTo>
                    <a:pt x="3816" y="472"/>
                    <a:pt x="3797" y="461"/>
                    <a:pt x="3788" y="452"/>
                  </a:cubicBezTo>
                  <a:cubicBezTo>
                    <a:pt x="3779" y="444"/>
                    <a:pt x="3775" y="431"/>
                    <a:pt x="3775" y="414"/>
                  </a:cubicBezTo>
                  <a:cubicBezTo>
                    <a:pt x="3775" y="399"/>
                    <a:pt x="3781" y="387"/>
                    <a:pt x="3792" y="377"/>
                  </a:cubicBezTo>
                  <a:cubicBezTo>
                    <a:pt x="3804" y="368"/>
                    <a:pt x="3820" y="363"/>
                    <a:pt x="3840" y="363"/>
                  </a:cubicBezTo>
                  <a:cubicBezTo>
                    <a:pt x="3872" y="363"/>
                    <a:pt x="3899" y="372"/>
                    <a:pt x="3924" y="389"/>
                  </a:cubicBezTo>
                  <a:cubicBezTo>
                    <a:pt x="3924" y="329"/>
                    <a:pt x="3924" y="329"/>
                    <a:pt x="3924" y="329"/>
                  </a:cubicBezTo>
                  <a:cubicBezTo>
                    <a:pt x="3900" y="318"/>
                    <a:pt x="3874" y="312"/>
                    <a:pt x="3844" y="312"/>
                  </a:cubicBezTo>
                  <a:cubicBezTo>
                    <a:pt x="3807" y="312"/>
                    <a:pt x="3775" y="322"/>
                    <a:pt x="3751" y="343"/>
                  </a:cubicBezTo>
                  <a:cubicBezTo>
                    <a:pt x="3726" y="363"/>
                    <a:pt x="3714" y="389"/>
                    <a:pt x="3714" y="420"/>
                  </a:cubicBezTo>
                  <a:cubicBezTo>
                    <a:pt x="3714" y="446"/>
                    <a:pt x="3721" y="467"/>
                    <a:pt x="3734" y="483"/>
                  </a:cubicBezTo>
                  <a:cubicBezTo>
                    <a:pt x="3748" y="499"/>
                    <a:pt x="3771" y="514"/>
                    <a:pt x="3803" y="528"/>
                  </a:cubicBezTo>
                  <a:cubicBezTo>
                    <a:pt x="3836" y="543"/>
                    <a:pt x="3857" y="555"/>
                    <a:pt x="3866" y="564"/>
                  </a:cubicBezTo>
                  <a:cubicBezTo>
                    <a:pt x="3875" y="573"/>
                    <a:pt x="3880" y="584"/>
                    <a:pt x="3880" y="598"/>
                  </a:cubicBezTo>
                  <a:cubicBezTo>
                    <a:pt x="3880" y="633"/>
                    <a:pt x="3856" y="650"/>
                    <a:pt x="3809" y="650"/>
                  </a:cubicBezTo>
                  <a:cubicBezTo>
                    <a:pt x="3774" y="650"/>
                    <a:pt x="3742" y="638"/>
                    <a:pt x="3713" y="615"/>
                  </a:cubicBezTo>
                  <a:cubicBezTo>
                    <a:pt x="3713" y="678"/>
                    <a:pt x="3713" y="678"/>
                    <a:pt x="3713" y="678"/>
                  </a:cubicBezTo>
                  <a:cubicBezTo>
                    <a:pt x="3739" y="693"/>
                    <a:pt x="3770" y="701"/>
                    <a:pt x="3805" y="701"/>
                  </a:cubicBezTo>
                  <a:cubicBezTo>
                    <a:pt x="3846" y="701"/>
                    <a:pt x="3879" y="691"/>
                    <a:pt x="3904" y="671"/>
                  </a:cubicBezTo>
                  <a:cubicBezTo>
                    <a:pt x="3928" y="651"/>
                    <a:pt x="3941" y="625"/>
                    <a:pt x="3941" y="593"/>
                  </a:cubicBezTo>
                  <a:cubicBezTo>
                    <a:pt x="3941" y="568"/>
                    <a:pt x="3934" y="547"/>
                    <a:pt x="3919" y="531"/>
                  </a:cubicBezTo>
                  <a:close/>
                  <a:moveTo>
                    <a:pt x="4366" y="173"/>
                  </a:moveTo>
                  <a:cubicBezTo>
                    <a:pt x="4303" y="173"/>
                    <a:pt x="4303" y="173"/>
                    <a:pt x="4303" y="173"/>
                  </a:cubicBezTo>
                  <a:cubicBezTo>
                    <a:pt x="4105" y="692"/>
                    <a:pt x="4105" y="692"/>
                    <a:pt x="4105" y="692"/>
                  </a:cubicBezTo>
                  <a:cubicBezTo>
                    <a:pt x="4172" y="692"/>
                    <a:pt x="4172" y="692"/>
                    <a:pt x="4172" y="692"/>
                  </a:cubicBezTo>
                  <a:cubicBezTo>
                    <a:pt x="4224" y="547"/>
                    <a:pt x="4224" y="547"/>
                    <a:pt x="4224" y="547"/>
                  </a:cubicBezTo>
                  <a:cubicBezTo>
                    <a:pt x="4445" y="547"/>
                    <a:pt x="4445" y="547"/>
                    <a:pt x="4445" y="547"/>
                  </a:cubicBezTo>
                  <a:cubicBezTo>
                    <a:pt x="4499" y="692"/>
                    <a:pt x="4499" y="692"/>
                    <a:pt x="4499" y="692"/>
                  </a:cubicBezTo>
                  <a:cubicBezTo>
                    <a:pt x="4566" y="692"/>
                    <a:pt x="4566" y="692"/>
                    <a:pt x="4566" y="692"/>
                  </a:cubicBezTo>
                  <a:lnTo>
                    <a:pt x="4366" y="173"/>
                  </a:lnTo>
                  <a:close/>
                  <a:moveTo>
                    <a:pt x="4244" y="492"/>
                  </a:moveTo>
                  <a:cubicBezTo>
                    <a:pt x="4333" y="249"/>
                    <a:pt x="4333" y="249"/>
                    <a:pt x="4333" y="249"/>
                  </a:cubicBezTo>
                  <a:cubicBezTo>
                    <a:pt x="4335" y="249"/>
                    <a:pt x="4335" y="249"/>
                    <a:pt x="4335" y="249"/>
                  </a:cubicBezTo>
                  <a:cubicBezTo>
                    <a:pt x="4424" y="492"/>
                    <a:pt x="4424" y="492"/>
                    <a:pt x="4424" y="492"/>
                  </a:cubicBezTo>
                  <a:lnTo>
                    <a:pt x="4244" y="492"/>
                  </a:lnTo>
                  <a:close/>
                  <a:moveTo>
                    <a:pt x="4892" y="321"/>
                  </a:moveTo>
                  <a:cubicBezTo>
                    <a:pt x="4606" y="321"/>
                    <a:pt x="4606" y="321"/>
                    <a:pt x="4606" y="321"/>
                  </a:cubicBezTo>
                  <a:cubicBezTo>
                    <a:pt x="4606" y="371"/>
                    <a:pt x="4606" y="371"/>
                    <a:pt x="4606" y="371"/>
                  </a:cubicBezTo>
                  <a:cubicBezTo>
                    <a:pt x="4805" y="371"/>
                    <a:pt x="4805" y="371"/>
                    <a:pt x="4805" y="371"/>
                  </a:cubicBezTo>
                  <a:cubicBezTo>
                    <a:pt x="4585" y="673"/>
                    <a:pt x="4585" y="673"/>
                    <a:pt x="4585" y="673"/>
                  </a:cubicBezTo>
                  <a:cubicBezTo>
                    <a:pt x="4585" y="692"/>
                    <a:pt x="4585" y="692"/>
                    <a:pt x="4585" y="692"/>
                  </a:cubicBezTo>
                  <a:cubicBezTo>
                    <a:pt x="4890" y="692"/>
                    <a:pt x="4890" y="692"/>
                    <a:pt x="4890" y="692"/>
                  </a:cubicBezTo>
                  <a:cubicBezTo>
                    <a:pt x="4890" y="641"/>
                    <a:pt x="4890" y="641"/>
                    <a:pt x="4890" y="641"/>
                  </a:cubicBezTo>
                  <a:cubicBezTo>
                    <a:pt x="4673" y="641"/>
                    <a:pt x="4673" y="641"/>
                    <a:pt x="4673" y="641"/>
                  </a:cubicBezTo>
                  <a:cubicBezTo>
                    <a:pt x="4892" y="338"/>
                    <a:pt x="4892" y="338"/>
                    <a:pt x="4892" y="338"/>
                  </a:cubicBezTo>
                  <a:lnTo>
                    <a:pt x="4892" y="321"/>
                  </a:lnTo>
                  <a:close/>
                  <a:moveTo>
                    <a:pt x="5248" y="321"/>
                  </a:moveTo>
                  <a:cubicBezTo>
                    <a:pt x="5188" y="321"/>
                    <a:pt x="5188" y="321"/>
                    <a:pt x="5188" y="321"/>
                  </a:cubicBezTo>
                  <a:cubicBezTo>
                    <a:pt x="5188" y="535"/>
                    <a:pt x="5188" y="535"/>
                    <a:pt x="5188" y="535"/>
                  </a:cubicBezTo>
                  <a:cubicBezTo>
                    <a:pt x="5188" y="569"/>
                    <a:pt x="5179" y="597"/>
                    <a:pt x="5161" y="618"/>
                  </a:cubicBezTo>
                  <a:cubicBezTo>
                    <a:pt x="5143" y="639"/>
                    <a:pt x="5119" y="650"/>
                    <a:pt x="5089" y="650"/>
                  </a:cubicBezTo>
                  <a:cubicBezTo>
                    <a:pt x="5029" y="650"/>
                    <a:pt x="5000" y="611"/>
                    <a:pt x="5000" y="533"/>
                  </a:cubicBezTo>
                  <a:cubicBezTo>
                    <a:pt x="5000" y="321"/>
                    <a:pt x="5000" y="321"/>
                    <a:pt x="5000" y="321"/>
                  </a:cubicBezTo>
                  <a:cubicBezTo>
                    <a:pt x="4940" y="321"/>
                    <a:pt x="4940" y="321"/>
                    <a:pt x="4940" y="321"/>
                  </a:cubicBezTo>
                  <a:cubicBezTo>
                    <a:pt x="4940" y="543"/>
                    <a:pt x="4940" y="543"/>
                    <a:pt x="4940" y="543"/>
                  </a:cubicBezTo>
                  <a:cubicBezTo>
                    <a:pt x="4940" y="648"/>
                    <a:pt x="4984" y="701"/>
                    <a:pt x="5073" y="701"/>
                  </a:cubicBezTo>
                  <a:cubicBezTo>
                    <a:pt x="5124" y="701"/>
                    <a:pt x="5162" y="678"/>
                    <a:pt x="5187" y="633"/>
                  </a:cubicBezTo>
                  <a:cubicBezTo>
                    <a:pt x="5188" y="633"/>
                    <a:pt x="5188" y="633"/>
                    <a:pt x="5188" y="633"/>
                  </a:cubicBezTo>
                  <a:cubicBezTo>
                    <a:pt x="5188" y="692"/>
                    <a:pt x="5188" y="692"/>
                    <a:pt x="5188" y="692"/>
                  </a:cubicBezTo>
                  <a:cubicBezTo>
                    <a:pt x="5248" y="692"/>
                    <a:pt x="5248" y="692"/>
                    <a:pt x="5248" y="692"/>
                  </a:cubicBezTo>
                  <a:lnTo>
                    <a:pt x="5248" y="321"/>
                  </a:lnTo>
                  <a:close/>
                  <a:moveTo>
                    <a:pt x="5537" y="320"/>
                  </a:moveTo>
                  <a:cubicBezTo>
                    <a:pt x="5529" y="316"/>
                    <a:pt x="5517" y="315"/>
                    <a:pt x="5502" y="315"/>
                  </a:cubicBezTo>
                  <a:cubicBezTo>
                    <a:pt x="5480" y="315"/>
                    <a:pt x="5460" y="322"/>
                    <a:pt x="5443" y="337"/>
                  </a:cubicBezTo>
                  <a:cubicBezTo>
                    <a:pt x="5426" y="352"/>
                    <a:pt x="5413" y="372"/>
                    <a:pt x="5405" y="397"/>
                  </a:cubicBezTo>
                  <a:cubicBezTo>
                    <a:pt x="5404" y="397"/>
                    <a:pt x="5404" y="397"/>
                    <a:pt x="5404" y="397"/>
                  </a:cubicBezTo>
                  <a:cubicBezTo>
                    <a:pt x="5404" y="321"/>
                    <a:pt x="5404" y="321"/>
                    <a:pt x="5404" y="321"/>
                  </a:cubicBezTo>
                  <a:cubicBezTo>
                    <a:pt x="5344" y="321"/>
                    <a:pt x="5344" y="321"/>
                    <a:pt x="5344" y="321"/>
                  </a:cubicBezTo>
                  <a:cubicBezTo>
                    <a:pt x="5344" y="692"/>
                    <a:pt x="5344" y="692"/>
                    <a:pt x="5344" y="692"/>
                  </a:cubicBezTo>
                  <a:cubicBezTo>
                    <a:pt x="5404" y="692"/>
                    <a:pt x="5404" y="692"/>
                    <a:pt x="5404" y="692"/>
                  </a:cubicBezTo>
                  <a:cubicBezTo>
                    <a:pt x="5404" y="503"/>
                    <a:pt x="5404" y="503"/>
                    <a:pt x="5404" y="503"/>
                  </a:cubicBezTo>
                  <a:cubicBezTo>
                    <a:pt x="5404" y="463"/>
                    <a:pt x="5412" y="431"/>
                    <a:pt x="5428" y="406"/>
                  </a:cubicBezTo>
                  <a:cubicBezTo>
                    <a:pt x="5445" y="382"/>
                    <a:pt x="5466" y="369"/>
                    <a:pt x="5492" y="369"/>
                  </a:cubicBezTo>
                  <a:cubicBezTo>
                    <a:pt x="5512" y="369"/>
                    <a:pt x="5527" y="373"/>
                    <a:pt x="5537" y="381"/>
                  </a:cubicBezTo>
                  <a:lnTo>
                    <a:pt x="5537" y="320"/>
                  </a:lnTo>
                  <a:close/>
                  <a:moveTo>
                    <a:pt x="5870" y="490"/>
                  </a:moveTo>
                  <a:cubicBezTo>
                    <a:pt x="5870" y="434"/>
                    <a:pt x="5856" y="390"/>
                    <a:pt x="5829" y="359"/>
                  </a:cubicBezTo>
                  <a:cubicBezTo>
                    <a:pt x="5803" y="328"/>
                    <a:pt x="5765" y="312"/>
                    <a:pt x="5717" y="312"/>
                  </a:cubicBezTo>
                  <a:cubicBezTo>
                    <a:pt x="5685" y="312"/>
                    <a:pt x="5656" y="320"/>
                    <a:pt x="5630" y="337"/>
                  </a:cubicBezTo>
                  <a:cubicBezTo>
                    <a:pt x="5604" y="354"/>
                    <a:pt x="5584" y="377"/>
                    <a:pt x="5569" y="407"/>
                  </a:cubicBezTo>
                  <a:cubicBezTo>
                    <a:pt x="5554" y="438"/>
                    <a:pt x="5547" y="471"/>
                    <a:pt x="5547" y="508"/>
                  </a:cubicBezTo>
                  <a:cubicBezTo>
                    <a:pt x="5547" y="568"/>
                    <a:pt x="5562" y="615"/>
                    <a:pt x="5591" y="649"/>
                  </a:cubicBezTo>
                  <a:cubicBezTo>
                    <a:pt x="5621" y="684"/>
                    <a:pt x="5662" y="701"/>
                    <a:pt x="5715" y="701"/>
                  </a:cubicBezTo>
                  <a:cubicBezTo>
                    <a:pt x="5768" y="701"/>
                    <a:pt x="5811" y="689"/>
                    <a:pt x="5844" y="665"/>
                  </a:cubicBezTo>
                  <a:cubicBezTo>
                    <a:pt x="5844" y="610"/>
                    <a:pt x="5844" y="610"/>
                    <a:pt x="5844" y="610"/>
                  </a:cubicBezTo>
                  <a:cubicBezTo>
                    <a:pt x="5809" y="637"/>
                    <a:pt x="5771" y="650"/>
                    <a:pt x="5729" y="650"/>
                  </a:cubicBezTo>
                  <a:cubicBezTo>
                    <a:pt x="5692" y="650"/>
                    <a:pt x="5662" y="639"/>
                    <a:pt x="5641" y="617"/>
                  </a:cubicBezTo>
                  <a:cubicBezTo>
                    <a:pt x="5620" y="595"/>
                    <a:pt x="5609" y="563"/>
                    <a:pt x="5608" y="521"/>
                  </a:cubicBezTo>
                  <a:cubicBezTo>
                    <a:pt x="5870" y="521"/>
                    <a:pt x="5870" y="521"/>
                    <a:pt x="5870" y="521"/>
                  </a:cubicBezTo>
                  <a:lnTo>
                    <a:pt x="5870" y="490"/>
                  </a:lnTo>
                  <a:close/>
                  <a:moveTo>
                    <a:pt x="5609" y="471"/>
                  </a:moveTo>
                  <a:cubicBezTo>
                    <a:pt x="5614" y="438"/>
                    <a:pt x="5626" y="412"/>
                    <a:pt x="5646" y="392"/>
                  </a:cubicBezTo>
                  <a:cubicBezTo>
                    <a:pt x="5665" y="373"/>
                    <a:pt x="5689" y="363"/>
                    <a:pt x="5716" y="363"/>
                  </a:cubicBezTo>
                  <a:cubicBezTo>
                    <a:pt x="5746" y="363"/>
                    <a:pt x="5768" y="372"/>
                    <a:pt x="5784" y="391"/>
                  </a:cubicBezTo>
                  <a:cubicBezTo>
                    <a:pt x="5800" y="410"/>
                    <a:pt x="5809" y="437"/>
                    <a:pt x="5809" y="471"/>
                  </a:cubicBezTo>
                  <a:lnTo>
                    <a:pt x="5609" y="471"/>
                  </a:lnTo>
                  <a:close/>
                </a:path>
              </a:pathLst>
            </a:custGeom>
            <a:solidFill>
              <a:schemeClr val="bg1"/>
            </a:solidFill>
            <a:ln>
              <a:noFill/>
            </a:ln>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153" name="Freeform 6"/>
            <p:cNvSpPr>
              <a:spLocks noChangeAspect="1" noEditPoints="1"/>
            </p:cNvSpPr>
            <p:nvPr/>
          </p:nvSpPr>
          <p:spPr bwMode="auto">
            <a:xfrm>
              <a:off x="6777846" y="4328307"/>
              <a:ext cx="820754" cy="237904"/>
            </a:xfrm>
            <a:custGeom>
              <a:avLst/>
              <a:gdLst>
                <a:gd name="T0" fmla="*/ 1370 w 3468"/>
                <a:gd name="T1" fmla="*/ 510 h 1003"/>
                <a:gd name="T2" fmla="*/ 1226 w 3468"/>
                <a:gd name="T3" fmla="*/ 712 h 1003"/>
                <a:gd name="T4" fmla="*/ 1645 w 3468"/>
                <a:gd name="T5" fmla="*/ 157 h 1003"/>
                <a:gd name="T6" fmla="*/ 1603 w 3468"/>
                <a:gd name="T7" fmla="*/ 121 h 1003"/>
                <a:gd name="T8" fmla="*/ 1712 w 3468"/>
                <a:gd name="T9" fmla="*/ 383 h 1003"/>
                <a:gd name="T10" fmla="*/ 1417 w 3468"/>
                <a:gd name="T11" fmla="*/ 616 h 1003"/>
                <a:gd name="T12" fmla="*/ 1592 w 3468"/>
                <a:gd name="T13" fmla="*/ 881 h 1003"/>
                <a:gd name="T14" fmla="*/ 1182 w 3468"/>
                <a:gd name="T15" fmla="*/ 15 h 1003"/>
                <a:gd name="T16" fmla="*/ 920 w 3468"/>
                <a:gd name="T17" fmla="*/ 505 h 1003"/>
                <a:gd name="T18" fmla="*/ 538 w 3468"/>
                <a:gd name="T19" fmla="*/ 685 h 1003"/>
                <a:gd name="T20" fmla="*/ 86 w 3468"/>
                <a:gd name="T21" fmla="*/ 838 h 1003"/>
                <a:gd name="T22" fmla="*/ 536 w 3468"/>
                <a:gd name="T23" fmla="*/ 80 h 1003"/>
                <a:gd name="T24" fmla="*/ 169 w 3468"/>
                <a:gd name="T25" fmla="*/ 594 h 1003"/>
                <a:gd name="T26" fmla="*/ 369 w 3468"/>
                <a:gd name="T27" fmla="*/ 407 h 1003"/>
                <a:gd name="T28" fmla="*/ 866 w 3468"/>
                <a:gd name="T29" fmla="*/ 260 h 1003"/>
                <a:gd name="T30" fmla="*/ 866 w 3468"/>
                <a:gd name="T31" fmla="*/ 261 h 1003"/>
                <a:gd name="T32" fmla="*/ 2650 w 3468"/>
                <a:gd name="T33" fmla="*/ 148 h 1003"/>
                <a:gd name="T34" fmla="*/ 2660 w 3468"/>
                <a:gd name="T35" fmla="*/ 327 h 1003"/>
                <a:gd name="T36" fmla="*/ 2618 w 3468"/>
                <a:gd name="T37" fmla="*/ 171 h 1003"/>
                <a:gd name="T38" fmla="*/ 1419 w 3468"/>
                <a:gd name="T39" fmla="*/ 151 h 1003"/>
                <a:gd name="T40" fmla="*/ 1434 w 3468"/>
                <a:gd name="T41" fmla="*/ 115 h 1003"/>
                <a:gd name="T42" fmla="*/ 1346 w 3468"/>
                <a:gd name="T43" fmla="*/ 386 h 1003"/>
                <a:gd name="T44" fmla="*/ 2226 w 3468"/>
                <a:gd name="T45" fmla="*/ 165 h 1003"/>
                <a:gd name="T46" fmla="*/ 2225 w 3468"/>
                <a:gd name="T47" fmla="*/ 235 h 1003"/>
                <a:gd name="T48" fmla="*/ 2719 w 3468"/>
                <a:gd name="T49" fmla="*/ 643 h 1003"/>
                <a:gd name="T50" fmla="*/ 2729 w 3468"/>
                <a:gd name="T51" fmla="*/ 822 h 1003"/>
                <a:gd name="T52" fmla="*/ 2577 w 3468"/>
                <a:gd name="T53" fmla="*/ 627 h 1003"/>
                <a:gd name="T54" fmla="*/ 2588 w 3468"/>
                <a:gd name="T55" fmla="*/ 667 h 1003"/>
                <a:gd name="T56" fmla="*/ 2792 w 3468"/>
                <a:gd name="T57" fmla="*/ 345 h 1003"/>
                <a:gd name="T58" fmla="*/ 2783 w 3468"/>
                <a:gd name="T59" fmla="*/ 43 h 1003"/>
                <a:gd name="T60" fmla="*/ 2741 w 3468"/>
                <a:gd name="T61" fmla="*/ 314 h 1003"/>
                <a:gd name="T62" fmla="*/ 2838 w 3468"/>
                <a:gd name="T63" fmla="*/ 616 h 1003"/>
                <a:gd name="T64" fmla="*/ 2901 w 3468"/>
                <a:gd name="T65" fmla="*/ 650 h 1003"/>
                <a:gd name="T66" fmla="*/ 1916 w 3468"/>
                <a:gd name="T67" fmla="*/ 741 h 1003"/>
                <a:gd name="T68" fmla="*/ 1672 w 3468"/>
                <a:gd name="T69" fmla="*/ 1003 h 1003"/>
                <a:gd name="T70" fmla="*/ 1887 w 3468"/>
                <a:gd name="T71" fmla="*/ 645 h 1003"/>
                <a:gd name="T72" fmla="*/ 1715 w 3468"/>
                <a:gd name="T73" fmla="*/ 773 h 1003"/>
                <a:gd name="T74" fmla="*/ 3435 w 3468"/>
                <a:gd name="T75" fmla="*/ 836 h 1003"/>
                <a:gd name="T76" fmla="*/ 3468 w 3468"/>
                <a:gd name="T77" fmla="*/ 694 h 1003"/>
                <a:gd name="T78" fmla="*/ 3093 w 3468"/>
                <a:gd name="T79" fmla="*/ 536 h 1003"/>
                <a:gd name="T80" fmla="*/ 3162 w 3468"/>
                <a:gd name="T81" fmla="*/ 881 h 1003"/>
                <a:gd name="T82" fmla="*/ 2416 w 3468"/>
                <a:gd name="T83" fmla="*/ 671 h 1003"/>
                <a:gd name="T84" fmla="*/ 2434 w 3468"/>
                <a:gd name="T85" fmla="*/ 677 h 1003"/>
                <a:gd name="T86" fmla="*/ 1968 w 3468"/>
                <a:gd name="T87" fmla="*/ 881 h 1003"/>
                <a:gd name="T88" fmla="*/ 1965 w 3468"/>
                <a:gd name="T89" fmla="*/ 242 h 1003"/>
                <a:gd name="T90" fmla="*/ 1946 w 3468"/>
                <a:gd name="T91" fmla="*/ 367 h 1003"/>
                <a:gd name="T92" fmla="*/ 1856 w 3468"/>
                <a:gd name="T93" fmla="*/ 115 h 1003"/>
                <a:gd name="T94" fmla="*/ 1778 w 3468"/>
                <a:gd name="T95" fmla="*/ 228 h 1003"/>
                <a:gd name="T96" fmla="*/ 2096 w 3468"/>
                <a:gd name="T97" fmla="*/ 850 h 1003"/>
                <a:gd name="T98" fmla="*/ 2257 w 3468"/>
                <a:gd name="T99" fmla="*/ 672 h 1003"/>
                <a:gd name="T100" fmla="*/ 2257 w 3468"/>
                <a:gd name="T101" fmla="*/ 825 h 1003"/>
                <a:gd name="T102" fmla="*/ 2083 w 3468"/>
                <a:gd name="T103" fmla="*/ 132 h 1003"/>
                <a:gd name="T104" fmla="*/ 2055 w 3468"/>
                <a:gd name="T105" fmla="*/ 386 h 1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468" h="1003">
                  <a:moveTo>
                    <a:pt x="1226" y="842"/>
                  </a:moveTo>
                  <a:cubicBezTo>
                    <a:pt x="1379" y="842"/>
                    <a:pt x="1379" y="842"/>
                    <a:pt x="1379" y="842"/>
                  </a:cubicBezTo>
                  <a:cubicBezTo>
                    <a:pt x="1379" y="881"/>
                    <a:pt x="1379" y="881"/>
                    <a:pt x="1379" y="881"/>
                  </a:cubicBezTo>
                  <a:cubicBezTo>
                    <a:pt x="1182" y="881"/>
                    <a:pt x="1182" y="881"/>
                    <a:pt x="1182" y="881"/>
                  </a:cubicBezTo>
                  <a:cubicBezTo>
                    <a:pt x="1182" y="510"/>
                    <a:pt x="1182" y="510"/>
                    <a:pt x="1182" y="510"/>
                  </a:cubicBezTo>
                  <a:cubicBezTo>
                    <a:pt x="1370" y="510"/>
                    <a:pt x="1370" y="510"/>
                    <a:pt x="1370" y="510"/>
                  </a:cubicBezTo>
                  <a:cubicBezTo>
                    <a:pt x="1370" y="549"/>
                    <a:pt x="1370" y="549"/>
                    <a:pt x="1370" y="549"/>
                  </a:cubicBezTo>
                  <a:cubicBezTo>
                    <a:pt x="1226" y="549"/>
                    <a:pt x="1226" y="549"/>
                    <a:pt x="1226" y="549"/>
                  </a:cubicBezTo>
                  <a:cubicBezTo>
                    <a:pt x="1226" y="673"/>
                    <a:pt x="1226" y="673"/>
                    <a:pt x="1226" y="673"/>
                  </a:cubicBezTo>
                  <a:cubicBezTo>
                    <a:pt x="1360" y="673"/>
                    <a:pt x="1360" y="673"/>
                    <a:pt x="1360" y="673"/>
                  </a:cubicBezTo>
                  <a:cubicBezTo>
                    <a:pt x="1360" y="712"/>
                    <a:pt x="1360" y="712"/>
                    <a:pt x="1360" y="712"/>
                  </a:cubicBezTo>
                  <a:cubicBezTo>
                    <a:pt x="1226" y="712"/>
                    <a:pt x="1226" y="712"/>
                    <a:pt x="1226" y="712"/>
                  </a:cubicBezTo>
                  <a:lnTo>
                    <a:pt x="1226" y="842"/>
                  </a:lnTo>
                  <a:close/>
                  <a:moveTo>
                    <a:pt x="1712" y="347"/>
                  </a:moveTo>
                  <a:cubicBezTo>
                    <a:pt x="1704" y="353"/>
                    <a:pt x="1695" y="356"/>
                    <a:pt x="1684" y="356"/>
                  </a:cubicBezTo>
                  <a:cubicBezTo>
                    <a:pt x="1670" y="356"/>
                    <a:pt x="1660" y="352"/>
                    <a:pt x="1654" y="345"/>
                  </a:cubicBezTo>
                  <a:cubicBezTo>
                    <a:pt x="1648" y="337"/>
                    <a:pt x="1645" y="324"/>
                    <a:pt x="1645" y="307"/>
                  </a:cubicBezTo>
                  <a:cubicBezTo>
                    <a:pt x="1645" y="157"/>
                    <a:pt x="1645" y="157"/>
                    <a:pt x="1645" y="157"/>
                  </a:cubicBezTo>
                  <a:cubicBezTo>
                    <a:pt x="1712" y="157"/>
                    <a:pt x="1712" y="157"/>
                    <a:pt x="1712" y="157"/>
                  </a:cubicBezTo>
                  <a:cubicBezTo>
                    <a:pt x="1712" y="121"/>
                    <a:pt x="1712" y="121"/>
                    <a:pt x="1712" y="121"/>
                  </a:cubicBezTo>
                  <a:cubicBezTo>
                    <a:pt x="1645" y="121"/>
                    <a:pt x="1645" y="121"/>
                    <a:pt x="1645" y="121"/>
                  </a:cubicBezTo>
                  <a:cubicBezTo>
                    <a:pt x="1645" y="43"/>
                    <a:pt x="1645" y="43"/>
                    <a:pt x="1645" y="43"/>
                  </a:cubicBezTo>
                  <a:cubicBezTo>
                    <a:pt x="1603" y="56"/>
                    <a:pt x="1603" y="56"/>
                    <a:pt x="1603" y="56"/>
                  </a:cubicBezTo>
                  <a:cubicBezTo>
                    <a:pt x="1603" y="121"/>
                    <a:pt x="1603" y="121"/>
                    <a:pt x="1603" y="121"/>
                  </a:cubicBezTo>
                  <a:cubicBezTo>
                    <a:pt x="1557" y="121"/>
                    <a:pt x="1557" y="121"/>
                    <a:pt x="1557" y="121"/>
                  </a:cubicBezTo>
                  <a:cubicBezTo>
                    <a:pt x="1557" y="157"/>
                    <a:pt x="1557" y="157"/>
                    <a:pt x="1557" y="157"/>
                  </a:cubicBezTo>
                  <a:cubicBezTo>
                    <a:pt x="1603" y="157"/>
                    <a:pt x="1603" y="157"/>
                    <a:pt x="1603" y="157"/>
                  </a:cubicBezTo>
                  <a:cubicBezTo>
                    <a:pt x="1603" y="314"/>
                    <a:pt x="1603" y="314"/>
                    <a:pt x="1603" y="314"/>
                  </a:cubicBezTo>
                  <a:cubicBezTo>
                    <a:pt x="1603" y="366"/>
                    <a:pt x="1626" y="392"/>
                    <a:pt x="1672" y="392"/>
                  </a:cubicBezTo>
                  <a:cubicBezTo>
                    <a:pt x="1688" y="392"/>
                    <a:pt x="1702" y="389"/>
                    <a:pt x="1712" y="383"/>
                  </a:cubicBezTo>
                  <a:lnTo>
                    <a:pt x="1712" y="347"/>
                  </a:lnTo>
                  <a:close/>
                  <a:moveTo>
                    <a:pt x="1596" y="616"/>
                  </a:moveTo>
                  <a:cubicBezTo>
                    <a:pt x="1530" y="727"/>
                    <a:pt x="1530" y="727"/>
                    <a:pt x="1530" y="727"/>
                  </a:cubicBezTo>
                  <a:cubicBezTo>
                    <a:pt x="1529" y="727"/>
                    <a:pt x="1529" y="727"/>
                    <a:pt x="1529" y="727"/>
                  </a:cubicBezTo>
                  <a:cubicBezTo>
                    <a:pt x="1466" y="616"/>
                    <a:pt x="1466" y="616"/>
                    <a:pt x="1466" y="616"/>
                  </a:cubicBezTo>
                  <a:cubicBezTo>
                    <a:pt x="1417" y="616"/>
                    <a:pt x="1417" y="616"/>
                    <a:pt x="1417" y="616"/>
                  </a:cubicBezTo>
                  <a:cubicBezTo>
                    <a:pt x="1503" y="751"/>
                    <a:pt x="1503" y="751"/>
                    <a:pt x="1503" y="751"/>
                  </a:cubicBezTo>
                  <a:cubicBezTo>
                    <a:pt x="1413" y="881"/>
                    <a:pt x="1413" y="881"/>
                    <a:pt x="1413" y="881"/>
                  </a:cubicBezTo>
                  <a:cubicBezTo>
                    <a:pt x="1462" y="881"/>
                    <a:pt x="1462" y="881"/>
                    <a:pt x="1462" y="881"/>
                  </a:cubicBezTo>
                  <a:cubicBezTo>
                    <a:pt x="1527" y="776"/>
                    <a:pt x="1527" y="776"/>
                    <a:pt x="1527" y="776"/>
                  </a:cubicBezTo>
                  <a:cubicBezTo>
                    <a:pt x="1528" y="776"/>
                    <a:pt x="1528" y="776"/>
                    <a:pt x="1528" y="776"/>
                  </a:cubicBezTo>
                  <a:cubicBezTo>
                    <a:pt x="1592" y="881"/>
                    <a:pt x="1592" y="881"/>
                    <a:pt x="1592" y="881"/>
                  </a:cubicBezTo>
                  <a:cubicBezTo>
                    <a:pt x="1641" y="881"/>
                    <a:pt x="1641" y="881"/>
                    <a:pt x="1641" y="881"/>
                  </a:cubicBezTo>
                  <a:cubicBezTo>
                    <a:pt x="1553" y="750"/>
                    <a:pt x="1553" y="750"/>
                    <a:pt x="1553" y="750"/>
                  </a:cubicBezTo>
                  <a:cubicBezTo>
                    <a:pt x="1642" y="616"/>
                    <a:pt x="1642" y="616"/>
                    <a:pt x="1642" y="616"/>
                  </a:cubicBezTo>
                  <a:lnTo>
                    <a:pt x="1596" y="616"/>
                  </a:lnTo>
                  <a:close/>
                  <a:moveTo>
                    <a:pt x="1226" y="15"/>
                  </a:moveTo>
                  <a:cubicBezTo>
                    <a:pt x="1182" y="15"/>
                    <a:pt x="1182" y="15"/>
                    <a:pt x="1182" y="15"/>
                  </a:cubicBezTo>
                  <a:cubicBezTo>
                    <a:pt x="1182" y="386"/>
                    <a:pt x="1182" y="386"/>
                    <a:pt x="1182" y="386"/>
                  </a:cubicBezTo>
                  <a:cubicBezTo>
                    <a:pt x="1226" y="386"/>
                    <a:pt x="1226" y="386"/>
                    <a:pt x="1226" y="386"/>
                  </a:cubicBezTo>
                  <a:lnTo>
                    <a:pt x="1226" y="15"/>
                  </a:lnTo>
                  <a:close/>
                  <a:moveTo>
                    <a:pt x="878" y="282"/>
                  </a:moveTo>
                  <a:cubicBezTo>
                    <a:pt x="907" y="336"/>
                    <a:pt x="922" y="399"/>
                    <a:pt x="922" y="464"/>
                  </a:cubicBezTo>
                  <a:cubicBezTo>
                    <a:pt x="922" y="476"/>
                    <a:pt x="921" y="492"/>
                    <a:pt x="920" y="505"/>
                  </a:cubicBezTo>
                  <a:cubicBezTo>
                    <a:pt x="919" y="508"/>
                    <a:pt x="919" y="511"/>
                    <a:pt x="919" y="514"/>
                  </a:cubicBezTo>
                  <a:cubicBezTo>
                    <a:pt x="372" y="514"/>
                    <a:pt x="372" y="514"/>
                    <a:pt x="372" y="514"/>
                  </a:cubicBezTo>
                  <a:cubicBezTo>
                    <a:pt x="368" y="514"/>
                    <a:pt x="368" y="514"/>
                    <a:pt x="368" y="514"/>
                  </a:cubicBezTo>
                  <a:cubicBezTo>
                    <a:pt x="368" y="518"/>
                    <a:pt x="368" y="518"/>
                    <a:pt x="368" y="518"/>
                  </a:cubicBezTo>
                  <a:cubicBezTo>
                    <a:pt x="369" y="521"/>
                    <a:pt x="369" y="521"/>
                    <a:pt x="369" y="521"/>
                  </a:cubicBezTo>
                  <a:cubicBezTo>
                    <a:pt x="369" y="610"/>
                    <a:pt x="446" y="685"/>
                    <a:pt x="538" y="685"/>
                  </a:cubicBezTo>
                  <a:cubicBezTo>
                    <a:pt x="602" y="685"/>
                    <a:pt x="666" y="649"/>
                    <a:pt x="693" y="597"/>
                  </a:cubicBezTo>
                  <a:cubicBezTo>
                    <a:pt x="904" y="597"/>
                    <a:pt x="904" y="597"/>
                    <a:pt x="904" y="597"/>
                  </a:cubicBezTo>
                  <a:cubicBezTo>
                    <a:pt x="875" y="677"/>
                    <a:pt x="824" y="743"/>
                    <a:pt x="757" y="787"/>
                  </a:cubicBezTo>
                  <a:cubicBezTo>
                    <a:pt x="693" y="830"/>
                    <a:pt x="617" y="852"/>
                    <a:pt x="536" y="852"/>
                  </a:cubicBezTo>
                  <a:cubicBezTo>
                    <a:pt x="474" y="852"/>
                    <a:pt x="417" y="840"/>
                    <a:pt x="365" y="816"/>
                  </a:cubicBezTo>
                  <a:cubicBezTo>
                    <a:pt x="246" y="881"/>
                    <a:pt x="142" y="895"/>
                    <a:pt x="86" y="838"/>
                  </a:cubicBezTo>
                  <a:cubicBezTo>
                    <a:pt x="0" y="751"/>
                    <a:pt x="112" y="455"/>
                    <a:pt x="303" y="263"/>
                  </a:cubicBezTo>
                  <a:cubicBezTo>
                    <a:pt x="310" y="255"/>
                    <a:pt x="353" y="215"/>
                    <a:pt x="354" y="214"/>
                  </a:cubicBezTo>
                  <a:cubicBezTo>
                    <a:pt x="353" y="215"/>
                    <a:pt x="331" y="226"/>
                    <a:pt x="329" y="227"/>
                  </a:cubicBezTo>
                  <a:cubicBezTo>
                    <a:pt x="243" y="275"/>
                    <a:pt x="167" y="365"/>
                    <a:pt x="153" y="381"/>
                  </a:cubicBezTo>
                  <a:cubicBezTo>
                    <a:pt x="172" y="302"/>
                    <a:pt x="214" y="231"/>
                    <a:pt x="274" y="178"/>
                  </a:cubicBezTo>
                  <a:cubicBezTo>
                    <a:pt x="345" y="115"/>
                    <a:pt x="439" y="80"/>
                    <a:pt x="536" y="80"/>
                  </a:cubicBezTo>
                  <a:cubicBezTo>
                    <a:pt x="542" y="80"/>
                    <a:pt x="547" y="80"/>
                    <a:pt x="553" y="80"/>
                  </a:cubicBezTo>
                  <a:cubicBezTo>
                    <a:pt x="690" y="16"/>
                    <a:pt x="821" y="0"/>
                    <a:pt x="875" y="54"/>
                  </a:cubicBezTo>
                  <a:cubicBezTo>
                    <a:pt x="923" y="103"/>
                    <a:pt x="920" y="185"/>
                    <a:pt x="878" y="282"/>
                  </a:cubicBezTo>
                  <a:close/>
                  <a:moveTo>
                    <a:pt x="339" y="803"/>
                  </a:moveTo>
                  <a:cubicBezTo>
                    <a:pt x="320" y="792"/>
                    <a:pt x="302" y="780"/>
                    <a:pt x="285" y="766"/>
                  </a:cubicBezTo>
                  <a:cubicBezTo>
                    <a:pt x="233" y="722"/>
                    <a:pt x="193" y="663"/>
                    <a:pt x="169" y="594"/>
                  </a:cubicBezTo>
                  <a:cubicBezTo>
                    <a:pt x="115" y="696"/>
                    <a:pt x="104" y="780"/>
                    <a:pt x="146" y="822"/>
                  </a:cubicBezTo>
                  <a:cubicBezTo>
                    <a:pt x="182" y="858"/>
                    <a:pt x="252" y="848"/>
                    <a:pt x="339" y="803"/>
                  </a:cubicBezTo>
                  <a:close/>
                  <a:moveTo>
                    <a:pt x="706" y="411"/>
                  </a:moveTo>
                  <a:cubicBezTo>
                    <a:pt x="705" y="407"/>
                    <a:pt x="705" y="407"/>
                    <a:pt x="705" y="407"/>
                  </a:cubicBezTo>
                  <a:cubicBezTo>
                    <a:pt x="701" y="319"/>
                    <a:pt x="630" y="251"/>
                    <a:pt x="543" y="251"/>
                  </a:cubicBezTo>
                  <a:cubicBezTo>
                    <a:pt x="453" y="251"/>
                    <a:pt x="373" y="322"/>
                    <a:pt x="369" y="407"/>
                  </a:cubicBezTo>
                  <a:cubicBezTo>
                    <a:pt x="368" y="411"/>
                    <a:pt x="368" y="411"/>
                    <a:pt x="368" y="411"/>
                  </a:cubicBezTo>
                  <a:cubicBezTo>
                    <a:pt x="372" y="411"/>
                    <a:pt x="372" y="411"/>
                    <a:pt x="372" y="411"/>
                  </a:cubicBezTo>
                  <a:cubicBezTo>
                    <a:pt x="702" y="411"/>
                    <a:pt x="702" y="411"/>
                    <a:pt x="702" y="411"/>
                  </a:cubicBezTo>
                  <a:lnTo>
                    <a:pt x="706" y="411"/>
                  </a:lnTo>
                  <a:close/>
                  <a:moveTo>
                    <a:pt x="866" y="261"/>
                  </a:moveTo>
                  <a:cubicBezTo>
                    <a:pt x="866" y="261"/>
                    <a:pt x="866" y="261"/>
                    <a:pt x="866" y="260"/>
                  </a:cubicBezTo>
                  <a:cubicBezTo>
                    <a:pt x="898" y="188"/>
                    <a:pt x="902" y="130"/>
                    <a:pt x="870" y="98"/>
                  </a:cubicBezTo>
                  <a:cubicBezTo>
                    <a:pt x="832" y="60"/>
                    <a:pt x="761" y="65"/>
                    <a:pt x="674" y="105"/>
                  </a:cubicBezTo>
                  <a:cubicBezTo>
                    <a:pt x="722" y="123"/>
                    <a:pt x="766" y="150"/>
                    <a:pt x="804" y="185"/>
                  </a:cubicBezTo>
                  <a:cubicBezTo>
                    <a:pt x="828" y="208"/>
                    <a:pt x="849" y="233"/>
                    <a:pt x="866" y="260"/>
                  </a:cubicBezTo>
                  <a:cubicBezTo>
                    <a:pt x="866" y="260"/>
                    <a:pt x="866" y="260"/>
                    <a:pt x="866" y="260"/>
                  </a:cubicBezTo>
                  <a:cubicBezTo>
                    <a:pt x="866" y="261"/>
                    <a:pt x="866" y="261"/>
                    <a:pt x="866" y="261"/>
                  </a:cubicBezTo>
                  <a:close/>
                  <a:moveTo>
                    <a:pt x="2480" y="356"/>
                  </a:moveTo>
                  <a:cubicBezTo>
                    <a:pt x="2458" y="331"/>
                    <a:pt x="2448" y="298"/>
                    <a:pt x="2448" y="255"/>
                  </a:cubicBezTo>
                  <a:cubicBezTo>
                    <a:pt x="2448" y="228"/>
                    <a:pt x="2453" y="204"/>
                    <a:pt x="2464" y="183"/>
                  </a:cubicBezTo>
                  <a:cubicBezTo>
                    <a:pt x="2474" y="161"/>
                    <a:pt x="2489" y="144"/>
                    <a:pt x="2507" y="132"/>
                  </a:cubicBezTo>
                  <a:cubicBezTo>
                    <a:pt x="2526" y="121"/>
                    <a:pt x="2547" y="115"/>
                    <a:pt x="2570" y="115"/>
                  </a:cubicBezTo>
                  <a:cubicBezTo>
                    <a:pt x="2604" y="115"/>
                    <a:pt x="2631" y="126"/>
                    <a:pt x="2650" y="148"/>
                  </a:cubicBezTo>
                  <a:cubicBezTo>
                    <a:pt x="2669" y="170"/>
                    <a:pt x="2679" y="202"/>
                    <a:pt x="2679" y="242"/>
                  </a:cubicBezTo>
                  <a:cubicBezTo>
                    <a:pt x="2679" y="264"/>
                    <a:pt x="2679" y="264"/>
                    <a:pt x="2679" y="264"/>
                  </a:cubicBezTo>
                  <a:cubicBezTo>
                    <a:pt x="2492" y="264"/>
                    <a:pt x="2492" y="264"/>
                    <a:pt x="2492" y="264"/>
                  </a:cubicBezTo>
                  <a:cubicBezTo>
                    <a:pt x="2492" y="294"/>
                    <a:pt x="2500" y="317"/>
                    <a:pt x="2515" y="333"/>
                  </a:cubicBezTo>
                  <a:cubicBezTo>
                    <a:pt x="2530" y="348"/>
                    <a:pt x="2551" y="356"/>
                    <a:pt x="2578" y="356"/>
                  </a:cubicBezTo>
                  <a:cubicBezTo>
                    <a:pt x="2608" y="356"/>
                    <a:pt x="2636" y="347"/>
                    <a:pt x="2660" y="327"/>
                  </a:cubicBezTo>
                  <a:cubicBezTo>
                    <a:pt x="2660" y="367"/>
                    <a:pt x="2660" y="367"/>
                    <a:pt x="2660" y="367"/>
                  </a:cubicBezTo>
                  <a:cubicBezTo>
                    <a:pt x="2637" y="384"/>
                    <a:pt x="2606" y="393"/>
                    <a:pt x="2568" y="393"/>
                  </a:cubicBezTo>
                  <a:cubicBezTo>
                    <a:pt x="2530" y="393"/>
                    <a:pt x="2501" y="380"/>
                    <a:pt x="2480" y="356"/>
                  </a:cubicBezTo>
                  <a:close/>
                  <a:moveTo>
                    <a:pt x="2492" y="228"/>
                  </a:moveTo>
                  <a:cubicBezTo>
                    <a:pt x="2635" y="228"/>
                    <a:pt x="2635" y="228"/>
                    <a:pt x="2635" y="228"/>
                  </a:cubicBezTo>
                  <a:cubicBezTo>
                    <a:pt x="2635" y="204"/>
                    <a:pt x="2629" y="185"/>
                    <a:pt x="2618" y="171"/>
                  </a:cubicBezTo>
                  <a:cubicBezTo>
                    <a:pt x="2606" y="158"/>
                    <a:pt x="2590" y="151"/>
                    <a:pt x="2569" y="151"/>
                  </a:cubicBezTo>
                  <a:cubicBezTo>
                    <a:pt x="2549" y="151"/>
                    <a:pt x="2533" y="158"/>
                    <a:pt x="2519" y="172"/>
                  </a:cubicBezTo>
                  <a:cubicBezTo>
                    <a:pt x="2505" y="186"/>
                    <a:pt x="2496" y="205"/>
                    <a:pt x="2492" y="228"/>
                  </a:cubicBezTo>
                  <a:close/>
                  <a:moveTo>
                    <a:pt x="1346" y="235"/>
                  </a:moveTo>
                  <a:cubicBezTo>
                    <a:pt x="1346" y="210"/>
                    <a:pt x="1353" y="190"/>
                    <a:pt x="1367" y="174"/>
                  </a:cubicBezTo>
                  <a:cubicBezTo>
                    <a:pt x="1381" y="159"/>
                    <a:pt x="1398" y="151"/>
                    <a:pt x="1419" y="151"/>
                  </a:cubicBezTo>
                  <a:cubicBezTo>
                    <a:pt x="1460" y="151"/>
                    <a:pt x="1481" y="179"/>
                    <a:pt x="1481" y="235"/>
                  </a:cubicBezTo>
                  <a:cubicBezTo>
                    <a:pt x="1481" y="386"/>
                    <a:pt x="1481" y="386"/>
                    <a:pt x="1481" y="386"/>
                  </a:cubicBezTo>
                  <a:cubicBezTo>
                    <a:pt x="1523" y="386"/>
                    <a:pt x="1523" y="386"/>
                    <a:pt x="1523" y="386"/>
                  </a:cubicBezTo>
                  <a:cubicBezTo>
                    <a:pt x="1523" y="224"/>
                    <a:pt x="1523" y="224"/>
                    <a:pt x="1523" y="224"/>
                  </a:cubicBezTo>
                  <a:cubicBezTo>
                    <a:pt x="1523" y="189"/>
                    <a:pt x="1515" y="162"/>
                    <a:pt x="1500" y="143"/>
                  </a:cubicBezTo>
                  <a:cubicBezTo>
                    <a:pt x="1485" y="124"/>
                    <a:pt x="1463" y="115"/>
                    <a:pt x="1434" y="115"/>
                  </a:cubicBezTo>
                  <a:cubicBezTo>
                    <a:pt x="1395" y="115"/>
                    <a:pt x="1366" y="131"/>
                    <a:pt x="1347" y="165"/>
                  </a:cubicBezTo>
                  <a:cubicBezTo>
                    <a:pt x="1346" y="165"/>
                    <a:pt x="1346" y="165"/>
                    <a:pt x="1346" y="165"/>
                  </a:cubicBezTo>
                  <a:cubicBezTo>
                    <a:pt x="1346" y="121"/>
                    <a:pt x="1346" y="121"/>
                    <a:pt x="1346" y="121"/>
                  </a:cubicBezTo>
                  <a:cubicBezTo>
                    <a:pt x="1303" y="121"/>
                    <a:pt x="1303" y="121"/>
                    <a:pt x="1303" y="121"/>
                  </a:cubicBezTo>
                  <a:cubicBezTo>
                    <a:pt x="1303" y="386"/>
                    <a:pt x="1303" y="386"/>
                    <a:pt x="1303" y="386"/>
                  </a:cubicBezTo>
                  <a:cubicBezTo>
                    <a:pt x="1346" y="386"/>
                    <a:pt x="1346" y="386"/>
                    <a:pt x="1346" y="386"/>
                  </a:cubicBezTo>
                  <a:lnTo>
                    <a:pt x="1346" y="235"/>
                  </a:lnTo>
                  <a:close/>
                  <a:moveTo>
                    <a:pt x="2402" y="386"/>
                  </a:moveTo>
                  <a:cubicBezTo>
                    <a:pt x="2402" y="224"/>
                    <a:pt x="2402" y="224"/>
                    <a:pt x="2402" y="224"/>
                  </a:cubicBezTo>
                  <a:cubicBezTo>
                    <a:pt x="2402" y="189"/>
                    <a:pt x="2394" y="162"/>
                    <a:pt x="2379" y="143"/>
                  </a:cubicBezTo>
                  <a:cubicBezTo>
                    <a:pt x="2364" y="124"/>
                    <a:pt x="2342" y="115"/>
                    <a:pt x="2313" y="115"/>
                  </a:cubicBezTo>
                  <a:cubicBezTo>
                    <a:pt x="2274" y="115"/>
                    <a:pt x="2245" y="131"/>
                    <a:pt x="2226" y="165"/>
                  </a:cubicBezTo>
                  <a:cubicBezTo>
                    <a:pt x="2225" y="165"/>
                    <a:pt x="2225" y="165"/>
                    <a:pt x="2225" y="165"/>
                  </a:cubicBezTo>
                  <a:cubicBezTo>
                    <a:pt x="2225" y="121"/>
                    <a:pt x="2225" y="121"/>
                    <a:pt x="2225" y="121"/>
                  </a:cubicBezTo>
                  <a:cubicBezTo>
                    <a:pt x="2182" y="121"/>
                    <a:pt x="2182" y="121"/>
                    <a:pt x="2182" y="121"/>
                  </a:cubicBezTo>
                  <a:cubicBezTo>
                    <a:pt x="2182" y="386"/>
                    <a:pt x="2182" y="386"/>
                    <a:pt x="2182" y="386"/>
                  </a:cubicBezTo>
                  <a:cubicBezTo>
                    <a:pt x="2225" y="386"/>
                    <a:pt x="2225" y="386"/>
                    <a:pt x="2225" y="386"/>
                  </a:cubicBezTo>
                  <a:cubicBezTo>
                    <a:pt x="2225" y="235"/>
                    <a:pt x="2225" y="235"/>
                    <a:pt x="2225" y="235"/>
                  </a:cubicBezTo>
                  <a:cubicBezTo>
                    <a:pt x="2225" y="210"/>
                    <a:pt x="2232" y="190"/>
                    <a:pt x="2246" y="174"/>
                  </a:cubicBezTo>
                  <a:cubicBezTo>
                    <a:pt x="2260" y="159"/>
                    <a:pt x="2277" y="151"/>
                    <a:pt x="2298" y="151"/>
                  </a:cubicBezTo>
                  <a:cubicBezTo>
                    <a:pt x="2339" y="151"/>
                    <a:pt x="2360" y="179"/>
                    <a:pt x="2360" y="235"/>
                  </a:cubicBezTo>
                  <a:cubicBezTo>
                    <a:pt x="2360" y="386"/>
                    <a:pt x="2360" y="386"/>
                    <a:pt x="2360" y="386"/>
                  </a:cubicBezTo>
                  <a:lnTo>
                    <a:pt x="2402" y="386"/>
                  </a:lnTo>
                  <a:close/>
                  <a:moveTo>
                    <a:pt x="2719" y="643"/>
                  </a:moveTo>
                  <a:cubicBezTo>
                    <a:pt x="2739" y="665"/>
                    <a:pt x="2748" y="697"/>
                    <a:pt x="2748" y="737"/>
                  </a:cubicBezTo>
                  <a:cubicBezTo>
                    <a:pt x="2748" y="759"/>
                    <a:pt x="2748" y="759"/>
                    <a:pt x="2748" y="759"/>
                  </a:cubicBezTo>
                  <a:cubicBezTo>
                    <a:pt x="2561" y="759"/>
                    <a:pt x="2561" y="759"/>
                    <a:pt x="2561" y="759"/>
                  </a:cubicBezTo>
                  <a:cubicBezTo>
                    <a:pt x="2562" y="789"/>
                    <a:pt x="2570" y="812"/>
                    <a:pt x="2585" y="828"/>
                  </a:cubicBezTo>
                  <a:cubicBezTo>
                    <a:pt x="2600" y="843"/>
                    <a:pt x="2621" y="851"/>
                    <a:pt x="2647" y="851"/>
                  </a:cubicBezTo>
                  <a:cubicBezTo>
                    <a:pt x="2677" y="851"/>
                    <a:pt x="2705" y="842"/>
                    <a:pt x="2729" y="822"/>
                  </a:cubicBezTo>
                  <a:cubicBezTo>
                    <a:pt x="2729" y="862"/>
                    <a:pt x="2729" y="862"/>
                    <a:pt x="2729" y="862"/>
                  </a:cubicBezTo>
                  <a:cubicBezTo>
                    <a:pt x="2706" y="879"/>
                    <a:pt x="2676" y="888"/>
                    <a:pt x="2637" y="888"/>
                  </a:cubicBezTo>
                  <a:cubicBezTo>
                    <a:pt x="2600" y="888"/>
                    <a:pt x="2570" y="875"/>
                    <a:pt x="2549" y="851"/>
                  </a:cubicBezTo>
                  <a:cubicBezTo>
                    <a:pt x="2528" y="826"/>
                    <a:pt x="2517" y="793"/>
                    <a:pt x="2517" y="750"/>
                  </a:cubicBezTo>
                  <a:cubicBezTo>
                    <a:pt x="2517" y="723"/>
                    <a:pt x="2522" y="699"/>
                    <a:pt x="2533" y="678"/>
                  </a:cubicBezTo>
                  <a:cubicBezTo>
                    <a:pt x="2544" y="656"/>
                    <a:pt x="2558" y="639"/>
                    <a:pt x="2577" y="627"/>
                  </a:cubicBezTo>
                  <a:cubicBezTo>
                    <a:pt x="2595" y="616"/>
                    <a:pt x="2616" y="610"/>
                    <a:pt x="2639" y="610"/>
                  </a:cubicBezTo>
                  <a:cubicBezTo>
                    <a:pt x="2673" y="610"/>
                    <a:pt x="2700" y="621"/>
                    <a:pt x="2719" y="643"/>
                  </a:cubicBezTo>
                  <a:close/>
                  <a:moveTo>
                    <a:pt x="2705" y="723"/>
                  </a:moveTo>
                  <a:cubicBezTo>
                    <a:pt x="2704" y="699"/>
                    <a:pt x="2698" y="680"/>
                    <a:pt x="2687" y="666"/>
                  </a:cubicBezTo>
                  <a:cubicBezTo>
                    <a:pt x="2675" y="653"/>
                    <a:pt x="2659" y="646"/>
                    <a:pt x="2638" y="646"/>
                  </a:cubicBezTo>
                  <a:cubicBezTo>
                    <a:pt x="2619" y="646"/>
                    <a:pt x="2602" y="653"/>
                    <a:pt x="2588" y="667"/>
                  </a:cubicBezTo>
                  <a:cubicBezTo>
                    <a:pt x="2574" y="681"/>
                    <a:pt x="2565" y="700"/>
                    <a:pt x="2562" y="723"/>
                  </a:cubicBezTo>
                  <a:lnTo>
                    <a:pt x="2705" y="723"/>
                  </a:lnTo>
                  <a:close/>
                  <a:moveTo>
                    <a:pt x="2850" y="383"/>
                  </a:moveTo>
                  <a:cubicBezTo>
                    <a:pt x="2850" y="347"/>
                    <a:pt x="2850" y="347"/>
                    <a:pt x="2850" y="347"/>
                  </a:cubicBezTo>
                  <a:cubicBezTo>
                    <a:pt x="2842" y="353"/>
                    <a:pt x="2833" y="356"/>
                    <a:pt x="2822" y="356"/>
                  </a:cubicBezTo>
                  <a:cubicBezTo>
                    <a:pt x="2808" y="356"/>
                    <a:pt x="2798" y="352"/>
                    <a:pt x="2792" y="345"/>
                  </a:cubicBezTo>
                  <a:cubicBezTo>
                    <a:pt x="2786" y="337"/>
                    <a:pt x="2783" y="324"/>
                    <a:pt x="2783" y="307"/>
                  </a:cubicBezTo>
                  <a:cubicBezTo>
                    <a:pt x="2783" y="157"/>
                    <a:pt x="2783" y="157"/>
                    <a:pt x="2783" y="157"/>
                  </a:cubicBezTo>
                  <a:cubicBezTo>
                    <a:pt x="2850" y="157"/>
                    <a:pt x="2850" y="157"/>
                    <a:pt x="2850" y="157"/>
                  </a:cubicBezTo>
                  <a:cubicBezTo>
                    <a:pt x="2850" y="121"/>
                    <a:pt x="2850" y="121"/>
                    <a:pt x="2850" y="121"/>
                  </a:cubicBezTo>
                  <a:cubicBezTo>
                    <a:pt x="2783" y="121"/>
                    <a:pt x="2783" y="121"/>
                    <a:pt x="2783" y="121"/>
                  </a:cubicBezTo>
                  <a:cubicBezTo>
                    <a:pt x="2783" y="43"/>
                    <a:pt x="2783" y="43"/>
                    <a:pt x="2783" y="43"/>
                  </a:cubicBezTo>
                  <a:cubicBezTo>
                    <a:pt x="2741" y="56"/>
                    <a:pt x="2741" y="56"/>
                    <a:pt x="2741" y="56"/>
                  </a:cubicBezTo>
                  <a:cubicBezTo>
                    <a:pt x="2741" y="121"/>
                    <a:pt x="2741" y="121"/>
                    <a:pt x="2741" y="121"/>
                  </a:cubicBezTo>
                  <a:cubicBezTo>
                    <a:pt x="2695" y="121"/>
                    <a:pt x="2695" y="121"/>
                    <a:pt x="2695" y="121"/>
                  </a:cubicBezTo>
                  <a:cubicBezTo>
                    <a:pt x="2695" y="157"/>
                    <a:pt x="2695" y="157"/>
                    <a:pt x="2695" y="157"/>
                  </a:cubicBezTo>
                  <a:cubicBezTo>
                    <a:pt x="2741" y="157"/>
                    <a:pt x="2741" y="157"/>
                    <a:pt x="2741" y="157"/>
                  </a:cubicBezTo>
                  <a:cubicBezTo>
                    <a:pt x="2741" y="314"/>
                    <a:pt x="2741" y="314"/>
                    <a:pt x="2741" y="314"/>
                  </a:cubicBezTo>
                  <a:cubicBezTo>
                    <a:pt x="2741" y="366"/>
                    <a:pt x="2764" y="392"/>
                    <a:pt x="2810" y="392"/>
                  </a:cubicBezTo>
                  <a:cubicBezTo>
                    <a:pt x="2826" y="392"/>
                    <a:pt x="2840" y="389"/>
                    <a:pt x="2850" y="383"/>
                  </a:cubicBezTo>
                  <a:close/>
                  <a:moveTo>
                    <a:pt x="2866" y="627"/>
                  </a:moveTo>
                  <a:cubicBezTo>
                    <a:pt x="2854" y="638"/>
                    <a:pt x="2845" y="652"/>
                    <a:pt x="2839" y="671"/>
                  </a:cubicBezTo>
                  <a:cubicBezTo>
                    <a:pt x="2838" y="671"/>
                    <a:pt x="2838" y="671"/>
                    <a:pt x="2838" y="671"/>
                  </a:cubicBezTo>
                  <a:cubicBezTo>
                    <a:pt x="2838" y="616"/>
                    <a:pt x="2838" y="616"/>
                    <a:pt x="2838" y="616"/>
                  </a:cubicBezTo>
                  <a:cubicBezTo>
                    <a:pt x="2796" y="616"/>
                    <a:pt x="2796" y="616"/>
                    <a:pt x="2796" y="616"/>
                  </a:cubicBezTo>
                  <a:cubicBezTo>
                    <a:pt x="2796" y="881"/>
                    <a:pt x="2796" y="881"/>
                    <a:pt x="2796" y="881"/>
                  </a:cubicBezTo>
                  <a:cubicBezTo>
                    <a:pt x="2838" y="881"/>
                    <a:pt x="2838" y="881"/>
                    <a:pt x="2838" y="881"/>
                  </a:cubicBezTo>
                  <a:cubicBezTo>
                    <a:pt x="2838" y="746"/>
                    <a:pt x="2838" y="746"/>
                    <a:pt x="2838" y="746"/>
                  </a:cubicBezTo>
                  <a:cubicBezTo>
                    <a:pt x="2838" y="718"/>
                    <a:pt x="2844" y="695"/>
                    <a:pt x="2856" y="677"/>
                  </a:cubicBezTo>
                  <a:cubicBezTo>
                    <a:pt x="2867" y="659"/>
                    <a:pt x="2883" y="650"/>
                    <a:pt x="2901" y="650"/>
                  </a:cubicBezTo>
                  <a:cubicBezTo>
                    <a:pt x="2915" y="650"/>
                    <a:pt x="2926" y="653"/>
                    <a:pt x="2934" y="659"/>
                  </a:cubicBezTo>
                  <a:cubicBezTo>
                    <a:pt x="2934" y="615"/>
                    <a:pt x="2934" y="615"/>
                    <a:pt x="2934" y="615"/>
                  </a:cubicBezTo>
                  <a:cubicBezTo>
                    <a:pt x="2928" y="613"/>
                    <a:pt x="2920" y="611"/>
                    <a:pt x="2908" y="611"/>
                  </a:cubicBezTo>
                  <a:cubicBezTo>
                    <a:pt x="2893" y="611"/>
                    <a:pt x="2879" y="617"/>
                    <a:pt x="2866" y="627"/>
                  </a:cubicBezTo>
                  <a:close/>
                  <a:moveTo>
                    <a:pt x="1887" y="645"/>
                  </a:moveTo>
                  <a:cubicBezTo>
                    <a:pt x="1906" y="668"/>
                    <a:pt x="1916" y="700"/>
                    <a:pt x="1916" y="741"/>
                  </a:cubicBezTo>
                  <a:cubicBezTo>
                    <a:pt x="1916" y="785"/>
                    <a:pt x="1905" y="821"/>
                    <a:pt x="1883" y="848"/>
                  </a:cubicBezTo>
                  <a:cubicBezTo>
                    <a:pt x="1861" y="874"/>
                    <a:pt x="1832" y="888"/>
                    <a:pt x="1795" y="888"/>
                  </a:cubicBezTo>
                  <a:cubicBezTo>
                    <a:pt x="1760" y="888"/>
                    <a:pt x="1734" y="873"/>
                    <a:pt x="1716" y="843"/>
                  </a:cubicBezTo>
                  <a:cubicBezTo>
                    <a:pt x="1715" y="843"/>
                    <a:pt x="1715" y="843"/>
                    <a:pt x="1715" y="843"/>
                  </a:cubicBezTo>
                  <a:cubicBezTo>
                    <a:pt x="1715" y="1003"/>
                    <a:pt x="1715" y="1003"/>
                    <a:pt x="1715" y="1003"/>
                  </a:cubicBezTo>
                  <a:cubicBezTo>
                    <a:pt x="1672" y="1003"/>
                    <a:pt x="1672" y="1003"/>
                    <a:pt x="1672" y="1003"/>
                  </a:cubicBezTo>
                  <a:cubicBezTo>
                    <a:pt x="1672" y="616"/>
                    <a:pt x="1672" y="616"/>
                    <a:pt x="1672" y="616"/>
                  </a:cubicBezTo>
                  <a:cubicBezTo>
                    <a:pt x="1715" y="616"/>
                    <a:pt x="1715" y="616"/>
                    <a:pt x="1715" y="616"/>
                  </a:cubicBezTo>
                  <a:cubicBezTo>
                    <a:pt x="1715" y="663"/>
                    <a:pt x="1715" y="663"/>
                    <a:pt x="1715" y="663"/>
                  </a:cubicBezTo>
                  <a:cubicBezTo>
                    <a:pt x="1716" y="663"/>
                    <a:pt x="1716" y="663"/>
                    <a:pt x="1716" y="663"/>
                  </a:cubicBezTo>
                  <a:cubicBezTo>
                    <a:pt x="1737" y="627"/>
                    <a:pt x="1767" y="610"/>
                    <a:pt x="1807" y="610"/>
                  </a:cubicBezTo>
                  <a:cubicBezTo>
                    <a:pt x="1841" y="610"/>
                    <a:pt x="1867" y="621"/>
                    <a:pt x="1887" y="645"/>
                  </a:cubicBezTo>
                  <a:close/>
                  <a:moveTo>
                    <a:pt x="1873" y="740"/>
                  </a:moveTo>
                  <a:cubicBezTo>
                    <a:pt x="1873" y="711"/>
                    <a:pt x="1866" y="688"/>
                    <a:pt x="1852" y="671"/>
                  </a:cubicBezTo>
                  <a:cubicBezTo>
                    <a:pt x="1839" y="654"/>
                    <a:pt x="1820" y="646"/>
                    <a:pt x="1797" y="646"/>
                  </a:cubicBezTo>
                  <a:cubicBezTo>
                    <a:pt x="1773" y="646"/>
                    <a:pt x="1753" y="654"/>
                    <a:pt x="1738" y="671"/>
                  </a:cubicBezTo>
                  <a:cubicBezTo>
                    <a:pt x="1722" y="688"/>
                    <a:pt x="1715" y="710"/>
                    <a:pt x="1715" y="736"/>
                  </a:cubicBezTo>
                  <a:cubicBezTo>
                    <a:pt x="1715" y="773"/>
                    <a:pt x="1715" y="773"/>
                    <a:pt x="1715" y="773"/>
                  </a:cubicBezTo>
                  <a:cubicBezTo>
                    <a:pt x="1715" y="795"/>
                    <a:pt x="1722" y="814"/>
                    <a:pt x="1737" y="829"/>
                  </a:cubicBezTo>
                  <a:cubicBezTo>
                    <a:pt x="1751" y="844"/>
                    <a:pt x="1769" y="851"/>
                    <a:pt x="1791" y="851"/>
                  </a:cubicBezTo>
                  <a:cubicBezTo>
                    <a:pt x="1816" y="851"/>
                    <a:pt x="1836" y="841"/>
                    <a:pt x="1851" y="822"/>
                  </a:cubicBezTo>
                  <a:cubicBezTo>
                    <a:pt x="1865" y="802"/>
                    <a:pt x="1873" y="775"/>
                    <a:pt x="1873" y="740"/>
                  </a:cubicBezTo>
                  <a:close/>
                  <a:moveTo>
                    <a:pt x="3468" y="694"/>
                  </a:moveTo>
                  <a:cubicBezTo>
                    <a:pt x="3468" y="755"/>
                    <a:pt x="3457" y="803"/>
                    <a:pt x="3435" y="836"/>
                  </a:cubicBezTo>
                  <a:cubicBezTo>
                    <a:pt x="3414" y="870"/>
                    <a:pt x="3383" y="887"/>
                    <a:pt x="3343" y="887"/>
                  </a:cubicBezTo>
                  <a:cubicBezTo>
                    <a:pt x="3306" y="887"/>
                    <a:pt x="3277" y="871"/>
                    <a:pt x="3257" y="839"/>
                  </a:cubicBezTo>
                  <a:cubicBezTo>
                    <a:pt x="3236" y="808"/>
                    <a:pt x="3226" y="762"/>
                    <a:pt x="3226" y="703"/>
                  </a:cubicBezTo>
                  <a:cubicBezTo>
                    <a:pt x="3226" y="638"/>
                    <a:pt x="3237" y="589"/>
                    <a:pt x="3258" y="555"/>
                  </a:cubicBezTo>
                  <a:cubicBezTo>
                    <a:pt x="3279" y="521"/>
                    <a:pt x="3310" y="503"/>
                    <a:pt x="3351" y="503"/>
                  </a:cubicBezTo>
                  <a:cubicBezTo>
                    <a:pt x="3429" y="503"/>
                    <a:pt x="3468" y="567"/>
                    <a:pt x="3468" y="694"/>
                  </a:cubicBezTo>
                  <a:close/>
                  <a:moveTo>
                    <a:pt x="3424" y="698"/>
                  </a:moveTo>
                  <a:cubicBezTo>
                    <a:pt x="3424" y="592"/>
                    <a:pt x="3399" y="539"/>
                    <a:pt x="3349" y="539"/>
                  </a:cubicBezTo>
                  <a:cubicBezTo>
                    <a:pt x="3296" y="539"/>
                    <a:pt x="3270" y="593"/>
                    <a:pt x="3270" y="701"/>
                  </a:cubicBezTo>
                  <a:cubicBezTo>
                    <a:pt x="3270" y="801"/>
                    <a:pt x="3296" y="851"/>
                    <a:pt x="3347" y="851"/>
                  </a:cubicBezTo>
                  <a:cubicBezTo>
                    <a:pt x="3399" y="851"/>
                    <a:pt x="3424" y="800"/>
                    <a:pt x="3424" y="698"/>
                  </a:cubicBezTo>
                  <a:close/>
                  <a:moveTo>
                    <a:pt x="3093" y="536"/>
                  </a:moveTo>
                  <a:cubicBezTo>
                    <a:pt x="3072" y="548"/>
                    <a:pt x="3052" y="556"/>
                    <a:pt x="3033" y="561"/>
                  </a:cubicBezTo>
                  <a:cubicBezTo>
                    <a:pt x="3033" y="604"/>
                    <a:pt x="3033" y="604"/>
                    <a:pt x="3033" y="604"/>
                  </a:cubicBezTo>
                  <a:cubicBezTo>
                    <a:pt x="3048" y="601"/>
                    <a:pt x="3064" y="594"/>
                    <a:pt x="3081" y="585"/>
                  </a:cubicBezTo>
                  <a:cubicBezTo>
                    <a:pt x="3099" y="576"/>
                    <a:pt x="3112" y="568"/>
                    <a:pt x="3119" y="560"/>
                  </a:cubicBezTo>
                  <a:cubicBezTo>
                    <a:pt x="3119" y="881"/>
                    <a:pt x="3119" y="881"/>
                    <a:pt x="3119" y="881"/>
                  </a:cubicBezTo>
                  <a:cubicBezTo>
                    <a:pt x="3162" y="881"/>
                    <a:pt x="3162" y="881"/>
                    <a:pt x="3162" y="881"/>
                  </a:cubicBezTo>
                  <a:cubicBezTo>
                    <a:pt x="3162" y="501"/>
                    <a:pt x="3162" y="501"/>
                    <a:pt x="3162" y="501"/>
                  </a:cubicBezTo>
                  <a:cubicBezTo>
                    <a:pt x="3145" y="501"/>
                    <a:pt x="3145" y="501"/>
                    <a:pt x="3145" y="501"/>
                  </a:cubicBezTo>
                  <a:cubicBezTo>
                    <a:pt x="3132" y="513"/>
                    <a:pt x="3115" y="525"/>
                    <a:pt x="3093" y="536"/>
                  </a:cubicBezTo>
                  <a:close/>
                  <a:moveTo>
                    <a:pt x="2444" y="627"/>
                  </a:moveTo>
                  <a:cubicBezTo>
                    <a:pt x="2432" y="638"/>
                    <a:pt x="2423" y="652"/>
                    <a:pt x="2417" y="671"/>
                  </a:cubicBezTo>
                  <a:cubicBezTo>
                    <a:pt x="2416" y="671"/>
                    <a:pt x="2416" y="671"/>
                    <a:pt x="2416" y="671"/>
                  </a:cubicBezTo>
                  <a:cubicBezTo>
                    <a:pt x="2416" y="616"/>
                    <a:pt x="2416" y="616"/>
                    <a:pt x="2416" y="616"/>
                  </a:cubicBezTo>
                  <a:cubicBezTo>
                    <a:pt x="2374" y="616"/>
                    <a:pt x="2374" y="616"/>
                    <a:pt x="2374" y="616"/>
                  </a:cubicBezTo>
                  <a:cubicBezTo>
                    <a:pt x="2374" y="881"/>
                    <a:pt x="2374" y="881"/>
                    <a:pt x="2374" y="881"/>
                  </a:cubicBezTo>
                  <a:cubicBezTo>
                    <a:pt x="2416" y="881"/>
                    <a:pt x="2416" y="881"/>
                    <a:pt x="2416" y="881"/>
                  </a:cubicBezTo>
                  <a:cubicBezTo>
                    <a:pt x="2416" y="746"/>
                    <a:pt x="2416" y="746"/>
                    <a:pt x="2416" y="746"/>
                  </a:cubicBezTo>
                  <a:cubicBezTo>
                    <a:pt x="2416" y="718"/>
                    <a:pt x="2422" y="695"/>
                    <a:pt x="2434" y="677"/>
                  </a:cubicBezTo>
                  <a:cubicBezTo>
                    <a:pt x="2446" y="659"/>
                    <a:pt x="2461" y="650"/>
                    <a:pt x="2480" y="650"/>
                  </a:cubicBezTo>
                  <a:cubicBezTo>
                    <a:pt x="2494" y="650"/>
                    <a:pt x="2504" y="653"/>
                    <a:pt x="2512" y="659"/>
                  </a:cubicBezTo>
                  <a:cubicBezTo>
                    <a:pt x="2512" y="615"/>
                    <a:pt x="2512" y="615"/>
                    <a:pt x="2512" y="615"/>
                  </a:cubicBezTo>
                  <a:cubicBezTo>
                    <a:pt x="2506" y="613"/>
                    <a:pt x="2498" y="611"/>
                    <a:pt x="2487" y="611"/>
                  </a:cubicBezTo>
                  <a:cubicBezTo>
                    <a:pt x="2471" y="611"/>
                    <a:pt x="2457" y="617"/>
                    <a:pt x="2444" y="627"/>
                  </a:cubicBezTo>
                  <a:close/>
                  <a:moveTo>
                    <a:pt x="1968" y="881"/>
                  </a:moveTo>
                  <a:cubicBezTo>
                    <a:pt x="2010" y="881"/>
                    <a:pt x="2010" y="881"/>
                    <a:pt x="2010" y="881"/>
                  </a:cubicBezTo>
                  <a:cubicBezTo>
                    <a:pt x="2010" y="489"/>
                    <a:pt x="2010" y="489"/>
                    <a:pt x="2010" y="489"/>
                  </a:cubicBezTo>
                  <a:cubicBezTo>
                    <a:pt x="1968" y="489"/>
                    <a:pt x="1968" y="489"/>
                    <a:pt x="1968" y="489"/>
                  </a:cubicBezTo>
                  <a:lnTo>
                    <a:pt x="1968" y="881"/>
                  </a:lnTo>
                  <a:close/>
                  <a:moveTo>
                    <a:pt x="1936" y="148"/>
                  </a:moveTo>
                  <a:cubicBezTo>
                    <a:pt x="1955" y="170"/>
                    <a:pt x="1965" y="202"/>
                    <a:pt x="1965" y="242"/>
                  </a:cubicBezTo>
                  <a:cubicBezTo>
                    <a:pt x="1965" y="264"/>
                    <a:pt x="1965" y="264"/>
                    <a:pt x="1965" y="264"/>
                  </a:cubicBezTo>
                  <a:cubicBezTo>
                    <a:pt x="1778" y="264"/>
                    <a:pt x="1778" y="264"/>
                    <a:pt x="1778" y="264"/>
                  </a:cubicBezTo>
                  <a:cubicBezTo>
                    <a:pt x="1779" y="294"/>
                    <a:pt x="1786" y="317"/>
                    <a:pt x="1802" y="333"/>
                  </a:cubicBezTo>
                  <a:cubicBezTo>
                    <a:pt x="1817" y="348"/>
                    <a:pt x="1838" y="356"/>
                    <a:pt x="1864" y="356"/>
                  </a:cubicBezTo>
                  <a:cubicBezTo>
                    <a:pt x="1894" y="356"/>
                    <a:pt x="1922" y="347"/>
                    <a:pt x="1946" y="327"/>
                  </a:cubicBezTo>
                  <a:cubicBezTo>
                    <a:pt x="1946" y="367"/>
                    <a:pt x="1946" y="367"/>
                    <a:pt x="1946" y="367"/>
                  </a:cubicBezTo>
                  <a:cubicBezTo>
                    <a:pt x="1923" y="384"/>
                    <a:pt x="1893" y="393"/>
                    <a:pt x="1854" y="393"/>
                  </a:cubicBezTo>
                  <a:cubicBezTo>
                    <a:pt x="1816" y="393"/>
                    <a:pt x="1787" y="380"/>
                    <a:pt x="1766" y="356"/>
                  </a:cubicBezTo>
                  <a:cubicBezTo>
                    <a:pt x="1744" y="331"/>
                    <a:pt x="1734" y="298"/>
                    <a:pt x="1734" y="255"/>
                  </a:cubicBezTo>
                  <a:cubicBezTo>
                    <a:pt x="1734" y="228"/>
                    <a:pt x="1739" y="204"/>
                    <a:pt x="1750" y="183"/>
                  </a:cubicBezTo>
                  <a:cubicBezTo>
                    <a:pt x="1760" y="161"/>
                    <a:pt x="1775" y="144"/>
                    <a:pt x="1794" y="132"/>
                  </a:cubicBezTo>
                  <a:cubicBezTo>
                    <a:pt x="1812" y="121"/>
                    <a:pt x="1833" y="115"/>
                    <a:pt x="1856" y="115"/>
                  </a:cubicBezTo>
                  <a:cubicBezTo>
                    <a:pt x="1890" y="115"/>
                    <a:pt x="1917" y="126"/>
                    <a:pt x="1936" y="148"/>
                  </a:cubicBezTo>
                  <a:close/>
                  <a:moveTo>
                    <a:pt x="1922" y="228"/>
                  </a:moveTo>
                  <a:cubicBezTo>
                    <a:pt x="1921" y="204"/>
                    <a:pt x="1915" y="185"/>
                    <a:pt x="1904" y="171"/>
                  </a:cubicBezTo>
                  <a:cubicBezTo>
                    <a:pt x="1892" y="158"/>
                    <a:pt x="1876" y="151"/>
                    <a:pt x="1855" y="151"/>
                  </a:cubicBezTo>
                  <a:cubicBezTo>
                    <a:pt x="1836" y="151"/>
                    <a:pt x="1819" y="158"/>
                    <a:pt x="1805" y="172"/>
                  </a:cubicBezTo>
                  <a:cubicBezTo>
                    <a:pt x="1791" y="186"/>
                    <a:pt x="1782" y="205"/>
                    <a:pt x="1778" y="228"/>
                  </a:cubicBezTo>
                  <a:lnTo>
                    <a:pt x="1922" y="228"/>
                  </a:lnTo>
                  <a:close/>
                  <a:moveTo>
                    <a:pt x="2289" y="646"/>
                  </a:moveTo>
                  <a:cubicBezTo>
                    <a:pt x="2311" y="671"/>
                    <a:pt x="2322" y="705"/>
                    <a:pt x="2322" y="747"/>
                  </a:cubicBezTo>
                  <a:cubicBezTo>
                    <a:pt x="2322" y="790"/>
                    <a:pt x="2310" y="823"/>
                    <a:pt x="2286" y="849"/>
                  </a:cubicBezTo>
                  <a:cubicBezTo>
                    <a:pt x="2262" y="875"/>
                    <a:pt x="2230" y="888"/>
                    <a:pt x="2190" y="888"/>
                  </a:cubicBezTo>
                  <a:cubicBezTo>
                    <a:pt x="2151" y="888"/>
                    <a:pt x="2120" y="875"/>
                    <a:pt x="2096" y="850"/>
                  </a:cubicBezTo>
                  <a:cubicBezTo>
                    <a:pt x="2073" y="825"/>
                    <a:pt x="2061" y="792"/>
                    <a:pt x="2061" y="752"/>
                  </a:cubicBezTo>
                  <a:cubicBezTo>
                    <a:pt x="2061" y="708"/>
                    <a:pt x="2073" y="673"/>
                    <a:pt x="2097" y="648"/>
                  </a:cubicBezTo>
                  <a:cubicBezTo>
                    <a:pt x="2121" y="622"/>
                    <a:pt x="2154" y="610"/>
                    <a:pt x="2196" y="610"/>
                  </a:cubicBezTo>
                  <a:cubicBezTo>
                    <a:pt x="2236" y="610"/>
                    <a:pt x="2267" y="622"/>
                    <a:pt x="2289" y="646"/>
                  </a:cubicBezTo>
                  <a:close/>
                  <a:moveTo>
                    <a:pt x="2279" y="749"/>
                  </a:moveTo>
                  <a:cubicBezTo>
                    <a:pt x="2279" y="716"/>
                    <a:pt x="2271" y="690"/>
                    <a:pt x="2257" y="672"/>
                  </a:cubicBezTo>
                  <a:cubicBezTo>
                    <a:pt x="2242" y="655"/>
                    <a:pt x="2221" y="646"/>
                    <a:pt x="2193" y="646"/>
                  </a:cubicBezTo>
                  <a:cubicBezTo>
                    <a:pt x="2166" y="646"/>
                    <a:pt x="2144" y="655"/>
                    <a:pt x="2129" y="673"/>
                  </a:cubicBezTo>
                  <a:cubicBezTo>
                    <a:pt x="2113" y="691"/>
                    <a:pt x="2105" y="717"/>
                    <a:pt x="2105" y="750"/>
                  </a:cubicBezTo>
                  <a:cubicBezTo>
                    <a:pt x="2105" y="782"/>
                    <a:pt x="2113" y="807"/>
                    <a:pt x="2129" y="824"/>
                  </a:cubicBezTo>
                  <a:cubicBezTo>
                    <a:pt x="2145" y="842"/>
                    <a:pt x="2166" y="851"/>
                    <a:pt x="2193" y="851"/>
                  </a:cubicBezTo>
                  <a:cubicBezTo>
                    <a:pt x="2221" y="851"/>
                    <a:pt x="2242" y="842"/>
                    <a:pt x="2257" y="825"/>
                  </a:cubicBezTo>
                  <a:cubicBezTo>
                    <a:pt x="2271" y="807"/>
                    <a:pt x="2279" y="782"/>
                    <a:pt x="2279" y="749"/>
                  </a:cubicBezTo>
                  <a:close/>
                  <a:moveTo>
                    <a:pt x="2119" y="155"/>
                  </a:moveTo>
                  <a:cubicBezTo>
                    <a:pt x="2133" y="155"/>
                    <a:pt x="2143" y="158"/>
                    <a:pt x="2151" y="164"/>
                  </a:cubicBezTo>
                  <a:cubicBezTo>
                    <a:pt x="2151" y="120"/>
                    <a:pt x="2151" y="120"/>
                    <a:pt x="2151" y="120"/>
                  </a:cubicBezTo>
                  <a:cubicBezTo>
                    <a:pt x="2145" y="118"/>
                    <a:pt x="2137" y="116"/>
                    <a:pt x="2126" y="116"/>
                  </a:cubicBezTo>
                  <a:cubicBezTo>
                    <a:pt x="2110" y="116"/>
                    <a:pt x="2096" y="122"/>
                    <a:pt x="2083" y="132"/>
                  </a:cubicBezTo>
                  <a:cubicBezTo>
                    <a:pt x="2071" y="143"/>
                    <a:pt x="2062" y="157"/>
                    <a:pt x="2056" y="176"/>
                  </a:cubicBezTo>
                  <a:cubicBezTo>
                    <a:pt x="2055" y="176"/>
                    <a:pt x="2055" y="176"/>
                    <a:pt x="2055" y="176"/>
                  </a:cubicBezTo>
                  <a:cubicBezTo>
                    <a:pt x="2055" y="121"/>
                    <a:pt x="2055" y="121"/>
                    <a:pt x="2055" y="121"/>
                  </a:cubicBezTo>
                  <a:cubicBezTo>
                    <a:pt x="2013" y="121"/>
                    <a:pt x="2013" y="121"/>
                    <a:pt x="2013" y="121"/>
                  </a:cubicBezTo>
                  <a:cubicBezTo>
                    <a:pt x="2013" y="386"/>
                    <a:pt x="2013" y="386"/>
                    <a:pt x="2013" y="386"/>
                  </a:cubicBezTo>
                  <a:cubicBezTo>
                    <a:pt x="2055" y="386"/>
                    <a:pt x="2055" y="386"/>
                    <a:pt x="2055" y="386"/>
                  </a:cubicBezTo>
                  <a:cubicBezTo>
                    <a:pt x="2055" y="251"/>
                    <a:pt x="2055" y="251"/>
                    <a:pt x="2055" y="251"/>
                  </a:cubicBezTo>
                  <a:cubicBezTo>
                    <a:pt x="2055" y="223"/>
                    <a:pt x="2061" y="200"/>
                    <a:pt x="2073" y="182"/>
                  </a:cubicBezTo>
                  <a:cubicBezTo>
                    <a:pt x="2084" y="164"/>
                    <a:pt x="2100" y="155"/>
                    <a:pt x="2119" y="155"/>
                  </a:cubicBezTo>
                  <a:close/>
                </a:path>
              </a:pathLst>
            </a:custGeom>
            <a:solidFill>
              <a:schemeClr val="bg1"/>
            </a:solidFill>
            <a:ln>
              <a:noFill/>
            </a:ln>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pic>
          <p:nvPicPr>
            <p:cNvPr id="155" name="Picture 154"/>
            <p:cNvPicPr>
              <a:picLocks noChangeAspect="1"/>
            </p:cNvPicPr>
            <p:nvPr/>
          </p:nvPicPr>
          <p:blipFill>
            <a:blip r:embed="rId3"/>
            <a:stretch>
              <a:fillRect/>
            </a:stretch>
          </p:blipFill>
          <p:spPr>
            <a:xfrm>
              <a:off x="7728449" y="4312502"/>
              <a:ext cx="268132" cy="269514"/>
            </a:xfrm>
            <a:prstGeom prst="rect">
              <a:avLst/>
            </a:prstGeom>
          </p:spPr>
        </p:pic>
        <p:cxnSp>
          <p:nvCxnSpPr>
            <p:cNvPr id="126" name="Straight Connector 125"/>
            <p:cNvCxnSpPr/>
            <p:nvPr/>
          </p:nvCxnSpPr>
          <p:spPr>
            <a:xfrm>
              <a:off x="7799908" y="5361024"/>
              <a:ext cx="1540469" cy="0"/>
            </a:xfrm>
            <a:prstGeom prst="line">
              <a:avLst/>
            </a:prstGeom>
            <a:ln w="28575">
              <a:solidFill>
                <a:schemeClr val="bg1"/>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8" name="Straight Connector 157"/>
            <p:cNvCxnSpPr/>
            <p:nvPr/>
          </p:nvCxnSpPr>
          <p:spPr>
            <a:xfrm>
              <a:off x="7799908" y="5126405"/>
              <a:ext cx="1540469" cy="0"/>
            </a:xfrm>
            <a:prstGeom prst="line">
              <a:avLst/>
            </a:prstGeom>
            <a:ln w="28575">
              <a:solidFill>
                <a:schemeClr val="bg1"/>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9" name="Straight Connector 158"/>
            <p:cNvCxnSpPr/>
            <p:nvPr/>
          </p:nvCxnSpPr>
          <p:spPr>
            <a:xfrm>
              <a:off x="7799908" y="4891787"/>
              <a:ext cx="1540469" cy="0"/>
            </a:xfrm>
            <a:prstGeom prst="line">
              <a:avLst/>
            </a:prstGeom>
            <a:ln w="28575">
              <a:solidFill>
                <a:schemeClr val="bg1"/>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61" name="Freeform 17"/>
            <p:cNvSpPr>
              <a:spLocks noChangeAspect="1" noEditPoints="1"/>
            </p:cNvSpPr>
            <p:nvPr/>
          </p:nvSpPr>
          <p:spPr bwMode="auto">
            <a:xfrm>
              <a:off x="6609897" y="5949540"/>
              <a:ext cx="1371021" cy="201795"/>
            </a:xfrm>
            <a:custGeom>
              <a:avLst/>
              <a:gdLst>
                <a:gd name="T0" fmla="*/ 382 w 5870"/>
                <a:gd name="T1" fmla="*/ 425 h 864"/>
                <a:gd name="T2" fmla="*/ 0 w 5870"/>
                <a:gd name="T3" fmla="*/ 121 h 864"/>
                <a:gd name="T4" fmla="*/ 382 w 5870"/>
                <a:gd name="T5" fmla="*/ 797 h 864"/>
                <a:gd name="T6" fmla="*/ 368 w 5870"/>
                <a:gd name="T7" fmla="*/ 440 h 864"/>
                <a:gd name="T8" fmla="*/ 368 w 5870"/>
                <a:gd name="T9" fmla="*/ 440 h 864"/>
                <a:gd name="T10" fmla="*/ 1835 w 5870"/>
                <a:gd name="T11" fmla="*/ 200 h 864"/>
                <a:gd name="T12" fmla="*/ 1913 w 5870"/>
                <a:gd name="T13" fmla="*/ 200 h 864"/>
                <a:gd name="T14" fmla="*/ 1613 w 5870"/>
                <a:gd name="T15" fmla="*/ 607 h 864"/>
                <a:gd name="T16" fmla="*/ 1309 w 5870"/>
                <a:gd name="T17" fmla="*/ 606 h 864"/>
                <a:gd name="T18" fmla="*/ 1345 w 5870"/>
                <a:gd name="T19" fmla="*/ 692 h 864"/>
                <a:gd name="T20" fmla="*/ 1649 w 5870"/>
                <a:gd name="T21" fmla="*/ 692 h 864"/>
                <a:gd name="T22" fmla="*/ 1845 w 5870"/>
                <a:gd name="T23" fmla="*/ 321 h 864"/>
                <a:gd name="T24" fmla="*/ 2301 w 5870"/>
                <a:gd name="T25" fmla="*/ 465 h 864"/>
                <a:gd name="T26" fmla="*/ 2053 w 5870"/>
                <a:gd name="T27" fmla="*/ 383 h 864"/>
                <a:gd name="T28" fmla="*/ 2053 w 5870"/>
                <a:gd name="T29" fmla="*/ 692 h 864"/>
                <a:gd name="T30" fmla="*/ 2242 w 5870"/>
                <a:gd name="T31" fmla="*/ 480 h 864"/>
                <a:gd name="T32" fmla="*/ 2710 w 5870"/>
                <a:gd name="T33" fmla="*/ 143 h 864"/>
                <a:gd name="T34" fmla="*/ 2538 w 5870"/>
                <a:gd name="T35" fmla="*/ 312 h 864"/>
                <a:gd name="T36" fmla="*/ 2522 w 5870"/>
                <a:gd name="T37" fmla="*/ 701 h 864"/>
                <a:gd name="T38" fmla="*/ 2710 w 5870"/>
                <a:gd name="T39" fmla="*/ 692 h 864"/>
                <a:gd name="T40" fmla="*/ 2459 w 5870"/>
                <a:gd name="T41" fmla="*/ 613 h 864"/>
                <a:gd name="T42" fmla="*/ 2620 w 5870"/>
                <a:gd name="T43" fmla="*/ 393 h 864"/>
                <a:gd name="T44" fmla="*/ 3104 w 5870"/>
                <a:gd name="T45" fmla="*/ 364 h 864"/>
                <a:gd name="T46" fmla="*/ 2835 w 5870"/>
                <a:gd name="T47" fmla="*/ 648 h 864"/>
                <a:gd name="T48" fmla="*/ 3104 w 5870"/>
                <a:gd name="T49" fmla="*/ 364 h 864"/>
                <a:gd name="T50" fmla="*/ 2847 w 5870"/>
                <a:gd name="T51" fmla="*/ 509 h 864"/>
                <a:gd name="T52" fmla="*/ 3090 w 5870"/>
                <a:gd name="T53" fmla="*/ 507 h 864"/>
                <a:gd name="T54" fmla="*/ 3547 w 5870"/>
                <a:gd name="T55" fmla="*/ 620 h 864"/>
                <a:gd name="T56" fmla="*/ 3315 w 5870"/>
                <a:gd name="T57" fmla="*/ 620 h 864"/>
                <a:gd name="T58" fmla="*/ 3343 w 5870"/>
                <a:gd name="T59" fmla="*/ 692 h 864"/>
                <a:gd name="T60" fmla="*/ 3578 w 5870"/>
                <a:gd name="T61" fmla="*/ 692 h 864"/>
                <a:gd name="T62" fmla="*/ 3845 w 5870"/>
                <a:gd name="T63" fmla="*/ 484 h 864"/>
                <a:gd name="T64" fmla="*/ 3840 w 5870"/>
                <a:gd name="T65" fmla="*/ 363 h 864"/>
                <a:gd name="T66" fmla="*/ 3751 w 5870"/>
                <a:gd name="T67" fmla="*/ 343 h 864"/>
                <a:gd name="T68" fmla="*/ 3866 w 5870"/>
                <a:gd name="T69" fmla="*/ 564 h 864"/>
                <a:gd name="T70" fmla="*/ 3713 w 5870"/>
                <a:gd name="T71" fmla="*/ 678 h 864"/>
                <a:gd name="T72" fmla="*/ 3919 w 5870"/>
                <a:gd name="T73" fmla="*/ 531 h 864"/>
                <a:gd name="T74" fmla="*/ 4172 w 5870"/>
                <a:gd name="T75" fmla="*/ 692 h 864"/>
                <a:gd name="T76" fmla="*/ 4566 w 5870"/>
                <a:gd name="T77" fmla="*/ 692 h 864"/>
                <a:gd name="T78" fmla="*/ 4335 w 5870"/>
                <a:gd name="T79" fmla="*/ 249 h 864"/>
                <a:gd name="T80" fmla="*/ 4606 w 5870"/>
                <a:gd name="T81" fmla="*/ 321 h 864"/>
                <a:gd name="T82" fmla="*/ 4585 w 5870"/>
                <a:gd name="T83" fmla="*/ 692 h 864"/>
                <a:gd name="T84" fmla="*/ 4892 w 5870"/>
                <a:gd name="T85" fmla="*/ 338 h 864"/>
                <a:gd name="T86" fmla="*/ 5188 w 5870"/>
                <a:gd name="T87" fmla="*/ 535 h 864"/>
                <a:gd name="T88" fmla="*/ 5000 w 5870"/>
                <a:gd name="T89" fmla="*/ 321 h 864"/>
                <a:gd name="T90" fmla="*/ 5187 w 5870"/>
                <a:gd name="T91" fmla="*/ 633 h 864"/>
                <a:gd name="T92" fmla="*/ 5248 w 5870"/>
                <a:gd name="T93" fmla="*/ 321 h 864"/>
                <a:gd name="T94" fmla="*/ 5405 w 5870"/>
                <a:gd name="T95" fmla="*/ 397 h 864"/>
                <a:gd name="T96" fmla="*/ 5344 w 5870"/>
                <a:gd name="T97" fmla="*/ 692 h 864"/>
                <a:gd name="T98" fmla="*/ 5492 w 5870"/>
                <a:gd name="T99" fmla="*/ 369 h 864"/>
                <a:gd name="T100" fmla="*/ 5829 w 5870"/>
                <a:gd name="T101" fmla="*/ 359 h 864"/>
                <a:gd name="T102" fmla="*/ 5547 w 5870"/>
                <a:gd name="T103" fmla="*/ 508 h 864"/>
                <a:gd name="T104" fmla="*/ 5844 w 5870"/>
                <a:gd name="T105" fmla="*/ 610 h 864"/>
                <a:gd name="T106" fmla="*/ 5870 w 5870"/>
                <a:gd name="T107" fmla="*/ 521 h 864"/>
                <a:gd name="T108" fmla="*/ 5716 w 5870"/>
                <a:gd name="T109" fmla="*/ 363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870" h="864">
                  <a:moveTo>
                    <a:pt x="382" y="67"/>
                  </a:moveTo>
                  <a:cubicBezTo>
                    <a:pt x="864" y="0"/>
                    <a:pt x="864" y="0"/>
                    <a:pt x="864" y="0"/>
                  </a:cubicBezTo>
                  <a:cubicBezTo>
                    <a:pt x="864" y="425"/>
                    <a:pt x="864" y="425"/>
                    <a:pt x="864" y="425"/>
                  </a:cubicBezTo>
                  <a:cubicBezTo>
                    <a:pt x="382" y="425"/>
                    <a:pt x="382" y="425"/>
                    <a:pt x="382" y="425"/>
                  </a:cubicBezTo>
                  <a:lnTo>
                    <a:pt x="382" y="67"/>
                  </a:lnTo>
                  <a:close/>
                  <a:moveTo>
                    <a:pt x="368" y="425"/>
                  </a:moveTo>
                  <a:cubicBezTo>
                    <a:pt x="368" y="70"/>
                    <a:pt x="368" y="70"/>
                    <a:pt x="368" y="70"/>
                  </a:cubicBezTo>
                  <a:cubicBezTo>
                    <a:pt x="0" y="121"/>
                    <a:pt x="0" y="121"/>
                    <a:pt x="0" y="121"/>
                  </a:cubicBezTo>
                  <a:cubicBezTo>
                    <a:pt x="0" y="425"/>
                    <a:pt x="0" y="425"/>
                    <a:pt x="0" y="425"/>
                  </a:cubicBezTo>
                  <a:lnTo>
                    <a:pt x="368" y="425"/>
                  </a:lnTo>
                  <a:close/>
                  <a:moveTo>
                    <a:pt x="382" y="440"/>
                  </a:moveTo>
                  <a:cubicBezTo>
                    <a:pt x="382" y="797"/>
                    <a:pt x="382" y="797"/>
                    <a:pt x="382" y="797"/>
                  </a:cubicBezTo>
                  <a:cubicBezTo>
                    <a:pt x="864" y="864"/>
                    <a:pt x="864" y="864"/>
                    <a:pt x="864" y="864"/>
                  </a:cubicBezTo>
                  <a:cubicBezTo>
                    <a:pt x="864" y="440"/>
                    <a:pt x="864" y="440"/>
                    <a:pt x="864" y="440"/>
                  </a:cubicBezTo>
                  <a:lnTo>
                    <a:pt x="382" y="440"/>
                  </a:lnTo>
                  <a:close/>
                  <a:moveTo>
                    <a:pt x="368" y="440"/>
                  </a:moveTo>
                  <a:cubicBezTo>
                    <a:pt x="0" y="440"/>
                    <a:pt x="0" y="440"/>
                    <a:pt x="0" y="440"/>
                  </a:cubicBezTo>
                  <a:cubicBezTo>
                    <a:pt x="0" y="744"/>
                    <a:pt x="0" y="744"/>
                    <a:pt x="0" y="744"/>
                  </a:cubicBezTo>
                  <a:cubicBezTo>
                    <a:pt x="368" y="795"/>
                    <a:pt x="368" y="795"/>
                    <a:pt x="368" y="795"/>
                  </a:cubicBezTo>
                  <a:lnTo>
                    <a:pt x="368" y="440"/>
                  </a:lnTo>
                  <a:close/>
                  <a:moveTo>
                    <a:pt x="1902" y="173"/>
                  </a:moveTo>
                  <a:cubicBezTo>
                    <a:pt x="1894" y="165"/>
                    <a:pt x="1885" y="161"/>
                    <a:pt x="1874" y="161"/>
                  </a:cubicBezTo>
                  <a:cubicBezTo>
                    <a:pt x="1863" y="161"/>
                    <a:pt x="1853" y="165"/>
                    <a:pt x="1846" y="173"/>
                  </a:cubicBezTo>
                  <a:cubicBezTo>
                    <a:pt x="1839" y="180"/>
                    <a:pt x="1835" y="189"/>
                    <a:pt x="1835" y="200"/>
                  </a:cubicBezTo>
                  <a:cubicBezTo>
                    <a:pt x="1835" y="211"/>
                    <a:pt x="1839" y="221"/>
                    <a:pt x="1846" y="228"/>
                  </a:cubicBezTo>
                  <a:cubicBezTo>
                    <a:pt x="1854" y="235"/>
                    <a:pt x="1863" y="238"/>
                    <a:pt x="1874" y="238"/>
                  </a:cubicBezTo>
                  <a:cubicBezTo>
                    <a:pt x="1884" y="238"/>
                    <a:pt x="1894" y="235"/>
                    <a:pt x="1901" y="227"/>
                  </a:cubicBezTo>
                  <a:cubicBezTo>
                    <a:pt x="1909" y="220"/>
                    <a:pt x="1913" y="211"/>
                    <a:pt x="1913" y="200"/>
                  </a:cubicBezTo>
                  <a:cubicBezTo>
                    <a:pt x="1913" y="189"/>
                    <a:pt x="1909" y="180"/>
                    <a:pt x="1902" y="173"/>
                  </a:cubicBezTo>
                  <a:close/>
                  <a:moveTo>
                    <a:pt x="1730" y="173"/>
                  </a:moveTo>
                  <a:cubicBezTo>
                    <a:pt x="1615" y="607"/>
                    <a:pt x="1615" y="607"/>
                    <a:pt x="1615" y="607"/>
                  </a:cubicBezTo>
                  <a:cubicBezTo>
                    <a:pt x="1613" y="607"/>
                    <a:pt x="1613" y="607"/>
                    <a:pt x="1613" y="607"/>
                  </a:cubicBezTo>
                  <a:cubicBezTo>
                    <a:pt x="1495" y="173"/>
                    <a:pt x="1495" y="173"/>
                    <a:pt x="1495" y="173"/>
                  </a:cubicBezTo>
                  <a:cubicBezTo>
                    <a:pt x="1436" y="173"/>
                    <a:pt x="1436" y="173"/>
                    <a:pt x="1436" y="173"/>
                  </a:cubicBezTo>
                  <a:cubicBezTo>
                    <a:pt x="1311" y="606"/>
                    <a:pt x="1311" y="606"/>
                    <a:pt x="1311" y="606"/>
                  </a:cubicBezTo>
                  <a:cubicBezTo>
                    <a:pt x="1309" y="606"/>
                    <a:pt x="1309" y="606"/>
                    <a:pt x="1309" y="606"/>
                  </a:cubicBezTo>
                  <a:cubicBezTo>
                    <a:pt x="1189" y="173"/>
                    <a:pt x="1189" y="173"/>
                    <a:pt x="1189" y="173"/>
                  </a:cubicBezTo>
                  <a:cubicBezTo>
                    <a:pt x="1123" y="173"/>
                    <a:pt x="1123" y="173"/>
                    <a:pt x="1123" y="173"/>
                  </a:cubicBezTo>
                  <a:cubicBezTo>
                    <a:pt x="1274" y="692"/>
                    <a:pt x="1274" y="692"/>
                    <a:pt x="1274" y="692"/>
                  </a:cubicBezTo>
                  <a:cubicBezTo>
                    <a:pt x="1345" y="692"/>
                    <a:pt x="1345" y="692"/>
                    <a:pt x="1345" y="692"/>
                  </a:cubicBezTo>
                  <a:cubicBezTo>
                    <a:pt x="1461" y="281"/>
                    <a:pt x="1461" y="281"/>
                    <a:pt x="1461" y="281"/>
                  </a:cubicBezTo>
                  <a:cubicBezTo>
                    <a:pt x="1462" y="281"/>
                    <a:pt x="1462" y="281"/>
                    <a:pt x="1462" y="281"/>
                  </a:cubicBezTo>
                  <a:cubicBezTo>
                    <a:pt x="1578" y="692"/>
                    <a:pt x="1578" y="692"/>
                    <a:pt x="1578" y="692"/>
                  </a:cubicBezTo>
                  <a:cubicBezTo>
                    <a:pt x="1649" y="692"/>
                    <a:pt x="1649" y="692"/>
                    <a:pt x="1649" y="692"/>
                  </a:cubicBezTo>
                  <a:cubicBezTo>
                    <a:pt x="1796" y="173"/>
                    <a:pt x="1796" y="173"/>
                    <a:pt x="1796" y="173"/>
                  </a:cubicBezTo>
                  <a:lnTo>
                    <a:pt x="1730" y="173"/>
                  </a:lnTo>
                  <a:close/>
                  <a:moveTo>
                    <a:pt x="1905" y="321"/>
                  </a:moveTo>
                  <a:cubicBezTo>
                    <a:pt x="1845" y="321"/>
                    <a:pt x="1845" y="321"/>
                    <a:pt x="1845" y="321"/>
                  </a:cubicBezTo>
                  <a:cubicBezTo>
                    <a:pt x="1845" y="692"/>
                    <a:pt x="1845" y="692"/>
                    <a:pt x="1845" y="692"/>
                  </a:cubicBezTo>
                  <a:cubicBezTo>
                    <a:pt x="1905" y="692"/>
                    <a:pt x="1905" y="692"/>
                    <a:pt x="1905" y="692"/>
                  </a:cubicBezTo>
                  <a:lnTo>
                    <a:pt x="1905" y="321"/>
                  </a:lnTo>
                  <a:close/>
                  <a:moveTo>
                    <a:pt x="2301" y="465"/>
                  </a:moveTo>
                  <a:cubicBezTo>
                    <a:pt x="2301" y="416"/>
                    <a:pt x="2290" y="378"/>
                    <a:pt x="2269" y="352"/>
                  </a:cubicBezTo>
                  <a:cubicBezTo>
                    <a:pt x="2248" y="325"/>
                    <a:pt x="2217" y="312"/>
                    <a:pt x="2176" y="312"/>
                  </a:cubicBezTo>
                  <a:cubicBezTo>
                    <a:pt x="2123" y="312"/>
                    <a:pt x="2082" y="336"/>
                    <a:pt x="2054" y="383"/>
                  </a:cubicBezTo>
                  <a:cubicBezTo>
                    <a:pt x="2053" y="383"/>
                    <a:pt x="2053" y="383"/>
                    <a:pt x="2053" y="383"/>
                  </a:cubicBezTo>
                  <a:cubicBezTo>
                    <a:pt x="2053" y="321"/>
                    <a:pt x="2053" y="321"/>
                    <a:pt x="2053" y="321"/>
                  </a:cubicBezTo>
                  <a:cubicBezTo>
                    <a:pt x="1994" y="321"/>
                    <a:pt x="1994" y="321"/>
                    <a:pt x="1994" y="321"/>
                  </a:cubicBezTo>
                  <a:cubicBezTo>
                    <a:pt x="1994" y="692"/>
                    <a:pt x="1994" y="692"/>
                    <a:pt x="1994" y="692"/>
                  </a:cubicBezTo>
                  <a:cubicBezTo>
                    <a:pt x="2053" y="692"/>
                    <a:pt x="2053" y="692"/>
                    <a:pt x="2053" y="692"/>
                  </a:cubicBezTo>
                  <a:cubicBezTo>
                    <a:pt x="2053" y="480"/>
                    <a:pt x="2053" y="480"/>
                    <a:pt x="2053" y="480"/>
                  </a:cubicBezTo>
                  <a:cubicBezTo>
                    <a:pt x="2053" y="446"/>
                    <a:pt x="2063" y="418"/>
                    <a:pt x="2082" y="396"/>
                  </a:cubicBezTo>
                  <a:cubicBezTo>
                    <a:pt x="2102" y="374"/>
                    <a:pt x="2126" y="363"/>
                    <a:pt x="2156" y="363"/>
                  </a:cubicBezTo>
                  <a:cubicBezTo>
                    <a:pt x="2213" y="363"/>
                    <a:pt x="2242" y="402"/>
                    <a:pt x="2242" y="480"/>
                  </a:cubicBezTo>
                  <a:cubicBezTo>
                    <a:pt x="2242" y="692"/>
                    <a:pt x="2242" y="692"/>
                    <a:pt x="2242" y="692"/>
                  </a:cubicBezTo>
                  <a:cubicBezTo>
                    <a:pt x="2301" y="692"/>
                    <a:pt x="2301" y="692"/>
                    <a:pt x="2301" y="692"/>
                  </a:cubicBezTo>
                  <a:lnTo>
                    <a:pt x="2301" y="465"/>
                  </a:lnTo>
                  <a:close/>
                  <a:moveTo>
                    <a:pt x="2710" y="143"/>
                  </a:moveTo>
                  <a:cubicBezTo>
                    <a:pt x="2651" y="143"/>
                    <a:pt x="2651" y="143"/>
                    <a:pt x="2651" y="143"/>
                  </a:cubicBezTo>
                  <a:cubicBezTo>
                    <a:pt x="2651" y="372"/>
                    <a:pt x="2651" y="372"/>
                    <a:pt x="2651" y="372"/>
                  </a:cubicBezTo>
                  <a:cubicBezTo>
                    <a:pt x="2649" y="372"/>
                    <a:pt x="2649" y="372"/>
                    <a:pt x="2649" y="372"/>
                  </a:cubicBezTo>
                  <a:cubicBezTo>
                    <a:pt x="2626" y="332"/>
                    <a:pt x="2589" y="312"/>
                    <a:pt x="2538" y="312"/>
                  </a:cubicBezTo>
                  <a:cubicBezTo>
                    <a:pt x="2487" y="312"/>
                    <a:pt x="2445" y="331"/>
                    <a:pt x="2415" y="368"/>
                  </a:cubicBezTo>
                  <a:cubicBezTo>
                    <a:pt x="2384" y="405"/>
                    <a:pt x="2369" y="454"/>
                    <a:pt x="2369" y="515"/>
                  </a:cubicBezTo>
                  <a:cubicBezTo>
                    <a:pt x="2369" y="572"/>
                    <a:pt x="2382" y="617"/>
                    <a:pt x="2410" y="650"/>
                  </a:cubicBezTo>
                  <a:cubicBezTo>
                    <a:pt x="2438" y="684"/>
                    <a:pt x="2475" y="701"/>
                    <a:pt x="2522" y="701"/>
                  </a:cubicBezTo>
                  <a:cubicBezTo>
                    <a:pt x="2579" y="701"/>
                    <a:pt x="2622" y="677"/>
                    <a:pt x="2649" y="629"/>
                  </a:cubicBezTo>
                  <a:cubicBezTo>
                    <a:pt x="2651" y="629"/>
                    <a:pt x="2651" y="629"/>
                    <a:pt x="2651" y="629"/>
                  </a:cubicBezTo>
                  <a:cubicBezTo>
                    <a:pt x="2651" y="692"/>
                    <a:pt x="2651" y="692"/>
                    <a:pt x="2651" y="692"/>
                  </a:cubicBezTo>
                  <a:cubicBezTo>
                    <a:pt x="2710" y="692"/>
                    <a:pt x="2710" y="692"/>
                    <a:pt x="2710" y="692"/>
                  </a:cubicBezTo>
                  <a:lnTo>
                    <a:pt x="2710" y="143"/>
                  </a:lnTo>
                  <a:close/>
                  <a:moveTo>
                    <a:pt x="2619" y="615"/>
                  </a:moveTo>
                  <a:cubicBezTo>
                    <a:pt x="2598" y="638"/>
                    <a:pt x="2571" y="650"/>
                    <a:pt x="2539" y="650"/>
                  </a:cubicBezTo>
                  <a:cubicBezTo>
                    <a:pt x="2505" y="650"/>
                    <a:pt x="2479" y="638"/>
                    <a:pt x="2459" y="613"/>
                  </a:cubicBezTo>
                  <a:cubicBezTo>
                    <a:pt x="2439" y="588"/>
                    <a:pt x="2429" y="555"/>
                    <a:pt x="2429" y="512"/>
                  </a:cubicBezTo>
                  <a:cubicBezTo>
                    <a:pt x="2429" y="465"/>
                    <a:pt x="2440" y="429"/>
                    <a:pt x="2461" y="402"/>
                  </a:cubicBezTo>
                  <a:cubicBezTo>
                    <a:pt x="2482" y="376"/>
                    <a:pt x="2510" y="363"/>
                    <a:pt x="2546" y="363"/>
                  </a:cubicBezTo>
                  <a:cubicBezTo>
                    <a:pt x="2575" y="363"/>
                    <a:pt x="2600" y="373"/>
                    <a:pt x="2620" y="393"/>
                  </a:cubicBezTo>
                  <a:cubicBezTo>
                    <a:pt x="2641" y="413"/>
                    <a:pt x="2651" y="439"/>
                    <a:pt x="2651" y="469"/>
                  </a:cubicBezTo>
                  <a:cubicBezTo>
                    <a:pt x="2651" y="524"/>
                    <a:pt x="2651" y="524"/>
                    <a:pt x="2651" y="524"/>
                  </a:cubicBezTo>
                  <a:cubicBezTo>
                    <a:pt x="2651" y="561"/>
                    <a:pt x="2640" y="591"/>
                    <a:pt x="2619" y="615"/>
                  </a:cubicBezTo>
                  <a:close/>
                  <a:moveTo>
                    <a:pt x="3104" y="364"/>
                  </a:moveTo>
                  <a:cubicBezTo>
                    <a:pt x="3073" y="329"/>
                    <a:pt x="3030" y="312"/>
                    <a:pt x="2975" y="312"/>
                  </a:cubicBezTo>
                  <a:cubicBezTo>
                    <a:pt x="2916" y="312"/>
                    <a:pt x="2870" y="330"/>
                    <a:pt x="2836" y="365"/>
                  </a:cubicBezTo>
                  <a:cubicBezTo>
                    <a:pt x="2803" y="401"/>
                    <a:pt x="2786" y="449"/>
                    <a:pt x="2786" y="511"/>
                  </a:cubicBezTo>
                  <a:cubicBezTo>
                    <a:pt x="2786" y="568"/>
                    <a:pt x="2802" y="614"/>
                    <a:pt x="2835" y="648"/>
                  </a:cubicBezTo>
                  <a:cubicBezTo>
                    <a:pt x="2867" y="683"/>
                    <a:pt x="2911" y="701"/>
                    <a:pt x="2966" y="701"/>
                  </a:cubicBezTo>
                  <a:cubicBezTo>
                    <a:pt x="3022" y="701"/>
                    <a:pt x="3067" y="683"/>
                    <a:pt x="3100" y="647"/>
                  </a:cubicBezTo>
                  <a:cubicBezTo>
                    <a:pt x="3134" y="611"/>
                    <a:pt x="3150" y="564"/>
                    <a:pt x="3150" y="505"/>
                  </a:cubicBezTo>
                  <a:cubicBezTo>
                    <a:pt x="3150" y="445"/>
                    <a:pt x="3135" y="398"/>
                    <a:pt x="3104" y="364"/>
                  </a:cubicBezTo>
                  <a:close/>
                  <a:moveTo>
                    <a:pt x="3059" y="613"/>
                  </a:moveTo>
                  <a:cubicBezTo>
                    <a:pt x="3038" y="638"/>
                    <a:pt x="3009" y="650"/>
                    <a:pt x="2970" y="650"/>
                  </a:cubicBezTo>
                  <a:cubicBezTo>
                    <a:pt x="2932" y="650"/>
                    <a:pt x="2902" y="638"/>
                    <a:pt x="2880" y="613"/>
                  </a:cubicBezTo>
                  <a:cubicBezTo>
                    <a:pt x="2858" y="588"/>
                    <a:pt x="2847" y="553"/>
                    <a:pt x="2847" y="509"/>
                  </a:cubicBezTo>
                  <a:cubicBezTo>
                    <a:pt x="2847" y="462"/>
                    <a:pt x="2858" y="426"/>
                    <a:pt x="2880" y="401"/>
                  </a:cubicBezTo>
                  <a:cubicBezTo>
                    <a:pt x="2902" y="375"/>
                    <a:pt x="2932" y="363"/>
                    <a:pt x="2970" y="363"/>
                  </a:cubicBezTo>
                  <a:cubicBezTo>
                    <a:pt x="3009" y="363"/>
                    <a:pt x="3038" y="375"/>
                    <a:pt x="3059" y="400"/>
                  </a:cubicBezTo>
                  <a:cubicBezTo>
                    <a:pt x="3079" y="425"/>
                    <a:pt x="3090" y="461"/>
                    <a:pt x="3090" y="507"/>
                  </a:cubicBezTo>
                  <a:cubicBezTo>
                    <a:pt x="3090" y="553"/>
                    <a:pt x="3079" y="589"/>
                    <a:pt x="3059" y="613"/>
                  </a:cubicBezTo>
                  <a:close/>
                  <a:moveTo>
                    <a:pt x="3631" y="321"/>
                  </a:moveTo>
                  <a:cubicBezTo>
                    <a:pt x="3550" y="620"/>
                    <a:pt x="3550" y="620"/>
                    <a:pt x="3550" y="620"/>
                  </a:cubicBezTo>
                  <a:cubicBezTo>
                    <a:pt x="3547" y="620"/>
                    <a:pt x="3547" y="620"/>
                    <a:pt x="3547" y="620"/>
                  </a:cubicBezTo>
                  <a:cubicBezTo>
                    <a:pt x="3464" y="321"/>
                    <a:pt x="3464" y="321"/>
                    <a:pt x="3464" y="321"/>
                  </a:cubicBezTo>
                  <a:cubicBezTo>
                    <a:pt x="3410" y="321"/>
                    <a:pt x="3410" y="321"/>
                    <a:pt x="3410" y="321"/>
                  </a:cubicBezTo>
                  <a:cubicBezTo>
                    <a:pt x="3318" y="620"/>
                    <a:pt x="3318" y="620"/>
                    <a:pt x="3318" y="620"/>
                  </a:cubicBezTo>
                  <a:cubicBezTo>
                    <a:pt x="3315" y="620"/>
                    <a:pt x="3315" y="620"/>
                    <a:pt x="3315" y="620"/>
                  </a:cubicBezTo>
                  <a:cubicBezTo>
                    <a:pt x="3234" y="321"/>
                    <a:pt x="3234" y="321"/>
                    <a:pt x="3234" y="321"/>
                  </a:cubicBezTo>
                  <a:cubicBezTo>
                    <a:pt x="3171" y="321"/>
                    <a:pt x="3171" y="321"/>
                    <a:pt x="3171" y="321"/>
                  </a:cubicBezTo>
                  <a:cubicBezTo>
                    <a:pt x="3283" y="692"/>
                    <a:pt x="3283" y="692"/>
                    <a:pt x="3283" y="692"/>
                  </a:cubicBezTo>
                  <a:cubicBezTo>
                    <a:pt x="3343" y="692"/>
                    <a:pt x="3343" y="692"/>
                    <a:pt x="3343" y="692"/>
                  </a:cubicBezTo>
                  <a:cubicBezTo>
                    <a:pt x="3432" y="404"/>
                    <a:pt x="3432" y="404"/>
                    <a:pt x="3432" y="404"/>
                  </a:cubicBezTo>
                  <a:cubicBezTo>
                    <a:pt x="3434" y="404"/>
                    <a:pt x="3434" y="404"/>
                    <a:pt x="3434" y="404"/>
                  </a:cubicBezTo>
                  <a:cubicBezTo>
                    <a:pt x="3517" y="692"/>
                    <a:pt x="3517" y="692"/>
                    <a:pt x="3517" y="692"/>
                  </a:cubicBezTo>
                  <a:cubicBezTo>
                    <a:pt x="3578" y="692"/>
                    <a:pt x="3578" y="692"/>
                    <a:pt x="3578" y="692"/>
                  </a:cubicBezTo>
                  <a:cubicBezTo>
                    <a:pt x="3689" y="321"/>
                    <a:pt x="3689" y="321"/>
                    <a:pt x="3689" y="321"/>
                  </a:cubicBezTo>
                  <a:lnTo>
                    <a:pt x="3631" y="321"/>
                  </a:lnTo>
                  <a:close/>
                  <a:moveTo>
                    <a:pt x="3919" y="531"/>
                  </a:moveTo>
                  <a:cubicBezTo>
                    <a:pt x="3905" y="514"/>
                    <a:pt x="3880" y="499"/>
                    <a:pt x="3845" y="484"/>
                  </a:cubicBezTo>
                  <a:cubicBezTo>
                    <a:pt x="3816" y="472"/>
                    <a:pt x="3797" y="461"/>
                    <a:pt x="3788" y="452"/>
                  </a:cubicBezTo>
                  <a:cubicBezTo>
                    <a:pt x="3779" y="444"/>
                    <a:pt x="3775" y="431"/>
                    <a:pt x="3775" y="414"/>
                  </a:cubicBezTo>
                  <a:cubicBezTo>
                    <a:pt x="3775" y="399"/>
                    <a:pt x="3781" y="387"/>
                    <a:pt x="3792" y="377"/>
                  </a:cubicBezTo>
                  <a:cubicBezTo>
                    <a:pt x="3804" y="368"/>
                    <a:pt x="3820" y="363"/>
                    <a:pt x="3840" y="363"/>
                  </a:cubicBezTo>
                  <a:cubicBezTo>
                    <a:pt x="3872" y="363"/>
                    <a:pt x="3899" y="372"/>
                    <a:pt x="3924" y="389"/>
                  </a:cubicBezTo>
                  <a:cubicBezTo>
                    <a:pt x="3924" y="329"/>
                    <a:pt x="3924" y="329"/>
                    <a:pt x="3924" y="329"/>
                  </a:cubicBezTo>
                  <a:cubicBezTo>
                    <a:pt x="3900" y="318"/>
                    <a:pt x="3874" y="312"/>
                    <a:pt x="3844" y="312"/>
                  </a:cubicBezTo>
                  <a:cubicBezTo>
                    <a:pt x="3807" y="312"/>
                    <a:pt x="3775" y="322"/>
                    <a:pt x="3751" y="343"/>
                  </a:cubicBezTo>
                  <a:cubicBezTo>
                    <a:pt x="3726" y="363"/>
                    <a:pt x="3714" y="389"/>
                    <a:pt x="3714" y="420"/>
                  </a:cubicBezTo>
                  <a:cubicBezTo>
                    <a:pt x="3714" y="446"/>
                    <a:pt x="3721" y="467"/>
                    <a:pt x="3734" y="483"/>
                  </a:cubicBezTo>
                  <a:cubicBezTo>
                    <a:pt x="3748" y="499"/>
                    <a:pt x="3771" y="514"/>
                    <a:pt x="3803" y="528"/>
                  </a:cubicBezTo>
                  <a:cubicBezTo>
                    <a:pt x="3836" y="543"/>
                    <a:pt x="3857" y="555"/>
                    <a:pt x="3866" y="564"/>
                  </a:cubicBezTo>
                  <a:cubicBezTo>
                    <a:pt x="3875" y="573"/>
                    <a:pt x="3880" y="584"/>
                    <a:pt x="3880" y="598"/>
                  </a:cubicBezTo>
                  <a:cubicBezTo>
                    <a:pt x="3880" y="633"/>
                    <a:pt x="3856" y="650"/>
                    <a:pt x="3809" y="650"/>
                  </a:cubicBezTo>
                  <a:cubicBezTo>
                    <a:pt x="3774" y="650"/>
                    <a:pt x="3742" y="638"/>
                    <a:pt x="3713" y="615"/>
                  </a:cubicBezTo>
                  <a:cubicBezTo>
                    <a:pt x="3713" y="678"/>
                    <a:pt x="3713" y="678"/>
                    <a:pt x="3713" y="678"/>
                  </a:cubicBezTo>
                  <a:cubicBezTo>
                    <a:pt x="3739" y="693"/>
                    <a:pt x="3770" y="701"/>
                    <a:pt x="3805" y="701"/>
                  </a:cubicBezTo>
                  <a:cubicBezTo>
                    <a:pt x="3846" y="701"/>
                    <a:pt x="3879" y="691"/>
                    <a:pt x="3904" y="671"/>
                  </a:cubicBezTo>
                  <a:cubicBezTo>
                    <a:pt x="3928" y="651"/>
                    <a:pt x="3941" y="625"/>
                    <a:pt x="3941" y="593"/>
                  </a:cubicBezTo>
                  <a:cubicBezTo>
                    <a:pt x="3941" y="568"/>
                    <a:pt x="3934" y="547"/>
                    <a:pt x="3919" y="531"/>
                  </a:cubicBezTo>
                  <a:close/>
                  <a:moveTo>
                    <a:pt x="4366" y="173"/>
                  </a:moveTo>
                  <a:cubicBezTo>
                    <a:pt x="4303" y="173"/>
                    <a:pt x="4303" y="173"/>
                    <a:pt x="4303" y="173"/>
                  </a:cubicBezTo>
                  <a:cubicBezTo>
                    <a:pt x="4105" y="692"/>
                    <a:pt x="4105" y="692"/>
                    <a:pt x="4105" y="692"/>
                  </a:cubicBezTo>
                  <a:cubicBezTo>
                    <a:pt x="4172" y="692"/>
                    <a:pt x="4172" y="692"/>
                    <a:pt x="4172" y="692"/>
                  </a:cubicBezTo>
                  <a:cubicBezTo>
                    <a:pt x="4224" y="547"/>
                    <a:pt x="4224" y="547"/>
                    <a:pt x="4224" y="547"/>
                  </a:cubicBezTo>
                  <a:cubicBezTo>
                    <a:pt x="4445" y="547"/>
                    <a:pt x="4445" y="547"/>
                    <a:pt x="4445" y="547"/>
                  </a:cubicBezTo>
                  <a:cubicBezTo>
                    <a:pt x="4499" y="692"/>
                    <a:pt x="4499" y="692"/>
                    <a:pt x="4499" y="692"/>
                  </a:cubicBezTo>
                  <a:cubicBezTo>
                    <a:pt x="4566" y="692"/>
                    <a:pt x="4566" y="692"/>
                    <a:pt x="4566" y="692"/>
                  </a:cubicBezTo>
                  <a:lnTo>
                    <a:pt x="4366" y="173"/>
                  </a:lnTo>
                  <a:close/>
                  <a:moveTo>
                    <a:pt x="4244" y="492"/>
                  </a:moveTo>
                  <a:cubicBezTo>
                    <a:pt x="4333" y="249"/>
                    <a:pt x="4333" y="249"/>
                    <a:pt x="4333" y="249"/>
                  </a:cubicBezTo>
                  <a:cubicBezTo>
                    <a:pt x="4335" y="249"/>
                    <a:pt x="4335" y="249"/>
                    <a:pt x="4335" y="249"/>
                  </a:cubicBezTo>
                  <a:cubicBezTo>
                    <a:pt x="4424" y="492"/>
                    <a:pt x="4424" y="492"/>
                    <a:pt x="4424" y="492"/>
                  </a:cubicBezTo>
                  <a:lnTo>
                    <a:pt x="4244" y="492"/>
                  </a:lnTo>
                  <a:close/>
                  <a:moveTo>
                    <a:pt x="4892" y="321"/>
                  </a:moveTo>
                  <a:cubicBezTo>
                    <a:pt x="4606" y="321"/>
                    <a:pt x="4606" y="321"/>
                    <a:pt x="4606" y="321"/>
                  </a:cubicBezTo>
                  <a:cubicBezTo>
                    <a:pt x="4606" y="371"/>
                    <a:pt x="4606" y="371"/>
                    <a:pt x="4606" y="371"/>
                  </a:cubicBezTo>
                  <a:cubicBezTo>
                    <a:pt x="4805" y="371"/>
                    <a:pt x="4805" y="371"/>
                    <a:pt x="4805" y="371"/>
                  </a:cubicBezTo>
                  <a:cubicBezTo>
                    <a:pt x="4585" y="673"/>
                    <a:pt x="4585" y="673"/>
                    <a:pt x="4585" y="673"/>
                  </a:cubicBezTo>
                  <a:cubicBezTo>
                    <a:pt x="4585" y="692"/>
                    <a:pt x="4585" y="692"/>
                    <a:pt x="4585" y="692"/>
                  </a:cubicBezTo>
                  <a:cubicBezTo>
                    <a:pt x="4890" y="692"/>
                    <a:pt x="4890" y="692"/>
                    <a:pt x="4890" y="692"/>
                  </a:cubicBezTo>
                  <a:cubicBezTo>
                    <a:pt x="4890" y="641"/>
                    <a:pt x="4890" y="641"/>
                    <a:pt x="4890" y="641"/>
                  </a:cubicBezTo>
                  <a:cubicBezTo>
                    <a:pt x="4673" y="641"/>
                    <a:pt x="4673" y="641"/>
                    <a:pt x="4673" y="641"/>
                  </a:cubicBezTo>
                  <a:cubicBezTo>
                    <a:pt x="4892" y="338"/>
                    <a:pt x="4892" y="338"/>
                    <a:pt x="4892" y="338"/>
                  </a:cubicBezTo>
                  <a:lnTo>
                    <a:pt x="4892" y="321"/>
                  </a:lnTo>
                  <a:close/>
                  <a:moveTo>
                    <a:pt x="5248" y="321"/>
                  </a:moveTo>
                  <a:cubicBezTo>
                    <a:pt x="5188" y="321"/>
                    <a:pt x="5188" y="321"/>
                    <a:pt x="5188" y="321"/>
                  </a:cubicBezTo>
                  <a:cubicBezTo>
                    <a:pt x="5188" y="535"/>
                    <a:pt x="5188" y="535"/>
                    <a:pt x="5188" y="535"/>
                  </a:cubicBezTo>
                  <a:cubicBezTo>
                    <a:pt x="5188" y="569"/>
                    <a:pt x="5179" y="597"/>
                    <a:pt x="5161" y="618"/>
                  </a:cubicBezTo>
                  <a:cubicBezTo>
                    <a:pt x="5143" y="639"/>
                    <a:pt x="5119" y="650"/>
                    <a:pt x="5089" y="650"/>
                  </a:cubicBezTo>
                  <a:cubicBezTo>
                    <a:pt x="5029" y="650"/>
                    <a:pt x="5000" y="611"/>
                    <a:pt x="5000" y="533"/>
                  </a:cubicBezTo>
                  <a:cubicBezTo>
                    <a:pt x="5000" y="321"/>
                    <a:pt x="5000" y="321"/>
                    <a:pt x="5000" y="321"/>
                  </a:cubicBezTo>
                  <a:cubicBezTo>
                    <a:pt x="4940" y="321"/>
                    <a:pt x="4940" y="321"/>
                    <a:pt x="4940" y="321"/>
                  </a:cubicBezTo>
                  <a:cubicBezTo>
                    <a:pt x="4940" y="543"/>
                    <a:pt x="4940" y="543"/>
                    <a:pt x="4940" y="543"/>
                  </a:cubicBezTo>
                  <a:cubicBezTo>
                    <a:pt x="4940" y="648"/>
                    <a:pt x="4984" y="701"/>
                    <a:pt x="5073" y="701"/>
                  </a:cubicBezTo>
                  <a:cubicBezTo>
                    <a:pt x="5124" y="701"/>
                    <a:pt x="5162" y="678"/>
                    <a:pt x="5187" y="633"/>
                  </a:cubicBezTo>
                  <a:cubicBezTo>
                    <a:pt x="5188" y="633"/>
                    <a:pt x="5188" y="633"/>
                    <a:pt x="5188" y="633"/>
                  </a:cubicBezTo>
                  <a:cubicBezTo>
                    <a:pt x="5188" y="692"/>
                    <a:pt x="5188" y="692"/>
                    <a:pt x="5188" y="692"/>
                  </a:cubicBezTo>
                  <a:cubicBezTo>
                    <a:pt x="5248" y="692"/>
                    <a:pt x="5248" y="692"/>
                    <a:pt x="5248" y="692"/>
                  </a:cubicBezTo>
                  <a:lnTo>
                    <a:pt x="5248" y="321"/>
                  </a:lnTo>
                  <a:close/>
                  <a:moveTo>
                    <a:pt x="5537" y="320"/>
                  </a:moveTo>
                  <a:cubicBezTo>
                    <a:pt x="5529" y="316"/>
                    <a:pt x="5517" y="315"/>
                    <a:pt x="5502" y="315"/>
                  </a:cubicBezTo>
                  <a:cubicBezTo>
                    <a:pt x="5480" y="315"/>
                    <a:pt x="5460" y="322"/>
                    <a:pt x="5443" y="337"/>
                  </a:cubicBezTo>
                  <a:cubicBezTo>
                    <a:pt x="5426" y="352"/>
                    <a:pt x="5413" y="372"/>
                    <a:pt x="5405" y="397"/>
                  </a:cubicBezTo>
                  <a:cubicBezTo>
                    <a:pt x="5404" y="397"/>
                    <a:pt x="5404" y="397"/>
                    <a:pt x="5404" y="397"/>
                  </a:cubicBezTo>
                  <a:cubicBezTo>
                    <a:pt x="5404" y="321"/>
                    <a:pt x="5404" y="321"/>
                    <a:pt x="5404" y="321"/>
                  </a:cubicBezTo>
                  <a:cubicBezTo>
                    <a:pt x="5344" y="321"/>
                    <a:pt x="5344" y="321"/>
                    <a:pt x="5344" y="321"/>
                  </a:cubicBezTo>
                  <a:cubicBezTo>
                    <a:pt x="5344" y="692"/>
                    <a:pt x="5344" y="692"/>
                    <a:pt x="5344" y="692"/>
                  </a:cubicBezTo>
                  <a:cubicBezTo>
                    <a:pt x="5404" y="692"/>
                    <a:pt x="5404" y="692"/>
                    <a:pt x="5404" y="692"/>
                  </a:cubicBezTo>
                  <a:cubicBezTo>
                    <a:pt x="5404" y="503"/>
                    <a:pt x="5404" y="503"/>
                    <a:pt x="5404" y="503"/>
                  </a:cubicBezTo>
                  <a:cubicBezTo>
                    <a:pt x="5404" y="463"/>
                    <a:pt x="5412" y="431"/>
                    <a:pt x="5428" y="406"/>
                  </a:cubicBezTo>
                  <a:cubicBezTo>
                    <a:pt x="5445" y="382"/>
                    <a:pt x="5466" y="369"/>
                    <a:pt x="5492" y="369"/>
                  </a:cubicBezTo>
                  <a:cubicBezTo>
                    <a:pt x="5512" y="369"/>
                    <a:pt x="5527" y="373"/>
                    <a:pt x="5537" y="381"/>
                  </a:cubicBezTo>
                  <a:lnTo>
                    <a:pt x="5537" y="320"/>
                  </a:lnTo>
                  <a:close/>
                  <a:moveTo>
                    <a:pt x="5870" y="490"/>
                  </a:moveTo>
                  <a:cubicBezTo>
                    <a:pt x="5870" y="434"/>
                    <a:pt x="5856" y="390"/>
                    <a:pt x="5829" y="359"/>
                  </a:cubicBezTo>
                  <a:cubicBezTo>
                    <a:pt x="5803" y="328"/>
                    <a:pt x="5765" y="312"/>
                    <a:pt x="5717" y="312"/>
                  </a:cubicBezTo>
                  <a:cubicBezTo>
                    <a:pt x="5685" y="312"/>
                    <a:pt x="5656" y="320"/>
                    <a:pt x="5630" y="337"/>
                  </a:cubicBezTo>
                  <a:cubicBezTo>
                    <a:pt x="5604" y="354"/>
                    <a:pt x="5584" y="377"/>
                    <a:pt x="5569" y="407"/>
                  </a:cubicBezTo>
                  <a:cubicBezTo>
                    <a:pt x="5554" y="438"/>
                    <a:pt x="5547" y="471"/>
                    <a:pt x="5547" y="508"/>
                  </a:cubicBezTo>
                  <a:cubicBezTo>
                    <a:pt x="5547" y="568"/>
                    <a:pt x="5562" y="615"/>
                    <a:pt x="5591" y="649"/>
                  </a:cubicBezTo>
                  <a:cubicBezTo>
                    <a:pt x="5621" y="684"/>
                    <a:pt x="5662" y="701"/>
                    <a:pt x="5715" y="701"/>
                  </a:cubicBezTo>
                  <a:cubicBezTo>
                    <a:pt x="5768" y="701"/>
                    <a:pt x="5811" y="689"/>
                    <a:pt x="5844" y="665"/>
                  </a:cubicBezTo>
                  <a:cubicBezTo>
                    <a:pt x="5844" y="610"/>
                    <a:pt x="5844" y="610"/>
                    <a:pt x="5844" y="610"/>
                  </a:cubicBezTo>
                  <a:cubicBezTo>
                    <a:pt x="5809" y="637"/>
                    <a:pt x="5771" y="650"/>
                    <a:pt x="5729" y="650"/>
                  </a:cubicBezTo>
                  <a:cubicBezTo>
                    <a:pt x="5692" y="650"/>
                    <a:pt x="5662" y="639"/>
                    <a:pt x="5641" y="617"/>
                  </a:cubicBezTo>
                  <a:cubicBezTo>
                    <a:pt x="5620" y="595"/>
                    <a:pt x="5609" y="563"/>
                    <a:pt x="5608" y="521"/>
                  </a:cubicBezTo>
                  <a:cubicBezTo>
                    <a:pt x="5870" y="521"/>
                    <a:pt x="5870" y="521"/>
                    <a:pt x="5870" y="521"/>
                  </a:cubicBezTo>
                  <a:lnTo>
                    <a:pt x="5870" y="490"/>
                  </a:lnTo>
                  <a:close/>
                  <a:moveTo>
                    <a:pt x="5609" y="471"/>
                  </a:moveTo>
                  <a:cubicBezTo>
                    <a:pt x="5614" y="438"/>
                    <a:pt x="5626" y="412"/>
                    <a:pt x="5646" y="392"/>
                  </a:cubicBezTo>
                  <a:cubicBezTo>
                    <a:pt x="5665" y="373"/>
                    <a:pt x="5689" y="363"/>
                    <a:pt x="5716" y="363"/>
                  </a:cubicBezTo>
                  <a:cubicBezTo>
                    <a:pt x="5746" y="363"/>
                    <a:pt x="5768" y="372"/>
                    <a:pt x="5784" y="391"/>
                  </a:cubicBezTo>
                  <a:cubicBezTo>
                    <a:pt x="5800" y="410"/>
                    <a:pt x="5809" y="437"/>
                    <a:pt x="5809" y="471"/>
                  </a:cubicBezTo>
                  <a:lnTo>
                    <a:pt x="5609" y="471"/>
                  </a:lnTo>
                  <a:close/>
                </a:path>
              </a:pathLst>
            </a:custGeom>
            <a:solidFill>
              <a:schemeClr val="bg1"/>
            </a:solidFill>
            <a:ln>
              <a:noFill/>
            </a:ln>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162" name="Freeform 33"/>
            <p:cNvSpPr>
              <a:spLocks noChangeAspect="1" noEditPoints="1"/>
            </p:cNvSpPr>
            <p:nvPr/>
          </p:nvSpPr>
          <p:spPr bwMode="auto">
            <a:xfrm>
              <a:off x="6474062" y="6278071"/>
              <a:ext cx="1506856" cy="170363"/>
            </a:xfrm>
            <a:custGeom>
              <a:avLst/>
              <a:gdLst>
                <a:gd name="T0" fmla="*/ 8 w 1061"/>
                <a:gd name="T1" fmla="*/ 95 h 117"/>
                <a:gd name="T2" fmla="*/ 64 w 1061"/>
                <a:gd name="T3" fmla="*/ 36 h 117"/>
                <a:gd name="T4" fmla="*/ 80 w 1061"/>
                <a:gd name="T5" fmla="*/ 23 h 117"/>
                <a:gd name="T6" fmla="*/ 621 w 1061"/>
                <a:gd name="T7" fmla="*/ 116 h 117"/>
                <a:gd name="T8" fmla="*/ 473 w 1061"/>
                <a:gd name="T9" fmla="*/ 41 h 117"/>
                <a:gd name="T10" fmla="*/ 424 w 1061"/>
                <a:gd name="T11" fmla="*/ 32 h 117"/>
                <a:gd name="T12" fmla="*/ 412 w 1061"/>
                <a:gd name="T13" fmla="*/ 32 h 117"/>
                <a:gd name="T14" fmla="*/ 423 w 1061"/>
                <a:gd name="T15" fmla="*/ 95 h 117"/>
                <a:gd name="T16" fmla="*/ 474 w 1061"/>
                <a:gd name="T17" fmla="*/ 95 h 117"/>
                <a:gd name="T18" fmla="*/ 1011 w 1061"/>
                <a:gd name="T19" fmla="*/ 60 h 117"/>
                <a:gd name="T20" fmla="*/ 552 w 1061"/>
                <a:gd name="T21" fmla="*/ 9 h 117"/>
                <a:gd name="T22" fmla="*/ 530 w 1061"/>
                <a:gd name="T23" fmla="*/ 88 h 117"/>
                <a:gd name="T24" fmla="*/ 518 w 1061"/>
                <a:gd name="T25" fmla="*/ 28 h 117"/>
                <a:gd name="T26" fmla="*/ 847 w 1061"/>
                <a:gd name="T27" fmla="*/ 66 h 117"/>
                <a:gd name="T28" fmla="*/ 843 w 1061"/>
                <a:gd name="T29" fmla="*/ 88 h 117"/>
                <a:gd name="T30" fmla="*/ 752 w 1061"/>
                <a:gd name="T31" fmla="*/ 40 h 117"/>
                <a:gd name="T32" fmla="*/ 736 w 1061"/>
                <a:gd name="T33" fmla="*/ 36 h 117"/>
                <a:gd name="T34" fmla="*/ 264 w 1061"/>
                <a:gd name="T35" fmla="*/ 32 h 117"/>
                <a:gd name="T36" fmla="*/ 340 w 1061"/>
                <a:gd name="T37" fmla="*/ 49 h 117"/>
                <a:gd name="T38" fmla="*/ 707 w 1061"/>
                <a:gd name="T39" fmla="*/ 95 h 117"/>
                <a:gd name="T40" fmla="*/ 661 w 1061"/>
                <a:gd name="T41" fmla="*/ 9 h 117"/>
                <a:gd name="T42" fmla="*/ 919 w 1061"/>
                <a:gd name="T43" fmla="*/ 95 h 117"/>
                <a:gd name="T44" fmla="*/ 294 w 1061"/>
                <a:gd name="T45" fmla="*/ 94 h 117"/>
                <a:gd name="T46" fmla="*/ 329 w 1061"/>
                <a:gd name="T47" fmla="*/ 34 h 117"/>
                <a:gd name="T48" fmla="*/ 293 w 1061"/>
                <a:gd name="T49" fmla="*/ 92 h 117"/>
                <a:gd name="T50" fmla="*/ 134 w 1061"/>
                <a:gd name="T51" fmla="*/ 48 h 117"/>
                <a:gd name="T52" fmla="*/ 191 w 1061"/>
                <a:gd name="T53" fmla="*/ 32 h 117"/>
                <a:gd name="T54" fmla="*/ 222 w 1061"/>
                <a:gd name="T55" fmla="*/ 42 h 117"/>
                <a:gd name="T56" fmla="*/ 1023 w 1061"/>
                <a:gd name="T57" fmla="*/ 32 h 117"/>
                <a:gd name="T58" fmla="*/ 1054 w 1061"/>
                <a:gd name="T59" fmla="*/ 33 h 117"/>
                <a:gd name="T60" fmla="*/ 858 w 1061"/>
                <a:gd name="T61" fmla="*/ 94 h 117"/>
                <a:gd name="T62" fmla="*/ 890 w 1061"/>
                <a:gd name="T63" fmla="*/ 31 h 117"/>
                <a:gd name="T64" fmla="*/ 109 w 1061"/>
                <a:gd name="T65" fmla="*/ 95 h 117"/>
                <a:gd name="T66" fmla="*/ 480 w 1061"/>
                <a:gd name="T67" fmla="*/ 36 h 117"/>
                <a:gd name="T68" fmla="*/ 481 w 1061"/>
                <a:gd name="T69" fmla="*/ 33 h 117"/>
                <a:gd name="T70" fmla="*/ 480 w 1061"/>
                <a:gd name="T71" fmla="*/ 33 h 117"/>
                <a:gd name="T72" fmla="*/ 1061 w 1061"/>
                <a:gd name="T73" fmla="*/ 34 h 117"/>
                <a:gd name="T74" fmla="*/ 1058 w 1061"/>
                <a:gd name="T75" fmla="*/ 36 h 117"/>
                <a:gd name="T76" fmla="*/ 1061 w 1061"/>
                <a:gd name="T77" fmla="*/ 36 h 117"/>
                <a:gd name="T78" fmla="*/ 480 w 1061"/>
                <a:gd name="T79" fmla="*/ 36 h 117"/>
                <a:gd name="T80" fmla="*/ 477 w 1061"/>
                <a:gd name="T81" fmla="*/ 33 h 117"/>
                <a:gd name="T82" fmla="*/ 481 w 1061"/>
                <a:gd name="T83" fmla="*/ 36 h 117"/>
                <a:gd name="T84" fmla="*/ 620 w 1061"/>
                <a:gd name="T85" fmla="*/ 17 h 117"/>
                <a:gd name="T86" fmla="*/ 1000 w 1061"/>
                <a:gd name="T87" fmla="*/ 57 h 117"/>
                <a:gd name="T88" fmla="*/ 809 w 1061"/>
                <a:gd name="T89" fmla="*/ 45 h 117"/>
                <a:gd name="T90" fmla="*/ 235 w 1061"/>
                <a:gd name="T91" fmla="*/ 52 h 117"/>
                <a:gd name="T92" fmla="*/ 348 w 1061"/>
                <a:gd name="T93" fmla="*/ 64 h 117"/>
                <a:gd name="T94" fmla="*/ 478 w 1061"/>
                <a:gd name="T95" fmla="*/ 36 h 117"/>
                <a:gd name="T96" fmla="*/ 481 w 1061"/>
                <a:gd name="T97" fmla="*/ 35 h 117"/>
                <a:gd name="T98" fmla="*/ 1057 w 1061"/>
                <a:gd name="T99" fmla="*/ 34 h 117"/>
                <a:gd name="T100" fmla="*/ 1060 w 1061"/>
                <a:gd name="T101" fmla="*/ 35 h 117"/>
                <a:gd name="T102" fmla="*/ 478 w 1061"/>
                <a:gd name="T103" fmla="*/ 32 h 117"/>
                <a:gd name="T104" fmla="*/ 1059 w 1061"/>
                <a:gd name="T105" fmla="*/ 35 h 117"/>
                <a:gd name="T106" fmla="*/ 480 w 1061"/>
                <a:gd name="T107" fmla="*/ 35 h 117"/>
                <a:gd name="T108" fmla="*/ 478 w 1061"/>
                <a:gd name="T109" fmla="*/ 33 h 117"/>
                <a:gd name="T110" fmla="*/ 1060 w 1061"/>
                <a:gd name="T111" fmla="*/ 33 h 117"/>
                <a:gd name="T112" fmla="*/ 1060 w 1061"/>
                <a:gd name="T113" fmla="*/ 33 h 117"/>
                <a:gd name="T114" fmla="*/ 1060 w 1061"/>
                <a:gd name="T115" fmla="*/ 34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61" h="117">
                  <a:moveTo>
                    <a:pt x="80" y="23"/>
                  </a:moveTo>
                  <a:cubicBezTo>
                    <a:pt x="80" y="24"/>
                    <a:pt x="80" y="24"/>
                    <a:pt x="79" y="25"/>
                  </a:cubicBezTo>
                  <a:cubicBezTo>
                    <a:pt x="69" y="48"/>
                    <a:pt x="59" y="71"/>
                    <a:pt x="49" y="94"/>
                  </a:cubicBezTo>
                  <a:cubicBezTo>
                    <a:pt x="49" y="94"/>
                    <a:pt x="49" y="94"/>
                    <a:pt x="49" y="95"/>
                  </a:cubicBezTo>
                  <a:cubicBezTo>
                    <a:pt x="48" y="95"/>
                    <a:pt x="48" y="96"/>
                    <a:pt x="47" y="95"/>
                  </a:cubicBezTo>
                  <a:cubicBezTo>
                    <a:pt x="46" y="95"/>
                    <a:pt x="44" y="96"/>
                    <a:pt x="43" y="95"/>
                  </a:cubicBezTo>
                  <a:cubicBezTo>
                    <a:pt x="42" y="95"/>
                    <a:pt x="42" y="93"/>
                    <a:pt x="41" y="92"/>
                  </a:cubicBezTo>
                  <a:cubicBezTo>
                    <a:pt x="31" y="69"/>
                    <a:pt x="21" y="47"/>
                    <a:pt x="11" y="25"/>
                  </a:cubicBezTo>
                  <a:cubicBezTo>
                    <a:pt x="11" y="24"/>
                    <a:pt x="11" y="24"/>
                    <a:pt x="10" y="23"/>
                  </a:cubicBezTo>
                  <a:cubicBezTo>
                    <a:pt x="10" y="24"/>
                    <a:pt x="10" y="25"/>
                    <a:pt x="10" y="25"/>
                  </a:cubicBezTo>
                  <a:cubicBezTo>
                    <a:pt x="10" y="48"/>
                    <a:pt x="10" y="71"/>
                    <a:pt x="10" y="93"/>
                  </a:cubicBezTo>
                  <a:cubicBezTo>
                    <a:pt x="10" y="96"/>
                    <a:pt x="11" y="95"/>
                    <a:pt x="8" y="95"/>
                  </a:cubicBezTo>
                  <a:cubicBezTo>
                    <a:pt x="6" y="95"/>
                    <a:pt x="4" y="95"/>
                    <a:pt x="1" y="95"/>
                  </a:cubicBezTo>
                  <a:cubicBezTo>
                    <a:pt x="0" y="95"/>
                    <a:pt x="0" y="95"/>
                    <a:pt x="0" y="95"/>
                  </a:cubicBezTo>
                  <a:cubicBezTo>
                    <a:pt x="0" y="94"/>
                    <a:pt x="0" y="94"/>
                    <a:pt x="0" y="93"/>
                  </a:cubicBezTo>
                  <a:cubicBezTo>
                    <a:pt x="0" y="65"/>
                    <a:pt x="0" y="37"/>
                    <a:pt x="0" y="9"/>
                  </a:cubicBezTo>
                  <a:cubicBezTo>
                    <a:pt x="0" y="7"/>
                    <a:pt x="0" y="7"/>
                    <a:pt x="2" y="7"/>
                  </a:cubicBezTo>
                  <a:cubicBezTo>
                    <a:pt x="6" y="7"/>
                    <a:pt x="9" y="7"/>
                    <a:pt x="12" y="7"/>
                  </a:cubicBezTo>
                  <a:cubicBezTo>
                    <a:pt x="14" y="7"/>
                    <a:pt x="14" y="7"/>
                    <a:pt x="15" y="8"/>
                  </a:cubicBezTo>
                  <a:cubicBezTo>
                    <a:pt x="21" y="24"/>
                    <a:pt x="28" y="39"/>
                    <a:pt x="35" y="55"/>
                  </a:cubicBezTo>
                  <a:cubicBezTo>
                    <a:pt x="38" y="62"/>
                    <a:pt x="41" y="69"/>
                    <a:pt x="45" y="76"/>
                  </a:cubicBezTo>
                  <a:cubicBezTo>
                    <a:pt x="45" y="77"/>
                    <a:pt x="45" y="77"/>
                    <a:pt x="45" y="78"/>
                  </a:cubicBezTo>
                  <a:cubicBezTo>
                    <a:pt x="46" y="77"/>
                    <a:pt x="46" y="77"/>
                    <a:pt x="46" y="76"/>
                  </a:cubicBezTo>
                  <a:cubicBezTo>
                    <a:pt x="52" y="63"/>
                    <a:pt x="58" y="50"/>
                    <a:pt x="64" y="36"/>
                  </a:cubicBezTo>
                  <a:cubicBezTo>
                    <a:pt x="69" y="27"/>
                    <a:pt x="73" y="18"/>
                    <a:pt x="77" y="8"/>
                  </a:cubicBezTo>
                  <a:cubicBezTo>
                    <a:pt x="77" y="7"/>
                    <a:pt x="78" y="7"/>
                    <a:pt x="79" y="7"/>
                  </a:cubicBezTo>
                  <a:cubicBezTo>
                    <a:pt x="83" y="7"/>
                    <a:pt x="86" y="7"/>
                    <a:pt x="90" y="7"/>
                  </a:cubicBezTo>
                  <a:cubicBezTo>
                    <a:pt x="91" y="7"/>
                    <a:pt x="91" y="7"/>
                    <a:pt x="91" y="8"/>
                  </a:cubicBezTo>
                  <a:cubicBezTo>
                    <a:pt x="91" y="11"/>
                    <a:pt x="91" y="13"/>
                    <a:pt x="91" y="16"/>
                  </a:cubicBezTo>
                  <a:cubicBezTo>
                    <a:pt x="91" y="42"/>
                    <a:pt x="91" y="68"/>
                    <a:pt x="91" y="94"/>
                  </a:cubicBezTo>
                  <a:cubicBezTo>
                    <a:pt x="91" y="96"/>
                    <a:pt x="91" y="95"/>
                    <a:pt x="89" y="95"/>
                  </a:cubicBezTo>
                  <a:cubicBezTo>
                    <a:pt x="86" y="95"/>
                    <a:pt x="84" y="95"/>
                    <a:pt x="82" y="95"/>
                  </a:cubicBezTo>
                  <a:cubicBezTo>
                    <a:pt x="80" y="95"/>
                    <a:pt x="80" y="95"/>
                    <a:pt x="80" y="94"/>
                  </a:cubicBezTo>
                  <a:cubicBezTo>
                    <a:pt x="80" y="94"/>
                    <a:pt x="80" y="94"/>
                    <a:pt x="80" y="93"/>
                  </a:cubicBezTo>
                  <a:cubicBezTo>
                    <a:pt x="80" y="71"/>
                    <a:pt x="80" y="48"/>
                    <a:pt x="80" y="25"/>
                  </a:cubicBezTo>
                  <a:cubicBezTo>
                    <a:pt x="80" y="25"/>
                    <a:pt x="80" y="24"/>
                    <a:pt x="80" y="23"/>
                  </a:cubicBezTo>
                  <a:close/>
                  <a:moveTo>
                    <a:pt x="644" y="72"/>
                  </a:moveTo>
                  <a:cubicBezTo>
                    <a:pt x="647" y="65"/>
                    <a:pt x="648" y="58"/>
                    <a:pt x="648" y="50"/>
                  </a:cubicBezTo>
                  <a:cubicBezTo>
                    <a:pt x="648" y="43"/>
                    <a:pt x="647" y="37"/>
                    <a:pt x="644" y="30"/>
                  </a:cubicBezTo>
                  <a:cubicBezTo>
                    <a:pt x="640" y="19"/>
                    <a:pt x="631" y="11"/>
                    <a:pt x="620" y="7"/>
                  </a:cubicBezTo>
                  <a:cubicBezTo>
                    <a:pt x="612" y="5"/>
                    <a:pt x="605" y="5"/>
                    <a:pt x="597" y="6"/>
                  </a:cubicBezTo>
                  <a:cubicBezTo>
                    <a:pt x="585" y="9"/>
                    <a:pt x="575" y="16"/>
                    <a:pt x="569" y="27"/>
                  </a:cubicBezTo>
                  <a:cubicBezTo>
                    <a:pt x="566" y="34"/>
                    <a:pt x="564" y="42"/>
                    <a:pt x="564" y="50"/>
                  </a:cubicBezTo>
                  <a:cubicBezTo>
                    <a:pt x="564" y="57"/>
                    <a:pt x="565" y="64"/>
                    <a:pt x="567" y="71"/>
                  </a:cubicBezTo>
                  <a:cubicBezTo>
                    <a:pt x="571" y="80"/>
                    <a:pt x="577" y="88"/>
                    <a:pt x="586" y="93"/>
                  </a:cubicBezTo>
                  <a:cubicBezTo>
                    <a:pt x="591" y="95"/>
                    <a:pt x="597" y="97"/>
                    <a:pt x="603" y="97"/>
                  </a:cubicBezTo>
                  <a:cubicBezTo>
                    <a:pt x="605" y="97"/>
                    <a:pt x="605" y="97"/>
                    <a:pt x="606" y="98"/>
                  </a:cubicBezTo>
                  <a:cubicBezTo>
                    <a:pt x="611" y="104"/>
                    <a:pt x="616" y="110"/>
                    <a:pt x="621" y="116"/>
                  </a:cubicBezTo>
                  <a:cubicBezTo>
                    <a:pt x="622" y="117"/>
                    <a:pt x="623" y="117"/>
                    <a:pt x="624" y="117"/>
                  </a:cubicBezTo>
                  <a:cubicBezTo>
                    <a:pt x="628" y="117"/>
                    <a:pt x="631" y="117"/>
                    <a:pt x="635" y="117"/>
                  </a:cubicBezTo>
                  <a:cubicBezTo>
                    <a:pt x="636" y="117"/>
                    <a:pt x="636" y="117"/>
                    <a:pt x="637" y="117"/>
                  </a:cubicBezTo>
                  <a:cubicBezTo>
                    <a:pt x="630" y="110"/>
                    <a:pt x="623" y="103"/>
                    <a:pt x="616" y="96"/>
                  </a:cubicBezTo>
                  <a:cubicBezTo>
                    <a:pt x="630" y="92"/>
                    <a:pt x="639" y="85"/>
                    <a:pt x="644" y="72"/>
                  </a:cubicBezTo>
                  <a:close/>
                  <a:moveTo>
                    <a:pt x="474" y="87"/>
                  </a:moveTo>
                  <a:cubicBezTo>
                    <a:pt x="471" y="88"/>
                    <a:pt x="468" y="88"/>
                    <a:pt x="465" y="88"/>
                  </a:cubicBezTo>
                  <a:cubicBezTo>
                    <a:pt x="462" y="87"/>
                    <a:pt x="460" y="86"/>
                    <a:pt x="459" y="83"/>
                  </a:cubicBezTo>
                  <a:cubicBezTo>
                    <a:pt x="459" y="81"/>
                    <a:pt x="458" y="79"/>
                    <a:pt x="458" y="77"/>
                  </a:cubicBezTo>
                  <a:cubicBezTo>
                    <a:pt x="458" y="65"/>
                    <a:pt x="458" y="54"/>
                    <a:pt x="458" y="42"/>
                  </a:cubicBezTo>
                  <a:cubicBezTo>
                    <a:pt x="458" y="41"/>
                    <a:pt x="458" y="41"/>
                    <a:pt x="460" y="41"/>
                  </a:cubicBezTo>
                  <a:cubicBezTo>
                    <a:pt x="465" y="41"/>
                    <a:pt x="469" y="41"/>
                    <a:pt x="473" y="41"/>
                  </a:cubicBezTo>
                  <a:cubicBezTo>
                    <a:pt x="474" y="41"/>
                    <a:pt x="474" y="41"/>
                    <a:pt x="474" y="40"/>
                  </a:cubicBezTo>
                  <a:cubicBezTo>
                    <a:pt x="474" y="38"/>
                    <a:pt x="474" y="35"/>
                    <a:pt x="474" y="33"/>
                  </a:cubicBezTo>
                  <a:cubicBezTo>
                    <a:pt x="474" y="32"/>
                    <a:pt x="474" y="32"/>
                    <a:pt x="473" y="32"/>
                  </a:cubicBezTo>
                  <a:cubicBezTo>
                    <a:pt x="469" y="32"/>
                    <a:pt x="465" y="32"/>
                    <a:pt x="461" y="32"/>
                  </a:cubicBezTo>
                  <a:cubicBezTo>
                    <a:pt x="458" y="32"/>
                    <a:pt x="458" y="32"/>
                    <a:pt x="458" y="30"/>
                  </a:cubicBezTo>
                  <a:cubicBezTo>
                    <a:pt x="458" y="25"/>
                    <a:pt x="458" y="20"/>
                    <a:pt x="458" y="15"/>
                  </a:cubicBezTo>
                  <a:cubicBezTo>
                    <a:pt x="458" y="14"/>
                    <a:pt x="459" y="14"/>
                    <a:pt x="458" y="13"/>
                  </a:cubicBezTo>
                  <a:cubicBezTo>
                    <a:pt x="455" y="14"/>
                    <a:pt x="452" y="15"/>
                    <a:pt x="450" y="16"/>
                  </a:cubicBezTo>
                  <a:cubicBezTo>
                    <a:pt x="448" y="17"/>
                    <a:pt x="448" y="16"/>
                    <a:pt x="448" y="18"/>
                  </a:cubicBezTo>
                  <a:cubicBezTo>
                    <a:pt x="448" y="22"/>
                    <a:pt x="448" y="27"/>
                    <a:pt x="448" y="31"/>
                  </a:cubicBezTo>
                  <a:cubicBezTo>
                    <a:pt x="448" y="32"/>
                    <a:pt x="448" y="32"/>
                    <a:pt x="447" y="32"/>
                  </a:cubicBezTo>
                  <a:cubicBezTo>
                    <a:pt x="440" y="32"/>
                    <a:pt x="432" y="32"/>
                    <a:pt x="424" y="32"/>
                  </a:cubicBezTo>
                  <a:cubicBezTo>
                    <a:pt x="424" y="32"/>
                    <a:pt x="423" y="32"/>
                    <a:pt x="423" y="31"/>
                  </a:cubicBezTo>
                  <a:cubicBezTo>
                    <a:pt x="423" y="28"/>
                    <a:pt x="423" y="25"/>
                    <a:pt x="423" y="22"/>
                  </a:cubicBezTo>
                  <a:cubicBezTo>
                    <a:pt x="423" y="20"/>
                    <a:pt x="424" y="17"/>
                    <a:pt x="424" y="15"/>
                  </a:cubicBezTo>
                  <a:cubicBezTo>
                    <a:pt x="425" y="12"/>
                    <a:pt x="427" y="10"/>
                    <a:pt x="430" y="10"/>
                  </a:cubicBezTo>
                  <a:cubicBezTo>
                    <a:pt x="431" y="9"/>
                    <a:pt x="433" y="9"/>
                    <a:pt x="435" y="9"/>
                  </a:cubicBezTo>
                  <a:cubicBezTo>
                    <a:pt x="437" y="9"/>
                    <a:pt x="439" y="10"/>
                    <a:pt x="441" y="10"/>
                  </a:cubicBezTo>
                  <a:cubicBezTo>
                    <a:pt x="441" y="8"/>
                    <a:pt x="441" y="5"/>
                    <a:pt x="441" y="2"/>
                  </a:cubicBezTo>
                  <a:cubicBezTo>
                    <a:pt x="441" y="2"/>
                    <a:pt x="440" y="1"/>
                    <a:pt x="440" y="1"/>
                  </a:cubicBezTo>
                  <a:cubicBezTo>
                    <a:pt x="434" y="0"/>
                    <a:pt x="429" y="0"/>
                    <a:pt x="424" y="2"/>
                  </a:cubicBezTo>
                  <a:cubicBezTo>
                    <a:pt x="417" y="6"/>
                    <a:pt x="414" y="12"/>
                    <a:pt x="413" y="19"/>
                  </a:cubicBezTo>
                  <a:cubicBezTo>
                    <a:pt x="413" y="23"/>
                    <a:pt x="413" y="27"/>
                    <a:pt x="413" y="31"/>
                  </a:cubicBezTo>
                  <a:cubicBezTo>
                    <a:pt x="413" y="32"/>
                    <a:pt x="413" y="32"/>
                    <a:pt x="412" y="32"/>
                  </a:cubicBezTo>
                  <a:cubicBezTo>
                    <a:pt x="409" y="32"/>
                    <a:pt x="406" y="32"/>
                    <a:pt x="403" y="32"/>
                  </a:cubicBezTo>
                  <a:cubicBezTo>
                    <a:pt x="403" y="32"/>
                    <a:pt x="402" y="32"/>
                    <a:pt x="402" y="33"/>
                  </a:cubicBezTo>
                  <a:cubicBezTo>
                    <a:pt x="402" y="35"/>
                    <a:pt x="402" y="38"/>
                    <a:pt x="402" y="40"/>
                  </a:cubicBezTo>
                  <a:cubicBezTo>
                    <a:pt x="402" y="40"/>
                    <a:pt x="403" y="41"/>
                    <a:pt x="403" y="41"/>
                  </a:cubicBezTo>
                  <a:cubicBezTo>
                    <a:pt x="406" y="41"/>
                    <a:pt x="409" y="41"/>
                    <a:pt x="412" y="41"/>
                  </a:cubicBezTo>
                  <a:cubicBezTo>
                    <a:pt x="413" y="41"/>
                    <a:pt x="413" y="41"/>
                    <a:pt x="413" y="42"/>
                  </a:cubicBezTo>
                  <a:cubicBezTo>
                    <a:pt x="413" y="42"/>
                    <a:pt x="413" y="43"/>
                    <a:pt x="413" y="43"/>
                  </a:cubicBezTo>
                  <a:cubicBezTo>
                    <a:pt x="413" y="60"/>
                    <a:pt x="413" y="77"/>
                    <a:pt x="413" y="93"/>
                  </a:cubicBezTo>
                  <a:cubicBezTo>
                    <a:pt x="413" y="94"/>
                    <a:pt x="413" y="94"/>
                    <a:pt x="413" y="94"/>
                  </a:cubicBezTo>
                  <a:cubicBezTo>
                    <a:pt x="413" y="95"/>
                    <a:pt x="413" y="95"/>
                    <a:pt x="414" y="95"/>
                  </a:cubicBezTo>
                  <a:cubicBezTo>
                    <a:pt x="416" y="95"/>
                    <a:pt x="418" y="96"/>
                    <a:pt x="420" y="95"/>
                  </a:cubicBezTo>
                  <a:cubicBezTo>
                    <a:pt x="421" y="95"/>
                    <a:pt x="422" y="96"/>
                    <a:pt x="423" y="95"/>
                  </a:cubicBezTo>
                  <a:cubicBezTo>
                    <a:pt x="424" y="95"/>
                    <a:pt x="423" y="93"/>
                    <a:pt x="423" y="92"/>
                  </a:cubicBezTo>
                  <a:cubicBezTo>
                    <a:pt x="423" y="75"/>
                    <a:pt x="423" y="59"/>
                    <a:pt x="423" y="42"/>
                  </a:cubicBezTo>
                  <a:cubicBezTo>
                    <a:pt x="423" y="40"/>
                    <a:pt x="423" y="41"/>
                    <a:pt x="425" y="41"/>
                  </a:cubicBezTo>
                  <a:cubicBezTo>
                    <a:pt x="432" y="41"/>
                    <a:pt x="439" y="41"/>
                    <a:pt x="446" y="41"/>
                  </a:cubicBezTo>
                  <a:cubicBezTo>
                    <a:pt x="447" y="41"/>
                    <a:pt x="447" y="41"/>
                    <a:pt x="447" y="41"/>
                  </a:cubicBezTo>
                  <a:cubicBezTo>
                    <a:pt x="448" y="41"/>
                    <a:pt x="448" y="41"/>
                    <a:pt x="448" y="42"/>
                  </a:cubicBezTo>
                  <a:cubicBezTo>
                    <a:pt x="448" y="42"/>
                    <a:pt x="448" y="42"/>
                    <a:pt x="448" y="43"/>
                  </a:cubicBezTo>
                  <a:cubicBezTo>
                    <a:pt x="448" y="55"/>
                    <a:pt x="448" y="66"/>
                    <a:pt x="448" y="78"/>
                  </a:cubicBezTo>
                  <a:cubicBezTo>
                    <a:pt x="448" y="81"/>
                    <a:pt x="449" y="85"/>
                    <a:pt x="450" y="88"/>
                  </a:cubicBezTo>
                  <a:cubicBezTo>
                    <a:pt x="451" y="92"/>
                    <a:pt x="454" y="95"/>
                    <a:pt x="459" y="96"/>
                  </a:cubicBezTo>
                  <a:cubicBezTo>
                    <a:pt x="462" y="97"/>
                    <a:pt x="465" y="97"/>
                    <a:pt x="469" y="97"/>
                  </a:cubicBezTo>
                  <a:cubicBezTo>
                    <a:pt x="470" y="96"/>
                    <a:pt x="472" y="96"/>
                    <a:pt x="474" y="95"/>
                  </a:cubicBezTo>
                  <a:cubicBezTo>
                    <a:pt x="474" y="95"/>
                    <a:pt x="474" y="95"/>
                    <a:pt x="474" y="94"/>
                  </a:cubicBezTo>
                  <a:cubicBezTo>
                    <a:pt x="474" y="92"/>
                    <a:pt x="474" y="89"/>
                    <a:pt x="474" y="87"/>
                  </a:cubicBezTo>
                  <a:cubicBezTo>
                    <a:pt x="474" y="86"/>
                    <a:pt x="474" y="86"/>
                    <a:pt x="474" y="87"/>
                  </a:cubicBezTo>
                  <a:close/>
                  <a:moveTo>
                    <a:pt x="1004" y="83"/>
                  </a:moveTo>
                  <a:cubicBezTo>
                    <a:pt x="998" y="87"/>
                    <a:pt x="990" y="89"/>
                    <a:pt x="982" y="88"/>
                  </a:cubicBezTo>
                  <a:cubicBezTo>
                    <a:pt x="975" y="87"/>
                    <a:pt x="971" y="83"/>
                    <a:pt x="968" y="77"/>
                  </a:cubicBezTo>
                  <a:cubicBezTo>
                    <a:pt x="967" y="74"/>
                    <a:pt x="966" y="71"/>
                    <a:pt x="966" y="68"/>
                  </a:cubicBezTo>
                  <a:cubicBezTo>
                    <a:pt x="966" y="66"/>
                    <a:pt x="966" y="66"/>
                    <a:pt x="968" y="66"/>
                  </a:cubicBezTo>
                  <a:cubicBezTo>
                    <a:pt x="981" y="66"/>
                    <a:pt x="995" y="66"/>
                    <a:pt x="1009" y="66"/>
                  </a:cubicBezTo>
                  <a:cubicBezTo>
                    <a:pt x="1009" y="66"/>
                    <a:pt x="1009" y="66"/>
                    <a:pt x="1010" y="66"/>
                  </a:cubicBezTo>
                  <a:cubicBezTo>
                    <a:pt x="1010" y="66"/>
                    <a:pt x="1011" y="66"/>
                    <a:pt x="1011" y="65"/>
                  </a:cubicBezTo>
                  <a:cubicBezTo>
                    <a:pt x="1011" y="63"/>
                    <a:pt x="1011" y="62"/>
                    <a:pt x="1011" y="60"/>
                  </a:cubicBezTo>
                  <a:cubicBezTo>
                    <a:pt x="1010" y="55"/>
                    <a:pt x="1010" y="50"/>
                    <a:pt x="1008" y="46"/>
                  </a:cubicBezTo>
                  <a:cubicBezTo>
                    <a:pt x="1005" y="39"/>
                    <a:pt x="1001" y="34"/>
                    <a:pt x="994" y="32"/>
                  </a:cubicBezTo>
                  <a:cubicBezTo>
                    <a:pt x="988" y="30"/>
                    <a:pt x="982" y="30"/>
                    <a:pt x="977" y="32"/>
                  </a:cubicBezTo>
                  <a:cubicBezTo>
                    <a:pt x="968" y="34"/>
                    <a:pt x="963" y="39"/>
                    <a:pt x="959" y="47"/>
                  </a:cubicBezTo>
                  <a:cubicBezTo>
                    <a:pt x="954" y="58"/>
                    <a:pt x="954" y="70"/>
                    <a:pt x="958" y="81"/>
                  </a:cubicBezTo>
                  <a:cubicBezTo>
                    <a:pt x="962" y="90"/>
                    <a:pt x="968" y="95"/>
                    <a:pt x="977" y="96"/>
                  </a:cubicBezTo>
                  <a:cubicBezTo>
                    <a:pt x="984" y="98"/>
                    <a:pt x="991" y="97"/>
                    <a:pt x="997" y="95"/>
                  </a:cubicBezTo>
                  <a:cubicBezTo>
                    <a:pt x="1000" y="94"/>
                    <a:pt x="1003" y="93"/>
                    <a:pt x="1005" y="92"/>
                  </a:cubicBezTo>
                  <a:cubicBezTo>
                    <a:pt x="1006" y="91"/>
                    <a:pt x="1006" y="91"/>
                    <a:pt x="1006" y="90"/>
                  </a:cubicBezTo>
                  <a:cubicBezTo>
                    <a:pt x="1006" y="87"/>
                    <a:pt x="1006" y="85"/>
                    <a:pt x="1006" y="81"/>
                  </a:cubicBezTo>
                  <a:cubicBezTo>
                    <a:pt x="1005" y="82"/>
                    <a:pt x="1005" y="82"/>
                    <a:pt x="1004" y="83"/>
                  </a:cubicBezTo>
                  <a:close/>
                  <a:moveTo>
                    <a:pt x="552" y="9"/>
                  </a:moveTo>
                  <a:cubicBezTo>
                    <a:pt x="552" y="8"/>
                    <a:pt x="552" y="8"/>
                    <a:pt x="552" y="8"/>
                  </a:cubicBezTo>
                  <a:cubicBezTo>
                    <a:pt x="551" y="7"/>
                    <a:pt x="550" y="7"/>
                    <a:pt x="549" y="7"/>
                  </a:cubicBezTo>
                  <a:cubicBezTo>
                    <a:pt x="545" y="6"/>
                    <a:pt x="542" y="5"/>
                    <a:pt x="539" y="5"/>
                  </a:cubicBezTo>
                  <a:cubicBezTo>
                    <a:pt x="534" y="5"/>
                    <a:pt x="529" y="5"/>
                    <a:pt x="524" y="7"/>
                  </a:cubicBezTo>
                  <a:cubicBezTo>
                    <a:pt x="513" y="10"/>
                    <a:pt x="507" y="18"/>
                    <a:pt x="507" y="28"/>
                  </a:cubicBezTo>
                  <a:cubicBezTo>
                    <a:pt x="507" y="35"/>
                    <a:pt x="509" y="40"/>
                    <a:pt x="513" y="45"/>
                  </a:cubicBezTo>
                  <a:cubicBezTo>
                    <a:pt x="516" y="48"/>
                    <a:pt x="519" y="50"/>
                    <a:pt x="522" y="52"/>
                  </a:cubicBezTo>
                  <a:cubicBezTo>
                    <a:pt x="525" y="53"/>
                    <a:pt x="528" y="55"/>
                    <a:pt x="531" y="57"/>
                  </a:cubicBezTo>
                  <a:cubicBezTo>
                    <a:pt x="534" y="59"/>
                    <a:pt x="537" y="61"/>
                    <a:pt x="540" y="63"/>
                  </a:cubicBezTo>
                  <a:cubicBezTo>
                    <a:pt x="544" y="66"/>
                    <a:pt x="545" y="71"/>
                    <a:pt x="545" y="76"/>
                  </a:cubicBezTo>
                  <a:cubicBezTo>
                    <a:pt x="545" y="81"/>
                    <a:pt x="542" y="84"/>
                    <a:pt x="537" y="86"/>
                  </a:cubicBezTo>
                  <a:cubicBezTo>
                    <a:pt x="535" y="87"/>
                    <a:pt x="532" y="87"/>
                    <a:pt x="530" y="88"/>
                  </a:cubicBezTo>
                  <a:cubicBezTo>
                    <a:pt x="522" y="88"/>
                    <a:pt x="514" y="85"/>
                    <a:pt x="508" y="81"/>
                  </a:cubicBezTo>
                  <a:cubicBezTo>
                    <a:pt x="507" y="80"/>
                    <a:pt x="507" y="80"/>
                    <a:pt x="507" y="80"/>
                  </a:cubicBezTo>
                  <a:cubicBezTo>
                    <a:pt x="507" y="84"/>
                    <a:pt x="507" y="87"/>
                    <a:pt x="507" y="91"/>
                  </a:cubicBezTo>
                  <a:cubicBezTo>
                    <a:pt x="507" y="92"/>
                    <a:pt x="507" y="92"/>
                    <a:pt x="508" y="92"/>
                  </a:cubicBezTo>
                  <a:cubicBezTo>
                    <a:pt x="509" y="93"/>
                    <a:pt x="511" y="94"/>
                    <a:pt x="513" y="95"/>
                  </a:cubicBezTo>
                  <a:cubicBezTo>
                    <a:pt x="521" y="97"/>
                    <a:pt x="529" y="98"/>
                    <a:pt x="537" y="96"/>
                  </a:cubicBezTo>
                  <a:cubicBezTo>
                    <a:pt x="543" y="94"/>
                    <a:pt x="548" y="92"/>
                    <a:pt x="551" y="88"/>
                  </a:cubicBezTo>
                  <a:cubicBezTo>
                    <a:pt x="557" y="81"/>
                    <a:pt x="559" y="66"/>
                    <a:pt x="549" y="57"/>
                  </a:cubicBezTo>
                  <a:cubicBezTo>
                    <a:pt x="547" y="55"/>
                    <a:pt x="545" y="53"/>
                    <a:pt x="542" y="52"/>
                  </a:cubicBezTo>
                  <a:cubicBezTo>
                    <a:pt x="539" y="50"/>
                    <a:pt x="536" y="48"/>
                    <a:pt x="533" y="46"/>
                  </a:cubicBezTo>
                  <a:cubicBezTo>
                    <a:pt x="530" y="44"/>
                    <a:pt x="526" y="42"/>
                    <a:pt x="523" y="40"/>
                  </a:cubicBezTo>
                  <a:cubicBezTo>
                    <a:pt x="519" y="37"/>
                    <a:pt x="518" y="33"/>
                    <a:pt x="518" y="28"/>
                  </a:cubicBezTo>
                  <a:cubicBezTo>
                    <a:pt x="518" y="23"/>
                    <a:pt x="520" y="20"/>
                    <a:pt x="524" y="17"/>
                  </a:cubicBezTo>
                  <a:cubicBezTo>
                    <a:pt x="525" y="16"/>
                    <a:pt x="527" y="16"/>
                    <a:pt x="528" y="15"/>
                  </a:cubicBezTo>
                  <a:cubicBezTo>
                    <a:pt x="533" y="14"/>
                    <a:pt x="537" y="14"/>
                    <a:pt x="541" y="15"/>
                  </a:cubicBezTo>
                  <a:cubicBezTo>
                    <a:pt x="545" y="16"/>
                    <a:pt x="549" y="17"/>
                    <a:pt x="552" y="20"/>
                  </a:cubicBezTo>
                  <a:cubicBezTo>
                    <a:pt x="552" y="16"/>
                    <a:pt x="552" y="13"/>
                    <a:pt x="552" y="9"/>
                  </a:cubicBezTo>
                  <a:close/>
                  <a:moveTo>
                    <a:pt x="842" y="82"/>
                  </a:moveTo>
                  <a:cubicBezTo>
                    <a:pt x="835" y="87"/>
                    <a:pt x="827" y="89"/>
                    <a:pt x="819" y="88"/>
                  </a:cubicBezTo>
                  <a:cubicBezTo>
                    <a:pt x="812" y="87"/>
                    <a:pt x="807" y="83"/>
                    <a:pt x="805" y="77"/>
                  </a:cubicBezTo>
                  <a:cubicBezTo>
                    <a:pt x="804" y="74"/>
                    <a:pt x="803" y="71"/>
                    <a:pt x="803" y="68"/>
                  </a:cubicBezTo>
                  <a:cubicBezTo>
                    <a:pt x="803" y="66"/>
                    <a:pt x="803" y="66"/>
                    <a:pt x="804" y="66"/>
                  </a:cubicBezTo>
                  <a:cubicBezTo>
                    <a:pt x="818" y="66"/>
                    <a:pt x="832" y="66"/>
                    <a:pt x="845" y="66"/>
                  </a:cubicBezTo>
                  <a:cubicBezTo>
                    <a:pt x="846" y="66"/>
                    <a:pt x="846" y="66"/>
                    <a:pt x="847" y="66"/>
                  </a:cubicBezTo>
                  <a:cubicBezTo>
                    <a:pt x="847" y="66"/>
                    <a:pt x="847" y="66"/>
                    <a:pt x="847" y="65"/>
                  </a:cubicBezTo>
                  <a:cubicBezTo>
                    <a:pt x="847" y="63"/>
                    <a:pt x="847" y="60"/>
                    <a:pt x="847" y="57"/>
                  </a:cubicBezTo>
                  <a:cubicBezTo>
                    <a:pt x="847" y="53"/>
                    <a:pt x="847" y="50"/>
                    <a:pt x="845" y="47"/>
                  </a:cubicBezTo>
                  <a:cubicBezTo>
                    <a:pt x="843" y="40"/>
                    <a:pt x="839" y="35"/>
                    <a:pt x="831" y="32"/>
                  </a:cubicBezTo>
                  <a:cubicBezTo>
                    <a:pt x="825" y="30"/>
                    <a:pt x="818" y="30"/>
                    <a:pt x="811" y="32"/>
                  </a:cubicBezTo>
                  <a:cubicBezTo>
                    <a:pt x="804" y="35"/>
                    <a:pt x="798" y="41"/>
                    <a:pt x="795" y="49"/>
                  </a:cubicBezTo>
                  <a:cubicBezTo>
                    <a:pt x="792" y="55"/>
                    <a:pt x="792" y="62"/>
                    <a:pt x="792" y="68"/>
                  </a:cubicBezTo>
                  <a:cubicBezTo>
                    <a:pt x="793" y="73"/>
                    <a:pt x="793" y="77"/>
                    <a:pt x="795" y="81"/>
                  </a:cubicBezTo>
                  <a:cubicBezTo>
                    <a:pt x="799" y="89"/>
                    <a:pt x="805" y="94"/>
                    <a:pt x="814" y="96"/>
                  </a:cubicBezTo>
                  <a:cubicBezTo>
                    <a:pt x="818" y="97"/>
                    <a:pt x="822" y="97"/>
                    <a:pt x="826" y="97"/>
                  </a:cubicBezTo>
                  <a:cubicBezTo>
                    <a:pt x="831" y="96"/>
                    <a:pt x="836" y="95"/>
                    <a:pt x="841" y="92"/>
                  </a:cubicBezTo>
                  <a:cubicBezTo>
                    <a:pt x="843" y="91"/>
                    <a:pt x="843" y="91"/>
                    <a:pt x="843" y="88"/>
                  </a:cubicBezTo>
                  <a:cubicBezTo>
                    <a:pt x="843" y="86"/>
                    <a:pt x="843" y="84"/>
                    <a:pt x="843" y="82"/>
                  </a:cubicBezTo>
                  <a:cubicBezTo>
                    <a:pt x="842" y="82"/>
                    <a:pt x="842" y="82"/>
                    <a:pt x="842" y="82"/>
                  </a:cubicBezTo>
                  <a:close/>
                  <a:moveTo>
                    <a:pt x="735" y="81"/>
                  </a:moveTo>
                  <a:cubicBezTo>
                    <a:pt x="735" y="84"/>
                    <a:pt x="735" y="87"/>
                    <a:pt x="735" y="91"/>
                  </a:cubicBezTo>
                  <a:cubicBezTo>
                    <a:pt x="735" y="92"/>
                    <a:pt x="736" y="92"/>
                    <a:pt x="737" y="93"/>
                  </a:cubicBezTo>
                  <a:cubicBezTo>
                    <a:pt x="739" y="94"/>
                    <a:pt x="742" y="95"/>
                    <a:pt x="745" y="96"/>
                  </a:cubicBezTo>
                  <a:cubicBezTo>
                    <a:pt x="753" y="98"/>
                    <a:pt x="761" y="98"/>
                    <a:pt x="768" y="95"/>
                  </a:cubicBezTo>
                  <a:cubicBezTo>
                    <a:pt x="777" y="92"/>
                    <a:pt x="783" y="87"/>
                    <a:pt x="784" y="77"/>
                  </a:cubicBezTo>
                  <a:cubicBezTo>
                    <a:pt x="786" y="70"/>
                    <a:pt x="784" y="63"/>
                    <a:pt x="778" y="58"/>
                  </a:cubicBezTo>
                  <a:cubicBezTo>
                    <a:pt x="776" y="56"/>
                    <a:pt x="774" y="54"/>
                    <a:pt x="771" y="52"/>
                  </a:cubicBezTo>
                  <a:cubicBezTo>
                    <a:pt x="768" y="50"/>
                    <a:pt x="764" y="48"/>
                    <a:pt x="761" y="46"/>
                  </a:cubicBezTo>
                  <a:cubicBezTo>
                    <a:pt x="758" y="44"/>
                    <a:pt x="755" y="42"/>
                    <a:pt x="752" y="40"/>
                  </a:cubicBezTo>
                  <a:cubicBezTo>
                    <a:pt x="748" y="37"/>
                    <a:pt x="746" y="34"/>
                    <a:pt x="746" y="29"/>
                  </a:cubicBezTo>
                  <a:cubicBezTo>
                    <a:pt x="746" y="24"/>
                    <a:pt x="748" y="21"/>
                    <a:pt x="751" y="18"/>
                  </a:cubicBezTo>
                  <a:cubicBezTo>
                    <a:pt x="753" y="17"/>
                    <a:pt x="755" y="16"/>
                    <a:pt x="757" y="15"/>
                  </a:cubicBezTo>
                  <a:cubicBezTo>
                    <a:pt x="765" y="14"/>
                    <a:pt x="773" y="15"/>
                    <a:pt x="780" y="19"/>
                  </a:cubicBezTo>
                  <a:cubicBezTo>
                    <a:pt x="780" y="19"/>
                    <a:pt x="780" y="20"/>
                    <a:pt x="781" y="20"/>
                  </a:cubicBezTo>
                  <a:cubicBezTo>
                    <a:pt x="781" y="20"/>
                    <a:pt x="781" y="20"/>
                    <a:pt x="781" y="20"/>
                  </a:cubicBezTo>
                  <a:cubicBezTo>
                    <a:pt x="781" y="16"/>
                    <a:pt x="781" y="13"/>
                    <a:pt x="781" y="9"/>
                  </a:cubicBezTo>
                  <a:cubicBezTo>
                    <a:pt x="781" y="8"/>
                    <a:pt x="781" y="8"/>
                    <a:pt x="780" y="8"/>
                  </a:cubicBezTo>
                  <a:cubicBezTo>
                    <a:pt x="779" y="7"/>
                    <a:pt x="778" y="7"/>
                    <a:pt x="777" y="7"/>
                  </a:cubicBezTo>
                  <a:cubicBezTo>
                    <a:pt x="772" y="5"/>
                    <a:pt x="766" y="5"/>
                    <a:pt x="760" y="5"/>
                  </a:cubicBezTo>
                  <a:cubicBezTo>
                    <a:pt x="756" y="6"/>
                    <a:pt x="753" y="6"/>
                    <a:pt x="749" y="8"/>
                  </a:cubicBezTo>
                  <a:cubicBezTo>
                    <a:pt x="737" y="14"/>
                    <a:pt x="733" y="25"/>
                    <a:pt x="736" y="36"/>
                  </a:cubicBezTo>
                  <a:cubicBezTo>
                    <a:pt x="738" y="41"/>
                    <a:pt x="741" y="44"/>
                    <a:pt x="744" y="47"/>
                  </a:cubicBezTo>
                  <a:cubicBezTo>
                    <a:pt x="748" y="50"/>
                    <a:pt x="751" y="52"/>
                    <a:pt x="755" y="54"/>
                  </a:cubicBezTo>
                  <a:cubicBezTo>
                    <a:pt x="758" y="56"/>
                    <a:pt x="762" y="58"/>
                    <a:pt x="765" y="61"/>
                  </a:cubicBezTo>
                  <a:cubicBezTo>
                    <a:pt x="767" y="62"/>
                    <a:pt x="769" y="63"/>
                    <a:pt x="770" y="65"/>
                  </a:cubicBezTo>
                  <a:cubicBezTo>
                    <a:pt x="774" y="69"/>
                    <a:pt x="775" y="74"/>
                    <a:pt x="773" y="79"/>
                  </a:cubicBezTo>
                  <a:cubicBezTo>
                    <a:pt x="772" y="83"/>
                    <a:pt x="768" y="86"/>
                    <a:pt x="764" y="87"/>
                  </a:cubicBezTo>
                  <a:cubicBezTo>
                    <a:pt x="764" y="87"/>
                    <a:pt x="763" y="87"/>
                    <a:pt x="763" y="87"/>
                  </a:cubicBezTo>
                  <a:cubicBezTo>
                    <a:pt x="757" y="88"/>
                    <a:pt x="751" y="87"/>
                    <a:pt x="745" y="85"/>
                  </a:cubicBezTo>
                  <a:cubicBezTo>
                    <a:pt x="742" y="84"/>
                    <a:pt x="738" y="82"/>
                    <a:pt x="735" y="80"/>
                  </a:cubicBezTo>
                  <a:cubicBezTo>
                    <a:pt x="735" y="80"/>
                    <a:pt x="735" y="81"/>
                    <a:pt x="735" y="81"/>
                  </a:cubicBezTo>
                  <a:close/>
                  <a:moveTo>
                    <a:pt x="283" y="50"/>
                  </a:moveTo>
                  <a:cubicBezTo>
                    <a:pt x="280" y="41"/>
                    <a:pt x="274" y="34"/>
                    <a:pt x="264" y="32"/>
                  </a:cubicBezTo>
                  <a:cubicBezTo>
                    <a:pt x="259" y="30"/>
                    <a:pt x="254" y="30"/>
                    <a:pt x="248" y="31"/>
                  </a:cubicBezTo>
                  <a:cubicBezTo>
                    <a:pt x="237" y="33"/>
                    <a:pt x="230" y="39"/>
                    <a:pt x="226" y="49"/>
                  </a:cubicBezTo>
                  <a:cubicBezTo>
                    <a:pt x="222" y="58"/>
                    <a:pt x="222" y="68"/>
                    <a:pt x="225" y="77"/>
                  </a:cubicBezTo>
                  <a:cubicBezTo>
                    <a:pt x="228" y="86"/>
                    <a:pt x="234" y="92"/>
                    <a:pt x="243" y="95"/>
                  </a:cubicBezTo>
                  <a:cubicBezTo>
                    <a:pt x="248" y="97"/>
                    <a:pt x="254" y="97"/>
                    <a:pt x="260" y="97"/>
                  </a:cubicBezTo>
                  <a:cubicBezTo>
                    <a:pt x="270" y="95"/>
                    <a:pt x="277" y="90"/>
                    <a:pt x="282" y="81"/>
                  </a:cubicBezTo>
                  <a:cubicBezTo>
                    <a:pt x="284" y="76"/>
                    <a:pt x="285" y="70"/>
                    <a:pt x="285" y="65"/>
                  </a:cubicBezTo>
                  <a:cubicBezTo>
                    <a:pt x="285" y="59"/>
                    <a:pt x="285" y="54"/>
                    <a:pt x="283" y="50"/>
                  </a:cubicBezTo>
                  <a:close/>
                  <a:moveTo>
                    <a:pt x="398" y="50"/>
                  </a:moveTo>
                  <a:cubicBezTo>
                    <a:pt x="395" y="41"/>
                    <a:pt x="389" y="34"/>
                    <a:pt x="379" y="32"/>
                  </a:cubicBezTo>
                  <a:cubicBezTo>
                    <a:pt x="374" y="30"/>
                    <a:pt x="368" y="30"/>
                    <a:pt x="363" y="31"/>
                  </a:cubicBezTo>
                  <a:cubicBezTo>
                    <a:pt x="352" y="33"/>
                    <a:pt x="344" y="39"/>
                    <a:pt x="340" y="49"/>
                  </a:cubicBezTo>
                  <a:cubicBezTo>
                    <a:pt x="337" y="58"/>
                    <a:pt x="336" y="68"/>
                    <a:pt x="339" y="77"/>
                  </a:cubicBezTo>
                  <a:cubicBezTo>
                    <a:pt x="342" y="86"/>
                    <a:pt x="349" y="93"/>
                    <a:pt x="358" y="96"/>
                  </a:cubicBezTo>
                  <a:cubicBezTo>
                    <a:pt x="364" y="97"/>
                    <a:pt x="369" y="97"/>
                    <a:pt x="375" y="97"/>
                  </a:cubicBezTo>
                  <a:cubicBezTo>
                    <a:pt x="385" y="95"/>
                    <a:pt x="392" y="89"/>
                    <a:pt x="397" y="80"/>
                  </a:cubicBezTo>
                  <a:cubicBezTo>
                    <a:pt x="399" y="75"/>
                    <a:pt x="400" y="69"/>
                    <a:pt x="400" y="63"/>
                  </a:cubicBezTo>
                  <a:cubicBezTo>
                    <a:pt x="400" y="59"/>
                    <a:pt x="400" y="54"/>
                    <a:pt x="398" y="50"/>
                  </a:cubicBezTo>
                  <a:close/>
                  <a:moveTo>
                    <a:pt x="661" y="93"/>
                  </a:moveTo>
                  <a:cubicBezTo>
                    <a:pt x="661" y="94"/>
                    <a:pt x="661" y="94"/>
                    <a:pt x="661" y="95"/>
                  </a:cubicBezTo>
                  <a:cubicBezTo>
                    <a:pt x="661" y="95"/>
                    <a:pt x="662" y="96"/>
                    <a:pt x="662" y="95"/>
                  </a:cubicBezTo>
                  <a:cubicBezTo>
                    <a:pt x="663" y="95"/>
                    <a:pt x="663" y="95"/>
                    <a:pt x="663" y="95"/>
                  </a:cubicBezTo>
                  <a:cubicBezTo>
                    <a:pt x="677" y="95"/>
                    <a:pt x="691" y="95"/>
                    <a:pt x="706" y="95"/>
                  </a:cubicBezTo>
                  <a:cubicBezTo>
                    <a:pt x="706" y="95"/>
                    <a:pt x="706" y="95"/>
                    <a:pt x="707" y="95"/>
                  </a:cubicBezTo>
                  <a:cubicBezTo>
                    <a:pt x="707" y="95"/>
                    <a:pt x="707" y="95"/>
                    <a:pt x="707" y="95"/>
                  </a:cubicBezTo>
                  <a:cubicBezTo>
                    <a:pt x="707" y="92"/>
                    <a:pt x="707" y="89"/>
                    <a:pt x="707" y="87"/>
                  </a:cubicBezTo>
                  <a:cubicBezTo>
                    <a:pt x="707" y="86"/>
                    <a:pt x="707" y="86"/>
                    <a:pt x="707" y="86"/>
                  </a:cubicBezTo>
                  <a:cubicBezTo>
                    <a:pt x="706" y="86"/>
                    <a:pt x="706" y="86"/>
                    <a:pt x="705" y="86"/>
                  </a:cubicBezTo>
                  <a:cubicBezTo>
                    <a:pt x="695" y="86"/>
                    <a:pt x="684" y="86"/>
                    <a:pt x="674" y="86"/>
                  </a:cubicBezTo>
                  <a:cubicBezTo>
                    <a:pt x="672" y="86"/>
                    <a:pt x="672" y="86"/>
                    <a:pt x="672" y="84"/>
                  </a:cubicBezTo>
                  <a:cubicBezTo>
                    <a:pt x="672" y="59"/>
                    <a:pt x="672" y="34"/>
                    <a:pt x="672" y="9"/>
                  </a:cubicBezTo>
                  <a:cubicBezTo>
                    <a:pt x="672" y="9"/>
                    <a:pt x="672" y="8"/>
                    <a:pt x="672" y="8"/>
                  </a:cubicBezTo>
                  <a:cubicBezTo>
                    <a:pt x="672" y="7"/>
                    <a:pt x="671" y="7"/>
                    <a:pt x="671" y="7"/>
                  </a:cubicBezTo>
                  <a:cubicBezTo>
                    <a:pt x="668" y="7"/>
                    <a:pt x="665" y="7"/>
                    <a:pt x="663" y="7"/>
                  </a:cubicBezTo>
                  <a:cubicBezTo>
                    <a:pt x="661" y="7"/>
                    <a:pt x="661" y="6"/>
                    <a:pt x="661" y="8"/>
                  </a:cubicBezTo>
                  <a:cubicBezTo>
                    <a:pt x="661" y="8"/>
                    <a:pt x="661" y="9"/>
                    <a:pt x="661" y="9"/>
                  </a:cubicBezTo>
                  <a:cubicBezTo>
                    <a:pt x="661" y="23"/>
                    <a:pt x="661" y="37"/>
                    <a:pt x="661" y="51"/>
                  </a:cubicBezTo>
                  <a:cubicBezTo>
                    <a:pt x="661" y="65"/>
                    <a:pt x="661" y="79"/>
                    <a:pt x="661" y="93"/>
                  </a:cubicBezTo>
                  <a:close/>
                  <a:moveTo>
                    <a:pt x="923" y="83"/>
                  </a:moveTo>
                  <a:cubicBezTo>
                    <a:pt x="920" y="73"/>
                    <a:pt x="916" y="64"/>
                    <a:pt x="913" y="54"/>
                  </a:cubicBezTo>
                  <a:cubicBezTo>
                    <a:pt x="911" y="47"/>
                    <a:pt x="908" y="41"/>
                    <a:pt x="906" y="34"/>
                  </a:cubicBezTo>
                  <a:cubicBezTo>
                    <a:pt x="905" y="32"/>
                    <a:pt x="905" y="32"/>
                    <a:pt x="904" y="32"/>
                  </a:cubicBezTo>
                  <a:cubicBezTo>
                    <a:pt x="901" y="32"/>
                    <a:pt x="899" y="32"/>
                    <a:pt x="897" y="32"/>
                  </a:cubicBezTo>
                  <a:cubicBezTo>
                    <a:pt x="896" y="32"/>
                    <a:pt x="895" y="32"/>
                    <a:pt x="894" y="32"/>
                  </a:cubicBezTo>
                  <a:cubicBezTo>
                    <a:pt x="894" y="33"/>
                    <a:pt x="894" y="33"/>
                    <a:pt x="895" y="33"/>
                  </a:cubicBezTo>
                  <a:cubicBezTo>
                    <a:pt x="899" y="45"/>
                    <a:pt x="903" y="56"/>
                    <a:pt x="907" y="67"/>
                  </a:cubicBezTo>
                  <a:cubicBezTo>
                    <a:pt x="911" y="76"/>
                    <a:pt x="914" y="85"/>
                    <a:pt x="917" y="94"/>
                  </a:cubicBezTo>
                  <a:cubicBezTo>
                    <a:pt x="918" y="96"/>
                    <a:pt x="918" y="95"/>
                    <a:pt x="919" y="95"/>
                  </a:cubicBezTo>
                  <a:cubicBezTo>
                    <a:pt x="922" y="95"/>
                    <a:pt x="924" y="95"/>
                    <a:pt x="927" y="95"/>
                  </a:cubicBezTo>
                  <a:cubicBezTo>
                    <a:pt x="928" y="95"/>
                    <a:pt x="928" y="96"/>
                    <a:pt x="929" y="94"/>
                  </a:cubicBezTo>
                  <a:cubicBezTo>
                    <a:pt x="937" y="74"/>
                    <a:pt x="945" y="54"/>
                    <a:pt x="953" y="34"/>
                  </a:cubicBezTo>
                  <a:cubicBezTo>
                    <a:pt x="953" y="33"/>
                    <a:pt x="953" y="33"/>
                    <a:pt x="953" y="32"/>
                  </a:cubicBezTo>
                  <a:cubicBezTo>
                    <a:pt x="953" y="32"/>
                    <a:pt x="952" y="32"/>
                    <a:pt x="952" y="32"/>
                  </a:cubicBezTo>
                  <a:cubicBezTo>
                    <a:pt x="949" y="32"/>
                    <a:pt x="947" y="32"/>
                    <a:pt x="944" y="32"/>
                  </a:cubicBezTo>
                  <a:cubicBezTo>
                    <a:pt x="943" y="32"/>
                    <a:pt x="943" y="32"/>
                    <a:pt x="942" y="34"/>
                  </a:cubicBezTo>
                  <a:cubicBezTo>
                    <a:pt x="936" y="50"/>
                    <a:pt x="930" y="66"/>
                    <a:pt x="924" y="82"/>
                  </a:cubicBezTo>
                  <a:cubicBezTo>
                    <a:pt x="924" y="83"/>
                    <a:pt x="924" y="83"/>
                    <a:pt x="923" y="84"/>
                  </a:cubicBezTo>
                  <a:cubicBezTo>
                    <a:pt x="923" y="83"/>
                    <a:pt x="923" y="83"/>
                    <a:pt x="923" y="83"/>
                  </a:cubicBezTo>
                  <a:close/>
                  <a:moveTo>
                    <a:pt x="293" y="92"/>
                  </a:moveTo>
                  <a:cubicBezTo>
                    <a:pt x="293" y="93"/>
                    <a:pt x="293" y="93"/>
                    <a:pt x="294" y="94"/>
                  </a:cubicBezTo>
                  <a:cubicBezTo>
                    <a:pt x="299" y="96"/>
                    <a:pt x="304" y="97"/>
                    <a:pt x="310" y="97"/>
                  </a:cubicBezTo>
                  <a:cubicBezTo>
                    <a:pt x="314" y="97"/>
                    <a:pt x="318" y="96"/>
                    <a:pt x="321" y="94"/>
                  </a:cubicBezTo>
                  <a:cubicBezTo>
                    <a:pt x="329" y="91"/>
                    <a:pt x="333" y="83"/>
                    <a:pt x="331" y="74"/>
                  </a:cubicBezTo>
                  <a:cubicBezTo>
                    <a:pt x="330" y="71"/>
                    <a:pt x="328" y="68"/>
                    <a:pt x="325" y="66"/>
                  </a:cubicBezTo>
                  <a:cubicBezTo>
                    <a:pt x="322" y="63"/>
                    <a:pt x="319" y="61"/>
                    <a:pt x="316" y="60"/>
                  </a:cubicBezTo>
                  <a:cubicBezTo>
                    <a:pt x="314" y="59"/>
                    <a:pt x="311" y="58"/>
                    <a:pt x="309" y="57"/>
                  </a:cubicBezTo>
                  <a:cubicBezTo>
                    <a:pt x="308" y="56"/>
                    <a:pt x="307" y="56"/>
                    <a:pt x="306" y="55"/>
                  </a:cubicBezTo>
                  <a:cubicBezTo>
                    <a:pt x="302" y="52"/>
                    <a:pt x="302" y="46"/>
                    <a:pt x="305" y="42"/>
                  </a:cubicBezTo>
                  <a:cubicBezTo>
                    <a:pt x="307" y="40"/>
                    <a:pt x="310" y="40"/>
                    <a:pt x="312" y="39"/>
                  </a:cubicBezTo>
                  <a:cubicBezTo>
                    <a:pt x="318" y="39"/>
                    <a:pt x="323" y="40"/>
                    <a:pt x="328" y="43"/>
                  </a:cubicBezTo>
                  <a:cubicBezTo>
                    <a:pt x="328" y="43"/>
                    <a:pt x="328" y="44"/>
                    <a:pt x="329" y="43"/>
                  </a:cubicBezTo>
                  <a:cubicBezTo>
                    <a:pt x="329" y="40"/>
                    <a:pt x="329" y="37"/>
                    <a:pt x="329" y="34"/>
                  </a:cubicBezTo>
                  <a:cubicBezTo>
                    <a:pt x="329" y="34"/>
                    <a:pt x="328" y="33"/>
                    <a:pt x="328" y="33"/>
                  </a:cubicBezTo>
                  <a:cubicBezTo>
                    <a:pt x="320" y="30"/>
                    <a:pt x="313" y="29"/>
                    <a:pt x="306" y="32"/>
                  </a:cubicBezTo>
                  <a:cubicBezTo>
                    <a:pt x="298" y="35"/>
                    <a:pt x="294" y="39"/>
                    <a:pt x="293" y="47"/>
                  </a:cubicBezTo>
                  <a:cubicBezTo>
                    <a:pt x="292" y="54"/>
                    <a:pt x="294" y="59"/>
                    <a:pt x="300" y="63"/>
                  </a:cubicBezTo>
                  <a:cubicBezTo>
                    <a:pt x="302" y="65"/>
                    <a:pt x="305" y="66"/>
                    <a:pt x="307" y="67"/>
                  </a:cubicBezTo>
                  <a:cubicBezTo>
                    <a:pt x="310" y="68"/>
                    <a:pt x="313" y="70"/>
                    <a:pt x="315" y="71"/>
                  </a:cubicBezTo>
                  <a:cubicBezTo>
                    <a:pt x="316" y="72"/>
                    <a:pt x="318" y="73"/>
                    <a:pt x="319" y="73"/>
                  </a:cubicBezTo>
                  <a:cubicBezTo>
                    <a:pt x="322" y="77"/>
                    <a:pt x="322" y="85"/>
                    <a:pt x="317" y="87"/>
                  </a:cubicBezTo>
                  <a:cubicBezTo>
                    <a:pt x="315" y="88"/>
                    <a:pt x="313" y="88"/>
                    <a:pt x="311" y="88"/>
                  </a:cubicBezTo>
                  <a:cubicBezTo>
                    <a:pt x="305" y="89"/>
                    <a:pt x="299" y="87"/>
                    <a:pt x="294" y="83"/>
                  </a:cubicBezTo>
                  <a:cubicBezTo>
                    <a:pt x="294" y="83"/>
                    <a:pt x="293" y="83"/>
                    <a:pt x="293" y="83"/>
                  </a:cubicBezTo>
                  <a:cubicBezTo>
                    <a:pt x="293" y="86"/>
                    <a:pt x="293" y="89"/>
                    <a:pt x="293" y="92"/>
                  </a:cubicBezTo>
                  <a:close/>
                  <a:moveTo>
                    <a:pt x="177" y="84"/>
                  </a:moveTo>
                  <a:cubicBezTo>
                    <a:pt x="172" y="87"/>
                    <a:pt x="166" y="89"/>
                    <a:pt x="161" y="88"/>
                  </a:cubicBezTo>
                  <a:cubicBezTo>
                    <a:pt x="153" y="88"/>
                    <a:pt x="147" y="84"/>
                    <a:pt x="144" y="77"/>
                  </a:cubicBezTo>
                  <a:cubicBezTo>
                    <a:pt x="140" y="68"/>
                    <a:pt x="140" y="59"/>
                    <a:pt x="144" y="50"/>
                  </a:cubicBezTo>
                  <a:cubicBezTo>
                    <a:pt x="148" y="44"/>
                    <a:pt x="153" y="40"/>
                    <a:pt x="160" y="39"/>
                  </a:cubicBezTo>
                  <a:cubicBezTo>
                    <a:pt x="166" y="39"/>
                    <a:pt x="171" y="40"/>
                    <a:pt x="176" y="43"/>
                  </a:cubicBezTo>
                  <a:cubicBezTo>
                    <a:pt x="177" y="43"/>
                    <a:pt x="177" y="44"/>
                    <a:pt x="178" y="44"/>
                  </a:cubicBezTo>
                  <a:cubicBezTo>
                    <a:pt x="178" y="43"/>
                    <a:pt x="178" y="43"/>
                    <a:pt x="178" y="43"/>
                  </a:cubicBezTo>
                  <a:cubicBezTo>
                    <a:pt x="178" y="40"/>
                    <a:pt x="178" y="38"/>
                    <a:pt x="178" y="36"/>
                  </a:cubicBezTo>
                  <a:cubicBezTo>
                    <a:pt x="178" y="34"/>
                    <a:pt x="178" y="34"/>
                    <a:pt x="176" y="33"/>
                  </a:cubicBezTo>
                  <a:cubicBezTo>
                    <a:pt x="170" y="30"/>
                    <a:pt x="163" y="30"/>
                    <a:pt x="157" y="31"/>
                  </a:cubicBezTo>
                  <a:cubicBezTo>
                    <a:pt x="146" y="33"/>
                    <a:pt x="138" y="39"/>
                    <a:pt x="134" y="48"/>
                  </a:cubicBezTo>
                  <a:cubicBezTo>
                    <a:pt x="130" y="58"/>
                    <a:pt x="129" y="67"/>
                    <a:pt x="132" y="77"/>
                  </a:cubicBezTo>
                  <a:cubicBezTo>
                    <a:pt x="135" y="86"/>
                    <a:pt x="141" y="92"/>
                    <a:pt x="150" y="95"/>
                  </a:cubicBezTo>
                  <a:cubicBezTo>
                    <a:pt x="156" y="97"/>
                    <a:pt x="162" y="97"/>
                    <a:pt x="168" y="96"/>
                  </a:cubicBezTo>
                  <a:cubicBezTo>
                    <a:pt x="171" y="96"/>
                    <a:pt x="174" y="95"/>
                    <a:pt x="177" y="93"/>
                  </a:cubicBezTo>
                  <a:cubicBezTo>
                    <a:pt x="178" y="93"/>
                    <a:pt x="178" y="93"/>
                    <a:pt x="178" y="92"/>
                  </a:cubicBezTo>
                  <a:cubicBezTo>
                    <a:pt x="178" y="89"/>
                    <a:pt x="178" y="86"/>
                    <a:pt x="178" y="83"/>
                  </a:cubicBezTo>
                  <a:cubicBezTo>
                    <a:pt x="177" y="83"/>
                    <a:pt x="177" y="84"/>
                    <a:pt x="177" y="84"/>
                  </a:cubicBezTo>
                  <a:close/>
                  <a:moveTo>
                    <a:pt x="200" y="44"/>
                  </a:moveTo>
                  <a:cubicBezTo>
                    <a:pt x="200" y="44"/>
                    <a:pt x="200" y="43"/>
                    <a:pt x="200" y="43"/>
                  </a:cubicBezTo>
                  <a:cubicBezTo>
                    <a:pt x="200" y="40"/>
                    <a:pt x="199" y="36"/>
                    <a:pt x="200" y="33"/>
                  </a:cubicBezTo>
                  <a:cubicBezTo>
                    <a:pt x="200" y="32"/>
                    <a:pt x="199" y="32"/>
                    <a:pt x="198" y="32"/>
                  </a:cubicBezTo>
                  <a:cubicBezTo>
                    <a:pt x="196" y="32"/>
                    <a:pt x="194" y="32"/>
                    <a:pt x="191" y="32"/>
                  </a:cubicBezTo>
                  <a:cubicBezTo>
                    <a:pt x="189" y="32"/>
                    <a:pt x="189" y="32"/>
                    <a:pt x="189" y="34"/>
                  </a:cubicBezTo>
                  <a:cubicBezTo>
                    <a:pt x="189" y="54"/>
                    <a:pt x="189" y="74"/>
                    <a:pt x="189" y="93"/>
                  </a:cubicBezTo>
                  <a:cubicBezTo>
                    <a:pt x="189" y="94"/>
                    <a:pt x="189" y="94"/>
                    <a:pt x="189" y="94"/>
                  </a:cubicBezTo>
                  <a:cubicBezTo>
                    <a:pt x="189" y="95"/>
                    <a:pt x="190" y="96"/>
                    <a:pt x="190" y="95"/>
                  </a:cubicBezTo>
                  <a:cubicBezTo>
                    <a:pt x="193" y="95"/>
                    <a:pt x="196" y="95"/>
                    <a:pt x="198" y="95"/>
                  </a:cubicBezTo>
                  <a:cubicBezTo>
                    <a:pt x="199" y="95"/>
                    <a:pt x="200" y="95"/>
                    <a:pt x="200" y="94"/>
                  </a:cubicBezTo>
                  <a:cubicBezTo>
                    <a:pt x="200" y="94"/>
                    <a:pt x="200" y="94"/>
                    <a:pt x="200" y="93"/>
                  </a:cubicBezTo>
                  <a:cubicBezTo>
                    <a:pt x="200" y="83"/>
                    <a:pt x="200" y="73"/>
                    <a:pt x="200" y="63"/>
                  </a:cubicBezTo>
                  <a:cubicBezTo>
                    <a:pt x="200" y="61"/>
                    <a:pt x="200" y="59"/>
                    <a:pt x="200" y="56"/>
                  </a:cubicBezTo>
                  <a:cubicBezTo>
                    <a:pt x="201" y="52"/>
                    <a:pt x="202" y="48"/>
                    <a:pt x="205" y="45"/>
                  </a:cubicBezTo>
                  <a:cubicBezTo>
                    <a:pt x="208" y="42"/>
                    <a:pt x="211" y="40"/>
                    <a:pt x="215" y="40"/>
                  </a:cubicBezTo>
                  <a:cubicBezTo>
                    <a:pt x="217" y="40"/>
                    <a:pt x="220" y="41"/>
                    <a:pt x="222" y="42"/>
                  </a:cubicBezTo>
                  <a:cubicBezTo>
                    <a:pt x="222" y="39"/>
                    <a:pt x="222" y="36"/>
                    <a:pt x="222" y="32"/>
                  </a:cubicBezTo>
                  <a:cubicBezTo>
                    <a:pt x="222" y="32"/>
                    <a:pt x="222" y="32"/>
                    <a:pt x="221" y="31"/>
                  </a:cubicBezTo>
                  <a:cubicBezTo>
                    <a:pt x="220" y="31"/>
                    <a:pt x="219" y="31"/>
                    <a:pt x="217" y="31"/>
                  </a:cubicBezTo>
                  <a:cubicBezTo>
                    <a:pt x="213" y="31"/>
                    <a:pt x="210" y="32"/>
                    <a:pt x="206" y="35"/>
                  </a:cubicBezTo>
                  <a:cubicBezTo>
                    <a:pt x="204" y="37"/>
                    <a:pt x="202" y="39"/>
                    <a:pt x="201" y="42"/>
                  </a:cubicBezTo>
                  <a:cubicBezTo>
                    <a:pt x="201" y="43"/>
                    <a:pt x="200" y="44"/>
                    <a:pt x="200" y="44"/>
                  </a:cubicBezTo>
                  <a:cubicBezTo>
                    <a:pt x="200" y="44"/>
                    <a:pt x="200" y="44"/>
                    <a:pt x="200" y="44"/>
                  </a:cubicBezTo>
                  <a:close/>
                  <a:moveTo>
                    <a:pt x="1032" y="44"/>
                  </a:moveTo>
                  <a:cubicBezTo>
                    <a:pt x="1032" y="44"/>
                    <a:pt x="1032" y="44"/>
                    <a:pt x="1032" y="43"/>
                  </a:cubicBezTo>
                  <a:cubicBezTo>
                    <a:pt x="1032" y="40"/>
                    <a:pt x="1032" y="37"/>
                    <a:pt x="1032" y="33"/>
                  </a:cubicBezTo>
                  <a:cubicBezTo>
                    <a:pt x="1032" y="32"/>
                    <a:pt x="1031" y="32"/>
                    <a:pt x="1030" y="32"/>
                  </a:cubicBezTo>
                  <a:cubicBezTo>
                    <a:pt x="1028" y="32"/>
                    <a:pt x="1026" y="32"/>
                    <a:pt x="1023" y="32"/>
                  </a:cubicBezTo>
                  <a:cubicBezTo>
                    <a:pt x="1021" y="32"/>
                    <a:pt x="1021" y="32"/>
                    <a:pt x="1021" y="34"/>
                  </a:cubicBezTo>
                  <a:cubicBezTo>
                    <a:pt x="1021" y="54"/>
                    <a:pt x="1021" y="74"/>
                    <a:pt x="1021" y="94"/>
                  </a:cubicBezTo>
                  <a:cubicBezTo>
                    <a:pt x="1021" y="94"/>
                    <a:pt x="1021" y="94"/>
                    <a:pt x="1021" y="94"/>
                  </a:cubicBezTo>
                  <a:cubicBezTo>
                    <a:pt x="1021" y="95"/>
                    <a:pt x="1021" y="95"/>
                    <a:pt x="1023" y="95"/>
                  </a:cubicBezTo>
                  <a:cubicBezTo>
                    <a:pt x="1025" y="95"/>
                    <a:pt x="1027" y="95"/>
                    <a:pt x="1030" y="95"/>
                  </a:cubicBezTo>
                  <a:cubicBezTo>
                    <a:pt x="1032" y="95"/>
                    <a:pt x="1032" y="96"/>
                    <a:pt x="1032" y="94"/>
                  </a:cubicBezTo>
                  <a:cubicBezTo>
                    <a:pt x="1032" y="84"/>
                    <a:pt x="1032" y="74"/>
                    <a:pt x="1032" y="63"/>
                  </a:cubicBezTo>
                  <a:cubicBezTo>
                    <a:pt x="1032" y="61"/>
                    <a:pt x="1032" y="59"/>
                    <a:pt x="1032" y="57"/>
                  </a:cubicBezTo>
                  <a:cubicBezTo>
                    <a:pt x="1033" y="52"/>
                    <a:pt x="1034" y="48"/>
                    <a:pt x="1038" y="44"/>
                  </a:cubicBezTo>
                  <a:cubicBezTo>
                    <a:pt x="1040" y="42"/>
                    <a:pt x="1043" y="40"/>
                    <a:pt x="1047" y="40"/>
                  </a:cubicBezTo>
                  <a:cubicBezTo>
                    <a:pt x="1049" y="40"/>
                    <a:pt x="1052" y="41"/>
                    <a:pt x="1054" y="42"/>
                  </a:cubicBezTo>
                  <a:cubicBezTo>
                    <a:pt x="1054" y="39"/>
                    <a:pt x="1054" y="36"/>
                    <a:pt x="1054" y="33"/>
                  </a:cubicBezTo>
                  <a:cubicBezTo>
                    <a:pt x="1054" y="32"/>
                    <a:pt x="1054" y="32"/>
                    <a:pt x="1053" y="31"/>
                  </a:cubicBezTo>
                  <a:cubicBezTo>
                    <a:pt x="1052" y="31"/>
                    <a:pt x="1050" y="31"/>
                    <a:pt x="1049" y="31"/>
                  </a:cubicBezTo>
                  <a:cubicBezTo>
                    <a:pt x="1045" y="31"/>
                    <a:pt x="1042" y="32"/>
                    <a:pt x="1039" y="34"/>
                  </a:cubicBezTo>
                  <a:cubicBezTo>
                    <a:pt x="1036" y="37"/>
                    <a:pt x="1034" y="39"/>
                    <a:pt x="1033" y="43"/>
                  </a:cubicBezTo>
                  <a:cubicBezTo>
                    <a:pt x="1032" y="43"/>
                    <a:pt x="1032" y="44"/>
                    <a:pt x="1032" y="45"/>
                  </a:cubicBezTo>
                  <a:cubicBezTo>
                    <a:pt x="1032" y="44"/>
                    <a:pt x="1032" y="44"/>
                    <a:pt x="1032" y="44"/>
                  </a:cubicBezTo>
                  <a:close/>
                  <a:moveTo>
                    <a:pt x="868" y="43"/>
                  </a:moveTo>
                  <a:cubicBezTo>
                    <a:pt x="868" y="40"/>
                    <a:pt x="868" y="37"/>
                    <a:pt x="868" y="33"/>
                  </a:cubicBezTo>
                  <a:cubicBezTo>
                    <a:pt x="868" y="32"/>
                    <a:pt x="868" y="32"/>
                    <a:pt x="867" y="32"/>
                  </a:cubicBezTo>
                  <a:cubicBezTo>
                    <a:pt x="865" y="32"/>
                    <a:pt x="862" y="32"/>
                    <a:pt x="860" y="32"/>
                  </a:cubicBezTo>
                  <a:cubicBezTo>
                    <a:pt x="858" y="32"/>
                    <a:pt x="858" y="32"/>
                    <a:pt x="858" y="34"/>
                  </a:cubicBezTo>
                  <a:cubicBezTo>
                    <a:pt x="858" y="54"/>
                    <a:pt x="858" y="74"/>
                    <a:pt x="858" y="94"/>
                  </a:cubicBezTo>
                  <a:cubicBezTo>
                    <a:pt x="858" y="94"/>
                    <a:pt x="858" y="94"/>
                    <a:pt x="858" y="95"/>
                  </a:cubicBezTo>
                  <a:cubicBezTo>
                    <a:pt x="858" y="95"/>
                    <a:pt x="858" y="95"/>
                    <a:pt x="859" y="95"/>
                  </a:cubicBezTo>
                  <a:cubicBezTo>
                    <a:pt x="862" y="95"/>
                    <a:pt x="865" y="95"/>
                    <a:pt x="868" y="95"/>
                  </a:cubicBezTo>
                  <a:cubicBezTo>
                    <a:pt x="868" y="95"/>
                    <a:pt x="868" y="95"/>
                    <a:pt x="868" y="95"/>
                  </a:cubicBezTo>
                  <a:cubicBezTo>
                    <a:pt x="868" y="94"/>
                    <a:pt x="868" y="94"/>
                    <a:pt x="868" y="94"/>
                  </a:cubicBezTo>
                  <a:cubicBezTo>
                    <a:pt x="868" y="84"/>
                    <a:pt x="868" y="74"/>
                    <a:pt x="868" y="65"/>
                  </a:cubicBezTo>
                  <a:cubicBezTo>
                    <a:pt x="868" y="62"/>
                    <a:pt x="868" y="60"/>
                    <a:pt x="869" y="58"/>
                  </a:cubicBezTo>
                  <a:cubicBezTo>
                    <a:pt x="869" y="53"/>
                    <a:pt x="871" y="49"/>
                    <a:pt x="874" y="45"/>
                  </a:cubicBezTo>
                  <a:cubicBezTo>
                    <a:pt x="878" y="39"/>
                    <a:pt x="886" y="40"/>
                    <a:pt x="890" y="42"/>
                  </a:cubicBezTo>
                  <a:cubicBezTo>
                    <a:pt x="891" y="42"/>
                    <a:pt x="891" y="42"/>
                    <a:pt x="891" y="42"/>
                  </a:cubicBezTo>
                  <a:cubicBezTo>
                    <a:pt x="891" y="39"/>
                    <a:pt x="891" y="36"/>
                    <a:pt x="891" y="33"/>
                  </a:cubicBezTo>
                  <a:cubicBezTo>
                    <a:pt x="891" y="32"/>
                    <a:pt x="891" y="32"/>
                    <a:pt x="890" y="31"/>
                  </a:cubicBezTo>
                  <a:cubicBezTo>
                    <a:pt x="889" y="31"/>
                    <a:pt x="888" y="31"/>
                    <a:pt x="886" y="31"/>
                  </a:cubicBezTo>
                  <a:cubicBezTo>
                    <a:pt x="882" y="31"/>
                    <a:pt x="878" y="32"/>
                    <a:pt x="874" y="35"/>
                  </a:cubicBezTo>
                  <a:cubicBezTo>
                    <a:pt x="872" y="38"/>
                    <a:pt x="871" y="40"/>
                    <a:pt x="869" y="43"/>
                  </a:cubicBezTo>
                  <a:cubicBezTo>
                    <a:pt x="869" y="44"/>
                    <a:pt x="869" y="44"/>
                    <a:pt x="868" y="45"/>
                  </a:cubicBezTo>
                  <a:cubicBezTo>
                    <a:pt x="868" y="44"/>
                    <a:pt x="868" y="44"/>
                    <a:pt x="868" y="43"/>
                  </a:cubicBezTo>
                  <a:close/>
                  <a:moveTo>
                    <a:pt x="119" y="58"/>
                  </a:moveTo>
                  <a:cubicBezTo>
                    <a:pt x="119" y="50"/>
                    <a:pt x="119" y="42"/>
                    <a:pt x="119" y="34"/>
                  </a:cubicBezTo>
                  <a:cubicBezTo>
                    <a:pt x="119" y="32"/>
                    <a:pt x="119" y="32"/>
                    <a:pt x="117" y="32"/>
                  </a:cubicBezTo>
                  <a:cubicBezTo>
                    <a:pt x="115" y="32"/>
                    <a:pt x="113" y="32"/>
                    <a:pt x="110" y="32"/>
                  </a:cubicBezTo>
                  <a:cubicBezTo>
                    <a:pt x="108" y="32"/>
                    <a:pt x="109" y="32"/>
                    <a:pt x="109" y="34"/>
                  </a:cubicBezTo>
                  <a:cubicBezTo>
                    <a:pt x="109" y="54"/>
                    <a:pt x="109" y="74"/>
                    <a:pt x="109" y="94"/>
                  </a:cubicBezTo>
                  <a:cubicBezTo>
                    <a:pt x="109" y="94"/>
                    <a:pt x="109" y="94"/>
                    <a:pt x="109" y="95"/>
                  </a:cubicBezTo>
                  <a:cubicBezTo>
                    <a:pt x="109" y="95"/>
                    <a:pt x="109" y="95"/>
                    <a:pt x="109" y="95"/>
                  </a:cubicBezTo>
                  <a:cubicBezTo>
                    <a:pt x="112" y="95"/>
                    <a:pt x="115" y="95"/>
                    <a:pt x="118" y="95"/>
                  </a:cubicBezTo>
                  <a:cubicBezTo>
                    <a:pt x="119" y="95"/>
                    <a:pt x="119" y="95"/>
                    <a:pt x="119" y="95"/>
                  </a:cubicBezTo>
                  <a:cubicBezTo>
                    <a:pt x="119" y="94"/>
                    <a:pt x="119" y="94"/>
                    <a:pt x="119" y="94"/>
                  </a:cubicBezTo>
                  <a:cubicBezTo>
                    <a:pt x="119" y="84"/>
                    <a:pt x="119" y="74"/>
                    <a:pt x="119" y="64"/>
                  </a:cubicBezTo>
                  <a:cubicBezTo>
                    <a:pt x="119" y="62"/>
                    <a:pt x="119" y="60"/>
                    <a:pt x="119" y="58"/>
                  </a:cubicBezTo>
                  <a:close/>
                  <a:moveTo>
                    <a:pt x="114" y="3"/>
                  </a:moveTo>
                  <a:cubicBezTo>
                    <a:pt x="110" y="3"/>
                    <a:pt x="107" y="6"/>
                    <a:pt x="107" y="9"/>
                  </a:cubicBezTo>
                  <a:cubicBezTo>
                    <a:pt x="107" y="13"/>
                    <a:pt x="110" y="16"/>
                    <a:pt x="114" y="16"/>
                  </a:cubicBezTo>
                  <a:cubicBezTo>
                    <a:pt x="118" y="16"/>
                    <a:pt x="121" y="13"/>
                    <a:pt x="121" y="9"/>
                  </a:cubicBezTo>
                  <a:cubicBezTo>
                    <a:pt x="121" y="6"/>
                    <a:pt x="118" y="3"/>
                    <a:pt x="114" y="3"/>
                  </a:cubicBezTo>
                  <a:close/>
                  <a:moveTo>
                    <a:pt x="480" y="36"/>
                  </a:moveTo>
                  <a:cubicBezTo>
                    <a:pt x="479" y="36"/>
                    <a:pt x="479" y="36"/>
                    <a:pt x="478" y="35"/>
                  </a:cubicBezTo>
                  <a:cubicBezTo>
                    <a:pt x="478" y="35"/>
                    <a:pt x="478" y="34"/>
                    <a:pt x="478" y="34"/>
                  </a:cubicBezTo>
                  <a:cubicBezTo>
                    <a:pt x="477" y="34"/>
                    <a:pt x="477" y="33"/>
                    <a:pt x="477" y="33"/>
                  </a:cubicBezTo>
                  <a:cubicBezTo>
                    <a:pt x="476" y="34"/>
                    <a:pt x="477" y="35"/>
                    <a:pt x="477" y="36"/>
                  </a:cubicBezTo>
                  <a:cubicBezTo>
                    <a:pt x="478" y="36"/>
                    <a:pt x="479" y="37"/>
                    <a:pt x="480" y="36"/>
                  </a:cubicBezTo>
                  <a:cubicBezTo>
                    <a:pt x="480" y="36"/>
                    <a:pt x="480" y="36"/>
                    <a:pt x="480" y="36"/>
                  </a:cubicBezTo>
                  <a:close/>
                  <a:moveTo>
                    <a:pt x="480" y="33"/>
                  </a:moveTo>
                  <a:cubicBezTo>
                    <a:pt x="480" y="33"/>
                    <a:pt x="480" y="33"/>
                    <a:pt x="480" y="33"/>
                  </a:cubicBezTo>
                  <a:cubicBezTo>
                    <a:pt x="480" y="33"/>
                    <a:pt x="480" y="33"/>
                    <a:pt x="480" y="33"/>
                  </a:cubicBezTo>
                  <a:cubicBezTo>
                    <a:pt x="481" y="34"/>
                    <a:pt x="480" y="35"/>
                    <a:pt x="481" y="35"/>
                  </a:cubicBezTo>
                  <a:cubicBezTo>
                    <a:pt x="481" y="36"/>
                    <a:pt x="481" y="35"/>
                    <a:pt x="481" y="35"/>
                  </a:cubicBezTo>
                  <a:cubicBezTo>
                    <a:pt x="482" y="34"/>
                    <a:pt x="482" y="34"/>
                    <a:pt x="481" y="33"/>
                  </a:cubicBezTo>
                  <a:cubicBezTo>
                    <a:pt x="481" y="33"/>
                    <a:pt x="480" y="33"/>
                    <a:pt x="480" y="33"/>
                  </a:cubicBezTo>
                  <a:close/>
                  <a:moveTo>
                    <a:pt x="1059" y="36"/>
                  </a:moveTo>
                  <a:cubicBezTo>
                    <a:pt x="1059" y="36"/>
                    <a:pt x="1058" y="36"/>
                    <a:pt x="1058" y="35"/>
                  </a:cubicBezTo>
                  <a:cubicBezTo>
                    <a:pt x="1058" y="35"/>
                    <a:pt x="1058" y="35"/>
                    <a:pt x="1057" y="35"/>
                  </a:cubicBezTo>
                  <a:cubicBezTo>
                    <a:pt x="1057" y="35"/>
                    <a:pt x="1057" y="35"/>
                    <a:pt x="1057" y="35"/>
                  </a:cubicBezTo>
                  <a:cubicBezTo>
                    <a:pt x="1057" y="36"/>
                    <a:pt x="1057" y="36"/>
                    <a:pt x="1058" y="36"/>
                  </a:cubicBezTo>
                  <a:cubicBezTo>
                    <a:pt x="1059" y="37"/>
                    <a:pt x="1059" y="36"/>
                    <a:pt x="1059" y="36"/>
                  </a:cubicBezTo>
                  <a:close/>
                  <a:moveTo>
                    <a:pt x="478" y="33"/>
                  </a:moveTo>
                  <a:cubicBezTo>
                    <a:pt x="478" y="33"/>
                    <a:pt x="478" y="33"/>
                    <a:pt x="478" y="33"/>
                  </a:cubicBezTo>
                  <a:cubicBezTo>
                    <a:pt x="479" y="33"/>
                    <a:pt x="479" y="33"/>
                    <a:pt x="480" y="33"/>
                  </a:cubicBezTo>
                  <a:cubicBezTo>
                    <a:pt x="480" y="33"/>
                    <a:pt x="480" y="33"/>
                    <a:pt x="480" y="33"/>
                  </a:cubicBezTo>
                  <a:cubicBezTo>
                    <a:pt x="480" y="33"/>
                    <a:pt x="480" y="33"/>
                    <a:pt x="480" y="33"/>
                  </a:cubicBezTo>
                  <a:cubicBezTo>
                    <a:pt x="480" y="33"/>
                    <a:pt x="480" y="32"/>
                    <a:pt x="480" y="32"/>
                  </a:cubicBezTo>
                  <a:cubicBezTo>
                    <a:pt x="480" y="32"/>
                    <a:pt x="479" y="32"/>
                    <a:pt x="478" y="32"/>
                  </a:cubicBezTo>
                  <a:cubicBezTo>
                    <a:pt x="478" y="32"/>
                    <a:pt x="478" y="32"/>
                    <a:pt x="478" y="33"/>
                  </a:cubicBezTo>
                  <a:close/>
                  <a:moveTo>
                    <a:pt x="1057" y="34"/>
                  </a:moveTo>
                  <a:cubicBezTo>
                    <a:pt x="1058" y="34"/>
                    <a:pt x="1058" y="33"/>
                    <a:pt x="1058" y="33"/>
                  </a:cubicBezTo>
                  <a:cubicBezTo>
                    <a:pt x="1058" y="33"/>
                    <a:pt x="1058" y="33"/>
                    <a:pt x="1058" y="33"/>
                  </a:cubicBezTo>
                  <a:cubicBezTo>
                    <a:pt x="1058" y="32"/>
                    <a:pt x="1058" y="32"/>
                    <a:pt x="1058" y="32"/>
                  </a:cubicBezTo>
                  <a:cubicBezTo>
                    <a:pt x="1057" y="32"/>
                    <a:pt x="1057" y="33"/>
                    <a:pt x="1057" y="34"/>
                  </a:cubicBezTo>
                  <a:cubicBezTo>
                    <a:pt x="1057" y="34"/>
                    <a:pt x="1057" y="34"/>
                    <a:pt x="1057" y="34"/>
                  </a:cubicBezTo>
                  <a:close/>
                  <a:moveTo>
                    <a:pt x="1060" y="33"/>
                  </a:moveTo>
                  <a:cubicBezTo>
                    <a:pt x="1060" y="33"/>
                    <a:pt x="1060" y="33"/>
                    <a:pt x="1060" y="33"/>
                  </a:cubicBezTo>
                  <a:cubicBezTo>
                    <a:pt x="1060" y="33"/>
                    <a:pt x="1060" y="33"/>
                    <a:pt x="1061" y="34"/>
                  </a:cubicBezTo>
                  <a:cubicBezTo>
                    <a:pt x="1061" y="34"/>
                    <a:pt x="1061" y="34"/>
                    <a:pt x="1061" y="33"/>
                  </a:cubicBezTo>
                  <a:cubicBezTo>
                    <a:pt x="1061" y="33"/>
                    <a:pt x="1061" y="32"/>
                    <a:pt x="1060" y="32"/>
                  </a:cubicBezTo>
                  <a:cubicBezTo>
                    <a:pt x="1060" y="32"/>
                    <a:pt x="1060" y="32"/>
                    <a:pt x="1060" y="33"/>
                  </a:cubicBezTo>
                  <a:close/>
                  <a:moveTo>
                    <a:pt x="1058" y="32"/>
                  </a:moveTo>
                  <a:cubicBezTo>
                    <a:pt x="1058" y="32"/>
                    <a:pt x="1058" y="32"/>
                    <a:pt x="1058" y="33"/>
                  </a:cubicBezTo>
                  <a:cubicBezTo>
                    <a:pt x="1059" y="33"/>
                    <a:pt x="1059" y="33"/>
                    <a:pt x="1060" y="32"/>
                  </a:cubicBezTo>
                  <a:cubicBezTo>
                    <a:pt x="1060" y="32"/>
                    <a:pt x="1060" y="32"/>
                    <a:pt x="1060" y="32"/>
                  </a:cubicBezTo>
                  <a:cubicBezTo>
                    <a:pt x="1059" y="32"/>
                    <a:pt x="1059" y="32"/>
                    <a:pt x="1058" y="32"/>
                  </a:cubicBezTo>
                  <a:close/>
                  <a:moveTo>
                    <a:pt x="1060" y="36"/>
                  </a:moveTo>
                  <a:cubicBezTo>
                    <a:pt x="1060" y="36"/>
                    <a:pt x="1060" y="36"/>
                    <a:pt x="1059" y="36"/>
                  </a:cubicBezTo>
                  <a:cubicBezTo>
                    <a:pt x="1059" y="36"/>
                    <a:pt x="1059" y="36"/>
                    <a:pt x="1059" y="36"/>
                  </a:cubicBezTo>
                  <a:cubicBezTo>
                    <a:pt x="1059" y="36"/>
                    <a:pt x="1058" y="36"/>
                    <a:pt x="1058" y="36"/>
                  </a:cubicBezTo>
                  <a:cubicBezTo>
                    <a:pt x="1059" y="37"/>
                    <a:pt x="1059" y="37"/>
                    <a:pt x="1060" y="36"/>
                  </a:cubicBezTo>
                  <a:close/>
                  <a:moveTo>
                    <a:pt x="1061" y="35"/>
                  </a:moveTo>
                  <a:cubicBezTo>
                    <a:pt x="1061" y="35"/>
                    <a:pt x="1061" y="35"/>
                    <a:pt x="1061" y="35"/>
                  </a:cubicBezTo>
                  <a:cubicBezTo>
                    <a:pt x="1061" y="34"/>
                    <a:pt x="1061" y="34"/>
                    <a:pt x="1061" y="33"/>
                  </a:cubicBezTo>
                  <a:cubicBezTo>
                    <a:pt x="1061" y="33"/>
                    <a:pt x="1061" y="33"/>
                    <a:pt x="1061" y="33"/>
                  </a:cubicBezTo>
                  <a:cubicBezTo>
                    <a:pt x="1061" y="34"/>
                    <a:pt x="1061" y="34"/>
                    <a:pt x="1061" y="35"/>
                  </a:cubicBezTo>
                  <a:close/>
                  <a:moveTo>
                    <a:pt x="1061" y="36"/>
                  </a:moveTo>
                  <a:cubicBezTo>
                    <a:pt x="1061" y="36"/>
                    <a:pt x="1061" y="36"/>
                    <a:pt x="1060" y="35"/>
                  </a:cubicBezTo>
                  <a:cubicBezTo>
                    <a:pt x="1060" y="35"/>
                    <a:pt x="1060" y="35"/>
                    <a:pt x="1060" y="36"/>
                  </a:cubicBezTo>
                  <a:cubicBezTo>
                    <a:pt x="1060" y="36"/>
                    <a:pt x="1059" y="36"/>
                    <a:pt x="1059" y="36"/>
                  </a:cubicBezTo>
                  <a:cubicBezTo>
                    <a:pt x="1059" y="36"/>
                    <a:pt x="1060" y="36"/>
                    <a:pt x="1060" y="36"/>
                  </a:cubicBezTo>
                  <a:cubicBezTo>
                    <a:pt x="1060" y="36"/>
                    <a:pt x="1061" y="36"/>
                    <a:pt x="1061" y="36"/>
                  </a:cubicBezTo>
                  <a:close/>
                  <a:moveTo>
                    <a:pt x="1057" y="35"/>
                  </a:moveTo>
                  <a:cubicBezTo>
                    <a:pt x="1057" y="35"/>
                    <a:pt x="1057" y="35"/>
                    <a:pt x="1057" y="35"/>
                  </a:cubicBezTo>
                  <a:cubicBezTo>
                    <a:pt x="1057" y="34"/>
                    <a:pt x="1057" y="34"/>
                    <a:pt x="1057" y="34"/>
                  </a:cubicBezTo>
                  <a:cubicBezTo>
                    <a:pt x="1057" y="34"/>
                    <a:pt x="1057" y="34"/>
                    <a:pt x="1057" y="34"/>
                  </a:cubicBezTo>
                  <a:cubicBezTo>
                    <a:pt x="1057" y="34"/>
                    <a:pt x="1057" y="35"/>
                    <a:pt x="1057" y="35"/>
                  </a:cubicBezTo>
                  <a:close/>
                  <a:moveTo>
                    <a:pt x="480" y="36"/>
                  </a:moveTo>
                  <a:cubicBezTo>
                    <a:pt x="480" y="36"/>
                    <a:pt x="480" y="36"/>
                    <a:pt x="480" y="36"/>
                  </a:cubicBezTo>
                  <a:cubicBezTo>
                    <a:pt x="480" y="35"/>
                    <a:pt x="480" y="35"/>
                    <a:pt x="480" y="35"/>
                  </a:cubicBezTo>
                  <a:cubicBezTo>
                    <a:pt x="480" y="35"/>
                    <a:pt x="480" y="35"/>
                    <a:pt x="480" y="35"/>
                  </a:cubicBezTo>
                  <a:cubicBezTo>
                    <a:pt x="480" y="36"/>
                    <a:pt x="480" y="36"/>
                    <a:pt x="480" y="36"/>
                  </a:cubicBezTo>
                  <a:cubicBezTo>
                    <a:pt x="480" y="36"/>
                    <a:pt x="480" y="36"/>
                    <a:pt x="480" y="36"/>
                  </a:cubicBezTo>
                  <a:cubicBezTo>
                    <a:pt x="480" y="36"/>
                    <a:pt x="480" y="36"/>
                    <a:pt x="480" y="36"/>
                  </a:cubicBezTo>
                  <a:close/>
                  <a:moveTo>
                    <a:pt x="1061" y="35"/>
                  </a:moveTo>
                  <a:cubicBezTo>
                    <a:pt x="1061" y="35"/>
                    <a:pt x="1061" y="35"/>
                    <a:pt x="1061" y="35"/>
                  </a:cubicBezTo>
                  <a:cubicBezTo>
                    <a:pt x="1060" y="35"/>
                    <a:pt x="1060" y="35"/>
                    <a:pt x="1060" y="36"/>
                  </a:cubicBezTo>
                  <a:cubicBezTo>
                    <a:pt x="1060" y="36"/>
                    <a:pt x="1061" y="36"/>
                    <a:pt x="1061" y="36"/>
                  </a:cubicBezTo>
                  <a:cubicBezTo>
                    <a:pt x="1061" y="36"/>
                    <a:pt x="1061" y="35"/>
                    <a:pt x="1061" y="35"/>
                  </a:cubicBezTo>
                  <a:close/>
                  <a:moveTo>
                    <a:pt x="478" y="33"/>
                  </a:moveTo>
                  <a:cubicBezTo>
                    <a:pt x="478" y="33"/>
                    <a:pt x="478" y="33"/>
                    <a:pt x="478" y="33"/>
                  </a:cubicBezTo>
                  <a:cubicBezTo>
                    <a:pt x="477" y="33"/>
                    <a:pt x="477" y="33"/>
                    <a:pt x="477" y="33"/>
                  </a:cubicBezTo>
                  <a:cubicBezTo>
                    <a:pt x="477" y="33"/>
                    <a:pt x="477" y="33"/>
                    <a:pt x="477" y="33"/>
                  </a:cubicBezTo>
                  <a:cubicBezTo>
                    <a:pt x="477" y="33"/>
                    <a:pt x="477" y="34"/>
                    <a:pt x="477" y="34"/>
                  </a:cubicBezTo>
                  <a:cubicBezTo>
                    <a:pt x="478" y="34"/>
                    <a:pt x="478" y="33"/>
                    <a:pt x="478" y="33"/>
                  </a:cubicBezTo>
                  <a:close/>
                  <a:moveTo>
                    <a:pt x="477" y="33"/>
                  </a:moveTo>
                  <a:cubicBezTo>
                    <a:pt x="478" y="33"/>
                    <a:pt x="478" y="33"/>
                    <a:pt x="478" y="33"/>
                  </a:cubicBezTo>
                  <a:cubicBezTo>
                    <a:pt x="478" y="33"/>
                    <a:pt x="478" y="33"/>
                    <a:pt x="478" y="33"/>
                  </a:cubicBezTo>
                  <a:cubicBezTo>
                    <a:pt x="478" y="33"/>
                    <a:pt x="478" y="33"/>
                    <a:pt x="478" y="33"/>
                  </a:cubicBezTo>
                  <a:cubicBezTo>
                    <a:pt x="478" y="33"/>
                    <a:pt x="478" y="33"/>
                    <a:pt x="478" y="33"/>
                  </a:cubicBezTo>
                  <a:cubicBezTo>
                    <a:pt x="478" y="33"/>
                    <a:pt x="478" y="32"/>
                    <a:pt x="478" y="32"/>
                  </a:cubicBezTo>
                  <a:cubicBezTo>
                    <a:pt x="478" y="32"/>
                    <a:pt x="478" y="32"/>
                    <a:pt x="478" y="32"/>
                  </a:cubicBezTo>
                  <a:cubicBezTo>
                    <a:pt x="478" y="32"/>
                    <a:pt x="478" y="32"/>
                    <a:pt x="477" y="33"/>
                  </a:cubicBezTo>
                  <a:close/>
                  <a:moveTo>
                    <a:pt x="481" y="36"/>
                  </a:moveTo>
                  <a:cubicBezTo>
                    <a:pt x="481" y="36"/>
                    <a:pt x="481" y="36"/>
                    <a:pt x="481" y="36"/>
                  </a:cubicBezTo>
                  <a:cubicBezTo>
                    <a:pt x="480" y="36"/>
                    <a:pt x="480" y="36"/>
                    <a:pt x="480" y="36"/>
                  </a:cubicBezTo>
                  <a:cubicBezTo>
                    <a:pt x="480" y="36"/>
                    <a:pt x="480" y="36"/>
                    <a:pt x="480" y="36"/>
                  </a:cubicBezTo>
                  <a:cubicBezTo>
                    <a:pt x="481" y="36"/>
                    <a:pt x="481" y="36"/>
                    <a:pt x="481" y="36"/>
                  </a:cubicBezTo>
                  <a:close/>
                  <a:moveTo>
                    <a:pt x="481" y="33"/>
                  </a:moveTo>
                  <a:cubicBezTo>
                    <a:pt x="481" y="33"/>
                    <a:pt x="481" y="32"/>
                    <a:pt x="480" y="32"/>
                  </a:cubicBezTo>
                  <a:cubicBezTo>
                    <a:pt x="480" y="32"/>
                    <a:pt x="480" y="33"/>
                    <a:pt x="480" y="33"/>
                  </a:cubicBezTo>
                  <a:cubicBezTo>
                    <a:pt x="481" y="33"/>
                    <a:pt x="481" y="33"/>
                    <a:pt x="481" y="33"/>
                  </a:cubicBezTo>
                  <a:close/>
                  <a:moveTo>
                    <a:pt x="481" y="36"/>
                  </a:moveTo>
                  <a:cubicBezTo>
                    <a:pt x="481" y="36"/>
                    <a:pt x="481" y="36"/>
                    <a:pt x="481" y="36"/>
                  </a:cubicBezTo>
                  <a:cubicBezTo>
                    <a:pt x="481" y="36"/>
                    <a:pt x="481" y="36"/>
                    <a:pt x="481" y="35"/>
                  </a:cubicBezTo>
                  <a:cubicBezTo>
                    <a:pt x="481" y="35"/>
                    <a:pt x="481" y="35"/>
                    <a:pt x="481" y="35"/>
                  </a:cubicBezTo>
                  <a:cubicBezTo>
                    <a:pt x="481" y="35"/>
                    <a:pt x="480" y="36"/>
                    <a:pt x="481" y="36"/>
                  </a:cubicBezTo>
                  <a:close/>
                  <a:moveTo>
                    <a:pt x="637" y="52"/>
                  </a:moveTo>
                  <a:cubicBezTo>
                    <a:pt x="637" y="46"/>
                    <a:pt x="636" y="39"/>
                    <a:pt x="634" y="33"/>
                  </a:cubicBezTo>
                  <a:cubicBezTo>
                    <a:pt x="631" y="26"/>
                    <a:pt x="627" y="21"/>
                    <a:pt x="620" y="17"/>
                  </a:cubicBezTo>
                  <a:cubicBezTo>
                    <a:pt x="614" y="14"/>
                    <a:pt x="607" y="14"/>
                    <a:pt x="600" y="15"/>
                  </a:cubicBezTo>
                  <a:cubicBezTo>
                    <a:pt x="591" y="17"/>
                    <a:pt x="584" y="22"/>
                    <a:pt x="580" y="30"/>
                  </a:cubicBezTo>
                  <a:cubicBezTo>
                    <a:pt x="577" y="35"/>
                    <a:pt x="576" y="40"/>
                    <a:pt x="575" y="46"/>
                  </a:cubicBezTo>
                  <a:cubicBezTo>
                    <a:pt x="574" y="54"/>
                    <a:pt x="575" y="61"/>
                    <a:pt x="578" y="68"/>
                  </a:cubicBezTo>
                  <a:cubicBezTo>
                    <a:pt x="581" y="76"/>
                    <a:pt x="586" y="82"/>
                    <a:pt x="594" y="85"/>
                  </a:cubicBezTo>
                  <a:cubicBezTo>
                    <a:pt x="599" y="87"/>
                    <a:pt x="604" y="88"/>
                    <a:pt x="610" y="87"/>
                  </a:cubicBezTo>
                  <a:cubicBezTo>
                    <a:pt x="620" y="86"/>
                    <a:pt x="628" y="81"/>
                    <a:pt x="632" y="72"/>
                  </a:cubicBezTo>
                  <a:cubicBezTo>
                    <a:pt x="636" y="66"/>
                    <a:pt x="637" y="60"/>
                    <a:pt x="637" y="52"/>
                  </a:cubicBezTo>
                  <a:cubicBezTo>
                    <a:pt x="637" y="52"/>
                    <a:pt x="637" y="52"/>
                    <a:pt x="637" y="52"/>
                  </a:cubicBezTo>
                  <a:close/>
                  <a:moveTo>
                    <a:pt x="967" y="58"/>
                  </a:moveTo>
                  <a:cubicBezTo>
                    <a:pt x="977" y="58"/>
                    <a:pt x="988" y="58"/>
                    <a:pt x="999" y="58"/>
                  </a:cubicBezTo>
                  <a:cubicBezTo>
                    <a:pt x="1000" y="58"/>
                    <a:pt x="1000" y="57"/>
                    <a:pt x="1000" y="57"/>
                  </a:cubicBezTo>
                  <a:cubicBezTo>
                    <a:pt x="1000" y="54"/>
                    <a:pt x="999" y="51"/>
                    <a:pt x="998" y="48"/>
                  </a:cubicBezTo>
                  <a:cubicBezTo>
                    <a:pt x="997" y="44"/>
                    <a:pt x="994" y="42"/>
                    <a:pt x="991" y="40"/>
                  </a:cubicBezTo>
                  <a:cubicBezTo>
                    <a:pt x="985" y="38"/>
                    <a:pt x="980" y="39"/>
                    <a:pt x="975" y="42"/>
                  </a:cubicBezTo>
                  <a:cubicBezTo>
                    <a:pt x="969" y="46"/>
                    <a:pt x="967" y="51"/>
                    <a:pt x="966" y="58"/>
                  </a:cubicBezTo>
                  <a:cubicBezTo>
                    <a:pt x="966" y="58"/>
                    <a:pt x="966" y="58"/>
                    <a:pt x="967" y="58"/>
                  </a:cubicBezTo>
                  <a:close/>
                  <a:moveTo>
                    <a:pt x="804" y="58"/>
                  </a:moveTo>
                  <a:cubicBezTo>
                    <a:pt x="814" y="58"/>
                    <a:pt x="825" y="58"/>
                    <a:pt x="836" y="58"/>
                  </a:cubicBezTo>
                  <a:cubicBezTo>
                    <a:pt x="836" y="58"/>
                    <a:pt x="836" y="58"/>
                    <a:pt x="836" y="58"/>
                  </a:cubicBezTo>
                  <a:cubicBezTo>
                    <a:pt x="837" y="58"/>
                    <a:pt x="837" y="57"/>
                    <a:pt x="837" y="57"/>
                  </a:cubicBezTo>
                  <a:cubicBezTo>
                    <a:pt x="837" y="54"/>
                    <a:pt x="836" y="51"/>
                    <a:pt x="835" y="49"/>
                  </a:cubicBezTo>
                  <a:cubicBezTo>
                    <a:pt x="834" y="44"/>
                    <a:pt x="831" y="41"/>
                    <a:pt x="826" y="40"/>
                  </a:cubicBezTo>
                  <a:cubicBezTo>
                    <a:pt x="819" y="38"/>
                    <a:pt x="813" y="40"/>
                    <a:pt x="809" y="45"/>
                  </a:cubicBezTo>
                  <a:cubicBezTo>
                    <a:pt x="805" y="48"/>
                    <a:pt x="804" y="53"/>
                    <a:pt x="803" y="58"/>
                  </a:cubicBezTo>
                  <a:cubicBezTo>
                    <a:pt x="803" y="58"/>
                    <a:pt x="803" y="58"/>
                    <a:pt x="804" y="58"/>
                  </a:cubicBezTo>
                  <a:close/>
                  <a:moveTo>
                    <a:pt x="234" y="69"/>
                  </a:moveTo>
                  <a:cubicBezTo>
                    <a:pt x="234" y="70"/>
                    <a:pt x="234" y="72"/>
                    <a:pt x="235" y="73"/>
                  </a:cubicBezTo>
                  <a:cubicBezTo>
                    <a:pt x="236" y="80"/>
                    <a:pt x="240" y="85"/>
                    <a:pt x="247" y="87"/>
                  </a:cubicBezTo>
                  <a:cubicBezTo>
                    <a:pt x="250" y="88"/>
                    <a:pt x="254" y="89"/>
                    <a:pt x="258" y="88"/>
                  </a:cubicBezTo>
                  <a:cubicBezTo>
                    <a:pt x="266" y="87"/>
                    <a:pt x="271" y="83"/>
                    <a:pt x="273" y="75"/>
                  </a:cubicBezTo>
                  <a:cubicBezTo>
                    <a:pt x="274" y="72"/>
                    <a:pt x="275" y="70"/>
                    <a:pt x="275" y="67"/>
                  </a:cubicBezTo>
                  <a:cubicBezTo>
                    <a:pt x="275" y="62"/>
                    <a:pt x="275" y="57"/>
                    <a:pt x="273" y="51"/>
                  </a:cubicBezTo>
                  <a:cubicBezTo>
                    <a:pt x="271" y="46"/>
                    <a:pt x="267" y="42"/>
                    <a:pt x="261" y="40"/>
                  </a:cubicBezTo>
                  <a:cubicBezTo>
                    <a:pt x="259" y="39"/>
                    <a:pt x="256" y="39"/>
                    <a:pt x="253" y="39"/>
                  </a:cubicBezTo>
                  <a:cubicBezTo>
                    <a:pt x="245" y="39"/>
                    <a:pt x="239" y="44"/>
                    <a:pt x="235" y="52"/>
                  </a:cubicBezTo>
                  <a:cubicBezTo>
                    <a:pt x="234" y="56"/>
                    <a:pt x="233" y="60"/>
                    <a:pt x="233" y="64"/>
                  </a:cubicBezTo>
                  <a:cubicBezTo>
                    <a:pt x="233" y="66"/>
                    <a:pt x="233" y="67"/>
                    <a:pt x="234" y="69"/>
                  </a:cubicBezTo>
                  <a:close/>
                  <a:moveTo>
                    <a:pt x="349" y="74"/>
                  </a:moveTo>
                  <a:cubicBezTo>
                    <a:pt x="351" y="80"/>
                    <a:pt x="356" y="85"/>
                    <a:pt x="363" y="87"/>
                  </a:cubicBezTo>
                  <a:cubicBezTo>
                    <a:pt x="365" y="88"/>
                    <a:pt x="368" y="88"/>
                    <a:pt x="371" y="88"/>
                  </a:cubicBezTo>
                  <a:cubicBezTo>
                    <a:pt x="379" y="88"/>
                    <a:pt x="385" y="84"/>
                    <a:pt x="388" y="76"/>
                  </a:cubicBezTo>
                  <a:cubicBezTo>
                    <a:pt x="389" y="72"/>
                    <a:pt x="390" y="68"/>
                    <a:pt x="390" y="64"/>
                  </a:cubicBezTo>
                  <a:cubicBezTo>
                    <a:pt x="390" y="60"/>
                    <a:pt x="389" y="55"/>
                    <a:pt x="387" y="51"/>
                  </a:cubicBezTo>
                  <a:cubicBezTo>
                    <a:pt x="385" y="45"/>
                    <a:pt x="381" y="41"/>
                    <a:pt x="375" y="40"/>
                  </a:cubicBezTo>
                  <a:cubicBezTo>
                    <a:pt x="372" y="39"/>
                    <a:pt x="370" y="39"/>
                    <a:pt x="368" y="39"/>
                  </a:cubicBezTo>
                  <a:cubicBezTo>
                    <a:pt x="360" y="40"/>
                    <a:pt x="354" y="44"/>
                    <a:pt x="350" y="51"/>
                  </a:cubicBezTo>
                  <a:cubicBezTo>
                    <a:pt x="349" y="55"/>
                    <a:pt x="348" y="60"/>
                    <a:pt x="348" y="64"/>
                  </a:cubicBezTo>
                  <a:cubicBezTo>
                    <a:pt x="348" y="67"/>
                    <a:pt x="348" y="70"/>
                    <a:pt x="349" y="74"/>
                  </a:cubicBezTo>
                  <a:close/>
                  <a:moveTo>
                    <a:pt x="477" y="33"/>
                  </a:moveTo>
                  <a:cubicBezTo>
                    <a:pt x="477" y="33"/>
                    <a:pt x="477" y="34"/>
                    <a:pt x="477" y="34"/>
                  </a:cubicBezTo>
                  <a:cubicBezTo>
                    <a:pt x="477" y="34"/>
                    <a:pt x="477" y="35"/>
                    <a:pt x="478" y="36"/>
                  </a:cubicBezTo>
                  <a:cubicBezTo>
                    <a:pt x="478" y="36"/>
                    <a:pt x="478" y="36"/>
                    <a:pt x="478" y="35"/>
                  </a:cubicBezTo>
                  <a:cubicBezTo>
                    <a:pt x="479" y="35"/>
                    <a:pt x="479" y="34"/>
                    <a:pt x="478" y="33"/>
                  </a:cubicBezTo>
                  <a:cubicBezTo>
                    <a:pt x="478" y="33"/>
                    <a:pt x="478" y="33"/>
                    <a:pt x="478" y="33"/>
                  </a:cubicBezTo>
                  <a:cubicBezTo>
                    <a:pt x="478" y="33"/>
                    <a:pt x="477" y="33"/>
                    <a:pt x="477" y="33"/>
                  </a:cubicBezTo>
                  <a:close/>
                  <a:moveTo>
                    <a:pt x="480" y="35"/>
                  </a:moveTo>
                  <a:cubicBezTo>
                    <a:pt x="478" y="34"/>
                    <a:pt x="478" y="35"/>
                    <a:pt x="478" y="35"/>
                  </a:cubicBezTo>
                  <a:cubicBezTo>
                    <a:pt x="478" y="36"/>
                    <a:pt x="478" y="36"/>
                    <a:pt x="478" y="36"/>
                  </a:cubicBezTo>
                  <a:cubicBezTo>
                    <a:pt x="478" y="36"/>
                    <a:pt x="478" y="36"/>
                    <a:pt x="478" y="36"/>
                  </a:cubicBezTo>
                  <a:cubicBezTo>
                    <a:pt x="478" y="36"/>
                    <a:pt x="479" y="36"/>
                    <a:pt x="480" y="36"/>
                  </a:cubicBezTo>
                  <a:cubicBezTo>
                    <a:pt x="480" y="36"/>
                    <a:pt x="480" y="36"/>
                    <a:pt x="480" y="36"/>
                  </a:cubicBezTo>
                  <a:cubicBezTo>
                    <a:pt x="480" y="35"/>
                    <a:pt x="480" y="35"/>
                    <a:pt x="480" y="35"/>
                  </a:cubicBezTo>
                  <a:close/>
                  <a:moveTo>
                    <a:pt x="480" y="33"/>
                  </a:moveTo>
                  <a:cubicBezTo>
                    <a:pt x="480" y="33"/>
                    <a:pt x="480" y="33"/>
                    <a:pt x="480" y="33"/>
                  </a:cubicBezTo>
                  <a:cubicBezTo>
                    <a:pt x="480" y="33"/>
                    <a:pt x="480" y="33"/>
                    <a:pt x="480" y="33"/>
                  </a:cubicBezTo>
                  <a:cubicBezTo>
                    <a:pt x="480" y="33"/>
                    <a:pt x="480" y="34"/>
                    <a:pt x="479" y="34"/>
                  </a:cubicBezTo>
                  <a:cubicBezTo>
                    <a:pt x="479" y="34"/>
                    <a:pt x="479" y="35"/>
                    <a:pt x="480" y="35"/>
                  </a:cubicBezTo>
                  <a:cubicBezTo>
                    <a:pt x="480" y="35"/>
                    <a:pt x="480" y="35"/>
                    <a:pt x="480" y="35"/>
                  </a:cubicBezTo>
                  <a:cubicBezTo>
                    <a:pt x="480" y="35"/>
                    <a:pt x="480" y="36"/>
                    <a:pt x="480" y="36"/>
                  </a:cubicBezTo>
                  <a:cubicBezTo>
                    <a:pt x="480" y="36"/>
                    <a:pt x="481" y="36"/>
                    <a:pt x="481" y="36"/>
                  </a:cubicBezTo>
                  <a:cubicBezTo>
                    <a:pt x="481" y="36"/>
                    <a:pt x="481" y="35"/>
                    <a:pt x="481" y="35"/>
                  </a:cubicBezTo>
                  <a:cubicBezTo>
                    <a:pt x="481" y="35"/>
                    <a:pt x="481" y="34"/>
                    <a:pt x="480" y="33"/>
                  </a:cubicBezTo>
                  <a:close/>
                  <a:moveTo>
                    <a:pt x="480" y="33"/>
                  </a:moveTo>
                  <a:cubicBezTo>
                    <a:pt x="480" y="33"/>
                    <a:pt x="480" y="33"/>
                    <a:pt x="480" y="33"/>
                  </a:cubicBezTo>
                  <a:cubicBezTo>
                    <a:pt x="480" y="33"/>
                    <a:pt x="480" y="33"/>
                    <a:pt x="480" y="33"/>
                  </a:cubicBezTo>
                  <a:cubicBezTo>
                    <a:pt x="480" y="33"/>
                    <a:pt x="480" y="33"/>
                    <a:pt x="480" y="33"/>
                  </a:cubicBezTo>
                  <a:cubicBezTo>
                    <a:pt x="480" y="33"/>
                    <a:pt x="480" y="33"/>
                    <a:pt x="480" y="33"/>
                  </a:cubicBezTo>
                  <a:cubicBezTo>
                    <a:pt x="480" y="33"/>
                    <a:pt x="480" y="33"/>
                    <a:pt x="480" y="33"/>
                  </a:cubicBezTo>
                  <a:close/>
                  <a:moveTo>
                    <a:pt x="1058" y="36"/>
                  </a:moveTo>
                  <a:cubicBezTo>
                    <a:pt x="1058" y="36"/>
                    <a:pt x="1058" y="36"/>
                    <a:pt x="1058" y="36"/>
                  </a:cubicBezTo>
                  <a:cubicBezTo>
                    <a:pt x="1059" y="35"/>
                    <a:pt x="1059" y="34"/>
                    <a:pt x="1058" y="33"/>
                  </a:cubicBezTo>
                  <a:cubicBezTo>
                    <a:pt x="1058" y="33"/>
                    <a:pt x="1058" y="33"/>
                    <a:pt x="1058" y="33"/>
                  </a:cubicBezTo>
                  <a:cubicBezTo>
                    <a:pt x="1057" y="33"/>
                    <a:pt x="1057" y="33"/>
                    <a:pt x="1057" y="34"/>
                  </a:cubicBezTo>
                  <a:cubicBezTo>
                    <a:pt x="1057" y="34"/>
                    <a:pt x="1057" y="34"/>
                    <a:pt x="1057" y="35"/>
                  </a:cubicBezTo>
                  <a:cubicBezTo>
                    <a:pt x="1057" y="35"/>
                    <a:pt x="1057" y="36"/>
                    <a:pt x="1058" y="36"/>
                  </a:cubicBezTo>
                  <a:close/>
                  <a:moveTo>
                    <a:pt x="1060" y="35"/>
                  </a:moveTo>
                  <a:cubicBezTo>
                    <a:pt x="1060" y="35"/>
                    <a:pt x="1060" y="35"/>
                    <a:pt x="1060" y="35"/>
                  </a:cubicBezTo>
                  <a:cubicBezTo>
                    <a:pt x="1059" y="35"/>
                    <a:pt x="1059" y="35"/>
                    <a:pt x="1059" y="34"/>
                  </a:cubicBezTo>
                  <a:cubicBezTo>
                    <a:pt x="1059" y="34"/>
                    <a:pt x="1059" y="34"/>
                    <a:pt x="1058" y="35"/>
                  </a:cubicBezTo>
                  <a:cubicBezTo>
                    <a:pt x="1058" y="35"/>
                    <a:pt x="1058" y="35"/>
                    <a:pt x="1058" y="36"/>
                  </a:cubicBezTo>
                  <a:cubicBezTo>
                    <a:pt x="1058" y="36"/>
                    <a:pt x="1058" y="36"/>
                    <a:pt x="1058" y="36"/>
                  </a:cubicBezTo>
                  <a:cubicBezTo>
                    <a:pt x="1058" y="36"/>
                    <a:pt x="1058" y="36"/>
                    <a:pt x="1059" y="36"/>
                  </a:cubicBezTo>
                  <a:cubicBezTo>
                    <a:pt x="1059" y="36"/>
                    <a:pt x="1059" y="36"/>
                    <a:pt x="1059" y="36"/>
                  </a:cubicBezTo>
                  <a:cubicBezTo>
                    <a:pt x="1060" y="36"/>
                    <a:pt x="1060" y="36"/>
                    <a:pt x="1060" y="36"/>
                  </a:cubicBezTo>
                  <a:cubicBezTo>
                    <a:pt x="1060" y="36"/>
                    <a:pt x="1060" y="36"/>
                    <a:pt x="1060" y="35"/>
                  </a:cubicBezTo>
                  <a:close/>
                  <a:moveTo>
                    <a:pt x="479" y="33"/>
                  </a:moveTo>
                  <a:cubicBezTo>
                    <a:pt x="479" y="33"/>
                    <a:pt x="478" y="33"/>
                    <a:pt x="478" y="32"/>
                  </a:cubicBezTo>
                  <a:cubicBezTo>
                    <a:pt x="478" y="32"/>
                    <a:pt x="478" y="32"/>
                    <a:pt x="478" y="32"/>
                  </a:cubicBezTo>
                  <a:cubicBezTo>
                    <a:pt x="478" y="33"/>
                    <a:pt x="478" y="33"/>
                    <a:pt x="478" y="33"/>
                  </a:cubicBezTo>
                  <a:cubicBezTo>
                    <a:pt x="478" y="34"/>
                    <a:pt x="478" y="35"/>
                    <a:pt x="478" y="36"/>
                  </a:cubicBezTo>
                  <a:cubicBezTo>
                    <a:pt x="478" y="36"/>
                    <a:pt x="478" y="36"/>
                    <a:pt x="478" y="36"/>
                  </a:cubicBezTo>
                  <a:cubicBezTo>
                    <a:pt x="478" y="35"/>
                    <a:pt x="479" y="34"/>
                    <a:pt x="479" y="33"/>
                  </a:cubicBezTo>
                  <a:close/>
                  <a:moveTo>
                    <a:pt x="480" y="33"/>
                  </a:moveTo>
                  <a:cubicBezTo>
                    <a:pt x="480" y="33"/>
                    <a:pt x="480" y="33"/>
                    <a:pt x="480" y="33"/>
                  </a:cubicBezTo>
                  <a:cubicBezTo>
                    <a:pt x="480" y="33"/>
                    <a:pt x="480" y="33"/>
                    <a:pt x="480" y="33"/>
                  </a:cubicBezTo>
                  <a:cubicBezTo>
                    <a:pt x="480" y="33"/>
                    <a:pt x="480" y="33"/>
                    <a:pt x="480" y="33"/>
                  </a:cubicBezTo>
                  <a:cubicBezTo>
                    <a:pt x="480" y="32"/>
                    <a:pt x="479" y="32"/>
                    <a:pt x="478" y="32"/>
                  </a:cubicBezTo>
                  <a:cubicBezTo>
                    <a:pt x="478" y="33"/>
                    <a:pt x="478" y="33"/>
                    <a:pt x="478" y="33"/>
                  </a:cubicBezTo>
                  <a:cubicBezTo>
                    <a:pt x="479" y="33"/>
                    <a:pt x="479" y="33"/>
                    <a:pt x="480" y="33"/>
                  </a:cubicBezTo>
                  <a:close/>
                  <a:moveTo>
                    <a:pt x="1058" y="33"/>
                  </a:moveTo>
                  <a:cubicBezTo>
                    <a:pt x="1058" y="33"/>
                    <a:pt x="1058" y="33"/>
                    <a:pt x="1058" y="33"/>
                  </a:cubicBezTo>
                  <a:cubicBezTo>
                    <a:pt x="1059" y="33"/>
                    <a:pt x="1059" y="33"/>
                    <a:pt x="1060" y="33"/>
                  </a:cubicBezTo>
                  <a:cubicBezTo>
                    <a:pt x="1060" y="33"/>
                    <a:pt x="1060" y="33"/>
                    <a:pt x="1060" y="33"/>
                  </a:cubicBezTo>
                  <a:cubicBezTo>
                    <a:pt x="1060" y="33"/>
                    <a:pt x="1060" y="33"/>
                    <a:pt x="1060" y="32"/>
                  </a:cubicBezTo>
                  <a:cubicBezTo>
                    <a:pt x="1059" y="32"/>
                    <a:pt x="1059" y="32"/>
                    <a:pt x="1058" y="33"/>
                  </a:cubicBezTo>
                  <a:cubicBezTo>
                    <a:pt x="1058" y="33"/>
                    <a:pt x="1058" y="33"/>
                    <a:pt x="1058" y="33"/>
                  </a:cubicBezTo>
                  <a:close/>
                  <a:moveTo>
                    <a:pt x="1060" y="33"/>
                  </a:moveTo>
                  <a:cubicBezTo>
                    <a:pt x="1060" y="34"/>
                    <a:pt x="1060" y="34"/>
                    <a:pt x="1060" y="34"/>
                  </a:cubicBezTo>
                  <a:cubicBezTo>
                    <a:pt x="1059" y="34"/>
                    <a:pt x="1059" y="34"/>
                    <a:pt x="1059" y="35"/>
                  </a:cubicBezTo>
                  <a:cubicBezTo>
                    <a:pt x="1060" y="35"/>
                    <a:pt x="1060" y="35"/>
                    <a:pt x="1060" y="36"/>
                  </a:cubicBezTo>
                  <a:cubicBezTo>
                    <a:pt x="1060" y="36"/>
                    <a:pt x="1060" y="36"/>
                    <a:pt x="1060" y="36"/>
                  </a:cubicBezTo>
                  <a:cubicBezTo>
                    <a:pt x="1060" y="36"/>
                    <a:pt x="1060" y="36"/>
                    <a:pt x="1060" y="36"/>
                  </a:cubicBezTo>
                  <a:cubicBezTo>
                    <a:pt x="1060" y="36"/>
                    <a:pt x="1060" y="36"/>
                    <a:pt x="1060" y="36"/>
                  </a:cubicBezTo>
                  <a:cubicBezTo>
                    <a:pt x="1060" y="35"/>
                    <a:pt x="1061" y="35"/>
                    <a:pt x="1061" y="35"/>
                  </a:cubicBezTo>
                  <a:cubicBezTo>
                    <a:pt x="1061" y="34"/>
                    <a:pt x="1061" y="34"/>
                    <a:pt x="1061" y="33"/>
                  </a:cubicBezTo>
                  <a:cubicBezTo>
                    <a:pt x="1061" y="33"/>
                    <a:pt x="1060" y="33"/>
                    <a:pt x="1060" y="33"/>
                  </a:cubicBezTo>
                  <a:cubicBezTo>
                    <a:pt x="1060" y="33"/>
                    <a:pt x="1060" y="33"/>
                    <a:pt x="1060" y="33"/>
                  </a:cubicBezTo>
                  <a:cubicBezTo>
                    <a:pt x="1060" y="33"/>
                    <a:pt x="1060" y="33"/>
                    <a:pt x="1060" y="33"/>
                  </a:cubicBezTo>
                  <a:close/>
                  <a:moveTo>
                    <a:pt x="479" y="35"/>
                  </a:moveTo>
                  <a:cubicBezTo>
                    <a:pt x="479" y="35"/>
                    <a:pt x="480" y="36"/>
                    <a:pt x="480" y="36"/>
                  </a:cubicBezTo>
                  <a:cubicBezTo>
                    <a:pt x="480" y="36"/>
                    <a:pt x="480" y="35"/>
                    <a:pt x="480" y="35"/>
                  </a:cubicBezTo>
                  <a:cubicBezTo>
                    <a:pt x="480" y="35"/>
                    <a:pt x="480" y="35"/>
                    <a:pt x="480" y="35"/>
                  </a:cubicBezTo>
                  <a:cubicBezTo>
                    <a:pt x="480" y="35"/>
                    <a:pt x="479" y="35"/>
                    <a:pt x="479" y="35"/>
                  </a:cubicBezTo>
                  <a:close/>
                  <a:moveTo>
                    <a:pt x="478" y="33"/>
                  </a:moveTo>
                  <a:cubicBezTo>
                    <a:pt x="478" y="33"/>
                    <a:pt x="477" y="33"/>
                    <a:pt x="477" y="33"/>
                  </a:cubicBezTo>
                  <a:cubicBezTo>
                    <a:pt x="478" y="33"/>
                    <a:pt x="478" y="33"/>
                    <a:pt x="478" y="33"/>
                  </a:cubicBezTo>
                  <a:cubicBezTo>
                    <a:pt x="478" y="33"/>
                    <a:pt x="478" y="33"/>
                    <a:pt x="478" y="33"/>
                  </a:cubicBezTo>
                  <a:close/>
                  <a:moveTo>
                    <a:pt x="480" y="34"/>
                  </a:moveTo>
                  <a:cubicBezTo>
                    <a:pt x="480" y="34"/>
                    <a:pt x="480" y="34"/>
                    <a:pt x="480" y="34"/>
                  </a:cubicBezTo>
                  <a:cubicBezTo>
                    <a:pt x="479" y="34"/>
                    <a:pt x="480" y="34"/>
                    <a:pt x="480" y="33"/>
                  </a:cubicBezTo>
                  <a:cubicBezTo>
                    <a:pt x="480" y="33"/>
                    <a:pt x="480" y="33"/>
                    <a:pt x="480" y="33"/>
                  </a:cubicBezTo>
                  <a:cubicBezTo>
                    <a:pt x="480" y="33"/>
                    <a:pt x="480" y="33"/>
                    <a:pt x="480" y="33"/>
                  </a:cubicBezTo>
                  <a:cubicBezTo>
                    <a:pt x="479" y="33"/>
                    <a:pt x="479" y="33"/>
                    <a:pt x="478" y="33"/>
                  </a:cubicBezTo>
                  <a:cubicBezTo>
                    <a:pt x="478" y="34"/>
                    <a:pt x="478" y="35"/>
                    <a:pt x="478" y="36"/>
                  </a:cubicBezTo>
                  <a:cubicBezTo>
                    <a:pt x="479" y="36"/>
                    <a:pt x="479" y="35"/>
                    <a:pt x="479" y="35"/>
                  </a:cubicBezTo>
                  <a:cubicBezTo>
                    <a:pt x="479" y="34"/>
                    <a:pt x="479" y="35"/>
                    <a:pt x="479" y="35"/>
                  </a:cubicBezTo>
                  <a:cubicBezTo>
                    <a:pt x="479" y="35"/>
                    <a:pt x="480" y="35"/>
                    <a:pt x="480" y="35"/>
                  </a:cubicBezTo>
                  <a:cubicBezTo>
                    <a:pt x="480" y="34"/>
                    <a:pt x="480" y="34"/>
                    <a:pt x="480" y="34"/>
                  </a:cubicBezTo>
                  <a:close/>
                  <a:moveTo>
                    <a:pt x="480" y="34"/>
                  </a:moveTo>
                  <a:cubicBezTo>
                    <a:pt x="480" y="34"/>
                    <a:pt x="480" y="34"/>
                    <a:pt x="480" y="34"/>
                  </a:cubicBezTo>
                  <a:cubicBezTo>
                    <a:pt x="480" y="34"/>
                    <a:pt x="480" y="33"/>
                    <a:pt x="480" y="33"/>
                  </a:cubicBezTo>
                  <a:cubicBezTo>
                    <a:pt x="480" y="33"/>
                    <a:pt x="480" y="33"/>
                    <a:pt x="480" y="33"/>
                  </a:cubicBezTo>
                  <a:cubicBezTo>
                    <a:pt x="480" y="33"/>
                    <a:pt x="480" y="33"/>
                    <a:pt x="480" y="33"/>
                  </a:cubicBezTo>
                  <a:cubicBezTo>
                    <a:pt x="479" y="34"/>
                    <a:pt x="479" y="34"/>
                    <a:pt x="480" y="34"/>
                  </a:cubicBezTo>
                  <a:close/>
                  <a:moveTo>
                    <a:pt x="1060" y="33"/>
                  </a:moveTo>
                  <a:cubicBezTo>
                    <a:pt x="1060" y="33"/>
                    <a:pt x="1060" y="33"/>
                    <a:pt x="1060" y="33"/>
                  </a:cubicBezTo>
                  <a:cubicBezTo>
                    <a:pt x="1059" y="33"/>
                    <a:pt x="1059" y="33"/>
                    <a:pt x="1058" y="33"/>
                  </a:cubicBezTo>
                  <a:cubicBezTo>
                    <a:pt x="1058" y="34"/>
                    <a:pt x="1058" y="35"/>
                    <a:pt x="1058" y="36"/>
                  </a:cubicBezTo>
                  <a:cubicBezTo>
                    <a:pt x="1059" y="36"/>
                    <a:pt x="1058" y="35"/>
                    <a:pt x="1059" y="34"/>
                  </a:cubicBezTo>
                  <a:cubicBezTo>
                    <a:pt x="1059" y="34"/>
                    <a:pt x="1059" y="34"/>
                    <a:pt x="1059" y="34"/>
                  </a:cubicBezTo>
                  <a:cubicBezTo>
                    <a:pt x="1059" y="34"/>
                    <a:pt x="1059" y="34"/>
                    <a:pt x="1059" y="34"/>
                  </a:cubicBezTo>
                  <a:cubicBezTo>
                    <a:pt x="1059" y="34"/>
                    <a:pt x="1059" y="34"/>
                    <a:pt x="1059" y="34"/>
                  </a:cubicBezTo>
                  <a:cubicBezTo>
                    <a:pt x="1059" y="34"/>
                    <a:pt x="1059" y="35"/>
                    <a:pt x="1059" y="35"/>
                  </a:cubicBezTo>
                  <a:cubicBezTo>
                    <a:pt x="1059" y="35"/>
                    <a:pt x="1059" y="35"/>
                    <a:pt x="1059" y="35"/>
                  </a:cubicBezTo>
                  <a:cubicBezTo>
                    <a:pt x="1059" y="35"/>
                    <a:pt x="1060" y="35"/>
                    <a:pt x="1060" y="35"/>
                  </a:cubicBezTo>
                  <a:cubicBezTo>
                    <a:pt x="1060" y="34"/>
                    <a:pt x="1060" y="34"/>
                    <a:pt x="1060" y="34"/>
                  </a:cubicBezTo>
                  <a:cubicBezTo>
                    <a:pt x="1060" y="34"/>
                    <a:pt x="1060" y="34"/>
                    <a:pt x="1060" y="33"/>
                  </a:cubicBezTo>
                  <a:close/>
                  <a:moveTo>
                    <a:pt x="1059" y="35"/>
                  </a:moveTo>
                  <a:cubicBezTo>
                    <a:pt x="1059" y="35"/>
                    <a:pt x="1059" y="34"/>
                    <a:pt x="1059" y="34"/>
                  </a:cubicBezTo>
                  <a:cubicBezTo>
                    <a:pt x="1059" y="34"/>
                    <a:pt x="1059" y="34"/>
                    <a:pt x="1059" y="34"/>
                  </a:cubicBezTo>
                  <a:cubicBezTo>
                    <a:pt x="1058" y="34"/>
                    <a:pt x="1059" y="34"/>
                    <a:pt x="1059" y="34"/>
                  </a:cubicBezTo>
                  <a:cubicBezTo>
                    <a:pt x="1059" y="35"/>
                    <a:pt x="1059" y="35"/>
                    <a:pt x="1059" y="35"/>
                  </a:cubicBezTo>
                  <a:close/>
                  <a:moveTo>
                    <a:pt x="1060" y="36"/>
                  </a:moveTo>
                  <a:cubicBezTo>
                    <a:pt x="1060" y="35"/>
                    <a:pt x="1060" y="35"/>
                    <a:pt x="1060" y="35"/>
                  </a:cubicBezTo>
                  <a:cubicBezTo>
                    <a:pt x="1059" y="35"/>
                    <a:pt x="1059" y="35"/>
                    <a:pt x="1059" y="35"/>
                  </a:cubicBezTo>
                  <a:cubicBezTo>
                    <a:pt x="1059" y="35"/>
                    <a:pt x="1059" y="36"/>
                    <a:pt x="1060" y="36"/>
                  </a:cubicBezTo>
                  <a:close/>
                  <a:moveTo>
                    <a:pt x="1060" y="34"/>
                  </a:moveTo>
                  <a:cubicBezTo>
                    <a:pt x="1060" y="34"/>
                    <a:pt x="1060" y="33"/>
                    <a:pt x="1060" y="33"/>
                  </a:cubicBezTo>
                  <a:cubicBezTo>
                    <a:pt x="1060" y="34"/>
                    <a:pt x="1060" y="34"/>
                    <a:pt x="1060" y="34"/>
                  </a:cubicBezTo>
                  <a:cubicBezTo>
                    <a:pt x="1060" y="34"/>
                    <a:pt x="1060" y="34"/>
                    <a:pt x="1060" y="34"/>
                  </a:cubicBezTo>
                  <a:close/>
                  <a:moveTo>
                    <a:pt x="479" y="33"/>
                  </a:moveTo>
                  <a:cubicBezTo>
                    <a:pt x="479" y="33"/>
                    <a:pt x="479" y="34"/>
                    <a:pt x="479" y="34"/>
                  </a:cubicBezTo>
                  <a:cubicBezTo>
                    <a:pt x="479" y="34"/>
                    <a:pt x="479" y="34"/>
                    <a:pt x="480" y="34"/>
                  </a:cubicBezTo>
                  <a:cubicBezTo>
                    <a:pt x="480" y="34"/>
                    <a:pt x="480" y="34"/>
                    <a:pt x="480" y="34"/>
                  </a:cubicBezTo>
                  <a:cubicBezTo>
                    <a:pt x="480" y="34"/>
                    <a:pt x="480" y="34"/>
                    <a:pt x="480" y="33"/>
                  </a:cubicBezTo>
                  <a:cubicBezTo>
                    <a:pt x="479" y="33"/>
                    <a:pt x="479" y="33"/>
                    <a:pt x="479" y="33"/>
                  </a:cubicBezTo>
                  <a:close/>
                  <a:moveTo>
                    <a:pt x="1059" y="33"/>
                  </a:moveTo>
                  <a:cubicBezTo>
                    <a:pt x="1058" y="33"/>
                    <a:pt x="1059" y="34"/>
                    <a:pt x="1059" y="34"/>
                  </a:cubicBezTo>
                  <a:cubicBezTo>
                    <a:pt x="1059" y="34"/>
                    <a:pt x="1059" y="34"/>
                    <a:pt x="1059" y="34"/>
                  </a:cubicBezTo>
                  <a:cubicBezTo>
                    <a:pt x="1059" y="34"/>
                    <a:pt x="1059" y="33"/>
                    <a:pt x="1059" y="33"/>
                  </a:cubicBezTo>
                  <a:close/>
                </a:path>
              </a:pathLst>
            </a:custGeom>
            <a:solidFill>
              <a:schemeClr val="bg1"/>
            </a:solidFill>
            <a:ln>
              <a:noFill/>
            </a:ln>
          </p:spPr>
          <p:txBody>
            <a:bodyPr vert="horz" wrap="square" lIns="87834" tIns="43917" rIns="87834" bIns="43917" numCol="1" anchor="t" anchorCtr="0" compatLnSpc="1">
              <a:prstTxWarp prst="textNoShape">
                <a:avLst/>
              </a:prstTxWarp>
            </a:bodyPr>
            <a:lstStyle/>
            <a:p>
              <a:pPr defTabSz="914180"/>
              <a:endParaRPr lang="en-US" sz="1729">
                <a:solidFill>
                  <a:prstClr val="black"/>
                </a:solidFill>
              </a:endParaRPr>
            </a:p>
          </p:txBody>
        </p:sp>
        <p:grpSp>
          <p:nvGrpSpPr>
            <p:cNvPr id="166" name="Group 165"/>
            <p:cNvGrpSpPr/>
            <p:nvPr/>
          </p:nvGrpSpPr>
          <p:grpSpPr>
            <a:xfrm>
              <a:off x="9646636" y="4419817"/>
              <a:ext cx="1471891" cy="793196"/>
              <a:chOff x="9821694" y="4626178"/>
              <a:chExt cx="1276179" cy="687728"/>
            </a:xfrm>
          </p:grpSpPr>
          <p:sp>
            <p:nvSpPr>
              <p:cNvPr id="164" name="Freeform 23"/>
              <p:cNvSpPr>
                <a:spLocks noChangeAspect="1" noEditPoints="1"/>
              </p:cNvSpPr>
              <p:nvPr/>
            </p:nvSpPr>
            <p:spPr bwMode="auto">
              <a:xfrm>
                <a:off x="9821694" y="5065671"/>
                <a:ext cx="784910" cy="248235"/>
              </a:xfrm>
              <a:custGeom>
                <a:avLst/>
                <a:gdLst>
                  <a:gd name="T0" fmla="*/ 1442 w 2741"/>
                  <a:gd name="T1" fmla="*/ 572 h 865"/>
                  <a:gd name="T2" fmla="*/ 1224 w 2741"/>
                  <a:gd name="T3" fmla="*/ 701 h 865"/>
                  <a:gd name="T4" fmla="*/ 1012 w 2741"/>
                  <a:gd name="T5" fmla="*/ 576 h 865"/>
                  <a:gd name="T6" fmla="*/ 1012 w 2741"/>
                  <a:gd name="T7" fmla="*/ 295 h 865"/>
                  <a:gd name="T8" fmla="*/ 1233 w 2741"/>
                  <a:gd name="T9" fmla="*/ 165 h 865"/>
                  <a:gd name="T10" fmla="*/ 1442 w 2741"/>
                  <a:gd name="T11" fmla="*/ 291 h 865"/>
                  <a:gd name="T12" fmla="*/ 1408 w 2741"/>
                  <a:gd name="T13" fmla="*/ 435 h 865"/>
                  <a:gd name="T14" fmla="*/ 1229 w 2741"/>
                  <a:gd name="T15" fmla="*/ 220 h 865"/>
                  <a:gd name="T16" fmla="*/ 1068 w 2741"/>
                  <a:gd name="T17" fmla="*/ 323 h 865"/>
                  <a:gd name="T18" fmla="*/ 1067 w 2741"/>
                  <a:gd name="T19" fmla="*/ 545 h 865"/>
                  <a:gd name="T20" fmla="*/ 1224 w 2741"/>
                  <a:gd name="T21" fmla="*/ 646 h 865"/>
                  <a:gd name="T22" fmla="*/ 1408 w 2741"/>
                  <a:gd name="T23" fmla="*/ 435 h 865"/>
                  <a:gd name="T24" fmla="*/ 1695 w 2741"/>
                  <a:gd name="T25" fmla="*/ 186 h 865"/>
                  <a:gd name="T26" fmla="*/ 1632 w 2741"/>
                  <a:gd name="T27" fmla="*/ 322 h 865"/>
                  <a:gd name="T28" fmla="*/ 1719 w 2741"/>
                  <a:gd name="T29" fmla="*/ 372 h 865"/>
                  <a:gd name="T30" fmla="*/ 1632 w 2741"/>
                  <a:gd name="T31" fmla="*/ 692 h 865"/>
                  <a:gd name="T32" fmla="*/ 1573 w 2741"/>
                  <a:gd name="T33" fmla="*/ 372 h 865"/>
                  <a:gd name="T34" fmla="*/ 1510 w 2741"/>
                  <a:gd name="T35" fmla="*/ 322 h 865"/>
                  <a:gd name="T36" fmla="*/ 1573 w 2741"/>
                  <a:gd name="T37" fmla="*/ 262 h 865"/>
                  <a:gd name="T38" fmla="*/ 1691 w 2741"/>
                  <a:gd name="T39" fmla="*/ 136 h 865"/>
                  <a:gd name="T40" fmla="*/ 1734 w 2741"/>
                  <a:gd name="T41" fmla="*/ 196 h 865"/>
                  <a:gd name="T42" fmla="*/ 1898 w 2741"/>
                  <a:gd name="T43" fmla="*/ 186 h 865"/>
                  <a:gd name="T44" fmla="*/ 1836 w 2741"/>
                  <a:gd name="T45" fmla="*/ 322 h 865"/>
                  <a:gd name="T46" fmla="*/ 1923 w 2741"/>
                  <a:gd name="T47" fmla="*/ 372 h 865"/>
                  <a:gd name="T48" fmla="*/ 1836 w 2741"/>
                  <a:gd name="T49" fmla="*/ 692 h 865"/>
                  <a:gd name="T50" fmla="*/ 1777 w 2741"/>
                  <a:gd name="T51" fmla="*/ 372 h 865"/>
                  <a:gd name="T52" fmla="*/ 1714 w 2741"/>
                  <a:gd name="T53" fmla="*/ 322 h 865"/>
                  <a:gd name="T54" fmla="*/ 1777 w 2741"/>
                  <a:gd name="T55" fmla="*/ 262 h 865"/>
                  <a:gd name="T56" fmla="*/ 1895 w 2741"/>
                  <a:gd name="T57" fmla="*/ 136 h 865"/>
                  <a:gd name="T58" fmla="*/ 1938 w 2741"/>
                  <a:gd name="T59" fmla="*/ 196 h 865"/>
                  <a:gd name="T60" fmla="*/ 2036 w 2741"/>
                  <a:gd name="T61" fmla="*/ 217 h 865"/>
                  <a:gd name="T62" fmla="*/ 1981 w 2741"/>
                  <a:gd name="T63" fmla="*/ 217 h 865"/>
                  <a:gd name="T64" fmla="*/ 1981 w 2741"/>
                  <a:gd name="T65" fmla="*/ 162 h 865"/>
                  <a:gd name="T66" fmla="*/ 2036 w 2741"/>
                  <a:gd name="T67" fmla="*/ 162 h 865"/>
                  <a:gd name="T68" fmla="*/ 2037 w 2741"/>
                  <a:gd name="T69" fmla="*/ 692 h 865"/>
                  <a:gd name="T70" fmla="*/ 1978 w 2741"/>
                  <a:gd name="T71" fmla="*/ 322 h 865"/>
                  <a:gd name="T72" fmla="*/ 2037 w 2741"/>
                  <a:gd name="T73" fmla="*/ 692 h 865"/>
                  <a:gd name="T74" fmla="*/ 2274 w 2741"/>
                  <a:gd name="T75" fmla="*/ 701 h 865"/>
                  <a:gd name="T76" fmla="*/ 2120 w 2741"/>
                  <a:gd name="T77" fmla="*/ 612 h 865"/>
                  <a:gd name="T78" fmla="*/ 2151 w 2741"/>
                  <a:gd name="T79" fmla="*/ 369 h 865"/>
                  <a:gd name="T80" fmla="*/ 2376 w 2741"/>
                  <a:gd name="T81" fmla="*/ 332 h 865"/>
                  <a:gd name="T82" fmla="*/ 2288 w 2741"/>
                  <a:gd name="T83" fmla="*/ 364 h 865"/>
                  <a:gd name="T84" fmla="*/ 2159 w 2741"/>
                  <a:gd name="T85" fmla="*/ 511 h 865"/>
                  <a:gd name="T86" fmla="*/ 2285 w 2741"/>
                  <a:gd name="T87" fmla="*/ 651 h 865"/>
                  <a:gd name="T88" fmla="*/ 2376 w 2741"/>
                  <a:gd name="T89" fmla="*/ 675 h 865"/>
                  <a:gd name="T90" fmla="*/ 2480 w 2741"/>
                  <a:gd name="T91" fmla="*/ 522 h 865"/>
                  <a:gd name="T92" fmla="*/ 2600 w 2741"/>
                  <a:gd name="T93" fmla="*/ 651 h 865"/>
                  <a:gd name="T94" fmla="*/ 2715 w 2741"/>
                  <a:gd name="T95" fmla="*/ 666 h 865"/>
                  <a:gd name="T96" fmla="*/ 2463 w 2741"/>
                  <a:gd name="T97" fmla="*/ 650 h 865"/>
                  <a:gd name="T98" fmla="*/ 2440 w 2741"/>
                  <a:gd name="T99" fmla="*/ 408 h 865"/>
                  <a:gd name="T100" fmla="*/ 2588 w 2741"/>
                  <a:gd name="T101" fmla="*/ 313 h 865"/>
                  <a:gd name="T102" fmla="*/ 2741 w 2741"/>
                  <a:gd name="T103" fmla="*/ 491 h 865"/>
                  <a:gd name="T104" fmla="*/ 2680 w 2741"/>
                  <a:gd name="T105" fmla="*/ 472 h 865"/>
                  <a:gd name="T106" fmla="*/ 2588 w 2741"/>
                  <a:gd name="T107" fmla="*/ 364 h 865"/>
                  <a:gd name="T108" fmla="*/ 2480 w 2741"/>
                  <a:gd name="T109" fmla="*/ 472 h 865"/>
                  <a:gd name="T110" fmla="*/ 721 w 2741"/>
                  <a:gd name="T111" fmla="*/ 793 h 865"/>
                  <a:gd name="T112" fmla="*/ 721 w 2741"/>
                  <a:gd name="T113" fmla="*/ 74 h 865"/>
                  <a:gd name="T114" fmla="*/ 1 w 2741"/>
                  <a:gd name="T115" fmla="*/ 174 h 865"/>
                  <a:gd name="T116" fmla="*/ 0 w 2741"/>
                  <a:gd name="T117" fmla="*/ 694 h 865"/>
                  <a:gd name="T118" fmla="*/ 158 w 2741"/>
                  <a:gd name="T119" fmla="*/ 209 h 865"/>
                  <a:gd name="T120" fmla="*/ 464 w 2741"/>
                  <a:gd name="T121" fmla="*/ 758 h 865"/>
                  <a:gd name="T122" fmla="*/ 464 w 2741"/>
                  <a:gd name="T123" fmla="*/ 865 h 865"/>
                  <a:gd name="T124" fmla="*/ 721 w 2741"/>
                  <a:gd name="T125" fmla="*/ 794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41" h="865">
                    <a:moveTo>
                      <a:pt x="1472" y="427"/>
                    </a:moveTo>
                    <a:cubicBezTo>
                      <a:pt x="1472" y="482"/>
                      <a:pt x="1462" y="530"/>
                      <a:pt x="1442" y="572"/>
                    </a:cubicBezTo>
                    <a:cubicBezTo>
                      <a:pt x="1421" y="613"/>
                      <a:pt x="1392" y="645"/>
                      <a:pt x="1355" y="668"/>
                    </a:cubicBezTo>
                    <a:cubicBezTo>
                      <a:pt x="1317" y="690"/>
                      <a:pt x="1274" y="701"/>
                      <a:pt x="1224" y="701"/>
                    </a:cubicBezTo>
                    <a:cubicBezTo>
                      <a:pt x="1177" y="701"/>
                      <a:pt x="1135" y="691"/>
                      <a:pt x="1098" y="669"/>
                    </a:cubicBezTo>
                    <a:cubicBezTo>
                      <a:pt x="1061" y="647"/>
                      <a:pt x="1032" y="616"/>
                      <a:pt x="1012" y="576"/>
                    </a:cubicBezTo>
                    <a:cubicBezTo>
                      <a:pt x="991" y="536"/>
                      <a:pt x="981" y="490"/>
                      <a:pt x="981" y="439"/>
                    </a:cubicBezTo>
                    <a:cubicBezTo>
                      <a:pt x="981" y="384"/>
                      <a:pt x="992" y="336"/>
                      <a:pt x="1012" y="295"/>
                    </a:cubicBezTo>
                    <a:cubicBezTo>
                      <a:pt x="1033" y="253"/>
                      <a:pt x="1062" y="221"/>
                      <a:pt x="1100" y="199"/>
                    </a:cubicBezTo>
                    <a:cubicBezTo>
                      <a:pt x="1139" y="176"/>
                      <a:pt x="1183" y="165"/>
                      <a:pt x="1233" y="165"/>
                    </a:cubicBezTo>
                    <a:cubicBezTo>
                      <a:pt x="1279" y="165"/>
                      <a:pt x="1321" y="176"/>
                      <a:pt x="1357" y="198"/>
                    </a:cubicBezTo>
                    <a:cubicBezTo>
                      <a:pt x="1394" y="220"/>
                      <a:pt x="1422" y="251"/>
                      <a:pt x="1442" y="291"/>
                    </a:cubicBezTo>
                    <a:cubicBezTo>
                      <a:pt x="1462" y="330"/>
                      <a:pt x="1472" y="376"/>
                      <a:pt x="1472" y="427"/>
                    </a:cubicBezTo>
                    <a:close/>
                    <a:moveTo>
                      <a:pt x="1408" y="435"/>
                    </a:moveTo>
                    <a:cubicBezTo>
                      <a:pt x="1408" y="367"/>
                      <a:pt x="1392" y="314"/>
                      <a:pt x="1361" y="276"/>
                    </a:cubicBezTo>
                    <a:cubicBezTo>
                      <a:pt x="1329" y="239"/>
                      <a:pt x="1285" y="220"/>
                      <a:pt x="1229" y="220"/>
                    </a:cubicBezTo>
                    <a:cubicBezTo>
                      <a:pt x="1193" y="220"/>
                      <a:pt x="1161" y="229"/>
                      <a:pt x="1133" y="247"/>
                    </a:cubicBezTo>
                    <a:cubicBezTo>
                      <a:pt x="1105" y="265"/>
                      <a:pt x="1084" y="290"/>
                      <a:pt x="1068" y="323"/>
                    </a:cubicBezTo>
                    <a:cubicBezTo>
                      <a:pt x="1053" y="356"/>
                      <a:pt x="1045" y="393"/>
                      <a:pt x="1045" y="434"/>
                    </a:cubicBezTo>
                    <a:cubicBezTo>
                      <a:pt x="1045" y="475"/>
                      <a:pt x="1052" y="512"/>
                      <a:pt x="1067" y="545"/>
                    </a:cubicBezTo>
                    <a:cubicBezTo>
                      <a:pt x="1082" y="577"/>
                      <a:pt x="1103" y="602"/>
                      <a:pt x="1131" y="620"/>
                    </a:cubicBezTo>
                    <a:cubicBezTo>
                      <a:pt x="1158" y="638"/>
                      <a:pt x="1189" y="646"/>
                      <a:pt x="1224" y="646"/>
                    </a:cubicBezTo>
                    <a:cubicBezTo>
                      <a:pt x="1282" y="646"/>
                      <a:pt x="1327" y="628"/>
                      <a:pt x="1359" y="590"/>
                    </a:cubicBezTo>
                    <a:cubicBezTo>
                      <a:pt x="1392" y="552"/>
                      <a:pt x="1408" y="501"/>
                      <a:pt x="1408" y="435"/>
                    </a:cubicBezTo>
                    <a:close/>
                    <a:moveTo>
                      <a:pt x="1734" y="196"/>
                    </a:moveTo>
                    <a:cubicBezTo>
                      <a:pt x="1722" y="190"/>
                      <a:pt x="1709" y="186"/>
                      <a:pt x="1695" y="186"/>
                    </a:cubicBezTo>
                    <a:cubicBezTo>
                      <a:pt x="1653" y="186"/>
                      <a:pt x="1632" y="213"/>
                      <a:pt x="1632" y="265"/>
                    </a:cubicBezTo>
                    <a:cubicBezTo>
                      <a:pt x="1632" y="322"/>
                      <a:pt x="1632" y="322"/>
                      <a:pt x="1632" y="322"/>
                    </a:cubicBezTo>
                    <a:cubicBezTo>
                      <a:pt x="1719" y="322"/>
                      <a:pt x="1719" y="322"/>
                      <a:pt x="1719" y="322"/>
                    </a:cubicBezTo>
                    <a:cubicBezTo>
                      <a:pt x="1719" y="372"/>
                      <a:pt x="1719" y="372"/>
                      <a:pt x="1719" y="372"/>
                    </a:cubicBezTo>
                    <a:cubicBezTo>
                      <a:pt x="1632" y="372"/>
                      <a:pt x="1632" y="372"/>
                      <a:pt x="1632" y="372"/>
                    </a:cubicBezTo>
                    <a:cubicBezTo>
                      <a:pt x="1632" y="692"/>
                      <a:pt x="1632" y="692"/>
                      <a:pt x="1632" y="692"/>
                    </a:cubicBezTo>
                    <a:cubicBezTo>
                      <a:pt x="1573" y="692"/>
                      <a:pt x="1573" y="692"/>
                      <a:pt x="1573" y="692"/>
                    </a:cubicBezTo>
                    <a:cubicBezTo>
                      <a:pt x="1573" y="372"/>
                      <a:pt x="1573" y="372"/>
                      <a:pt x="1573" y="372"/>
                    </a:cubicBezTo>
                    <a:cubicBezTo>
                      <a:pt x="1510" y="372"/>
                      <a:pt x="1510" y="372"/>
                      <a:pt x="1510" y="372"/>
                    </a:cubicBezTo>
                    <a:cubicBezTo>
                      <a:pt x="1510" y="322"/>
                      <a:pt x="1510" y="322"/>
                      <a:pt x="1510" y="322"/>
                    </a:cubicBezTo>
                    <a:cubicBezTo>
                      <a:pt x="1573" y="322"/>
                      <a:pt x="1573" y="322"/>
                      <a:pt x="1573" y="322"/>
                    </a:cubicBezTo>
                    <a:cubicBezTo>
                      <a:pt x="1573" y="262"/>
                      <a:pt x="1573" y="262"/>
                      <a:pt x="1573" y="262"/>
                    </a:cubicBezTo>
                    <a:cubicBezTo>
                      <a:pt x="1573" y="224"/>
                      <a:pt x="1584" y="194"/>
                      <a:pt x="1606" y="171"/>
                    </a:cubicBezTo>
                    <a:cubicBezTo>
                      <a:pt x="1629" y="148"/>
                      <a:pt x="1657" y="136"/>
                      <a:pt x="1691" y="136"/>
                    </a:cubicBezTo>
                    <a:cubicBezTo>
                      <a:pt x="1709" y="136"/>
                      <a:pt x="1723" y="138"/>
                      <a:pt x="1734" y="143"/>
                    </a:cubicBezTo>
                    <a:lnTo>
                      <a:pt x="1734" y="196"/>
                    </a:lnTo>
                    <a:close/>
                    <a:moveTo>
                      <a:pt x="1938" y="196"/>
                    </a:moveTo>
                    <a:cubicBezTo>
                      <a:pt x="1926" y="190"/>
                      <a:pt x="1913" y="186"/>
                      <a:pt x="1898" y="186"/>
                    </a:cubicBezTo>
                    <a:cubicBezTo>
                      <a:pt x="1857" y="186"/>
                      <a:pt x="1836" y="213"/>
                      <a:pt x="1836" y="265"/>
                    </a:cubicBezTo>
                    <a:cubicBezTo>
                      <a:pt x="1836" y="322"/>
                      <a:pt x="1836" y="322"/>
                      <a:pt x="1836" y="322"/>
                    </a:cubicBezTo>
                    <a:cubicBezTo>
                      <a:pt x="1923" y="322"/>
                      <a:pt x="1923" y="322"/>
                      <a:pt x="1923" y="322"/>
                    </a:cubicBezTo>
                    <a:cubicBezTo>
                      <a:pt x="1923" y="372"/>
                      <a:pt x="1923" y="372"/>
                      <a:pt x="1923" y="372"/>
                    </a:cubicBezTo>
                    <a:cubicBezTo>
                      <a:pt x="1836" y="372"/>
                      <a:pt x="1836" y="372"/>
                      <a:pt x="1836" y="372"/>
                    </a:cubicBezTo>
                    <a:cubicBezTo>
                      <a:pt x="1836" y="692"/>
                      <a:pt x="1836" y="692"/>
                      <a:pt x="1836" y="692"/>
                    </a:cubicBezTo>
                    <a:cubicBezTo>
                      <a:pt x="1777" y="692"/>
                      <a:pt x="1777" y="692"/>
                      <a:pt x="1777" y="692"/>
                    </a:cubicBezTo>
                    <a:cubicBezTo>
                      <a:pt x="1777" y="372"/>
                      <a:pt x="1777" y="372"/>
                      <a:pt x="1777" y="372"/>
                    </a:cubicBezTo>
                    <a:cubicBezTo>
                      <a:pt x="1714" y="372"/>
                      <a:pt x="1714" y="372"/>
                      <a:pt x="1714" y="372"/>
                    </a:cubicBezTo>
                    <a:cubicBezTo>
                      <a:pt x="1714" y="322"/>
                      <a:pt x="1714" y="322"/>
                      <a:pt x="1714" y="322"/>
                    </a:cubicBezTo>
                    <a:cubicBezTo>
                      <a:pt x="1777" y="322"/>
                      <a:pt x="1777" y="322"/>
                      <a:pt x="1777" y="322"/>
                    </a:cubicBezTo>
                    <a:cubicBezTo>
                      <a:pt x="1777" y="262"/>
                      <a:pt x="1777" y="262"/>
                      <a:pt x="1777" y="262"/>
                    </a:cubicBezTo>
                    <a:cubicBezTo>
                      <a:pt x="1777" y="224"/>
                      <a:pt x="1788" y="194"/>
                      <a:pt x="1810" y="171"/>
                    </a:cubicBezTo>
                    <a:cubicBezTo>
                      <a:pt x="1832" y="148"/>
                      <a:pt x="1861" y="136"/>
                      <a:pt x="1895" y="136"/>
                    </a:cubicBezTo>
                    <a:cubicBezTo>
                      <a:pt x="1913" y="136"/>
                      <a:pt x="1927" y="138"/>
                      <a:pt x="1938" y="143"/>
                    </a:cubicBezTo>
                    <a:lnTo>
                      <a:pt x="1938" y="196"/>
                    </a:lnTo>
                    <a:close/>
                    <a:moveTo>
                      <a:pt x="2047" y="189"/>
                    </a:moveTo>
                    <a:cubicBezTo>
                      <a:pt x="2047" y="200"/>
                      <a:pt x="2043" y="210"/>
                      <a:pt x="2036" y="217"/>
                    </a:cubicBezTo>
                    <a:cubicBezTo>
                      <a:pt x="2028" y="224"/>
                      <a:pt x="2019" y="228"/>
                      <a:pt x="2008" y="228"/>
                    </a:cubicBezTo>
                    <a:cubicBezTo>
                      <a:pt x="1997" y="228"/>
                      <a:pt x="1988" y="224"/>
                      <a:pt x="1981" y="217"/>
                    </a:cubicBezTo>
                    <a:cubicBezTo>
                      <a:pt x="1973" y="210"/>
                      <a:pt x="1970" y="201"/>
                      <a:pt x="1970" y="189"/>
                    </a:cubicBezTo>
                    <a:cubicBezTo>
                      <a:pt x="1970" y="179"/>
                      <a:pt x="1973" y="170"/>
                      <a:pt x="1981" y="162"/>
                    </a:cubicBezTo>
                    <a:cubicBezTo>
                      <a:pt x="1988" y="155"/>
                      <a:pt x="1997" y="151"/>
                      <a:pt x="2008" y="151"/>
                    </a:cubicBezTo>
                    <a:cubicBezTo>
                      <a:pt x="2019" y="151"/>
                      <a:pt x="2029" y="155"/>
                      <a:pt x="2036" y="162"/>
                    </a:cubicBezTo>
                    <a:cubicBezTo>
                      <a:pt x="2044" y="170"/>
                      <a:pt x="2047" y="179"/>
                      <a:pt x="2047" y="189"/>
                    </a:cubicBezTo>
                    <a:close/>
                    <a:moveTo>
                      <a:pt x="2037" y="692"/>
                    </a:moveTo>
                    <a:cubicBezTo>
                      <a:pt x="1978" y="692"/>
                      <a:pt x="1978" y="692"/>
                      <a:pt x="1978" y="692"/>
                    </a:cubicBezTo>
                    <a:cubicBezTo>
                      <a:pt x="1978" y="322"/>
                      <a:pt x="1978" y="322"/>
                      <a:pt x="1978" y="322"/>
                    </a:cubicBezTo>
                    <a:cubicBezTo>
                      <a:pt x="2037" y="322"/>
                      <a:pt x="2037" y="322"/>
                      <a:pt x="2037" y="322"/>
                    </a:cubicBezTo>
                    <a:lnTo>
                      <a:pt x="2037" y="692"/>
                    </a:lnTo>
                    <a:close/>
                    <a:moveTo>
                      <a:pt x="2376" y="675"/>
                    </a:moveTo>
                    <a:cubicBezTo>
                      <a:pt x="2347" y="693"/>
                      <a:pt x="2313" y="701"/>
                      <a:pt x="2274" y="701"/>
                    </a:cubicBezTo>
                    <a:cubicBezTo>
                      <a:pt x="2240" y="701"/>
                      <a:pt x="2210" y="694"/>
                      <a:pt x="2183" y="678"/>
                    </a:cubicBezTo>
                    <a:cubicBezTo>
                      <a:pt x="2156" y="663"/>
                      <a:pt x="2135" y="641"/>
                      <a:pt x="2120" y="612"/>
                    </a:cubicBezTo>
                    <a:cubicBezTo>
                      <a:pt x="2105" y="584"/>
                      <a:pt x="2098" y="552"/>
                      <a:pt x="2098" y="516"/>
                    </a:cubicBezTo>
                    <a:cubicBezTo>
                      <a:pt x="2098" y="455"/>
                      <a:pt x="2116" y="406"/>
                      <a:pt x="2151" y="369"/>
                    </a:cubicBezTo>
                    <a:cubicBezTo>
                      <a:pt x="2186" y="332"/>
                      <a:pt x="2232" y="313"/>
                      <a:pt x="2291" y="313"/>
                    </a:cubicBezTo>
                    <a:cubicBezTo>
                      <a:pt x="2323" y="313"/>
                      <a:pt x="2352" y="319"/>
                      <a:pt x="2376" y="332"/>
                    </a:cubicBezTo>
                    <a:cubicBezTo>
                      <a:pt x="2376" y="393"/>
                      <a:pt x="2376" y="393"/>
                      <a:pt x="2376" y="393"/>
                    </a:cubicBezTo>
                    <a:cubicBezTo>
                      <a:pt x="2349" y="373"/>
                      <a:pt x="2319" y="364"/>
                      <a:pt x="2288" y="364"/>
                    </a:cubicBezTo>
                    <a:cubicBezTo>
                      <a:pt x="2250" y="364"/>
                      <a:pt x="2219" y="377"/>
                      <a:pt x="2195" y="405"/>
                    </a:cubicBezTo>
                    <a:cubicBezTo>
                      <a:pt x="2171" y="432"/>
                      <a:pt x="2159" y="467"/>
                      <a:pt x="2159" y="511"/>
                    </a:cubicBezTo>
                    <a:cubicBezTo>
                      <a:pt x="2159" y="554"/>
                      <a:pt x="2170" y="588"/>
                      <a:pt x="2193" y="613"/>
                    </a:cubicBezTo>
                    <a:cubicBezTo>
                      <a:pt x="2216" y="638"/>
                      <a:pt x="2246" y="651"/>
                      <a:pt x="2285" y="651"/>
                    </a:cubicBezTo>
                    <a:cubicBezTo>
                      <a:pt x="2317" y="651"/>
                      <a:pt x="2347" y="640"/>
                      <a:pt x="2376" y="619"/>
                    </a:cubicBezTo>
                    <a:lnTo>
                      <a:pt x="2376" y="675"/>
                    </a:lnTo>
                    <a:close/>
                    <a:moveTo>
                      <a:pt x="2741" y="522"/>
                    </a:moveTo>
                    <a:cubicBezTo>
                      <a:pt x="2480" y="522"/>
                      <a:pt x="2480" y="522"/>
                      <a:pt x="2480" y="522"/>
                    </a:cubicBezTo>
                    <a:cubicBezTo>
                      <a:pt x="2480" y="564"/>
                      <a:pt x="2492" y="596"/>
                      <a:pt x="2513" y="618"/>
                    </a:cubicBezTo>
                    <a:cubicBezTo>
                      <a:pt x="2534" y="640"/>
                      <a:pt x="2563" y="651"/>
                      <a:pt x="2600" y="651"/>
                    </a:cubicBezTo>
                    <a:cubicBezTo>
                      <a:pt x="2642" y="651"/>
                      <a:pt x="2680" y="637"/>
                      <a:pt x="2715" y="610"/>
                    </a:cubicBezTo>
                    <a:cubicBezTo>
                      <a:pt x="2715" y="666"/>
                      <a:pt x="2715" y="666"/>
                      <a:pt x="2715" y="666"/>
                    </a:cubicBezTo>
                    <a:cubicBezTo>
                      <a:pt x="2683" y="689"/>
                      <a:pt x="2640" y="701"/>
                      <a:pt x="2586" y="701"/>
                    </a:cubicBezTo>
                    <a:cubicBezTo>
                      <a:pt x="2533" y="701"/>
                      <a:pt x="2492" y="684"/>
                      <a:pt x="2463" y="650"/>
                    </a:cubicBezTo>
                    <a:cubicBezTo>
                      <a:pt x="2433" y="616"/>
                      <a:pt x="2418" y="569"/>
                      <a:pt x="2418" y="509"/>
                    </a:cubicBezTo>
                    <a:cubicBezTo>
                      <a:pt x="2418" y="472"/>
                      <a:pt x="2425" y="439"/>
                      <a:pt x="2440" y="408"/>
                    </a:cubicBezTo>
                    <a:cubicBezTo>
                      <a:pt x="2455" y="378"/>
                      <a:pt x="2476" y="355"/>
                      <a:pt x="2502" y="338"/>
                    </a:cubicBezTo>
                    <a:cubicBezTo>
                      <a:pt x="2528" y="321"/>
                      <a:pt x="2557" y="313"/>
                      <a:pt x="2588" y="313"/>
                    </a:cubicBezTo>
                    <a:cubicBezTo>
                      <a:pt x="2636" y="313"/>
                      <a:pt x="2674" y="329"/>
                      <a:pt x="2701" y="360"/>
                    </a:cubicBezTo>
                    <a:cubicBezTo>
                      <a:pt x="2728" y="391"/>
                      <a:pt x="2741" y="435"/>
                      <a:pt x="2741" y="491"/>
                    </a:cubicBezTo>
                    <a:lnTo>
                      <a:pt x="2741" y="522"/>
                    </a:lnTo>
                    <a:close/>
                    <a:moveTo>
                      <a:pt x="2680" y="472"/>
                    </a:moveTo>
                    <a:cubicBezTo>
                      <a:pt x="2680" y="438"/>
                      <a:pt x="2672" y="411"/>
                      <a:pt x="2655" y="392"/>
                    </a:cubicBezTo>
                    <a:cubicBezTo>
                      <a:pt x="2639" y="373"/>
                      <a:pt x="2617" y="364"/>
                      <a:pt x="2588" y="364"/>
                    </a:cubicBezTo>
                    <a:cubicBezTo>
                      <a:pt x="2560" y="364"/>
                      <a:pt x="2537" y="374"/>
                      <a:pt x="2517" y="393"/>
                    </a:cubicBezTo>
                    <a:cubicBezTo>
                      <a:pt x="2498" y="413"/>
                      <a:pt x="2485" y="439"/>
                      <a:pt x="2480" y="472"/>
                    </a:cubicBezTo>
                    <a:lnTo>
                      <a:pt x="2680" y="472"/>
                    </a:lnTo>
                    <a:close/>
                    <a:moveTo>
                      <a:pt x="721" y="793"/>
                    </a:moveTo>
                    <a:cubicBezTo>
                      <a:pt x="721" y="793"/>
                      <a:pt x="721" y="793"/>
                      <a:pt x="721" y="793"/>
                    </a:cubicBezTo>
                    <a:cubicBezTo>
                      <a:pt x="721" y="74"/>
                      <a:pt x="721" y="74"/>
                      <a:pt x="721" y="74"/>
                    </a:cubicBezTo>
                    <a:cubicBezTo>
                      <a:pt x="464" y="0"/>
                      <a:pt x="464" y="0"/>
                      <a:pt x="464" y="0"/>
                    </a:cubicBezTo>
                    <a:cubicBezTo>
                      <a:pt x="1" y="174"/>
                      <a:pt x="1" y="174"/>
                      <a:pt x="1" y="174"/>
                    </a:cubicBezTo>
                    <a:cubicBezTo>
                      <a:pt x="0" y="174"/>
                      <a:pt x="0" y="174"/>
                      <a:pt x="0" y="174"/>
                    </a:cubicBezTo>
                    <a:cubicBezTo>
                      <a:pt x="0" y="694"/>
                      <a:pt x="0" y="694"/>
                      <a:pt x="0" y="694"/>
                    </a:cubicBezTo>
                    <a:cubicBezTo>
                      <a:pt x="158" y="632"/>
                      <a:pt x="158" y="632"/>
                      <a:pt x="158" y="632"/>
                    </a:cubicBezTo>
                    <a:cubicBezTo>
                      <a:pt x="158" y="209"/>
                      <a:pt x="158" y="209"/>
                      <a:pt x="158" y="209"/>
                    </a:cubicBezTo>
                    <a:cubicBezTo>
                      <a:pt x="464" y="136"/>
                      <a:pt x="464" y="136"/>
                      <a:pt x="464" y="136"/>
                    </a:cubicBezTo>
                    <a:cubicBezTo>
                      <a:pt x="464" y="758"/>
                      <a:pt x="464" y="758"/>
                      <a:pt x="464" y="758"/>
                    </a:cubicBezTo>
                    <a:cubicBezTo>
                      <a:pt x="0" y="694"/>
                      <a:pt x="0" y="694"/>
                      <a:pt x="0" y="694"/>
                    </a:cubicBezTo>
                    <a:cubicBezTo>
                      <a:pt x="464" y="865"/>
                      <a:pt x="464" y="865"/>
                      <a:pt x="464" y="865"/>
                    </a:cubicBezTo>
                    <a:cubicBezTo>
                      <a:pt x="464" y="865"/>
                      <a:pt x="464" y="865"/>
                      <a:pt x="464" y="865"/>
                    </a:cubicBezTo>
                    <a:cubicBezTo>
                      <a:pt x="721" y="794"/>
                      <a:pt x="721" y="794"/>
                      <a:pt x="721" y="794"/>
                    </a:cubicBezTo>
                    <a:cubicBezTo>
                      <a:pt x="721" y="793"/>
                      <a:pt x="721" y="793"/>
                      <a:pt x="721" y="793"/>
                    </a:cubicBezTo>
                    <a:close/>
                  </a:path>
                </a:pathLst>
              </a:custGeom>
              <a:solidFill>
                <a:schemeClr val="bg1"/>
              </a:solidFill>
              <a:ln>
                <a:noFill/>
              </a:ln>
              <a:extLst/>
            </p:spPr>
            <p:txBody>
              <a:bodyPr vert="horz" wrap="square" lIns="89619" tIns="44810" rIns="89619" bIns="44810" numCol="1" anchor="t" anchorCtr="0" compatLnSpc="1">
                <a:prstTxWarp prst="textNoShape">
                  <a:avLst/>
                </a:prstTxWarp>
              </a:bodyPr>
              <a:lstStyle/>
              <a:p>
                <a:pPr defTabSz="914180">
                  <a:lnSpc>
                    <a:spcPct val="90000"/>
                  </a:lnSpc>
                </a:pPr>
                <a:endParaRPr lang="en-US" sz="1764">
                  <a:solidFill>
                    <a:srgbClr val="505050"/>
                  </a:solidFill>
                </a:endParaRPr>
              </a:p>
            </p:txBody>
          </p:sp>
          <p:sp>
            <p:nvSpPr>
              <p:cNvPr id="165" name="Freeform 5"/>
              <p:cNvSpPr>
                <a:spLocks noChangeAspect="1" noEditPoints="1"/>
              </p:cNvSpPr>
              <p:nvPr/>
            </p:nvSpPr>
            <p:spPr bwMode="auto">
              <a:xfrm>
                <a:off x="9821694" y="4626178"/>
                <a:ext cx="1276179" cy="256386"/>
              </a:xfrm>
              <a:custGeom>
                <a:avLst/>
                <a:gdLst>
                  <a:gd name="T0" fmla="*/ 271 w 1687"/>
                  <a:gd name="T1" fmla="*/ 82 h 337"/>
                  <a:gd name="T2" fmla="*/ 348 w 1687"/>
                  <a:gd name="T3" fmla="*/ 192 h 337"/>
                  <a:gd name="T4" fmla="*/ 238 w 1687"/>
                  <a:gd name="T5" fmla="*/ 291 h 337"/>
                  <a:gd name="T6" fmla="*/ 260 w 1687"/>
                  <a:gd name="T7" fmla="*/ 232 h 337"/>
                  <a:gd name="T8" fmla="*/ 301 w 1687"/>
                  <a:gd name="T9" fmla="*/ 141 h 337"/>
                  <a:gd name="T10" fmla="*/ 215 w 1687"/>
                  <a:gd name="T11" fmla="*/ 80 h 337"/>
                  <a:gd name="T12" fmla="*/ 579 w 1687"/>
                  <a:gd name="T13" fmla="*/ 62 h 337"/>
                  <a:gd name="T14" fmla="*/ 602 w 1687"/>
                  <a:gd name="T15" fmla="*/ 265 h 337"/>
                  <a:gd name="T16" fmla="*/ 676 w 1687"/>
                  <a:gd name="T17" fmla="*/ 191 h 337"/>
                  <a:gd name="T18" fmla="*/ 699 w 1687"/>
                  <a:gd name="T19" fmla="*/ 181 h 337"/>
                  <a:gd name="T20" fmla="*/ 602 w 1687"/>
                  <a:gd name="T21" fmla="*/ 143 h 337"/>
                  <a:gd name="T22" fmla="*/ 453 w 1687"/>
                  <a:gd name="T23" fmla="*/ 156 h 337"/>
                  <a:gd name="T24" fmla="*/ 469 w 1687"/>
                  <a:gd name="T25" fmla="*/ 250 h 337"/>
                  <a:gd name="T26" fmla="*/ 549 w 1687"/>
                  <a:gd name="T27" fmla="*/ 231 h 337"/>
                  <a:gd name="T28" fmla="*/ 496 w 1687"/>
                  <a:gd name="T29" fmla="*/ 86 h 337"/>
                  <a:gd name="T30" fmla="*/ 1468 w 1687"/>
                  <a:gd name="T31" fmla="*/ 126 h 337"/>
                  <a:gd name="T32" fmla="*/ 1488 w 1687"/>
                  <a:gd name="T33" fmla="*/ 265 h 337"/>
                  <a:gd name="T34" fmla="*/ 1561 w 1687"/>
                  <a:gd name="T35" fmla="*/ 265 h 337"/>
                  <a:gd name="T36" fmla="*/ 1583 w 1687"/>
                  <a:gd name="T37" fmla="*/ 164 h 337"/>
                  <a:gd name="T38" fmla="*/ 1651 w 1687"/>
                  <a:gd name="T39" fmla="*/ 237 h 337"/>
                  <a:gd name="T40" fmla="*/ 1687 w 1687"/>
                  <a:gd name="T41" fmla="*/ 142 h 337"/>
                  <a:gd name="T42" fmla="*/ 1651 w 1687"/>
                  <a:gd name="T43" fmla="*/ 87 h 337"/>
                  <a:gd name="T44" fmla="*/ 1624 w 1687"/>
                  <a:gd name="T45" fmla="*/ 126 h 337"/>
                  <a:gd name="T46" fmla="*/ 1623 w 1687"/>
                  <a:gd name="T47" fmla="*/ 146 h 337"/>
                  <a:gd name="T48" fmla="*/ 1687 w 1687"/>
                  <a:gd name="T49" fmla="*/ 266 h 337"/>
                  <a:gd name="T50" fmla="*/ 898 w 1687"/>
                  <a:gd name="T51" fmla="*/ 149 h 337"/>
                  <a:gd name="T52" fmla="*/ 872 w 1687"/>
                  <a:gd name="T53" fmla="*/ 129 h 337"/>
                  <a:gd name="T54" fmla="*/ 895 w 1687"/>
                  <a:gd name="T55" fmla="*/ 263 h 337"/>
                  <a:gd name="T56" fmla="*/ 947 w 1687"/>
                  <a:gd name="T57" fmla="*/ 130 h 337"/>
                  <a:gd name="T58" fmla="*/ 1403 w 1687"/>
                  <a:gd name="T59" fmla="*/ 192 h 337"/>
                  <a:gd name="T60" fmla="*/ 1426 w 1687"/>
                  <a:gd name="T61" fmla="*/ 198 h 337"/>
                  <a:gd name="T62" fmla="*/ 1415 w 1687"/>
                  <a:gd name="T63" fmla="*/ 89 h 337"/>
                  <a:gd name="T64" fmla="*/ 0 w 1687"/>
                  <a:gd name="T65" fmla="*/ 298 h 337"/>
                  <a:gd name="T66" fmla="*/ 197 w 1687"/>
                  <a:gd name="T67" fmla="*/ 169 h 337"/>
                  <a:gd name="T68" fmla="*/ 100 w 1687"/>
                  <a:gd name="T69" fmla="*/ 122 h 337"/>
                  <a:gd name="T70" fmla="*/ 64 w 1687"/>
                  <a:gd name="T71" fmla="*/ 166 h 337"/>
                  <a:gd name="T72" fmla="*/ 75 w 1687"/>
                  <a:gd name="T73" fmla="*/ 214 h 337"/>
                  <a:gd name="T74" fmla="*/ 123 w 1687"/>
                  <a:gd name="T75" fmla="*/ 213 h 337"/>
                  <a:gd name="T76" fmla="*/ 1128 w 1687"/>
                  <a:gd name="T77" fmla="*/ 265 h 337"/>
                  <a:gd name="T78" fmla="*/ 1104 w 1687"/>
                  <a:gd name="T79" fmla="*/ 169 h 337"/>
                  <a:gd name="T80" fmla="*/ 1228 w 1687"/>
                  <a:gd name="T81" fmla="*/ 123 h 337"/>
                  <a:gd name="T82" fmla="*/ 1128 w 1687"/>
                  <a:gd name="T83" fmla="*/ 131 h 337"/>
                  <a:gd name="T84" fmla="*/ 1170 w 1687"/>
                  <a:gd name="T85" fmla="*/ 91 h 337"/>
                  <a:gd name="T86" fmla="*/ 989 w 1687"/>
                  <a:gd name="T87" fmla="*/ 243 h 337"/>
                  <a:gd name="T88" fmla="*/ 1004 w 1687"/>
                  <a:gd name="T89" fmla="*/ 273 h 337"/>
                  <a:gd name="T90" fmla="*/ 1073 w 1687"/>
                  <a:gd name="T91" fmla="*/ 169 h 337"/>
                  <a:gd name="T92" fmla="*/ 978 w 1687"/>
                  <a:gd name="T93" fmla="*/ 184 h 337"/>
                  <a:gd name="T94" fmla="*/ 1366 w 1687"/>
                  <a:gd name="T95" fmla="*/ 238 h 337"/>
                  <a:gd name="T96" fmla="*/ 1343 w 1687"/>
                  <a:gd name="T97" fmla="*/ 131 h 337"/>
                  <a:gd name="T98" fmla="*/ 1309 w 1687"/>
                  <a:gd name="T99" fmla="*/ 142 h 337"/>
                  <a:gd name="T100" fmla="*/ 1351 w 1687"/>
                  <a:gd name="T101" fmla="*/ 197 h 337"/>
                  <a:gd name="T102" fmla="*/ 813 w 1687"/>
                  <a:gd name="T103" fmla="*/ 247 h 337"/>
                  <a:gd name="T104" fmla="*/ 807 w 1687"/>
                  <a:gd name="T105" fmla="*/ 179 h 337"/>
                  <a:gd name="T106" fmla="*/ 736 w 1687"/>
                  <a:gd name="T107" fmla="*/ 159 h 337"/>
                  <a:gd name="T108" fmla="*/ 836 w 1687"/>
                  <a:gd name="T109" fmla="*/ 174 h 337"/>
                  <a:gd name="T110" fmla="*/ 747 w 1687"/>
                  <a:gd name="T111" fmla="*/ 224 h 337"/>
                  <a:gd name="T112" fmla="*/ 809 w 1687"/>
                  <a:gd name="T113" fmla="*/ 198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87" h="337">
                    <a:moveTo>
                      <a:pt x="215" y="80"/>
                    </a:moveTo>
                    <a:cubicBezTo>
                      <a:pt x="215" y="73"/>
                      <a:pt x="216" y="67"/>
                      <a:pt x="215" y="60"/>
                    </a:cubicBezTo>
                    <a:cubicBezTo>
                      <a:pt x="215" y="58"/>
                      <a:pt x="216" y="56"/>
                      <a:pt x="218" y="55"/>
                    </a:cubicBezTo>
                    <a:cubicBezTo>
                      <a:pt x="228" y="46"/>
                      <a:pt x="242" y="44"/>
                      <a:pt x="253" y="50"/>
                    </a:cubicBezTo>
                    <a:cubicBezTo>
                      <a:pt x="265" y="57"/>
                      <a:pt x="271" y="68"/>
                      <a:pt x="271" y="82"/>
                    </a:cubicBezTo>
                    <a:cubicBezTo>
                      <a:pt x="271" y="85"/>
                      <a:pt x="272" y="87"/>
                      <a:pt x="275" y="88"/>
                    </a:cubicBezTo>
                    <a:cubicBezTo>
                      <a:pt x="294" y="98"/>
                      <a:pt x="308" y="113"/>
                      <a:pt x="317" y="132"/>
                    </a:cubicBezTo>
                    <a:cubicBezTo>
                      <a:pt x="318" y="134"/>
                      <a:pt x="318" y="136"/>
                      <a:pt x="321" y="136"/>
                    </a:cubicBezTo>
                    <a:cubicBezTo>
                      <a:pt x="336" y="134"/>
                      <a:pt x="348" y="142"/>
                      <a:pt x="354" y="154"/>
                    </a:cubicBezTo>
                    <a:cubicBezTo>
                      <a:pt x="360" y="167"/>
                      <a:pt x="357" y="182"/>
                      <a:pt x="348" y="192"/>
                    </a:cubicBezTo>
                    <a:cubicBezTo>
                      <a:pt x="340" y="200"/>
                      <a:pt x="332" y="203"/>
                      <a:pt x="321" y="202"/>
                    </a:cubicBezTo>
                    <a:cubicBezTo>
                      <a:pt x="319" y="202"/>
                      <a:pt x="318" y="202"/>
                      <a:pt x="317" y="204"/>
                    </a:cubicBezTo>
                    <a:cubicBezTo>
                      <a:pt x="308" y="225"/>
                      <a:pt x="294" y="241"/>
                      <a:pt x="273" y="250"/>
                    </a:cubicBezTo>
                    <a:cubicBezTo>
                      <a:pt x="270" y="251"/>
                      <a:pt x="271" y="253"/>
                      <a:pt x="271" y="255"/>
                    </a:cubicBezTo>
                    <a:cubicBezTo>
                      <a:pt x="272" y="275"/>
                      <a:pt x="257" y="291"/>
                      <a:pt x="238" y="291"/>
                    </a:cubicBezTo>
                    <a:cubicBezTo>
                      <a:pt x="234" y="291"/>
                      <a:pt x="230" y="290"/>
                      <a:pt x="226" y="288"/>
                    </a:cubicBezTo>
                    <a:cubicBezTo>
                      <a:pt x="219" y="285"/>
                      <a:pt x="215" y="281"/>
                      <a:pt x="215" y="272"/>
                    </a:cubicBezTo>
                    <a:cubicBezTo>
                      <a:pt x="216" y="261"/>
                      <a:pt x="216" y="249"/>
                      <a:pt x="215" y="238"/>
                    </a:cubicBezTo>
                    <a:cubicBezTo>
                      <a:pt x="215" y="235"/>
                      <a:pt x="216" y="233"/>
                      <a:pt x="219" y="231"/>
                    </a:cubicBezTo>
                    <a:cubicBezTo>
                      <a:pt x="231" y="221"/>
                      <a:pt x="248" y="222"/>
                      <a:pt x="260" y="232"/>
                    </a:cubicBezTo>
                    <a:cubicBezTo>
                      <a:pt x="262" y="234"/>
                      <a:pt x="264" y="234"/>
                      <a:pt x="267" y="233"/>
                    </a:cubicBezTo>
                    <a:cubicBezTo>
                      <a:pt x="283" y="225"/>
                      <a:pt x="294" y="213"/>
                      <a:pt x="301" y="197"/>
                    </a:cubicBezTo>
                    <a:cubicBezTo>
                      <a:pt x="302" y="195"/>
                      <a:pt x="302" y="193"/>
                      <a:pt x="301" y="191"/>
                    </a:cubicBezTo>
                    <a:cubicBezTo>
                      <a:pt x="289" y="177"/>
                      <a:pt x="289" y="161"/>
                      <a:pt x="300" y="147"/>
                    </a:cubicBezTo>
                    <a:cubicBezTo>
                      <a:pt x="302" y="145"/>
                      <a:pt x="303" y="143"/>
                      <a:pt x="301" y="141"/>
                    </a:cubicBezTo>
                    <a:cubicBezTo>
                      <a:pt x="294" y="124"/>
                      <a:pt x="282" y="112"/>
                      <a:pt x="266" y="104"/>
                    </a:cubicBezTo>
                    <a:cubicBezTo>
                      <a:pt x="264" y="103"/>
                      <a:pt x="262" y="103"/>
                      <a:pt x="260" y="105"/>
                    </a:cubicBezTo>
                    <a:cubicBezTo>
                      <a:pt x="248" y="116"/>
                      <a:pt x="231" y="117"/>
                      <a:pt x="218" y="106"/>
                    </a:cubicBezTo>
                    <a:cubicBezTo>
                      <a:pt x="216" y="105"/>
                      <a:pt x="215" y="103"/>
                      <a:pt x="215" y="100"/>
                    </a:cubicBezTo>
                    <a:cubicBezTo>
                      <a:pt x="216" y="93"/>
                      <a:pt x="215" y="87"/>
                      <a:pt x="215" y="80"/>
                    </a:cubicBezTo>
                    <a:close/>
                    <a:moveTo>
                      <a:pt x="602" y="143"/>
                    </a:moveTo>
                    <a:cubicBezTo>
                      <a:pt x="602" y="116"/>
                      <a:pt x="602" y="88"/>
                      <a:pt x="602" y="61"/>
                    </a:cubicBezTo>
                    <a:cubicBezTo>
                      <a:pt x="602" y="58"/>
                      <a:pt x="602" y="56"/>
                      <a:pt x="598" y="56"/>
                    </a:cubicBezTo>
                    <a:cubicBezTo>
                      <a:pt x="593" y="57"/>
                      <a:pt x="589" y="57"/>
                      <a:pt x="584" y="56"/>
                    </a:cubicBezTo>
                    <a:cubicBezTo>
                      <a:pt x="580" y="56"/>
                      <a:pt x="579" y="58"/>
                      <a:pt x="579" y="62"/>
                    </a:cubicBezTo>
                    <a:cubicBezTo>
                      <a:pt x="579" y="126"/>
                      <a:pt x="579" y="190"/>
                      <a:pt x="579" y="254"/>
                    </a:cubicBezTo>
                    <a:cubicBezTo>
                      <a:pt x="579" y="258"/>
                      <a:pt x="579" y="262"/>
                      <a:pt x="579" y="266"/>
                    </a:cubicBezTo>
                    <a:cubicBezTo>
                      <a:pt x="579" y="269"/>
                      <a:pt x="580" y="270"/>
                      <a:pt x="583" y="270"/>
                    </a:cubicBezTo>
                    <a:cubicBezTo>
                      <a:pt x="588" y="270"/>
                      <a:pt x="593" y="270"/>
                      <a:pt x="598" y="270"/>
                    </a:cubicBezTo>
                    <a:cubicBezTo>
                      <a:pt x="601" y="270"/>
                      <a:pt x="602" y="269"/>
                      <a:pt x="602" y="265"/>
                    </a:cubicBezTo>
                    <a:cubicBezTo>
                      <a:pt x="602" y="239"/>
                      <a:pt x="602" y="213"/>
                      <a:pt x="602" y="187"/>
                    </a:cubicBezTo>
                    <a:cubicBezTo>
                      <a:pt x="602" y="175"/>
                      <a:pt x="606" y="164"/>
                      <a:pt x="614" y="154"/>
                    </a:cubicBezTo>
                    <a:cubicBezTo>
                      <a:pt x="625" y="143"/>
                      <a:pt x="637" y="140"/>
                      <a:pt x="652" y="143"/>
                    </a:cubicBezTo>
                    <a:cubicBezTo>
                      <a:pt x="666" y="147"/>
                      <a:pt x="671" y="157"/>
                      <a:pt x="674" y="170"/>
                    </a:cubicBezTo>
                    <a:cubicBezTo>
                      <a:pt x="675" y="177"/>
                      <a:pt x="676" y="184"/>
                      <a:pt x="676" y="191"/>
                    </a:cubicBezTo>
                    <a:cubicBezTo>
                      <a:pt x="676" y="215"/>
                      <a:pt x="676" y="240"/>
                      <a:pt x="675" y="265"/>
                    </a:cubicBezTo>
                    <a:cubicBezTo>
                      <a:pt x="675" y="269"/>
                      <a:pt x="677" y="270"/>
                      <a:pt x="681" y="270"/>
                    </a:cubicBezTo>
                    <a:cubicBezTo>
                      <a:pt x="686" y="270"/>
                      <a:pt x="690" y="270"/>
                      <a:pt x="695" y="270"/>
                    </a:cubicBezTo>
                    <a:cubicBezTo>
                      <a:pt x="698" y="270"/>
                      <a:pt x="699" y="269"/>
                      <a:pt x="699" y="265"/>
                    </a:cubicBezTo>
                    <a:cubicBezTo>
                      <a:pt x="699" y="237"/>
                      <a:pt x="699" y="209"/>
                      <a:pt x="699" y="181"/>
                    </a:cubicBezTo>
                    <a:cubicBezTo>
                      <a:pt x="699" y="174"/>
                      <a:pt x="698" y="167"/>
                      <a:pt x="697" y="160"/>
                    </a:cubicBezTo>
                    <a:cubicBezTo>
                      <a:pt x="694" y="147"/>
                      <a:pt x="688" y="135"/>
                      <a:pt x="675" y="128"/>
                    </a:cubicBezTo>
                    <a:cubicBezTo>
                      <a:pt x="656" y="117"/>
                      <a:pt x="628" y="122"/>
                      <a:pt x="612" y="137"/>
                    </a:cubicBezTo>
                    <a:cubicBezTo>
                      <a:pt x="609" y="141"/>
                      <a:pt x="606" y="145"/>
                      <a:pt x="602" y="149"/>
                    </a:cubicBezTo>
                    <a:cubicBezTo>
                      <a:pt x="602" y="147"/>
                      <a:pt x="602" y="145"/>
                      <a:pt x="602" y="143"/>
                    </a:cubicBezTo>
                    <a:close/>
                    <a:moveTo>
                      <a:pt x="541" y="75"/>
                    </a:moveTo>
                    <a:cubicBezTo>
                      <a:pt x="541" y="72"/>
                      <a:pt x="541" y="71"/>
                      <a:pt x="538" y="70"/>
                    </a:cubicBezTo>
                    <a:cubicBezTo>
                      <a:pt x="532" y="68"/>
                      <a:pt x="526" y="66"/>
                      <a:pt x="520" y="66"/>
                    </a:cubicBezTo>
                    <a:cubicBezTo>
                      <a:pt x="503" y="64"/>
                      <a:pt x="485" y="64"/>
                      <a:pt x="469" y="71"/>
                    </a:cubicBezTo>
                    <a:cubicBezTo>
                      <a:pt x="429" y="89"/>
                      <a:pt x="430" y="136"/>
                      <a:pt x="453" y="156"/>
                    </a:cubicBezTo>
                    <a:cubicBezTo>
                      <a:pt x="463" y="165"/>
                      <a:pt x="474" y="172"/>
                      <a:pt x="485" y="178"/>
                    </a:cubicBezTo>
                    <a:cubicBezTo>
                      <a:pt x="496" y="184"/>
                      <a:pt x="507" y="191"/>
                      <a:pt x="516" y="200"/>
                    </a:cubicBezTo>
                    <a:cubicBezTo>
                      <a:pt x="525" y="209"/>
                      <a:pt x="527" y="220"/>
                      <a:pt x="523" y="232"/>
                    </a:cubicBezTo>
                    <a:cubicBezTo>
                      <a:pt x="520" y="243"/>
                      <a:pt x="511" y="248"/>
                      <a:pt x="500" y="251"/>
                    </a:cubicBezTo>
                    <a:cubicBezTo>
                      <a:pt x="490" y="253"/>
                      <a:pt x="480" y="252"/>
                      <a:pt x="469" y="250"/>
                    </a:cubicBezTo>
                    <a:cubicBezTo>
                      <a:pt x="458" y="247"/>
                      <a:pt x="447" y="242"/>
                      <a:pt x="437" y="234"/>
                    </a:cubicBezTo>
                    <a:cubicBezTo>
                      <a:pt x="437" y="242"/>
                      <a:pt x="438" y="250"/>
                      <a:pt x="437" y="257"/>
                    </a:cubicBezTo>
                    <a:cubicBezTo>
                      <a:pt x="437" y="261"/>
                      <a:pt x="438" y="263"/>
                      <a:pt x="442" y="265"/>
                    </a:cubicBezTo>
                    <a:cubicBezTo>
                      <a:pt x="464" y="273"/>
                      <a:pt x="486" y="277"/>
                      <a:pt x="509" y="270"/>
                    </a:cubicBezTo>
                    <a:cubicBezTo>
                      <a:pt x="529" y="265"/>
                      <a:pt x="544" y="253"/>
                      <a:pt x="549" y="231"/>
                    </a:cubicBezTo>
                    <a:cubicBezTo>
                      <a:pt x="553" y="209"/>
                      <a:pt x="546" y="191"/>
                      <a:pt x="528" y="178"/>
                    </a:cubicBezTo>
                    <a:cubicBezTo>
                      <a:pt x="517" y="169"/>
                      <a:pt x="505" y="162"/>
                      <a:pt x="493" y="155"/>
                    </a:cubicBezTo>
                    <a:cubicBezTo>
                      <a:pt x="485" y="151"/>
                      <a:pt x="477" y="146"/>
                      <a:pt x="471" y="139"/>
                    </a:cubicBezTo>
                    <a:cubicBezTo>
                      <a:pt x="456" y="124"/>
                      <a:pt x="461" y="100"/>
                      <a:pt x="480" y="90"/>
                    </a:cubicBezTo>
                    <a:cubicBezTo>
                      <a:pt x="485" y="88"/>
                      <a:pt x="490" y="87"/>
                      <a:pt x="496" y="86"/>
                    </a:cubicBezTo>
                    <a:cubicBezTo>
                      <a:pt x="512" y="86"/>
                      <a:pt x="527" y="88"/>
                      <a:pt x="541" y="99"/>
                    </a:cubicBezTo>
                    <a:cubicBezTo>
                      <a:pt x="541" y="90"/>
                      <a:pt x="541" y="82"/>
                      <a:pt x="541" y="75"/>
                    </a:cubicBezTo>
                    <a:close/>
                    <a:moveTo>
                      <a:pt x="1488" y="129"/>
                    </a:moveTo>
                    <a:cubicBezTo>
                      <a:pt x="1488" y="127"/>
                      <a:pt x="1488" y="125"/>
                      <a:pt x="1484" y="126"/>
                    </a:cubicBezTo>
                    <a:cubicBezTo>
                      <a:pt x="1479" y="126"/>
                      <a:pt x="1474" y="126"/>
                      <a:pt x="1468" y="126"/>
                    </a:cubicBezTo>
                    <a:cubicBezTo>
                      <a:pt x="1465" y="126"/>
                      <a:pt x="1465" y="127"/>
                      <a:pt x="1465" y="129"/>
                    </a:cubicBezTo>
                    <a:cubicBezTo>
                      <a:pt x="1465" y="175"/>
                      <a:pt x="1465" y="220"/>
                      <a:pt x="1465" y="266"/>
                    </a:cubicBezTo>
                    <a:cubicBezTo>
                      <a:pt x="1465" y="269"/>
                      <a:pt x="1466" y="270"/>
                      <a:pt x="1469" y="270"/>
                    </a:cubicBezTo>
                    <a:cubicBezTo>
                      <a:pt x="1474" y="270"/>
                      <a:pt x="1478" y="270"/>
                      <a:pt x="1483" y="270"/>
                    </a:cubicBezTo>
                    <a:cubicBezTo>
                      <a:pt x="1487" y="270"/>
                      <a:pt x="1488" y="269"/>
                      <a:pt x="1488" y="265"/>
                    </a:cubicBezTo>
                    <a:cubicBezTo>
                      <a:pt x="1488" y="239"/>
                      <a:pt x="1488" y="212"/>
                      <a:pt x="1488" y="186"/>
                    </a:cubicBezTo>
                    <a:cubicBezTo>
                      <a:pt x="1488" y="172"/>
                      <a:pt x="1493" y="160"/>
                      <a:pt x="1504" y="151"/>
                    </a:cubicBezTo>
                    <a:cubicBezTo>
                      <a:pt x="1525" y="133"/>
                      <a:pt x="1553" y="142"/>
                      <a:pt x="1559" y="169"/>
                    </a:cubicBezTo>
                    <a:cubicBezTo>
                      <a:pt x="1561" y="175"/>
                      <a:pt x="1561" y="182"/>
                      <a:pt x="1561" y="188"/>
                    </a:cubicBezTo>
                    <a:cubicBezTo>
                      <a:pt x="1561" y="214"/>
                      <a:pt x="1561" y="239"/>
                      <a:pt x="1561" y="265"/>
                    </a:cubicBezTo>
                    <a:cubicBezTo>
                      <a:pt x="1561" y="269"/>
                      <a:pt x="1562" y="270"/>
                      <a:pt x="1566" y="270"/>
                    </a:cubicBezTo>
                    <a:cubicBezTo>
                      <a:pt x="1571" y="270"/>
                      <a:pt x="1575" y="270"/>
                      <a:pt x="1580" y="270"/>
                    </a:cubicBezTo>
                    <a:cubicBezTo>
                      <a:pt x="1584" y="270"/>
                      <a:pt x="1584" y="269"/>
                      <a:pt x="1584" y="265"/>
                    </a:cubicBezTo>
                    <a:cubicBezTo>
                      <a:pt x="1584" y="237"/>
                      <a:pt x="1584" y="209"/>
                      <a:pt x="1584" y="180"/>
                    </a:cubicBezTo>
                    <a:cubicBezTo>
                      <a:pt x="1584" y="175"/>
                      <a:pt x="1584" y="169"/>
                      <a:pt x="1583" y="164"/>
                    </a:cubicBezTo>
                    <a:cubicBezTo>
                      <a:pt x="1577" y="131"/>
                      <a:pt x="1555" y="118"/>
                      <a:pt x="1524" y="123"/>
                    </a:cubicBezTo>
                    <a:cubicBezTo>
                      <a:pt x="1508" y="126"/>
                      <a:pt x="1497" y="135"/>
                      <a:pt x="1488" y="149"/>
                    </a:cubicBezTo>
                    <a:cubicBezTo>
                      <a:pt x="1488" y="142"/>
                      <a:pt x="1488" y="136"/>
                      <a:pt x="1488" y="129"/>
                    </a:cubicBezTo>
                    <a:close/>
                    <a:moveTo>
                      <a:pt x="1681" y="252"/>
                    </a:moveTo>
                    <a:cubicBezTo>
                      <a:pt x="1667" y="257"/>
                      <a:pt x="1654" y="251"/>
                      <a:pt x="1651" y="237"/>
                    </a:cubicBezTo>
                    <a:cubicBezTo>
                      <a:pt x="1651" y="234"/>
                      <a:pt x="1651" y="232"/>
                      <a:pt x="1651" y="229"/>
                    </a:cubicBezTo>
                    <a:cubicBezTo>
                      <a:pt x="1651" y="203"/>
                      <a:pt x="1651" y="176"/>
                      <a:pt x="1651" y="150"/>
                    </a:cubicBezTo>
                    <a:cubicBezTo>
                      <a:pt x="1651" y="147"/>
                      <a:pt x="1651" y="146"/>
                      <a:pt x="1655" y="146"/>
                    </a:cubicBezTo>
                    <a:cubicBezTo>
                      <a:pt x="1664" y="146"/>
                      <a:pt x="1674" y="146"/>
                      <a:pt x="1683" y="146"/>
                    </a:cubicBezTo>
                    <a:cubicBezTo>
                      <a:pt x="1686" y="146"/>
                      <a:pt x="1687" y="145"/>
                      <a:pt x="1687" y="142"/>
                    </a:cubicBezTo>
                    <a:cubicBezTo>
                      <a:pt x="1687" y="138"/>
                      <a:pt x="1687" y="134"/>
                      <a:pt x="1687" y="129"/>
                    </a:cubicBezTo>
                    <a:cubicBezTo>
                      <a:pt x="1687" y="126"/>
                      <a:pt x="1686" y="126"/>
                      <a:pt x="1683" y="126"/>
                    </a:cubicBezTo>
                    <a:cubicBezTo>
                      <a:pt x="1674" y="126"/>
                      <a:pt x="1664" y="126"/>
                      <a:pt x="1655" y="126"/>
                    </a:cubicBezTo>
                    <a:cubicBezTo>
                      <a:pt x="1651" y="126"/>
                      <a:pt x="1650" y="125"/>
                      <a:pt x="1651" y="121"/>
                    </a:cubicBezTo>
                    <a:cubicBezTo>
                      <a:pt x="1651" y="110"/>
                      <a:pt x="1651" y="99"/>
                      <a:pt x="1651" y="87"/>
                    </a:cubicBezTo>
                    <a:cubicBezTo>
                      <a:pt x="1651" y="85"/>
                      <a:pt x="1651" y="83"/>
                      <a:pt x="1647" y="84"/>
                    </a:cubicBezTo>
                    <a:cubicBezTo>
                      <a:pt x="1641" y="86"/>
                      <a:pt x="1636" y="88"/>
                      <a:pt x="1630" y="90"/>
                    </a:cubicBezTo>
                    <a:cubicBezTo>
                      <a:pt x="1628" y="90"/>
                      <a:pt x="1627" y="91"/>
                      <a:pt x="1627" y="94"/>
                    </a:cubicBezTo>
                    <a:cubicBezTo>
                      <a:pt x="1627" y="103"/>
                      <a:pt x="1627" y="113"/>
                      <a:pt x="1627" y="122"/>
                    </a:cubicBezTo>
                    <a:cubicBezTo>
                      <a:pt x="1627" y="125"/>
                      <a:pt x="1627" y="126"/>
                      <a:pt x="1624" y="126"/>
                    </a:cubicBezTo>
                    <a:cubicBezTo>
                      <a:pt x="1618" y="126"/>
                      <a:pt x="1612" y="126"/>
                      <a:pt x="1606" y="126"/>
                    </a:cubicBezTo>
                    <a:cubicBezTo>
                      <a:pt x="1603" y="126"/>
                      <a:pt x="1602" y="126"/>
                      <a:pt x="1602" y="129"/>
                    </a:cubicBezTo>
                    <a:cubicBezTo>
                      <a:pt x="1602" y="133"/>
                      <a:pt x="1602" y="138"/>
                      <a:pt x="1602" y="143"/>
                    </a:cubicBezTo>
                    <a:cubicBezTo>
                      <a:pt x="1602" y="145"/>
                      <a:pt x="1603" y="146"/>
                      <a:pt x="1605" y="146"/>
                    </a:cubicBezTo>
                    <a:cubicBezTo>
                      <a:pt x="1611" y="146"/>
                      <a:pt x="1617" y="146"/>
                      <a:pt x="1623" y="146"/>
                    </a:cubicBezTo>
                    <a:cubicBezTo>
                      <a:pt x="1626" y="145"/>
                      <a:pt x="1627" y="146"/>
                      <a:pt x="1627" y="150"/>
                    </a:cubicBezTo>
                    <a:cubicBezTo>
                      <a:pt x="1627" y="178"/>
                      <a:pt x="1627" y="206"/>
                      <a:pt x="1627" y="233"/>
                    </a:cubicBezTo>
                    <a:cubicBezTo>
                      <a:pt x="1627" y="244"/>
                      <a:pt x="1630" y="254"/>
                      <a:pt x="1637" y="263"/>
                    </a:cubicBezTo>
                    <a:cubicBezTo>
                      <a:pt x="1648" y="276"/>
                      <a:pt x="1673" y="275"/>
                      <a:pt x="1685" y="270"/>
                    </a:cubicBezTo>
                    <a:cubicBezTo>
                      <a:pt x="1686" y="269"/>
                      <a:pt x="1687" y="268"/>
                      <a:pt x="1687" y="266"/>
                    </a:cubicBezTo>
                    <a:cubicBezTo>
                      <a:pt x="1687" y="261"/>
                      <a:pt x="1687" y="255"/>
                      <a:pt x="1687" y="249"/>
                    </a:cubicBezTo>
                    <a:cubicBezTo>
                      <a:pt x="1685" y="250"/>
                      <a:pt x="1683" y="251"/>
                      <a:pt x="1681" y="252"/>
                    </a:cubicBezTo>
                    <a:close/>
                    <a:moveTo>
                      <a:pt x="947" y="130"/>
                    </a:moveTo>
                    <a:cubicBezTo>
                      <a:pt x="948" y="125"/>
                      <a:pt x="945" y="124"/>
                      <a:pt x="941" y="124"/>
                    </a:cubicBezTo>
                    <a:cubicBezTo>
                      <a:pt x="921" y="121"/>
                      <a:pt x="906" y="130"/>
                      <a:pt x="898" y="149"/>
                    </a:cubicBezTo>
                    <a:cubicBezTo>
                      <a:pt x="897" y="151"/>
                      <a:pt x="897" y="153"/>
                      <a:pt x="895" y="154"/>
                    </a:cubicBezTo>
                    <a:cubicBezTo>
                      <a:pt x="895" y="145"/>
                      <a:pt x="895" y="137"/>
                      <a:pt x="895" y="129"/>
                    </a:cubicBezTo>
                    <a:cubicBezTo>
                      <a:pt x="895" y="127"/>
                      <a:pt x="895" y="126"/>
                      <a:pt x="892" y="126"/>
                    </a:cubicBezTo>
                    <a:cubicBezTo>
                      <a:pt x="886" y="126"/>
                      <a:pt x="880" y="126"/>
                      <a:pt x="875" y="126"/>
                    </a:cubicBezTo>
                    <a:cubicBezTo>
                      <a:pt x="872" y="126"/>
                      <a:pt x="872" y="127"/>
                      <a:pt x="872" y="129"/>
                    </a:cubicBezTo>
                    <a:cubicBezTo>
                      <a:pt x="872" y="134"/>
                      <a:pt x="872" y="140"/>
                      <a:pt x="872" y="146"/>
                    </a:cubicBezTo>
                    <a:cubicBezTo>
                      <a:pt x="872" y="185"/>
                      <a:pt x="872" y="225"/>
                      <a:pt x="872" y="265"/>
                    </a:cubicBezTo>
                    <a:cubicBezTo>
                      <a:pt x="872" y="269"/>
                      <a:pt x="872" y="270"/>
                      <a:pt x="876" y="270"/>
                    </a:cubicBezTo>
                    <a:cubicBezTo>
                      <a:pt x="880" y="270"/>
                      <a:pt x="884" y="270"/>
                      <a:pt x="888" y="270"/>
                    </a:cubicBezTo>
                    <a:cubicBezTo>
                      <a:pt x="895" y="270"/>
                      <a:pt x="895" y="270"/>
                      <a:pt x="895" y="263"/>
                    </a:cubicBezTo>
                    <a:cubicBezTo>
                      <a:pt x="895" y="241"/>
                      <a:pt x="895" y="218"/>
                      <a:pt x="895" y="195"/>
                    </a:cubicBezTo>
                    <a:cubicBezTo>
                      <a:pt x="895" y="185"/>
                      <a:pt x="897" y="175"/>
                      <a:pt x="901" y="165"/>
                    </a:cubicBezTo>
                    <a:cubicBezTo>
                      <a:pt x="906" y="156"/>
                      <a:pt x="912" y="147"/>
                      <a:pt x="924" y="145"/>
                    </a:cubicBezTo>
                    <a:cubicBezTo>
                      <a:pt x="932" y="144"/>
                      <a:pt x="939" y="145"/>
                      <a:pt x="947" y="149"/>
                    </a:cubicBezTo>
                    <a:cubicBezTo>
                      <a:pt x="947" y="142"/>
                      <a:pt x="947" y="136"/>
                      <a:pt x="947" y="130"/>
                    </a:cubicBezTo>
                    <a:close/>
                    <a:moveTo>
                      <a:pt x="1426" y="131"/>
                    </a:moveTo>
                    <a:cubicBezTo>
                      <a:pt x="1426" y="126"/>
                      <a:pt x="1425" y="125"/>
                      <a:pt x="1421" y="126"/>
                    </a:cubicBezTo>
                    <a:cubicBezTo>
                      <a:pt x="1416" y="126"/>
                      <a:pt x="1412" y="126"/>
                      <a:pt x="1408" y="126"/>
                    </a:cubicBezTo>
                    <a:cubicBezTo>
                      <a:pt x="1404" y="125"/>
                      <a:pt x="1402" y="126"/>
                      <a:pt x="1403" y="130"/>
                    </a:cubicBezTo>
                    <a:cubicBezTo>
                      <a:pt x="1403" y="151"/>
                      <a:pt x="1403" y="171"/>
                      <a:pt x="1403" y="192"/>
                    </a:cubicBezTo>
                    <a:cubicBezTo>
                      <a:pt x="1403" y="216"/>
                      <a:pt x="1403" y="240"/>
                      <a:pt x="1403" y="265"/>
                    </a:cubicBezTo>
                    <a:cubicBezTo>
                      <a:pt x="1402" y="269"/>
                      <a:pt x="1404" y="270"/>
                      <a:pt x="1408" y="270"/>
                    </a:cubicBezTo>
                    <a:cubicBezTo>
                      <a:pt x="1412" y="270"/>
                      <a:pt x="1417" y="270"/>
                      <a:pt x="1421" y="270"/>
                    </a:cubicBezTo>
                    <a:cubicBezTo>
                      <a:pt x="1425" y="270"/>
                      <a:pt x="1426" y="269"/>
                      <a:pt x="1426" y="265"/>
                    </a:cubicBezTo>
                    <a:cubicBezTo>
                      <a:pt x="1426" y="243"/>
                      <a:pt x="1426" y="220"/>
                      <a:pt x="1426" y="198"/>
                    </a:cubicBezTo>
                    <a:cubicBezTo>
                      <a:pt x="1426" y="176"/>
                      <a:pt x="1426" y="153"/>
                      <a:pt x="1426" y="131"/>
                    </a:cubicBezTo>
                    <a:close/>
                    <a:moveTo>
                      <a:pt x="1430" y="74"/>
                    </a:moveTo>
                    <a:cubicBezTo>
                      <a:pt x="1430" y="66"/>
                      <a:pt x="1423" y="59"/>
                      <a:pt x="1415" y="59"/>
                    </a:cubicBezTo>
                    <a:cubicBezTo>
                      <a:pt x="1406" y="59"/>
                      <a:pt x="1399" y="66"/>
                      <a:pt x="1399" y="74"/>
                    </a:cubicBezTo>
                    <a:cubicBezTo>
                      <a:pt x="1399" y="83"/>
                      <a:pt x="1406" y="89"/>
                      <a:pt x="1415" y="89"/>
                    </a:cubicBezTo>
                    <a:cubicBezTo>
                      <a:pt x="1423" y="89"/>
                      <a:pt x="1430" y="83"/>
                      <a:pt x="1430" y="74"/>
                    </a:cubicBezTo>
                    <a:close/>
                    <a:moveTo>
                      <a:pt x="197" y="332"/>
                    </a:moveTo>
                    <a:cubicBezTo>
                      <a:pt x="197" y="336"/>
                      <a:pt x="196" y="337"/>
                      <a:pt x="192" y="336"/>
                    </a:cubicBezTo>
                    <a:cubicBezTo>
                      <a:pt x="129" y="325"/>
                      <a:pt x="66" y="314"/>
                      <a:pt x="4" y="303"/>
                    </a:cubicBezTo>
                    <a:cubicBezTo>
                      <a:pt x="0" y="302"/>
                      <a:pt x="0" y="301"/>
                      <a:pt x="0" y="298"/>
                    </a:cubicBezTo>
                    <a:cubicBezTo>
                      <a:pt x="0" y="212"/>
                      <a:pt x="0" y="126"/>
                      <a:pt x="0" y="39"/>
                    </a:cubicBezTo>
                    <a:cubicBezTo>
                      <a:pt x="0" y="36"/>
                      <a:pt x="1" y="35"/>
                      <a:pt x="4" y="35"/>
                    </a:cubicBezTo>
                    <a:cubicBezTo>
                      <a:pt x="67" y="23"/>
                      <a:pt x="129" y="12"/>
                      <a:pt x="191" y="1"/>
                    </a:cubicBezTo>
                    <a:cubicBezTo>
                      <a:pt x="196" y="0"/>
                      <a:pt x="197" y="1"/>
                      <a:pt x="197" y="6"/>
                    </a:cubicBezTo>
                    <a:cubicBezTo>
                      <a:pt x="197" y="60"/>
                      <a:pt x="197" y="114"/>
                      <a:pt x="197" y="169"/>
                    </a:cubicBezTo>
                    <a:cubicBezTo>
                      <a:pt x="197" y="223"/>
                      <a:pt x="197" y="278"/>
                      <a:pt x="197" y="332"/>
                    </a:cubicBezTo>
                    <a:close/>
                    <a:moveTo>
                      <a:pt x="106" y="164"/>
                    </a:moveTo>
                    <a:cubicBezTo>
                      <a:pt x="100" y="160"/>
                      <a:pt x="94" y="156"/>
                      <a:pt x="87" y="151"/>
                    </a:cubicBezTo>
                    <a:cubicBezTo>
                      <a:pt x="80" y="146"/>
                      <a:pt x="78" y="138"/>
                      <a:pt x="81" y="131"/>
                    </a:cubicBezTo>
                    <a:cubicBezTo>
                      <a:pt x="84" y="124"/>
                      <a:pt x="91" y="121"/>
                      <a:pt x="100" y="122"/>
                    </a:cubicBezTo>
                    <a:cubicBezTo>
                      <a:pt x="107" y="123"/>
                      <a:pt x="114" y="126"/>
                      <a:pt x="120" y="130"/>
                    </a:cubicBezTo>
                    <a:cubicBezTo>
                      <a:pt x="120" y="121"/>
                      <a:pt x="120" y="113"/>
                      <a:pt x="120" y="104"/>
                    </a:cubicBezTo>
                    <a:cubicBezTo>
                      <a:pt x="120" y="102"/>
                      <a:pt x="119" y="101"/>
                      <a:pt x="117" y="101"/>
                    </a:cubicBezTo>
                    <a:cubicBezTo>
                      <a:pt x="105" y="97"/>
                      <a:pt x="93" y="97"/>
                      <a:pt x="82" y="101"/>
                    </a:cubicBezTo>
                    <a:cubicBezTo>
                      <a:pt x="56" y="109"/>
                      <a:pt x="47" y="143"/>
                      <a:pt x="64" y="166"/>
                    </a:cubicBezTo>
                    <a:cubicBezTo>
                      <a:pt x="69" y="172"/>
                      <a:pt x="75" y="176"/>
                      <a:pt x="81" y="180"/>
                    </a:cubicBezTo>
                    <a:cubicBezTo>
                      <a:pt x="87" y="184"/>
                      <a:pt x="93" y="187"/>
                      <a:pt x="96" y="193"/>
                    </a:cubicBezTo>
                    <a:cubicBezTo>
                      <a:pt x="99" y="198"/>
                      <a:pt x="100" y="203"/>
                      <a:pt x="97" y="209"/>
                    </a:cubicBezTo>
                    <a:cubicBezTo>
                      <a:pt x="95" y="214"/>
                      <a:pt x="90" y="215"/>
                      <a:pt x="84" y="215"/>
                    </a:cubicBezTo>
                    <a:cubicBezTo>
                      <a:pt x="81" y="215"/>
                      <a:pt x="78" y="215"/>
                      <a:pt x="75" y="214"/>
                    </a:cubicBezTo>
                    <a:cubicBezTo>
                      <a:pt x="68" y="212"/>
                      <a:pt x="62" y="207"/>
                      <a:pt x="56" y="201"/>
                    </a:cubicBezTo>
                    <a:cubicBezTo>
                      <a:pt x="56" y="210"/>
                      <a:pt x="57" y="218"/>
                      <a:pt x="56" y="226"/>
                    </a:cubicBezTo>
                    <a:cubicBezTo>
                      <a:pt x="56" y="229"/>
                      <a:pt x="57" y="231"/>
                      <a:pt x="60" y="233"/>
                    </a:cubicBezTo>
                    <a:cubicBezTo>
                      <a:pt x="68" y="237"/>
                      <a:pt x="77" y="239"/>
                      <a:pt x="86" y="239"/>
                    </a:cubicBezTo>
                    <a:cubicBezTo>
                      <a:pt x="105" y="240"/>
                      <a:pt x="119" y="230"/>
                      <a:pt x="123" y="213"/>
                    </a:cubicBezTo>
                    <a:cubicBezTo>
                      <a:pt x="128" y="193"/>
                      <a:pt x="123" y="176"/>
                      <a:pt x="106" y="164"/>
                    </a:cubicBezTo>
                    <a:close/>
                    <a:moveTo>
                      <a:pt x="1167" y="193"/>
                    </a:moveTo>
                    <a:cubicBezTo>
                      <a:pt x="1155" y="194"/>
                      <a:pt x="1144" y="194"/>
                      <a:pt x="1132" y="194"/>
                    </a:cubicBezTo>
                    <a:cubicBezTo>
                      <a:pt x="1129" y="194"/>
                      <a:pt x="1128" y="194"/>
                      <a:pt x="1128" y="198"/>
                    </a:cubicBezTo>
                    <a:cubicBezTo>
                      <a:pt x="1128" y="220"/>
                      <a:pt x="1128" y="243"/>
                      <a:pt x="1128" y="265"/>
                    </a:cubicBezTo>
                    <a:cubicBezTo>
                      <a:pt x="1128" y="269"/>
                      <a:pt x="1127" y="270"/>
                      <a:pt x="1123" y="270"/>
                    </a:cubicBezTo>
                    <a:cubicBezTo>
                      <a:pt x="1118" y="270"/>
                      <a:pt x="1113" y="270"/>
                      <a:pt x="1108" y="270"/>
                    </a:cubicBezTo>
                    <a:cubicBezTo>
                      <a:pt x="1104" y="270"/>
                      <a:pt x="1104" y="268"/>
                      <a:pt x="1104" y="265"/>
                    </a:cubicBezTo>
                    <a:cubicBezTo>
                      <a:pt x="1104" y="235"/>
                      <a:pt x="1104" y="206"/>
                      <a:pt x="1104" y="176"/>
                    </a:cubicBezTo>
                    <a:cubicBezTo>
                      <a:pt x="1104" y="173"/>
                      <a:pt x="1104" y="171"/>
                      <a:pt x="1104" y="169"/>
                    </a:cubicBezTo>
                    <a:cubicBezTo>
                      <a:pt x="1104" y="137"/>
                      <a:pt x="1104" y="105"/>
                      <a:pt x="1104" y="73"/>
                    </a:cubicBezTo>
                    <a:cubicBezTo>
                      <a:pt x="1104" y="69"/>
                      <a:pt x="1105" y="68"/>
                      <a:pt x="1109" y="68"/>
                    </a:cubicBezTo>
                    <a:cubicBezTo>
                      <a:pt x="1127" y="68"/>
                      <a:pt x="1144" y="68"/>
                      <a:pt x="1162" y="68"/>
                    </a:cubicBezTo>
                    <a:cubicBezTo>
                      <a:pt x="1179" y="68"/>
                      <a:pt x="1196" y="72"/>
                      <a:pt x="1209" y="83"/>
                    </a:cubicBezTo>
                    <a:cubicBezTo>
                      <a:pt x="1222" y="94"/>
                      <a:pt x="1227" y="108"/>
                      <a:pt x="1228" y="123"/>
                    </a:cubicBezTo>
                    <a:cubicBezTo>
                      <a:pt x="1230" y="161"/>
                      <a:pt x="1205" y="189"/>
                      <a:pt x="1167" y="193"/>
                    </a:cubicBezTo>
                    <a:close/>
                    <a:moveTo>
                      <a:pt x="1170" y="91"/>
                    </a:moveTo>
                    <a:cubicBezTo>
                      <a:pt x="1158" y="89"/>
                      <a:pt x="1145" y="90"/>
                      <a:pt x="1132" y="90"/>
                    </a:cubicBezTo>
                    <a:cubicBezTo>
                      <a:pt x="1129" y="90"/>
                      <a:pt x="1128" y="90"/>
                      <a:pt x="1128" y="94"/>
                    </a:cubicBezTo>
                    <a:cubicBezTo>
                      <a:pt x="1128" y="106"/>
                      <a:pt x="1128" y="119"/>
                      <a:pt x="1128" y="131"/>
                    </a:cubicBezTo>
                    <a:cubicBezTo>
                      <a:pt x="1128" y="143"/>
                      <a:pt x="1128" y="156"/>
                      <a:pt x="1128" y="168"/>
                    </a:cubicBezTo>
                    <a:cubicBezTo>
                      <a:pt x="1128" y="171"/>
                      <a:pt x="1129" y="172"/>
                      <a:pt x="1132" y="172"/>
                    </a:cubicBezTo>
                    <a:cubicBezTo>
                      <a:pt x="1141" y="172"/>
                      <a:pt x="1151" y="172"/>
                      <a:pt x="1161" y="172"/>
                    </a:cubicBezTo>
                    <a:cubicBezTo>
                      <a:pt x="1185" y="170"/>
                      <a:pt x="1200" y="158"/>
                      <a:pt x="1202" y="136"/>
                    </a:cubicBezTo>
                    <a:cubicBezTo>
                      <a:pt x="1205" y="113"/>
                      <a:pt x="1196" y="95"/>
                      <a:pt x="1170" y="91"/>
                    </a:cubicBezTo>
                    <a:close/>
                    <a:moveTo>
                      <a:pt x="1075" y="201"/>
                    </a:moveTo>
                    <a:cubicBezTo>
                      <a:pt x="1075" y="205"/>
                      <a:pt x="1073" y="204"/>
                      <a:pt x="1071" y="204"/>
                    </a:cubicBezTo>
                    <a:cubicBezTo>
                      <a:pt x="1040" y="204"/>
                      <a:pt x="1010" y="204"/>
                      <a:pt x="980" y="204"/>
                    </a:cubicBezTo>
                    <a:cubicBezTo>
                      <a:pt x="973" y="204"/>
                      <a:pt x="974" y="204"/>
                      <a:pt x="974" y="210"/>
                    </a:cubicBezTo>
                    <a:cubicBezTo>
                      <a:pt x="975" y="223"/>
                      <a:pt x="979" y="234"/>
                      <a:pt x="989" y="243"/>
                    </a:cubicBezTo>
                    <a:cubicBezTo>
                      <a:pt x="1001" y="253"/>
                      <a:pt x="1015" y="255"/>
                      <a:pt x="1030" y="253"/>
                    </a:cubicBezTo>
                    <a:cubicBezTo>
                      <a:pt x="1043" y="251"/>
                      <a:pt x="1054" y="246"/>
                      <a:pt x="1065" y="238"/>
                    </a:cubicBezTo>
                    <a:cubicBezTo>
                      <a:pt x="1065" y="245"/>
                      <a:pt x="1065" y="251"/>
                      <a:pt x="1065" y="257"/>
                    </a:cubicBezTo>
                    <a:cubicBezTo>
                      <a:pt x="1065" y="260"/>
                      <a:pt x="1063" y="261"/>
                      <a:pt x="1061" y="262"/>
                    </a:cubicBezTo>
                    <a:cubicBezTo>
                      <a:pt x="1044" y="273"/>
                      <a:pt x="1024" y="275"/>
                      <a:pt x="1004" y="273"/>
                    </a:cubicBezTo>
                    <a:cubicBezTo>
                      <a:pt x="986" y="271"/>
                      <a:pt x="972" y="262"/>
                      <a:pt x="962" y="247"/>
                    </a:cubicBezTo>
                    <a:cubicBezTo>
                      <a:pt x="956" y="237"/>
                      <a:pt x="952" y="227"/>
                      <a:pt x="951" y="216"/>
                    </a:cubicBezTo>
                    <a:cubicBezTo>
                      <a:pt x="948" y="195"/>
                      <a:pt x="950" y="175"/>
                      <a:pt x="960" y="156"/>
                    </a:cubicBezTo>
                    <a:cubicBezTo>
                      <a:pt x="980" y="119"/>
                      <a:pt x="1020" y="116"/>
                      <a:pt x="1045" y="129"/>
                    </a:cubicBezTo>
                    <a:cubicBezTo>
                      <a:pt x="1061" y="137"/>
                      <a:pt x="1069" y="152"/>
                      <a:pt x="1073" y="169"/>
                    </a:cubicBezTo>
                    <a:cubicBezTo>
                      <a:pt x="1075" y="180"/>
                      <a:pt x="1075" y="190"/>
                      <a:pt x="1075" y="201"/>
                    </a:cubicBezTo>
                    <a:close/>
                    <a:moveTo>
                      <a:pt x="1051" y="181"/>
                    </a:moveTo>
                    <a:cubicBezTo>
                      <a:pt x="1051" y="152"/>
                      <a:pt x="1031" y="137"/>
                      <a:pt x="1006" y="143"/>
                    </a:cubicBezTo>
                    <a:cubicBezTo>
                      <a:pt x="989" y="147"/>
                      <a:pt x="978" y="163"/>
                      <a:pt x="974" y="181"/>
                    </a:cubicBezTo>
                    <a:cubicBezTo>
                      <a:pt x="974" y="185"/>
                      <a:pt x="976" y="184"/>
                      <a:pt x="978" y="184"/>
                    </a:cubicBezTo>
                    <a:cubicBezTo>
                      <a:pt x="989" y="184"/>
                      <a:pt x="1001" y="184"/>
                      <a:pt x="1012" y="184"/>
                    </a:cubicBezTo>
                    <a:cubicBezTo>
                      <a:pt x="1024" y="184"/>
                      <a:pt x="1036" y="184"/>
                      <a:pt x="1047" y="184"/>
                    </a:cubicBezTo>
                    <a:cubicBezTo>
                      <a:pt x="1049" y="184"/>
                      <a:pt x="1051" y="185"/>
                      <a:pt x="1051" y="181"/>
                    </a:cubicBezTo>
                    <a:close/>
                    <a:moveTo>
                      <a:pt x="1375" y="196"/>
                    </a:moveTo>
                    <a:cubicBezTo>
                      <a:pt x="1375" y="212"/>
                      <a:pt x="1373" y="225"/>
                      <a:pt x="1366" y="238"/>
                    </a:cubicBezTo>
                    <a:cubicBezTo>
                      <a:pt x="1351" y="264"/>
                      <a:pt x="1328" y="274"/>
                      <a:pt x="1299" y="273"/>
                    </a:cubicBezTo>
                    <a:cubicBezTo>
                      <a:pt x="1261" y="272"/>
                      <a:pt x="1235" y="245"/>
                      <a:pt x="1233" y="205"/>
                    </a:cubicBezTo>
                    <a:cubicBezTo>
                      <a:pt x="1233" y="192"/>
                      <a:pt x="1234" y="179"/>
                      <a:pt x="1238" y="167"/>
                    </a:cubicBezTo>
                    <a:cubicBezTo>
                      <a:pt x="1248" y="139"/>
                      <a:pt x="1272" y="123"/>
                      <a:pt x="1303" y="122"/>
                    </a:cubicBezTo>
                    <a:cubicBezTo>
                      <a:pt x="1317" y="122"/>
                      <a:pt x="1330" y="124"/>
                      <a:pt x="1343" y="131"/>
                    </a:cubicBezTo>
                    <a:cubicBezTo>
                      <a:pt x="1361" y="142"/>
                      <a:pt x="1370" y="159"/>
                      <a:pt x="1374" y="180"/>
                    </a:cubicBezTo>
                    <a:cubicBezTo>
                      <a:pt x="1375" y="186"/>
                      <a:pt x="1375" y="191"/>
                      <a:pt x="1375" y="196"/>
                    </a:cubicBezTo>
                    <a:close/>
                    <a:moveTo>
                      <a:pt x="1351" y="197"/>
                    </a:moveTo>
                    <a:cubicBezTo>
                      <a:pt x="1351" y="191"/>
                      <a:pt x="1350" y="184"/>
                      <a:pt x="1349" y="177"/>
                    </a:cubicBezTo>
                    <a:cubicBezTo>
                      <a:pt x="1344" y="156"/>
                      <a:pt x="1330" y="144"/>
                      <a:pt x="1309" y="142"/>
                    </a:cubicBezTo>
                    <a:cubicBezTo>
                      <a:pt x="1287" y="141"/>
                      <a:pt x="1269" y="151"/>
                      <a:pt x="1261" y="171"/>
                    </a:cubicBezTo>
                    <a:cubicBezTo>
                      <a:pt x="1257" y="183"/>
                      <a:pt x="1256" y="195"/>
                      <a:pt x="1257" y="208"/>
                    </a:cubicBezTo>
                    <a:cubicBezTo>
                      <a:pt x="1260" y="238"/>
                      <a:pt x="1280" y="255"/>
                      <a:pt x="1310" y="253"/>
                    </a:cubicBezTo>
                    <a:cubicBezTo>
                      <a:pt x="1326" y="252"/>
                      <a:pt x="1338" y="245"/>
                      <a:pt x="1345" y="230"/>
                    </a:cubicBezTo>
                    <a:cubicBezTo>
                      <a:pt x="1350" y="220"/>
                      <a:pt x="1351" y="209"/>
                      <a:pt x="1351" y="197"/>
                    </a:cubicBezTo>
                    <a:close/>
                    <a:moveTo>
                      <a:pt x="836" y="265"/>
                    </a:moveTo>
                    <a:cubicBezTo>
                      <a:pt x="836" y="269"/>
                      <a:pt x="836" y="270"/>
                      <a:pt x="832" y="270"/>
                    </a:cubicBezTo>
                    <a:cubicBezTo>
                      <a:pt x="827" y="270"/>
                      <a:pt x="822" y="270"/>
                      <a:pt x="817" y="270"/>
                    </a:cubicBezTo>
                    <a:cubicBezTo>
                      <a:pt x="814" y="270"/>
                      <a:pt x="813" y="269"/>
                      <a:pt x="813" y="266"/>
                    </a:cubicBezTo>
                    <a:cubicBezTo>
                      <a:pt x="813" y="260"/>
                      <a:pt x="813" y="254"/>
                      <a:pt x="813" y="247"/>
                    </a:cubicBezTo>
                    <a:cubicBezTo>
                      <a:pt x="812" y="249"/>
                      <a:pt x="812" y="249"/>
                      <a:pt x="811" y="250"/>
                    </a:cubicBezTo>
                    <a:cubicBezTo>
                      <a:pt x="797" y="271"/>
                      <a:pt x="775" y="279"/>
                      <a:pt x="751" y="271"/>
                    </a:cubicBezTo>
                    <a:cubicBezTo>
                      <a:pt x="732" y="265"/>
                      <a:pt x="721" y="249"/>
                      <a:pt x="722" y="228"/>
                    </a:cubicBezTo>
                    <a:cubicBezTo>
                      <a:pt x="724" y="205"/>
                      <a:pt x="737" y="191"/>
                      <a:pt x="761" y="186"/>
                    </a:cubicBezTo>
                    <a:cubicBezTo>
                      <a:pt x="776" y="183"/>
                      <a:pt x="792" y="182"/>
                      <a:pt x="807" y="179"/>
                    </a:cubicBezTo>
                    <a:cubicBezTo>
                      <a:pt x="813" y="178"/>
                      <a:pt x="813" y="179"/>
                      <a:pt x="813" y="172"/>
                    </a:cubicBezTo>
                    <a:cubicBezTo>
                      <a:pt x="813" y="170"/>
                      <a:pt x="812" y="167"/>
                      <a:pt x="812" y="165"/>
                    </a:cubicBezTo>
                    <a:cubicBezTo>
                      <a:pt x="808" y="148"/>
                      <a:pt x="796" y="140"/>
                      <a:pt x="777" y="142"/>
                    </a:cubicBezTo>
                    <a:cubicBezTo>
                      <a:pt x="763" y="144"/>
                      <a:pt x="751" y="149"/>
                      <a:pt x="740" y="157"/>
                    </a:cubicBezTo>
                    <a:cubicBezTo>
                      <a:pt x="739" y="158"/>
                      <a:pt x="738" y="159"/>
                      <a:pt x="736" y="159"/>
                    </a:cubicBezTo>
                    <a:cubicBezTo>
                      <a:pt x="736" y="152"/>
                      <a:pt x="737" y="145"/>
                      <a:pt x="736" y="139"/>
                    </a:cubicBezTo>
                    <a:cubicBezTo>
                      <a:pt x="736" y="136"/>
                      <a:pt x="737" y="135"/>
                      <a:pt x="739" y="134"/>
                    </a:cubicBezTo>
                    <a:cubicBezTo>
                      <a:pt x="759" y="124"/>
                      <a:pt x="780" y="119"/>
                      <a:pt x="803" y="124"/>
                    </a:cubicBezTo>
                    <a:cubicBezTo>
                      <a:pt x="822" y="128"/>
                      <a:pt x="832" y="142"/>
                      <a:pt x="835" y="160"/>
                    </a:cubicBezTo>
                    <a:cubicBezTo>
                      <a:pt x="836" y="164"/>
                      <a:pt x="836" y="169"/>
                      <a:pt x="836" y="174"/>
                    </a:cubicBezTo>
                    <a:cubicBezTo>
                      <a:pt x="836" y="204"/>
                      <a:pt x="836" y="235"/>
                      <a:pt x="836" y="265"/>
                    </a:cubicBezTo>
                    <a:close/>
                    <a:moveTo>
                      <a:pt x="809" y="198"/>
                    </a:moveTo>
                    <a:cubicBezTo>
                      <a:pt x="804" y="198"/>
                      <a:pt x="800" y="199"/>
                      <a:pt x="795" y="200"/>
                    </a:cubicBezTo>
                    <a:cubicBezTo>
                      <a:pt x="784" y="202"/>
                      <a:pt x="772" y="202"/>
                      <a:pt x="761" y="206"/>
                    </a:cubicBezTo>
                    <a:cubicBezTo>
                      <a:pt x="752" y="210"/>
                      <a:pt x="748" y="215"/>
                      <a:pt x="747" y="224"/>
                    </a:cubicBezTo>
                    <a:cubicBezTo>
                      <a:pt x="745" y="234"/>
                      <a:pt x="747" y="242"/>
                      <a:pt x="756" y="248"/>
                    </a:cubicBezTo>
                    <a:cubicBezTo>
                      <a:pt x="767" y="256"/>
                      <a:pt x="786" y="255"/>
                      <a:pt x="798" y="245"/>
                    </a:cubicBezTo>
                    <a:cubicBezTo>
                      <a:pt x="809" y="236"/>
                      <a:pt x="814" y="223"/>
                      <a:pt x="813" y="208"/>
                    </a:cubicBezTo>
                    <a:cubicBezTo>
                      <a:pt x="813" y="206"/>
                      <a:pt x="813" y="203"/>
                      <a:pt x="813" y="201"/>
                    </a:cubicBezTo>
                    <a:cubicBezTo>
                      <a:pt x="814" y="198"/>
                      <a:pt x="812" y="197"/>
                      <a:pt x="809" y="198"/>
                    </a:cubicBezTo>
                    <a:close/>
                  </a:path>
                </a:pathLst>
              </a:custGeom>
              <a:solidFill>
                <a:schemeClr val="bg1"/>
              </a:solidFill>
              <a:ln>
                <a:noFill/>
              </a:ln>
              <a:extLst/>
            </p:spPr>
            <p:txBody>
              <a:bodyPr vert="horz" wrap="square" lIns="89606" tIns="44803" rIns="89606" bIns="44803" numCol="1" anchor="t" anchorCtr="0" compatLnSpc="1">
                <a:prstTxWarp prst="textNoShape">
                  <a:avLst/>
                </a:prstTxWarp>
              </a:bodyPr>
              <a:lstStyle/>
              <a:p>
                <a:pPr defTabSz="914005">
                  <a:lnSpc>
                    <a:spcPct val="90000"/>
                  </a:lnSpc>
                </a:pPr>
                <a:endParaRPr lang="en-US" sz="1764">
                  <a:solidFill>
                    <a:prstClr val="black"/>
                  </a:solidFill>
                </a:endParaRPr>
              </a:p>
            </p:txBody>
          </p:sp>
        </p:grpSp>
        <p:sp>
          <p:nvSpPr>
            <p:cNvPr id="167" name="Freeform 26"/>
            <p:cNvSpPr>
              <a:spLocks noChangeAspect="1" noEditPoints="1"/>
            </p:cNvSpPr>
            <p:nvPr/>
          </p:nvSpPr>
          <p:spPr bwMode="auto">
            <a:xfrm>
              <a:off x="6972635" y="4997148"/>
              <a:ext cx="374993" cy="302963"/>
            </a:xfrm>
            <a:custGeom>
              <a:avLst/>
              <a:gdLst>
                <a:gd name="T0" fmla="*/ 913 w 1219"/>
                <a:gd name="T1" fmla="*/ 603 h 985"/>
                <a:gd name="T2" fmla="*/ 1214 w 1219"/>
                <a:gd name="T3" fmla="*/ 523 h 985"/>
                <a:gd name="T4" fmla="*/ 1214 w 1219"/>
                <a:gd name="T5" fmla="*/ 660 h 985"/>
                <a:gd name="T6" fmla="*/ 1130 w 1219"/>
                <a:gd name="T7" fmla="*/ 732 h 985"/>
                <a:gd name="T8" fmla="*/ 1156 w 1219"/>
                <a:gd name="T9" fmla="*/ 814 h 985"/>
                <a:gd name="T10" fmla="*/ 1005 w 1219"/>
                <a:gd name="T11" fmla="*/ 873 h 985"/>
                <a:gd name="T12" fmla="*/ 937 w 1219"/>
                <a:gd name="T13" fmla="*/ 906 h 985"/>
                <a:gd name="T14" fmla="*/ 788 w 1219"/>
                <a:gd name="T15" fmla="*/ 985 h 985"/>
                <a:gd name="T16" fmla="*/ 749 w 1219"/>
                <a:gd name="T17" fmla="*/ 891 h 985"/>
                <a:gd name="T18" fmla="*/ 631 w 1219"/>
                <a:gd name="T19" fmla="*/ 899 h 985"/>
                <a:gd name="T20" fmla="*/ 533 w 1219"/>
                <a:gd name="T21" fmla="*/ 802 h 985"/>
                <a:gd name="T22" fmla="*/ 546 w 1219"/>
                <a:gd name="T23" fmla="*/ 689 h 985"/>
                <a:gd name="T24" fmla="*/ 463 w 1219"/>
                <a:gd name="T25" fmla="*/ 649 h 985"/>
                <a:gd name="T26" fmla="*/ 536 w 1219"/>
                <a:gd name="T27" fmla="*/ 501 h 985"/>
                <a:gd name="T28" fmla="*/ 563 w 1219"/>
                <a:gd name="T29" fmla="*/ 436 h 985"/>
                <a:gd name="T30" fmla="*/ 619 w 1219"/>
                <a:gd name="T31" fmla="*/ 279 h 985"/>
                <a:gd name="T32" fmla="*/ 706 w 1219"/>
                <a:gd name="T33" fmla="*/ 308 h 985"/>
                <a:gd name="T34" fmla="*/ 778 w 1219"/>
                <a:gd name="T35" fmla="*/ 230 h 985"/>
                <a:gd name="T36" fmla="*/ 915 w 1219"/>
                <a:gd name="T37" fmla="*/ 230 h 985"/>
                <a:gd name="T38" fmla="*/ 986 w 1219"/>
                <a:gd name="T39" fmla="*/ 307 h 985"/>
                <a:gd name="T40" fmla="*/ 1072 w 1219"/>
                <a:gd name="T41" fmla="*/ 279 h 985"/>
                <a:gd name="T42" fmla="*/ 1129 w 1219"/>
                <a:gd name="T43" fmla="*/ 434 h 985"/>
                <a:gd name="T44" fmla="*/ 1156 w 1219"/>
                <a:gd name="T45" fmla="*/ 501 h 985"/>
                <a:gd name="T46" fmla="*/ 1035 w 1219"/>
                <a:gd name="T47" fmla="*/ 603 h 985"/>
                <a:gd name="T48" fmla="*/ 846 w 1219"/>
                <a:gd name="T49" fmla="*/ 792 h 985"/>
                <a:gd name="T50" fmla="*/ 316 w 1219"/>
                <a:gd name="T51" fmla="*/ 263 h 985"/>
                <a:gd name="T52" fmla="*/ 526 w 1219"/>
                <a:gd name="T53" fmla="*/ 206 h 985"/>
                <a:gd name="T54" fmla="*/ 526 w 1219"/>
                <a:gd name="T55" fmla="*/ 302 h 985"/>
                <a:gd name="T56" fmla="*/ 468 w 1219"/>
                <a:gd name="T57" fmla="*/ 352 h 985"/>
                <a:gd name="T58" fmla="*/ 486 w 1219"/>
                <a:gd name="T59" fmla="*/ 410 h 985"/>
                <a:gd name="T60" fmla="*/ 380 w 1219"/>
                <a:gd name="T61" fmla="*/ 452 h 985"/>
                <a:gd name="T62" fmla="*/ 333 w 1219"/>
                <a:gd name="T63" fmla="*/ 475 h 985"/>
                <a:gd name="T64" fmla="*/ 229 w 1219"/>
                <a:gd name="T65" fmla="*/ 532 h 985"/>
                <a:gd name="T66" fmla="*/ 200 w 1219"/>
                <a:gd name="T67" fmla="*/ 465 h 985"/>
                <a:gd name="T68" fmla="*/ 118 w 1219"/>
                <a:gd name="T69" fmla="*/ 470 h 985"/>
                <a:gd name="T70" fmla="*/ 50 w 1219"/>
                <a:gd name="T71" fmla="*/ 402 h 985"/>
                <a:gd name="T72" fmla="*/ 59 w 1219"/>
                <a:gd name="T73" fmla="*/ 323 h 985"/>
                <a:gd name="T74" fmla="*/ 0 w 1219"/>
                <a:gd name="T75" fmla="*/ 295 h 985"/>
                <a:gd name="T76" fmla="*/ 53 w 1219"/>
                <a:gd name="T77" fmla="*/ 192 h 985"/>
                <a:gd name="T78" fmla="*/ 72 w 1219"/>
                <a:gd name="T79" fmla="*/ 146 h 985"/>
                <a:gd name="T80" fmla="*/ 109 w 1219"/>
                <a:gd name="T81" fmla="*/ 36 h 985"/>
                <a:gd name="T82" fmla="*/ 171 w 1219"/>
                <a:gd name="T83" fmla="*/ 56 h 985"/>
                <a:gd name="T84" fmla="*/ 222 w 1219"/>
                <a:gd name="T85" fmla="*/ 2 h 985"/>
                <a:gd name="T86" fmla="*/ 318 w 1219"/>
                <a:gd name="T87" fmla="*/ 2 h 985"/>
                <a:gd name="T88" fmla="*/ 368 w 1219"/>
                <a:gd name="T89" fmla="*/ 55 h 985"/>
                <a:gd name="T90" fmla="*/ 428 w 1219"/>
                <a:gd name="T91" fmla="*/ 36 h 985"/>
                <a:gd name="T92" fmla="*/ 467 w 1219"/>
                <a:gd name="T93" fmla="*/ 145 h 985"/>
                <a:gd name="T94" fmla="*/ 486 w 1219"/>
                <a:gd name="T95" fmla="*/ 192 h 985"/>
                <a:gd name="T96" fmla="*/ 401 w 1219"/>
                <a:gd name="T97" fmla="*/ 263 h 985"/>
                <a:gd name="T98" fmla="*/ 269 w 1219"/>
                <a:gd name="T99" fmla="*/ 395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19" h="985">
                  <a:moveTo>
                    <a:pt x="778" y="603"/>
                  </a:moveTo>
                  <a:cubicBezTo>
                    <a:pt x="778" y="566"/>
                    <a:pt x="808" y="536"/>
                    <a:pt x="845" y="536"/>
                  </a:cubicBezTo>
                  <a:cubicBezTo>
                    <a:pt x="882" y="536"/>
                    <a:pt x="913" y="566"/>
                    <a:pt x="913" y="603"/>
                  </a:cubicBezTo>
                  <a:cubicBezTo>
                    <a:pt x="913" y="640"/>
                    <a:pt x="882" y="670"/>
                    <a:pt x="845" y="670"/>
                  </a:cubicBezTo>
                  <a:cubicBezTo>
                    <a:pt x="808" y="670"/>
                    <a:pt x="778" y="640"/>
                    <a:pt x="778" y="603"/>
                  </a:cubicBezTo>
                  <a:close/>
                  <a:moveTo>
                    <a:pt x="1214" y="523"/>
                  </a:moveTo>
                  <a:cubicBezTo>
                    <a:pt x="1218" y="524"/>
                    <a:pt x="1219" y="529"/>
                    <a:pt x="1219" y="532"/>
                  </a:cubicBezTo>
                  <a:cubicBezTo>
                    <a:pt x="1219" y="532"/>
                    <a:pt x="1219" y="532"/>
                    <a:pt x="1219" y="649"/>
                  </a:cubicBezTo>
                  <a:cubicBezTo>
                    <a:pt x="1219" y="654"/>
                    <a:pt x="1218" y="658"/>
                    <a:pt x="1214" y="660"/>
                  </a:cubicBezTo>
                  <a:cubicBezTo>
                    <a:pt x="1214" y="660"/>
                    <a:pt x="1214" y="660"/>
                    <a:pt x="1157" y="680"/>
                  </a:cubicBezTo>
                  <a:cubicBezTo>
                    <a:pt x="1154" y="681"/>
                    <a:pt x="1149" y="686"/>
                    <a:pt x="1148" y="689"/>
                  </a:cubicBezTo>
                  <a:cubicBezTo>
                    <a:pt x="1148" y="689"/>
                    <a:pt x="1148" y="689"/>
                    <a:pt x="1130" y="732"/>
                  </a:cubicBezTo>
                  <a:cubicBezTo>
                    <a:pt x="1129" y="735"/>
                    <a:pt x="1129" y="742"/>
                    <a:pt x="1130" y="746"/>
                  </a:cubicBezTo>
                  <a:cubicBezTo>
                    <a:pt x="1130" y="746"/>
                    <a:pt x="1130" y="746"/>
                    <a:pt x="1157" y="802"/>
                  </a:cubicBezTo>
                  <a:cubicBezTo>
                    <a:pt x="1160" y="806"/>
                    <a:pt x="1159" y="812"/>
                    <a:pt x="1156" y="814"/>
                  </a:cubicBezTo>
                  <a:cubicBezTo>
                    <a:pt x="1156" y="814"/>
                    <a:pt x="1156" y="814"/>
                    <a:pt x="1072" y="897"/>
                  </a:cubicBezTo>
                  <a:cubicBezTo>
                    <a:pt x="1070" y="900"/>
                    <a:pt x="1064" y="902"/>
                    <a:pt x="1061" y="899"/>
                  </a:cubicBezTo>
                  <a:cubicBezTo>
                    <a:pt x="1061" y="899"/>
                    <a:pt x="1061" y="899"/>
                    <a:pt x="1005" y="873"/>
                  </a:cubicBezTo>
                  <a:cubicBezTo>
                    <a:pt x="1002" y="871"/>
                    <a:pt x="996" y="872"/>
                    <a:pt x="991" y="873"/>
                  </a:cubicBezTo>
                  <a:cubicBezTo>
                    <a:pt x="991" y="873"/>
                    <a:pt x="991" y="873"/>
                    <a:pt x="946" y="893"/>
                  </a:cubicBezTo>
                  <a:cubicBezTo>
                    <a:pt x="941" y="896"/>
                    <a:pt x="938" y="902"/>
                    <a:pt x="937" y="906"/>
                  </a:cubicBezTo>
                  <a:cubicBezTo>
                    <a:pt x="937" y="906"/>
                    <a:pt x="937" y="906"/>
                    <a:pt x="915" y="969"/>
                  </a:cubicBezTo>
                  <a:cubicBezTo>
                    <a:pt x="914" y="972"/>
                    <a:pt x="909" y="985"/>
                    <a:pt x="906" y="985"/>
                  </a:cubicBezTo>
                  <a:cubicBezTo>
                    <a:pt x="906" y="985"/>
                    <a:pt x="906" y="985"/>
                    <a:pt x="788" y="985"/>
                  </a:cubicBezTo>
                  <a:cubicBezTo>
                    <a:pt x="784" y="985"/>
                    <a:pt x="779" y="972"/>
                    <a:pt x="778" y="969"/>
                  </a:cubicBezTo>
                  <a:cubicBezTo>
                    <a:pt x="778" y="969"/>
                    <a:pt x="778" y="969"/>
                    <a:pt x="758" y="902"/>
                  </a:cubicBezTo>
                  <a:cubicBezTo>
                    <a:pt x="757" y="897"/>
                    <a:pt x="752" y="893"/>
                    <a:pt x="749" y="891"/>
                  </a:cubicBezTo>
                  <a:cubicBezTo>
                    <a:pt x="749" y="891"/>
                    <a:pt x="749" y="891"/>
                    <a:pt x="701" y="872"/>
                  </a:cubicBezTo>
                  <a:cubicBezTo>
                    <a:pt x="698" y="870"/>
                    <a:pt x="691" y="870"/>
                    <a:pt x="687" y="872"/>
                  </a:cubicBezTo>
                  <a:cubicBezTo>
                    <a:pt x="687" y="872"/>
                    <a:pt x="687" y="872"/>
                    <a:pt x="631" y="899"/>
                  </a:cubicBezTo>
                  <a:cubicBezTo>
                    <a:pt x="627" y="902"/>
                    <a:pt x="621" y="900"/>
                    <a:pt x="619" y="897"/>
                  </a:cubicBezTo>
                  <a:cubicBezTo>
                    <a:pt x="619" y="897"/>
                    <a:pt x="619" y="897"/>
                    <a:pt x="535" y="814"/>
                  </a:cubicBezTo>
                  <a:cubicBezTo>
                    <a:pt x="533" y="812"/>
                    <a:pt x="531" y="806"/>
                    <a:pt x="533" y="802"/>
                  </a:cubicBezTo>
                  <a:cubicBezTo>
                    <a:pt x="533" y="802"/>
                    <a:pt x="533" y="802"/>
                    <a:pt x="562" y="742"/>
                  </a:cubicBezTo>
                  <a:cubicBezTo>
                    <a:pt x="563" y="739"/>
                    <a:pt x="563" y="733"/>
                    <a:pt x="562" y="729"/>
                  </a:cubicBezTo>
                  <a:cubicBezTo>
                    <a:pt x="562" y="729"/>
                    <a:pt x="562" y="729"/>
                    <a:pt x="546" y="689"/>
                  </a:cubicBezTo>
                  <a:cubicBezTo>
                    <a:pt x="543" y="686"/>
                    <a:pt x="538" y="681"/>
                    <a:pt x="535" y="680"/>
                  </a:cubicBezTo>
                  <a:cubicBezTo>
                    <a:pt x="535" y="680"/>
                    <a:pt x="535" y="680"/>
                    <a:pt x="473" y="660"/>
                  </a:cubicBezTo>
                  <a:cubicBezTo>
                    <a:pt x="470" y="658"/>
                    <a:pt x="463" y="654"/>
                    <a:pt x="463" y="649"/>
                  </a:cubicBezTo>
                  <a:cubicBezTo>
                    <a:pt x="463" y="649"/>
                    <a:pt x="463" y="649"/>
                    <a:pt x="463" y="532"/>
                  </a:cubicBezTo>
                  <a:cubicBezTo>
                    <a:pt x="463" y="529"/>
                    <a:pt x="470" y="524"/>
                    <a:pt x="473" y="523"/>
                  </a:cubicBezTo>
                  <a:cubicBezTo>
                    <a:pt x="473" y="523"/>
                    <a:pt x="473" y="523"/>
                    <a:pt x="536" y="501"/>
                  </a:cubicBezTo>
                  <a:cubicBezTo>
                    <a:pt x="541" y="500"/>
                    <a:pt x="544" y="496"/>
                    <a:pt x="546" y="492"/>
                  </a:cubicBezTo>
                  <a:cubicBezTo>
                    <a:pt x="546" y="492"/>
                    <a:pt x="546" y="492"/>
                    <a:pt x="563" y="449"/>
                  </a:cubicBezTo>
                  <a:cubicBezTo>
                    <a:pt x="566" y="446"/>
                    <a:pt x="564" y="440"/>
                    <a:pt x="563" y="436"/>
                  </a:cubicBezTo>
                  <a:cubicBezTo>
                    <a:pt x="563" y="436"/>
                    <a:pt x="563" y="436"/>
                    <a:pt x="534" y="374"/>
                  </a:cubicBezTo>
                  <a:cubicBezTo>
                    <a:pt x="531" y="370"/>
                    <a:pt x="533" y="366"/>
                    <a:pt x="535" y="362"/>
                  </a:cubicBezTo>
                  <a:cubicBezTo>
                    <a:pt x="535" y="362"/>
                    <a:pt x="535" y="362"/>
                    <a:pt x="619" y="279"/>
                  </a:cubicBezTo>
                  <a:cubicBezTo>
                    <a:pt x="621" y="277"/>
                    <a:pt x="627" y="276"/>
                    <a:pt x="631" y="277"/>
                  </a:cubicBezTo>
                  <a:cubicBezTo>
                    <a:pt x="631" y="277"/>
                    <a:pt x="631" y="277"/>
                    <a:pt x="692" y="308"/>
                  </a:cubicBezTo>
                  <a:cubicBezTo>
                    <a:pt x="696" y="309"/>
                    <a:pt x="703" y="310"/>
                    <a:pt x="706" y="308"/>
                  </a:cubicBezTo>
                  <a:cubicBezTo>
                    <a:pt x="706" y="308"/>
                    <a:pt x="706" y="308"/>
                    <a:pt x="749" y="292"/>
                  </a:cubicBezTo>
                  <a:cubicBezTo>
                    <a:pt x="752" y="290"/>
                    <a:pt x="757" y="288"/>
                    <a:pt x="758" y="284"/>
                  </a:cubicBezTo>
                  <a:cubicBezTo>
                    <a:pt x="758" y="284"/>
                    <a:pt x="758" y="284"/>
                    <a:pt x="778" y="230"/>
                  </a:cubicBezTo>
                  <a:cubicBezTo>
                    <a:pt x="779" y="225"/>
                    <a:pt x="784" y="230"/>
                    <a:pt x="788" y="230"/>
                  </a:cubicBezTo>
                  <a:cubicBezTo>
                    <a:pt x="788" y="230"/>
                    <a:pt x="788" y="230"/>
                    <a:pt x="906" y="230"/>
                  </a:cubicBezTo>
                  <a:cubicBezTo>
                    <a:pt x="909" y="230"/>
                    <a:pt x="914" y="225"/>
                    <a:pt x="915" y="230"/>
                  </a:cubicBezTo>
                  <a:cubicBezTo>
                    <a:pt x="915" y="230"/>
                    <a:pt x="915" y="230"/>
                    <a:pt x="937" y="281"/>
                  </a:cubicBezTo>
                  <a:cubicBezTo>
                    <a:pt x="938" y="284"/>
                    <a:pt x="941" y="289"/>
                    <a:pt x="946" y="290"/>
                  </a:cubicBezTo>
                  <a:cubicBezTo>
                    <a:pt x="946" y="290"/>
                    <a:pt x="946" y="290"/>
                    <a:pt x="986" y="307"/>
                  </a:cubicBezTo>
                  <a:cubicBezTo>
                    <a:pt x="990" y="309"/>
                    <a:pt x="997" y="308"/>
                    <a:pt x="1000" y="307"/>
                  </a:cubicBezTo>
                  <a:cubicBezTo>
                    <a:pt x="1000" y="307"/>
                    <a:pt x="1000" y="307"/>
                    <a:pt x="1061" y="277"/>
                  </a:cubicBezTo>
                  <a:cubicBezTo>
                    <a:pt x="1064" y="276"/>
                    <a:pt x="1070" y="276"/>
                    <a:pt x="1072" y="279"/>
                  </a:cubicBezTo>
                  <a:cubicBezTo>
                    <a:pt x="1072" y="279"/>
                    <a:pt x="1072" y="279"/>
                    <a:pt x="1156" y="362"/>
                  </a:cubicBezTo>
                  <a:cubicBezTo>
                    <a:pt x="1159" y="366"/>
                    <a:pt x="1160" y="370"/>
                    <a:pt x="1157" y="374"/>
                  </a:cubicBezTo>
                  <a:cubicBezTo>
                    <a:pt x="1157" y="374"/>
                    <a:pt x="1157" y="374"/>
                    <a:pt x="1129" y="434"/>
                  </a:cubicBezTo>
                  <a:cubicBezTo>
                    <a:pt x="1127" y="438"/>
                    <a:pt x="1127" y="444"/>
                    <a:pt x="1129" y="447"/>
                  </a:cubicBezTo>
                  <a:cubicBezTo>
                    <a:pt x="1129" y="447"/>
                    <a:pt x="1129" y="447"/>
                    <a:pt x="1147" y="492"/>
                  </a:cubicBezTo>
                  <a:cubicBezTo>
                    <a:pt x="1149" y="496"/>
                    <a:pt x="1153" y="500"/>
                    <a:pt x="1156" y="501"/>
                  </a:cubicBezTo>
                  <a:cubicBezTo>
                    <a:pt x="1156" y="501"/>
                    <a:pt x="1156" y="501"/>
                    <a:pt x="1214" y="523"/>
                  </a:cubicBezTo>
                  <a:close/>
                  <a:moveTo>
                    <a:pt x="846" y="792"/>
                  </a:moveTo>
                  <a:cubicBezTo>
                    <a:pt x="950" y="792"/>
                    <a:pt x="1035" y="707"/>
                    <a:pt x="1035" y="603"/>
                  </a:cubicBezTo>
                  <a:cubicBezTo>
                    <a:pt x="1035" y="499"/>
                    <a:pt x="950" y="414"/>
                    <a:pt x="846" y="414"/>
                  </a:cubicBezTo>
                  <a:cubicBezTo>
                    <a:pt x="742" y="414"/>
                    <a:pt x="657" y="499"/>
                    <a:pt x="657" y="603"/>
                  </a:cubicBezTo>
                  <a:cubicBezTo>
                    <a:pt x="657" y="707"/>
                    <a:pt x="742" y="792"/>
                    <a:pt x="846" y="792"/>
                  </a:cubicBezTo>
                  <a:close/>
                  <a:moveTo>
                    <a:pt x="222" y="263"/>
                  </a:moveTo>
                  <a:cubicBezTo>
                    <a:pt x="222" y="289"/>
                    <a:pt x="243" y="310"/>
                    <a:pt x="269" y="310"/>
                  </a:cubicBezTo>
                  <a:cubicBezTo>
                    <a:pt x="295" y="310"/>
                    <a:pt x="316" y="289"/>
                    <a:pt x="316" y="263"/>
                  </a:cubicBezTo>
                  <a:cubicBezTo>
                    <a:pt x="316" y="237"/>
                    <a:pt x="295" y="216"/>
                    <a:pt x="269" y="216"/>
                  </a:cubicBezTo>
                  <a:cubicBezTo>
                    <a:pt x="243" y="216"/>
                    <a:pt x="222" y="237"/>
                    <a:pt x="222" y="263"/>
                  </a:cubicBezTo>
                  <a:close/>
                  <a:moveTo>
                    <a:pt x="526" y="206"/>
                  </a:moveTo>
                  <a:cubicBezTo>
                    <a:pt x="529" y="207"/>
                    <a:pt x="529" y="211"/>
                    <a:pt x="529" y="213"/>
                  </a:cubicBezTo>
                  <a:cubicBezTo>
                    <a:pt x="529" y="213"/>
                    <a:pt x="529" y="213"/>
                    <a:pt x="529" y="295"/>
                  </a:cubicBezTo>
                  <a:cubicBezTo>
                    <a:pt x="529" y="298"/>
                    <a:pt x="529" y="302"/>
                    <a:pt x="526" y="302"/>
                  </a:cubicBezTo>
                  <a:cubicBezTo>
                    <a:pt x="526" y="302"/>
                    <a:pt x="526" y="302"/>
                    <a:pt x="487" y="317"/>
                  </a:cubicBezTo>
                  <a:cubicBezTo>
                    <a:pt x="485" y="317"/>
                    <a:pt x="481" y="321"/>
                    <a:pt x="480" y="323"/>
                  </a:cubicBezTo>
                  <a:cubicBezTo>
                    <a:pt x="480" y="323"/>
                    <a:pt x="480" y="323"/>
                    <a:pt x="468" y="352"/>
                  </a:cubicBezTo>
                  <a:cubicBezTo>
                    <a:pt x="467" y="356"/>
                    <a:pt x="467" y="360"/>
                    <a:pt x="468" y="363"/>
                  </a:cubicBezTo>
                  <a:cubicBezTo>
                    <a:pt x="468" y="363"/>
                    <a:pt x="468" y="363"/>
                    <a:pt x="487" y="402"/>
                  </a:cubicBezTo>
                  <a:cubicBezTo>
                    <a:pt x="488" y="404"/>
                    <a:pt x="488" y="409"/>
                    <a:pt x="486" y="410"/>
                  </a:cubicBezTo>
                  <a:cubicBezTo>
                    <a:pt x="486" y="410"/>
                    <a:pt x="486" y="410"/>
                    <a:pt x="428" y="469"/>
                  </a:cubicBezTo>
                  <a:cubicBezTo>
                    <a:pt x="426" y="470"/>
                    <a:pt x="422" y="472"/>
                    <a:pt x="420" y="470"/>
                  </a:cubicBezTo>
                  <a:cubicBezTo>
                    <a:pt x="420" y="470"/>
                    <a:pt x="420" y="470"/>
                    <a:pt x="380" y="452"/>
                  </a:cubicBezTo>
                  <a:cubicBezTo>
                    <a:pt x="377" y="450"/>
                    <a:pt x="374" y="450"/>
                    <a:pt x="370" y="453"/>
                  </a:cubicBezTo>
                  <a:cubicBezTo>
                    <a:pt x="370" y="453"/>
                    <a:pt x="370" y="453"/>
                    <a:pt x="339" y="467"/>
                  </a:cubicBezTo>
                  <a:cubicBezTo>
                    <a:pt x="336" y="467"/>
                    <a:pt x="333" y="473"/>
                    <a:pt x="333" y="475"/>
                  </a:cubicBezTo>
                  <a:cubicBezTo>
                    <a:pt x="333" y="475"/>
                    <a:pt x="333" y="475"/>
                    <a:pt x="318" y="520"/>
                  </a:cubicBezTo>
                  <a:cubicBezTo>
                    <a:pt x="317" y="522"/>
                    <a:pt x="314" y="532"/>
                    <a:pt x="311" y="532"/>
                  </a:cubicBezTo>
                  <a:cubicBezTo>
                    <a:pt x="311" y="532"/>
                    <a:pt x="311" y="532"/>
                    <a:pt x="229" y="532"/>
                  </a:cubicBezTo>
                  <a:cubicBezTo>
                    <a:pt x="226" y="532"/>
                    <a:pt x="223" y="522"/>
                    <a:pt x="222" y="520"/>
                  </a:cubicBezTo>
                  <a:cubicBezTo>
                    <a:pt x="222" y="520"/>
                    <a:pt x="222" y="520"/>
                    <a:pt x="207" y="472"/>
                  </a:cubicBezTo>
                  <a:cubicBezTo>
                    <a:pt x="206" y="468"/>
                    <a:pt x="204" y="466"/>
                    <a:pt x="200" y="465"/>
                  </a:cubicBezTo>
                  <a:cubicBezTo>
                    <a:pt x="200" y="465"/>
                    <a:pt x="200" y="465"/>
                    <a:pt x="167" y="450"/>
                  </a:cubicBezTo>
                  <a:cubicBezTo>
                    <a:pt x="165" y="449"/>
                    <a:pt x="161" y="449"/>
                    <a:pt x="158" y="450"/>
                  </a:cubicBezTo>
                  <a:cubicBezTo>
                    <a:pt x="158" y="450"/>
                    <a:pt x="158" y="450"/>
                    <a:pt x="118" y="470"/>
                  </a:cubicBezTo>
                  <a:cubicBezTo>
                    <a:pt x="115" y="472"/>
                    <a:pt x="112" y="470"/>
                    <a:pt x="109" y="469"/>
                  </a:cubicBezTo>
                  <a:cubicBezTo>
                    <a:pt x="109" y="469"/>
                    <a:pt x="109" y="469"/>
                    <a:pt x="52" y="410"/>
                  </a:cubicBezTo>
                  <a:cubicBezTo>
                    <a:pt x="49" y="409"/>
                    <a:pt x="49" y="404"/>
                    <a:pt x="50" y="402"/>
                  </a:cubicBezTo>
                  <a:cubicBezTo>
                    <a:pt x="50" y="402"/>
                    <a:pt x="50" y="402"/>
                    <a:pt x="71" y="361"/>
                  </a:cubicBezTo>
                  <a:cubicBezTo>
                    <a:pt x="72" y="358"/>
                    <a:pt x="72" y="354"/>
                    <a:pt x="71" y="351"/>
                  </a:cubicBezTo>
                  <a:cubicBezTo>
                    <a:pt x="71" y="351"/>
                    <a:pt x="71" y="351"/>
                    <a:pt x="59" y="323"/>
                  </a:cubicBezTo>
                  <a:cubicBezTo>
                    <a:pt x="58" y="321"/>
                    <a:pt x="54" y="317"/>
                    <a:pt x="50" y="317"/>
                  </a:cubicBezTo>
                  <a:cubicBezTo>
                    <a:pt x="50" y="317"/>
                    <a:pt x="50" y="317"/>
                    <a:pt x="8" y="302"/>
                  </a:cubicBezTo>
                  <a:cubicBezTo>
                    <a:pt x="6" y="302"/>
                    <a:pt x="0" y="298"/>
                    <a:pt x="0" y="295"/>
                  </a:cubicBezTo>
                  <a:cubicBezTo>
                    <a:pt x="0" y="295"/>
                    <a:pt x="0" y="295"/>
                    <a:pt x="0" y="213"/>
                  </a:cubicBezTo>
                  <a:cubicBezTo>
                    <a:pt x="0" y="211"/>
                    <a:pt x="6" y="207"/>
                    <a:pt x="8" y="206"/>
                  </a:cubicBezTo>
                  <a:cubicBezTo>
                    <a:pt x="8" y="206"/>
                    <a:pt x="8" y="206"/>
                    <a:pt x="53" y="192"/>
                  </a:cubicBezTo>
                  <a:cubicBezTo>
                    <a:pt x="55" y="191"/>
                    <a:pt x="59" y="188"/>
                    <a:pt x="59" y="185"/>
                  </a:cubicBezTo>
                  <a:cubicBezTo>
                    <a:pt x="59" y="185"/>
                    <a:pt x="59" y="185"/>
                    <a:pt x="72" y="155"/>
                  </a:cubicBezTo>
                  <a:cubicBezTo>
                    <a:pt x="73" y="153"/>
                    <a:pt x="73" y="148"/>
                    <a:pt x="72" y="146"/>
                  </a:cubicBezTo>
                  <a:cubicBezTo>
                    <a:pt x="72" y="146"/>
                    <a:pt x="72" y="146"/>
                    <a:pt x="50" y="102"/>
                  </a:cubicBezTo>
                  <a:cubicBezTo>
                    <a:pt x="49" y="100"/>
                    <a:pt x="49" y="96"/>
                    <a:pt x="52" y="94"/>
                  </a:cubicBezTo>
                  <a:cubicBezTo>
                    <a:pt x="52" y="94"/>
                    <a:pt x="52" y="94"/>
                    <a:pt x="109" y="36"/>
                  </a:cubicBezTo>
                  <a:cubicBezTo>
                    <a:pt x="112" y="34"/>
                    <a:pt x="115" y="34"/>
                    <a:pt x="118" y="35"/>
                  </a:cubicBezTo>
                  <a:cubicBezTo>
                    <a:pt x="118" y="35"/>
                    <a:pt x="118" y="35"/>
                    <a:pt x="161" y="56"/>
                  </a:cubicBezTo>
                  <a:cubicBezTo>
                    <a:pt x="164" y="57"/>
                    <a:pt x="169" y="57"/>
                    <a:pt x="171" y="56"/>
                  </a:cubicBezTo>
                  <a:cubicBezTo>
                    <a:pt x="171" y="56"/>
                    <a:pt x="171" y="56"/>
                    <a:pt x="200" y="46"/>
                  </a:cubicBezTo>
                  <a:cubicBezTo>
                    <a:pt x="204" y="44"/>
                    <a:pt x="206" y="43"/>
                    <a:pt x="207" y="40"/>
                  </a:cubicBezTo>
                  <a:cubicBezTo>
                    <a:pt x="207" y="40"/>
                    <a:pt x="207" y="40"/>
                    <a:pt x="222" y="2"/>
                  </a:cubicBezTo>
                  <a:cubicBezTo>
                    <a:pt x="223" y="0"/>
                    <a:pt x="226" y="3"/>
                    <a:pt x="229" y="3"/>
                  </a:cubicBezTo>
                  <a:cubicBezTo>
                    <a:pt x="229" y="3"/>
                    <a:pt x="229" y="3"/>
                    <a:pt x="311" y="3"/>
                  </a:cubicBezTo>
                  <a:cubicBezTo>
                    <a:pt x="314" y="3"/>
                    <a:pt x="317" y="0"/>
                    <a:pt x="318" y="2"/>
                  </a:cubicBezTo>
                  <a:cubicBezTo>
                    <a:pt x="318" y="2"/>
                    <a:pt x="318" y="2"/>
                    <a:pt x="333" y="37"/>
                  </a:cubicBezTo>
                  <a:cubicBezTo>
                    <a:pt x="333" y="40"/>
                    <a:pt x="336" y="43"/>
                    <a:pt x="339" y="43"/>
                  </a:cubicBezTo>
                  <a:cubicBezTo>
                    <a:pt x="339" y="43"/>
                    <a:pt x="339" y="43"/>
                    <a:pt x="368" y="55"/>
                  </a:cubicBezTo>
                  <a:cubicBezTo>
                    <a:pt x="370" y="56"/>
                    <a:pt x="374" y="56"/>
                    <a:pt x="377" y="55"/>
                  </a:cubicBezTo>
                  <a:cubicBezTo>
                    <a:pt x="377" y="55"/>
                    <a:pt x="377" y="55"/>
                    <a:pt x="420" y="35"/>
                  </a:cubicBezTo>
                  <a:cubicBezTo>
                    <a:pt x="422" y="34"/>
                    <a:pt x="426" y="34"/>
                    <a:pt x="428" y="36"/>
                  </a:cubicBezTo>
                  <a:cubicBezTo>
                    <a:pt x="428" y="36"/>
                    <a:pt x="428" y="36"/>
                    <a:pt x="486" y="94"/>
                  </a:cubicBezTo>
                  <a:cubicBezTo>
                    <a:pt x="488" y="96"/>
                    <a:pt x="488" y="100"/>
                    <a:pt x="487" y="102"/>
                  </a:cubicBezTo>
                  <a:cubicBezTo>
                    <a:pt x="487" y="102"/>
                    <a:pt x="487" y="102"/>
                    <a:pt x="467" y="145"/>
                  </a:cubicBezTo>
                  <a:cubicBezTo>
                    <a:pt x="466" y="147"/>
                    <a:pt x="466" y="151"/>
                    <a:pt x="467" y="154"/>
                  </a:cubicBezTo>
                  <a:cubicBezTo>
                    <a:pt x="467" y="154"/>
                    <a:pt x="467" y="154"/>
                    <a:pt x="480" y="185"/>
                  </a:cubicBezTo>
                  <a:cubicBezTo>
                    <a:pt x="481" y="188"/>
                    <a:pt x="484" y="191"/>
                    <a:pt x="486" y="192"/>
                  </a:cubicBezTo>
                  <a:cubicBezTo>
                    <a:pt x="486" y="192"/>
                    <a:pt x="486" y="192"/>
                    <a:pt x="526" y="206"/>
                  </a:cubicBezTo>
                  <a:close/>
                  <a:moveTo>
                    <a:pt x="269" y="395"/>
                  </a:moveTo>
                  <a:cubicBezTo>
                    <a:pt x="342" y="395"/>
                    <a:pt x="401" y="336"/>
                    <a:pt x="401" y="263"/>
                  </a:cubicBezTo>
                  <a:cubicBezTo>
                    <a:pt x="401" y="190"/>
                    <a:pt x="342" y="131"/>
                    <a:pt x="269" y="131"/>
                  </a:cubicBezTo>
                  <a:cubicBezTo>
                    <a:pt x="196" y="131"/>
                    <a:pt x="137" y="190"/>
                    <a:pt x="137" y="263"/>
                  </a:cubicBezTo>
                  <a:cubicBezTo>
                    <a:pt x="137" y="336"/>
                    <a:pt x="196" y="395"/>
                    <a:pt x="269" y="395"/>
                  </a:cubicBezTo>
                  <a:close/>
                </a:path>
              </a:pathLst>
            </a:custGeom>
            <a:solidFill>
              <a:schemeClr val="bg1"/>
            </a:solidFill>
            <a:ln>
              <a:noFill/>
            </a:ln>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nvGrpSpPr>
          <p:cNvPr id="101" name="Group 100"/>
          <p:cNvGrpSpPr>
            <a:grpSpLocks noChangeAspect="1"/>
          </p:cNvGrpSpPr>
          <p:nvPr/>
        </p:nvGrpSpPr>
        <p:grpSpPr>
          <a:xfrm>
            <a:off x="11505977" y="3100603"/>
            <a:ext cx="543749" cy="543749"/>
            <a:chOff x="8176285" y="4231308"/>
            <a:chExt cx="1189257" cy="1189257"/>
          </a:xfrm>
          <a:solidFill>
            <a:schemeClr val="tx2"/>
          </a:solidFill>
        </p:grpSpPr>
        <p:sp>
          <p:nvSpPr>
            <p:cNvPr id="98" name="Oval 97"/>
            <p:cNvSpPr/>
            <p:nvPr/>
          </p:nvSpPr>
          <p:spPr bwMode="auto">
            <a:xfrm>
              <a:off x="8176285" y="4231308"/>
              <a:ext cx="1189257" cy="118925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100" name="Freeform 6"/>
            <p:cNvSpPr>
              <a:spLocks noChangeAspect="1" noEditPoints="1"/>
            </p:cNvSpPr>
            <p:nvPr/>
          </p:nvSpPr>
          <p:spPr bwMode="auto">
            <a:xfrm>
              <a:off x="8374169" y="4429192"/>
              <a:ext cx="793488" cy="79348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chemeClr val="bg1"/>
            </a:solidFill>
            <a:ln>
              <a:noFill/>
            </a:ln>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spTree>
    <p:extLst>
      <p:ext uri="{BB962C8B-B14F-4D97-AF65-F5344CB8AC3E}">
        <p14:creationId xmlns:p14="http://schemas.microsoft.com/office/powerpoint/2010/main" val="12249553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800" fill="hold"/>
                                        <p:tgtEl>
                                          <p:spTgt spid="3"/>
                                        </p:tgtEl>
                                        <p:attrNameLst>
                                          <p:attrName>ppt_x</p:attrName>
                                        </p:attrNameLst>
                                      </p:cBhvr>
                                      <p:tavLst>
                                        <p:tav tm="0">
                                          <p:val>
                                            <p:strVal val="#ppt_x"/>
                                          </p:val>
                                        </p:tav>
                                        <p:tav tm="100000">
                                          <p:val>
                                            <p:strVal val="#ppt_x"/>
                                          </p:val>
                                        </p:tav>
                                      </p:tavLst>
                                    </p:anim>
                                    <p:anim calcmode="lin" valueType="num">
                                      <p:cBhvr additive="base">
                                        <p:cTn id="8" dur="8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decel="100000" fill="hold" nodeType="clickEffect">
                                  <p:stCondLst>
                                    <p:cond delay="0"/>
                                  </p:stCondLst>
                                  <p:childTnLst>
                                    <p:set>
                                      <p:cBhvr>
                                        <p:cTn id="12" dur="1" fill="hold">
                                          <p:stCondLst>
                                            <p:cond delay="0"/>
                                          </p:stCondLst>
                                        </p:cTn>
                                        <p:tgtEl>
                                          <p:spTgt spid="20"/>
                                        </p:tgtEl>
                                        <p:attrNameLst>
                                          <p:attrName>style.visibility</p:attrName>
                                        </p:attrNameLst>
                                      </p:cBhvr>
                                      <p:to>
                                        <p:strVal val="visible"/>
                                      </p:to>
                                    </p:set>
                                    <p:anim calcmode="lin" valueType="num">
                                      <p:cBhvr additive="base">
                                        <p:cTn id="13" dur="600" fill="hold"/>
                                        <p:tgtEl>
                                          <p:spTgt spid="20"/>
                                        </p:tgtEl>
                                        <p:attrNameLst>
                                          <p:attrName>ppt_x</p:attrName>
                                        </p:attrNameLst>
                                      </p:cBhvr>
                                      <p:tavLst>
                                        <p:tav tm="0">
                                          <p:val>
                                            <p:strVal val="#ppt_x"/>
                                          </p:val>
                                        </p:tav>
                                        <p:tav tm="100000">
                                          <p:val>
                                            <p:strVal val="#ppt_x"/>
                                          </p:val>
                                        </p:tav>
                                      </p:tavLst>
                                    </p:anim>
                                    <p:anim calcmode="lin" valueType="num">
                                      <p:cBhvr additive="base">
                                        <p:cTn id="14" dur="600" fill="hold"/>
                                        <p:tgtEl>
                                          <p:spTgt spid="20"/>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53" presetClass="entr" presetSubtype="16" fill="hold" nodeType="clickEffect">
                                  <p:stCondLst>
                                    <p:cond delay="0"/>
                                  </p:stCondLst>
                                  <p:childTnLst>
                                    <p:set>
                                      <p:cBhvr>
                                        <p:cTn id="18" dur="1" fill="hold">
                                          <p:stCondLst>
                                            <p:cond delay="0"/>
                                          </p:stCondLst>
                                        </p:cTn>
                                        <p:tgtEl>
                                          <p:spTgt spid="102"/>
                                        </p:tgtEl>
                                        <p:attrNameLst>
                                          <p:attrName>style.visibility</p:attrName>
                                        </p:attrNameLst>
                                      </p:cBhvr>
                                      <p:to>
                                        <p:strVal val="visible"/>
                                      </p:to>
                                    </p:set>
                                    <p:anim calcmode="lin" valueType="num">
                                      <p:cBhvr>
                                        <p:cTn id="19" dur="250" fill="hold"/>
                                        <p:tgtEl>
                                          <p:spTgt spid="102"/>
                                        </p:tgtEl>
                                        <p:attrNameLst>
                                          <p:attrName>ppt_w</p:attrName>
                                        </p:attrNameLst>
                                      </p:cBhvr>
                                      <p:tavLst>
                                        <p:tav tm="0">
                                          <p:val>
                                            <p:fltVal val="0"/>
                                          </p:val>
                                        </p:tav>
                                        <p:tav tm="100000">
                                          <p:val>
                                            <p:strVal val="#ppt_w"/>
                                          </p:val>
                                        </p:tav>
                                      </p:tavLst>
                                    </p:anim>
                                    <p:anim calcmode="lin" valueType="num">
                                      <p:cBhvr>
                                        <p:cTn id="20" dur="250" fill="hold"/>
                                        <p:tgtEl>
                                          <p:spTgt spid="102"/>
                                        </p:tgtEl>
                                        <p:attrNameLst>
                                          <p:attrName>ppt_h</p:attrName>
                                        </p:attrNameLst>
                                      </p:cBhvr>
                                      <p:tavLst>
                                        <p:tav tm="0">
                                          <p:val>
                                            <p:fltVal val="0"/>
                                          </p:val>
                                        </p:tav>
                                        <p:tav tm="100000">
                                          <p:val>
                                            <p:strVal val="#ppt_h"/>
                                          </p:val>
                                        </p:tav>
                                      </p:tavLst>
                                    </p:anim>
                                    <p:animEffect transition="in" filter="fade">
                                      <p:cBhvr>
                                        <p:cTn id="21" dur="250"/>
                                        <p:tgtEl>
                                          <p:spTgt spid="102"/>
                                        </p:tgtEl>
                                      </p:cBhvr>
                                    </p:animEffect>
                                  </p:childTnLst>
                                </p:cTn>
                              </p:par>
                              <p:par>
                                <p:cTn id="22" presetID="6" presetClass="emph" presetSubtype="0" decel="100000" fill="hold" nodeType="withEffect">
                                  <p:stCondLst>
                                    <p:cond delay="100"/>
                                  </p:stCondLst>
                                  <p:childTnLst>
                                    <p:animScale>
                                      <p:cBhvr>
                                        <p:cTn id="23" dur="250" fill="hold"/>
                                        <p:tgtEl>
                                          <p:spTgt spid="102"/>
                                        </p:tgtEl>
                                      </p:cBhvr>
                                      <p:by x="110000" y="110000"/>
                                    </p:animScale>
                                  </p:childTnLst>
                                </p:cTn>
                              </p:par>
                              <p:par>
                                <p:cTn id="24" presetID="6" presetClass="emph" presetSubtype="0" decel="100000" fill="hold" nodeType="withEffect">
                                  <p:stCondLst>
                                    <p:cond delay="200"/>
                                  </p:stCondLst>
                                  <p:childTnLst>
                                    <p:animScale>
                                      <p:cBhvr>
                                        <p:cTn id="25" dur="250" fill="hold"/>
                                        <p:tgtEl>
                                          <p:spTgt spid="102"/>
                                        </p:tgtEl>
                                      </p:cBhvr>
                                      <p:by x="91000" y="91000"/>
                                    </p:animScale>
                                  </p:childTnLst>
                                </p:cTn>
                              </p:par>
                            </p:childTnLst>
                          </p:cTn>
                        </p:par>
                      </p:childTnLst>
                    </p:cTn>
                  </p:par>
                  <p:par>
                    <p:cTn id="26" fill="hold">
                      <p:stCondLst>
                        <p:cond delay="indefinite"/>
                      </p:stCondLst>
                      <p:childTnLst>
                        <p:par>
                          <p:cTn id="27" fill="hold">
                            <p:stCondLst>
                              <p:cond delay="0"/>
                            </p:stCondLst>
                            <p:childTnLst>
                              <p:par>
                                <p:cTn id="28" presetID="2" presetClass="entr" presetSubtype="4" decel="100000" fill="hold" nodeType="clickEffect">
                                  <p:stCondLst>
                                    <p:cond delay="0"/>
                                  </p:stCondLst>
                                  <p:childTnLst>
                                    <p:set>
                                      <p:cBhvr>
                                        <p:cTn id="29" dur="1" fill="hold">
                                          <p:stCondLst>
                                            <p:cond delay="0"/>
                                          </p:stCondLst>
                                        </p:cTn>
                                        <p:tgtEl>
                                          <p:spTgt spid="9"/>
                                        </p:tgtEl>
                                        <p:attrNameLst>
                                          <p:attrName>style.visibility</p:attrName>
                                        </p:attrNameLst>
                                      </p:cBhvr>
                                      <p:to>
                                        <p:strVal val="visible"/>
                                      </p:to>
                                    </p:set>
                                    <p:anim calcmode="lin" valueType="num">
                                      <p:cBhvr additive="base">
                                        <p:cTn id="30" dur="600" fill="hold"/>
                                        <p:tgtEl>
                                          <p:spTgt spid="9"/>
                                        </p:tgtEl>
                                        <p:attrNameLst>
                                          <p:attrName>ppt_x</p:attrName>
                                        </p:attrNameLst>
                                      </p:cBhvr>
                                      <p:tavLst>
                                        <p:tav tm="0">
                                          <p:val>
                                            <p:strVal val="#ppt_x"/>
                                          </p:val>
                                        </p:tav>
                                        <p:tav tm="100000">
                                          <p:val>
                                            <p:strVal val="#ppt_x"/>
                                          </p:val>
                                        </p:tav>
                                      </p:tavLst>
                                    </p:anim>
                                    <p:anim calcmode="lin" valueType="num">
                                      <p:cBhvr additive="base">
                                        <p:cTn id="31" dur="600" fill="hold"/>
                                        <p:tgtEl>
                                          <p:spTgt spid="9"/>
                                        </p:tgtEl>
                                        <p:attrNameLst>
                                          <p:attrName>ppt_y</p:attrName>
                                        </p:attrNameLst>
                                      </p:cBhvr>
                                      <p:tavLst>
                                        <p:tav tm="0">
                                          <p:val>
                                            <p:strVal val="1+#ppt_h/2"/>
                                          </p:val>
                                        </p:tav>
                                        <p:tav tm="100000">
                                          <p:val>
                                            <p:strVal val="#ppt_y"/>
                                          </p:val>
                                        </p:tav>
                                      </p:tavLst>
                                    </p:anim>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01"/>
                                        </p:tgtEl>
                                        <p:attrNameLst>
                                          <p:attrName>style.visibility</p:attrName>
                                        </p:attrNameLst>
                                      </p:cBhvr>
                                      <p:to>
                                        <p:strVal val="visible"/>
                                      </p:to>
                                    </p:set>
                                    <p:anim calcmode="lin" valueType="num">
                                      <p:cBhvr>
                                        <p:cTn id="36" dur="250" fill="hold"/>
                                        <p:tgtEl>
                                          <p:spTgt spid="101"/>
                                        </p:tgtEl>
                                        <p:attrNameLst>
                                          <p:attrName>ppt_w</p:attrName>
                                        </p:attrNameLst>
                                      </p:cBhvr>
                                      <p:tavLst>
                                        <p:tav tm="0">
                                          <p:val>
                                            <p:fltVal val="0"/>
                                          </p:val>
                                        </p:tav>
                                        <p:tav tm="100000">
                                          <p:val>
                                            <p:strVal val="#ppt_w"/>
                                          </p:val>
                                        </p:tav>
                                      </p:tavLst>
                                    </p:anim>
                                    <p:anim calcmode="lin" valueType="num">
                                      <p:cBhvr>
                                        <p:cTn id="37" dur="250" fill="hold"/>
                                        <p:tgtEl>
                                          <p:spTgt spid="101"/>
                                        </p:tgtEl>
                                        <p:attrNameLst>
                                          <p:attrName>ppt_h</p:attrName>
                                        </p:attrNameLst>
                                      </p:cBhvr>
                                      <p:tavLst>
                                        <p:tav tm="0">
                                          <p:val>
                                            <p:fltVal val="0"/>
                                          </p:val>
                                        </p:tav>
                                        <p:tav tm="100000">
                                          <p:val>
                                            <p:strVal val="#ppt_h"/>
                                          </p:val>
                                        </p:tav>
                                      </p:tavLst>
                                    </p:anim>
                                    <p:animEffect transition="in" filter="fade">
                                      <p:cBhvr>
                                        <p:cTn id="38" dur="250"/>
                                        <p:tgtEl>
                                          <p:spTgt spid="101"/>
                                        </p:tgtEl>
                                      </p:cBhvr>
                                    </p:animEffect>
                                  </p:childTnLst>
                                </p:cTn>
                              </p:par>
                              <p:par>
                                <p:cTn id="39" presetID="6" presetClass="emph" presetSubtype="0" decel="100000" fill="hold" nodeType="withEffect">
                                  <p:stCondLst>
                                    <p:cond delay="100"/>
                                  </p:stCondLst>
                                  <p:childTnLst>
                                    <p:animScale>
                                      <p:cBhvr>
                                        <p:cTn id="40" dur="250" fill="hold"/>
                                        <p:tgtEl>
                                          <p:spTgt spid="101"/>
                                        </p:tgtEl>
                                      </p:cBhvr>
                                      <p:by x="110000" y="110000"/>
                                    </p:animScale>
                                  </p:childTnLst>
                                </p:cTn>
                              </p:par>
                              <p:par>
                                <p:cTn id="41" presetID="6" presetClass="emph" presetSubtype="0" decel="100000" fill="hold" nodeType="withEffect">
                                  <p:stCondLst>
                                    <p:cond delay="200"/>
                                  </p:stCondLst>
                                  <p:childTnLst>
                                    <p:animScale>
                                      <p:cBhvr>
                                        <p:cTn id="42" dur="250" fill="hold"/>
                                        <p:tgtEl>
                                          <p:spTgt spid="101"/>
                                        </p:tgtEl>
                                      </p:cBhvr>
                                      <p:by x="91000" y="91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7" name="Rectangle 236"/>
          <p:cNvSpPr/>
          <p:nvPr/>
        </p:nvSpPr>
        <p:spPr bwMode="auto">
          <a:xfrm>
            <a:off x="463282" y="894279"/>
            <a:ext cx="11307607" cy="2002349"/>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650" fontAlgn="base">
              <a:spcBef>
                <a:spcPct val="0"/>
              </a:spcBef>
              <a:spcAft>
                <a:spcPct val="0"/>
              </a:spcAft>
            </a:pPr>
            <a:endParaRPr lang="en-US" sz="1764" dirty="0">
              <a:gradFill>
                <a:gsLst>
                  <a:gs pos="10619">
                    <a:srgbClr val="505050"/>
                  </a:gs>
                  <a:gs pos="28000">
                    <a:srgbClr val="505050"/>
                  </a:gs>
                </a:gsLst>
                <a:lin ang="5400000" scaled="0"/>
              </a:gradFill>
            </a:endParaRPr>
          </a:p>
        </p:txBody>
      </p:sp>
      <p:sp>
        <p:nvSpPr>
          <p:cNvPr id="13" name="Rectangle 12"/>
          <p:cNvSpPr/>
          <p:nvPr/>
        </p:nvSpPr>
        <p:spPr bwMode="auto">
          <a:xfrm>
            <a:off x="458281" y="3811480"/>
            <a:ext cx="3733596" cy="2750810"/>
          </a:xfrm>
          <a:prstGeom prst="rect">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0" name="Group 9"/>
          <p:cNvGrpSpPr/>
          <p:nvPr/>
        </p:nvGrpSpPr>
        <p:grpSpPr>
          <a:xfrm>
            <a:off x="675063" y="4834531"/>
            <a:ext cx="1300655" cy="299499"/>
            <a:chOff x="688778" y="4752237"/>
            <a:chExt cx="1327082" cy="305584"/>
          </a:xfrm>
        </p:grpSpPr>
        <p:grpSp>
          <p:nvGrpSpPr>
            <p:cNvPr id="5" name="Group 4"/>
            <p:cNvGrpSpPr/>
            <p:nvPr/>
          </p:nvGrpSpPr>
          <p:grpSpPr>
            <a:xfrm>
              <a:off x="688778" y="4752237"/>
              <a:ext cx="307450" cy="305584"/>
              <a:chOff x="3802770" y="-2002971"/>
              <a:chExt cx="1532420" cy="1523121"/>
            </a:xfrm>
            <a:solidFill>
              <a:schemeClr val="tx1"/>
            </a:solidFill>
          </p:grpSpPr>
          <p:grpSp>
            <p:nvGrpSpPr>
              <p:cNvPr id="4" name="Group 3"/>
              <p:cNvGrpSpPr/>
              <p:nvPr/>
            </p:nvGrpSpPr>
            <p:grpSpPr>
              <a:xfrm>
                <a:off x="3802770" y="-2002971"/>
                <a:ext cx="1532420" cy="474276"/>
                <a:chOff x="3802770" y="-2002971"/>
                <a:chExt cx="1532420" cy="474276"/>
              </a:xfrm>
              <a:grpFill/>
            </p:grpSpPr>
            <p:sp>
              <p:nvSpPr>
                <p:cNvPr id="2" name="Rectangle 1"/>
                <p:cNvSpPr/>
                <p:nvPr/>
              </p:nvSpPr>
              <p:spPr bwMode="auto">
                <a:xfrm>
                  <a:off x="3802770"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31" name="Rectangle 630"/>
                <p:cNvSpPr/>
                <p:nvPr/>
              </p:nvSpPr>
              <p:spPr bwMode="auto">
                <a:xfrm>
                  <a:off x="4331842"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38" name="Rectangle 637"/>
                <p:cNvSpPr/>
                <p:nvPr/>
              </p:nvSpPr>
              <p:spPr bwMode="auto">
                <a:xfrm>
                  <a:off x="4860914"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639" name="Group 638"/>
              <p:cNvGrpSpPr/>
              <p:nvPr/>
            </p:nvGrpSpPr>
            <p:grpSpPr>
              <a:xfrm>
                <a:off x="3802770" y="-1478549"/>
                <a:ext cx="1532420" cy="474276"/>
                <a:chOff x="3802770" y="-2002971"/>
                <a:chExt cx="1532420" cy="474276"/>
              </a:xfrm>
              <a:grpFill/>
            </p:grpSpPr>
            <p:sp>
              <p:nvSpPr>
                <p:cNvPr id="640" name="Rectangle 639"/>
                <p:cNvSpPr/>
                <p:nvPr/>
              </p:nvSpPr>
              <p:spPr bwMode="auto">
                <a:xfrm>
                  <a:off x="3802770"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41" name="Rectangle 640"/>
                <p:cNvSpPr/>
                <p:nvPr/>
              </p:nvSpPr>
              <p:spPr bwMode="auto">
                <a:xfrm>
                  <a:off x="4331842"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42" name="Rectangle 641"/>
                <p:cNvSpPr/>
                <p:nvPr/>
              </p:nvSpPr>
              <p:spPr bwMode="auto">
                <a:xfrm>
                  <a:off x="4860914"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643" name="Group 642"/>
              <p:cNvGrpSpPr/>
              <p:nvPr/>
            </p:nvGrpSpPr>
            <p:grpSpPr>
              <a:xfrm>
                <a:off x="3802770" y="-954126"/>
                <a:ext cx="1532420" cy="474276"/>
                <a:chOff x="3802770" y="-2002971"/>
                <a:chExt cx="1532420" cy="474276"/>
              </a:xfrm>
              <a:grpFill/>
            </p:grpSpPr>
            <p:sp>
              <p:nvSpPr>
                <p:cNvPr id="644" name="Rectangle 643"/>
                <p:cNvSpPr/>
                <p:nvPr/>
              </p:nvSpPr>
              <p:spPr bwMode="auto">
                <a:xfrm>
                  <a:off x="3802770"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45" name="Rectangle 644"/>
                <p:cNvSpPr/>
                <p:nvPr/>
              </p:nvSpPr>
              <p:spPr bwMode="auto">
                <a:xfrm>
                  <a:off x="4331842"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46" name="Rectangle 645"/>
                <p:cNvSpPr/>
                <p:nvPr/>
              </p:nvSpPr>
              <p:spPr bwMode="auto">
                <a:xfrm>
                  <a:off x="4860914"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699" name="TextBox 698"/>
            <p:cNvSpPr txBox="1"/>
            <p:nvPr/>
          </p:nvSpPr>
          <p:spPr>
            <a:xfrm>
              <a:off x="1162762" y="4794230"/>
              <a:ext cx="853098" cy="221599"/>
            </a:xfrm>
            <a:prstGeom prst="rect">
              <a:avLst/>
            </a:prstGeom>
            <a:noFill/>
          </p:spPr>
          <p:txBody>
            <a:bodyPr wrap="square" lIns="0" tIns="0" rIns="0" bIns="0" rtlCol="0">
              <a:spAutoFit/>
            </a:bodyPr>
            <a:lstStyle/>
            <a:p>
              <a:pPr defTabSz="914093">
                <a:lnSpc>
                  <a:spcPct val="90000"/>
                </a:lnSpc>
                <a:spcAft>
                  <a:spcPts val="588"/>
                </a:spcAft>
              </a:pPr>
              <a:r>
                <a:rPr lang="en-US" sz="1568" spc="-29" dirty="0">
                  <a:gradFill>
                    <a:gsLst>
                      <a:gs pos="2917">
                        <a:srgbClr val="FFFFFF"/>
                      </a:gs>
                      <a:gs pos="30000">
                        <a:srgbClr val="FFFFFF"/>
                      </a:gs>
                    </a:gsLst>
                    <a:lin ang="5400000" scaled="0"/>
                  </a:gradFill>
                </a:rPr>
                <a:t>My Apps</a:t>
              </a:r>
            </a:p>
          </p:txBody>
        </p:sp>
      </p:grpSp>
      <p:sp>
        <p:nvSpPr>
          <p:cNvPr id="6" name="Rectangle 5"/>
          <p:cNvSpPr/>
          <p:nvPr/>
        </p:nvSpPr>
        <p:spPr bwMode="auto">
          <a:xfrm>
            <a:off x="458281" y="2932402"/>
            <a:ext cx="3733596" cy="879077"/>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828" fontAlgn="base">
              <a:lnSpc>
                <a:spcPct val="90000"/>
              </a:lnSpc>
              <a:spcBef>
                <a:spcPct val="0"/>
              </a:spcBef>
              <a:spcAft>
                <a:spcPct val="0"/>
              </a:spcAft>
            </a:pPr>
            <a:endPar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endParaRPr>
          </a:p>
        </p:txBody>
      </p:sp>
      <p:pic>
        <p:nvPicPr>
          <p:cNvPr id="547" name="Picture 54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981703" y="1276109"/>
            <a:ext cx="3789186" cy="1554271"/>
          </a:xfrm>
          <a:prstGeom prst="rect">
            <a:avLst/>
          </a:prstGeom>
        </p:spPr>
      </p:pic>
      <p:sp>
        <p:nvSpPr>
          <p:cNvPr id="852" name="Rectangle 851"/>
          <p:cNvSpPr/>
          <p:nvPr/>
        </p:nvSpPr>
        <p:spPr bwMode="auto">
          <a:xfrm>
            <a:off x="458281" y="2932402"/>
            <a:ext cx="3733596" cy="8790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828" fontAlgn="base">
              <a:lnSpc>
                <a:spcPct val="90000"/>
              </a:lnSpc>
              <a:spcBef>
                <a:spcPct val="0"/>
              </a:spcBef>
              <a:spcAft>
                <a:spcPct val="0"/>
              </a:spcAft>
            </a:pPr>
            <a: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EXTEND OFFICE </a:t>
            </a:r>
            <a:b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br>
            <a: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EVERYWHERE</a:t>
            </a:r>
          </a:p>
        </p:txBody>
      </p:sp>
      <p:sp>
        <p:nvSpPr>
          <p:cNvPr id="853" name="Freeform 33"/>
          <p:cNvSpPr>
            <a:spLocks noChangeAspect="1" noEditPoints="1"/>
          </p:cNvSpPr>
          <p:nvPr/>
        </p:nvSpPr>
        <p:spPr bwMode="auto">
          <a:xfrm>
            <a:off x="2313561" y="5395499"/>
            <a:ext cx="1000876" cy="414909"/>
          </a:xfrm>
          <a:custGeom>
            <a:avLst/>
            <a:gdLst>
              <a:gd name="T0" fmla="*/ 88 w 232"/>
              <a:gd name="T1" fmla="*/ 84 h 96"/>
              <a:gd name="T2" fmla="*/ 84 w 232"/>
              <a:gd name="T3" fmla="*/ 72 h 96"/>
              <a:gd name="T4" fmla="*/ 60 w 232"/>
              <a:gd name="T5" fmla="*/ 60 h 96"/>
              <a:gd name="T6" fmla="*/ 60 w 232"/>
              <a:gd name="T7" fmla="*/ 56 h 96"/>
              <a:gd name="T8" fmla="*/ 84 w 232"/>
              <a:gd name="T9" fmla="*/ 44 h 96"/>
              <a:gd name="T10" fmla="*/ 84 w 232"/>
              <a:gd name="T11" fmla="*/ 36 h 96"/>
              <a:gd name="T12" fmla="*/ 60 w 232"/>
              <a:gd name="T13" fmla="*/ 24 h 96"/>
              <a:gd name="T14" fmla="*/ 60 w 232"/>
              <a:gd name="T15" fmla="*/ 20 h 96"/>
              <a:gd name="T16" fmla="*/ 92 w 232"/>
              <a:gd name="T17" fmla="*/ 16 h 96"/>
              <a:gd name="T18" fmla="*/ 0 w 232"/>
              <a:gd name="T19" fmla="*/ 83 h 96"/>
              <a:gd name="T20" fmla="*/ 48 w 232"/>
              <a:gd name="T21" fmla="*/ 28 h 96"/>
              <a:gd name="T22" fmla="*/ 36 w 232"/>
              <a:gd name="T23" fmla="*/ 53 h 96"/>
              <a:gd name="T24" fmla="*/ 36 w 232"/>
              <a:gd name="T25" fmla="*/ 56 h 96"/>
              <a:gd name="T26" fmla="*/ 35 w 232"/>
              <a:gd name="T27" fmla="*/ 54 h 96"/>
              <a:gd name="T28" fmla="*/ 30 w 232"/>
              <a:gd name="T29" fmla="*/ 29 h 96"/>
              <a:gd name="T30" fmla="*/ 18 w 232"/>
              <a:gd name="T31" fmla="*/ 53 h 96"/>
              <a:gd name="T32" fmla="*/ 18 w 232"/>
              <a:gd name="T33" fmla="*/ 56 h 96"/>
              <a:gd name="T34" fmla="*/ 18 w 232"/>
              <a:gd name="T35" fmla="*/ 53 h 96"/>
              <a:gd name="T36" fmla="*/ 14 w 232"/>
              <a:gd name="T37" fmla="*/ 30 h 96"/>
              <a:gd name="T38" fmla="*/ 21 w 232"/>
              <a:gd name="T39" fmla="*/ 63 h 96"/>
              <a:gd name="T40" fmla="*/ 26 w 232"/>
              <a:gd name="T41" fmla="*/ 40 h 96"/>
              <a:gd name="T42" fmla="*/ 26 w 232"/>
              <a:gd name="T43" fmla="*/ 38 h 96"/>
              <a:gd name="T44" fmla="*/ 27 w 232"/>
              <a:gd name="T45" fmla="*/ 41 h 96"/>
              <a:gd name="T46" fmla="*/ 39 w 232"/>
              <a:gd name="T47" fmla="*/ 64 h 96"/>
              <a:gd name="T48" fmla="*/ 159 w 232"/>
              <a:gd name="T49" fmla="*/ 65 h 96"/>
              <a:gd name="T50" fmla="*/ 147 w 232"/>
              <a:gd name="T51" fmla="*/ 37 h 96"/>
              <a:gd name="T52" fmla="*/ 139 w 232"/>
              <a:gd name="T53" fmla="*/ 65 h 96"/>
              <a:gd name="T54" fmla="*/ 129 w 232"/>
              <a:gd name="T55" fmla="*/ 31 h 96"/>
              <a:gd name="T56" fmla="*/ 137 w 232"/>
              <a:gd name="T57" fmla="*/ 61 h 96"/>
              <a:gd name="T58" fmla="*/ 149 w 232"/>
              <a:gd name="T59" fmla="*/ 31 h 96"/>
              <a:gd name="T60" fmla="*/ 156 w 232"/>
              <a:gd name="T61" fmla="*/ 61 h 96"/>
              <a:gd name="T62" fmla="*/ 168 w 232"/>
              <a:gd name="T63" fmla="*/ 31 h 96"/>
              <a:gd name="T64" fmla="*/ 180 w 232"/>
              <a:gd name="T65" fmla="*/ 66 h 96"/>
              <a:gd name="T66" fmla="*/ 172 w 232"/>
              <a:gd name="T67" fmla="*/ 44 h 96"/>
              <a:gd name="T68" fmla="*/ 192 w 232"/>
              <a:gd name="T69" fmla="*/ 53 h 96"/>
              <a:gd name="T70" fmla="*/ 180 w 232"/>
              <a:gd name="T71" fmla="*/ 44 h 96"/>
              <a:gd name="T72" fmla="*/ 174 w 232"/>
              <a:gd name="T73" fmla="*/ 60 h 96"/>
              <a:gd name="T74" fmla="*/ 188 w 232"/>
              <a:gd name="T75" fmla="*/ 53 h 96"/>
              <a:gd name="T76" fmla="*/ 202 w 232"/>
              <a:gd name="T77" fmla="*/ 47 h 96"/>
              <a:gd name="T78" fmla="*/ 197 w 232"/>
              <a:gd name="T79" fmla="*/ 65 h 96"/>
              <a:gd name="T80" fmla="*/ 200 w 232"/>
              <a:gd name="T81" fmla="*/ 46 h 96"/>
              <a:gd name="T82" fmla="*/ 207 w 232"/>
              <a:gd name="T83" fmla="*/ 41 h 96"/>
              <a:gd name="T84" fmla="*/ 232 w 232"/>
              <a:gd name="T85" fmla="*/ 65 h 96"/>
              <a:gd name="T86" fmla="*/ 228 w 232"/>
              <a:gd name="T87" fmla="*/ 61 h 96"/>
              <a:gd name="T88" fmla="*/ 210 w 232"/>
              <a:gd name="T89" fmla="*/ 54 h 96"/>
              <a:gd name="T90" fmla="*/ 228 w 232"/>
              <a:gd name="T91" fmla="*/ 44 h 96"/>
              <a:gd name="T92" fmla="*/ 232 w 232"/>
              <a:gd name="T93" fmla="*/ 29 h 96"/>
              <a:gd name="T94" fmla="*/ 228 w 232"/>
              <a:gd name="T95" fmla="*/ 51 h 96"/>
              <a:gd name="T96" fmla="*/ 216 w 232"/>
              <a:gd name="T97" fmla="*/ 46 h 96"/>
              <a:gd name="T98" fmla="*/ 221 w 232"/>
              <a:gd name="T99" fmla="*/ 6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32" h="96">
                <a:moveTo>
                  <a:pt x="92" y="16"/>
                </a:moveTo>
                <a:cubicBezTo>
                  <a:pt x="92" y="80"/>
                  <a:pt x="92" y="80"/>
                  <a:pt x="92" y="80"/>
                </a:cubicBezTo>
                <a:cubicBezTo>
                  <a:pt x="92" y="83"/>
                  <a:pt x="90" y="84"/>
                  <a:pt x="88" y="84"/>
                </a:cubicBezTo>
                <a:cubicBezTo>
                  <a:pt x="60" y="84"/>
                  <a:pt x="60" y="84"/>
                  <a:pt x="60" y="84"/>
                </a:cubicBezTo>
                <a:cubicBezTo>
                  <a:pt x="60" y="72"/>
                  <a:pt x="60" y="72"/>
                  <a:pt x="60" y="72"/>
                </a:cubicBezTo>
                <a:cubicBezTo>
                  <a:pt x="84" y="72"/>
                  <a:pt x="84" y="72"/>
                  <a:pt x="84" y="72"/>
                </a:cubicBezTo>
                <a:cubicBezTo>
                  <a:pt x="84" y="68"/>
                  <a:pt x="84" y="68"/>
                  <a:pt x="84" y="68"/>
                </a:cubicBezTo>
                <a:cubicBezTo>
                  <a:pt x="60" y="68"/>
                  <a:pt x="60" y="68"/>
                  <a:pt x="60" y="68"/>
                </a:cubicBezTo>
                <a:cubicBezTo>
                  <a:pt x="60" y="60"/>
                  <a:pt x="60" y="60"/>
                  <a:pt x="60" y="60"/>
                </a:cubicBezTo>
                <a:cubicBezTo>
                  <a:pt x="84" y="60"/>
                  <a:pt x="84" y="60"/>
                  <a:pt x="84" y="60"/>
                </a:cubicBezTo>
                <a:cubicBezTo>
                  <a:pt x="84" y="56"/>
                  <a:pt x="84" y="56"/>
                  <a:pt x="84" y="56"/>
                </a:cubicBezTo>
                <a:cubicBezTo>
                  <a:pt x="60" y="56"/>
                  <a:pt x="60" y="56"/>
                  <a:pt x="60" y="56"/>
                </a:cubicBezTo>
                <a:cubicBezTo>
                  <a:pt x="60" y="48"/>
                  <a:pt x="60" y="48"/>
                  <a:pt x="60" y="48"/>
                </a:cubicBezTo>
                <a:cubicBezTo>
                  <a:pt x="84" y="48"/>
                  <a:pt x="84" y="48"/>
                  <a:pt x="84" y="48"/>
                </a:cubicBezTo>
                <a:cubicBezTo>
                  <a:pt x="84" y="44"/>
                  <a:pt x="84" y="44"/>
                  <a:pt x="84" y="44"/>
                </a:cubicBezTo>
                <a:cubicBezTo>
                  <a:pt x="60" y="44"/>
                  <a:pt x="60" y="44"/>
                  <a:pt x="60" y="44"/>
                </a:cubicBezTo>
                <a:cubicBezTo>
                  <a:pt x="60" y="36"/>
                  <a:pt x="60" y="36"/>
                  <a:pt x="60" y="36"/>
                </a:cubicBezTo>
                <a:cubicBezTo>
                  <a:pt x="84" y="36"/>
                  <a:pt x="84" y="36"/>
                  <a:pt x="84" y="36"/>
                </a:cubicBezTo>
                <a:cubicBezTo>
                  <a:pt x="84" y="32"/>
                  <a:pt x="84" y="32"/>
                  <a:pt x="84" y="32"/>
                </a:cubicBezTo>
                <a:cubicBezTo>
                  <a:pt x="60" y="32"/>
                  <a:pt x="60" y="32"/>
                  <a:pt x="60" y="32"/>
                </a:cubicBezTo>
                <a:cubicBezTo>
                  <a:pt x="60" y="24"/>
                  <a:pt x="60" y="24"/>
                  <a:pt x="60" y="24"/>
                </a:cubicBezTo>
                <a:cubicBezTo>
                  <a:pt x="84" y="24"/>
                  <a:pt x="84" y="24"/>
                  <a:pt x="84" y="24"/>
                </a:cubicBezTo>
                <a:cubicBezTo>
                  <a:pt x="84" y="20"/>
                  <a:pt x="84" y="20"/>
                  <a:pt x="84" y="20"/>
                </a:cubicBezTo>
                <a:cubicBezTo>
                  <a:pt x="60" y="20"/>
                  <a:pt x="60" y="20"/>
                  <a:pt x="60" y="20"/>
                </a:cubicBezTo>
                <a:cubicBezTo>
                  <a:pt x="60" y="12"/>
                  <a:pt x="60" y="12"/>
                  <a:pt x="60" y="12"/>
                </a:cubicBezTo>
                <a:cubicBezTo>
                  <a:pt x="88" y="12"/>
                  <a:pt x="88" y="12"/>
                  <a:pt x="88" y="12"/>
                </a:cubicBezTo>
                <a:cubicBezTo>
                  <a:pt x="90" y="12"/>
                  <a:pt x="92" y="14"/>
                  <a:pt x="92" y="16"/>
                </a:cubicBezTo>
                <a:close/>
                <a:moveTo>
                  <a:pt x="56" y="0"/>
                </a:moveTo>
                <a:cubicBezTo>
                  <a:pt x="56" y="96"/>
                  <a:pt x="56" y="96"/>
                  <a:pt x="56" y="96"/>
                </a:cubicBezTo>
                <a:cubicBezTo>
                  <a:pt x="0" y="83"/>
                  <a:pt x="0" y="83"/>
                  <a:pt x="0" y="83"/>
                </a:cubicBezTo>
                <a:cubicBezTo>
                  <a:pt x="0" y="13"/>
                  <a:pt x="0" y="13"/>
                  <a:pt x="0" y="13"/>
                </a:cubicBezTo>
                <a:lnTo>
                  <a:pt x="56" y="0"/>
                </a:lnTo>
                <a:close/>
                <a:moveTo>
                  <a:pt x="48" y="28"/>
                </a:moveTo>
                <a:cubicBezTo>
                  <a:pt x="40" y="29"/>
                  <a:pt x="40" y="29"/>
                  <a:pt x="40" y="29"/>
                </a:cubicBezTo>
                <a:cubicBezTo>
                  <a:pt x="36" y="52"/>
                  <a:pt x="36" y="52"/>
                  <a:pt x="36" y="52"/>
                </a:cubicBezTo>
                <a:cubicBezTo>
                  <a:pt x="36" y="53"/>
                  <a:pt x="36" y="53"/>
                  <a:pt x="36" y="53"/>
                </a:cubicBezTo>
                <a:cubicBezTo>
                  <a:pt x="36" y="54"/>
                  <a:pt x="36" y="54"/>
                  <a:pt x="36" y="54"/>
                </a:cubicBezTo>
                <a:cubicBezTo>
                  <a:pt x="36" y="55"/>
                  <a:pt x="36" y="55"/>
                  <a:pt x="36" y="55"/>
                </a:cubicBezTo>
                <a:cubicBezTo>
                  <a:pt x="36" y="56"/>
                  <a:pt x="36" y="56"/>
                  <a:pt x="36" y="56"/>
                </a:cubicBezTo>
                <a:cubicBezTo>
                  <a:pt x="36" y="56"/>
                  <a:pt x="36" y="56"/>
                  <a:pt x="36" y="56"/>
                </a:cubicBezTo>
                <a:cubicBezTo>
                  <a:pt x="36" y="56"/>
                  <a:pt x="35" y="55"/>
                  <a:pt x="35" y="55"/>
                </a:cubicBezTo>
                <a:cubicBezTo>
                  <a:pt x="35" y="55"/>
                  <a:pt x="35" y="54"/>
                  <a:pt x="35" y="54"/>
                </a:cubicBezTo>
                <a:cubicBezTo>
                  <a:pt x="35" y="54"/>
                  <a:pt x="35" y="53"/>
                  <a:pt x="35" y="53"/>
                </a:cubicBezTo>
                <a:cubicBezTo>
                  <a:pt x="35" y="53"/>
                  <a:pt x="35" y="53"/>
                  <a:pt x="35" y="52"/>
                </a:cubicBezTo>
                <a:cubicBezTo>
                  <a:pt x="30" y="29"/>
                  <a:pt x="30" y="29"/>
                  <a:pt x="30" y="29"/>
                </a:cubicBezTo>
                <a:cubicBezTo>
                  <a:pt x="23" y="30"/>
                  <a:pt x="23" y="30"/>
                  <a:pt x="23" y="30"/>
                </a:cubicBezTo>
                <a:cubicBezTo>
                  <a:pt x="18" y="52"/>
                  <a:pt x="18" y="52"/>
                  <a:pt x="18" y="52"/>
                </a:cubicBezTo>
                <a:cubicBezTo>
                  <a:pt x="18" y="52"/>
                  <a:pt x="18" y="52"/>
                  <a:pt x="18" y="53"/>
                </a:cubicBezTo>
                <a:cubicBezTo>
                  <a:pt x="18" y="53"/>
                  <a:pt x="18" y="53"/>
                  <a:pt x="18" y="54"/>
                </a:cubicBezTo>
                <a:cubicBezTo>
                  <a:pt x="18" y="54"/>
                  <a:pt x="18" y="54"/>
                  <a:pt x="18" y="55"/>
                </a:cubicBezTo>
                <a:cubicBezTo>
                  <a:pt x="18" y="55"/>
                  <a:pt x="18" y="55"/>
                  <a:pt x="18" y="56"/>
                </a:cubicBezTo>
                <a:cubicBezTo>
                  <a:pt x="18" y="56"/>
                  <a:pt x="18" y="56"/>
                  <a:pt x="18" y="56"/>
                </a:cubicBezTo>
                <a:cubicBezTo>
                  <a:pt x="18" y="55"/>
                  <a:pt x="18" y="55"/>
                  <a:pt x="18" y="54"/>
                </a:cubicBezTo>
                <a:cubicBezTo>
                  <a:pt x="18" y="54"/>
                  <a:pt x="18" y="54"/>
                  <a:pt x="18" y="53"/>
                </a:cubicBezTo>
                <a:cubicBezTo>
                  <a:pt x="18" y="53"/>
                  <a:pt x="18" y="53"/>
                  <a:pt x="18" y="53"/>
                </a:cubicBezTo>
                <a:cubicBezTo>
                  <a:pt x="18" y="52"/>
                  <a:pt x="18" y="52"/>
                  <a:pt x="17" y="52"/>
                </a:cubicBezTo>
                <a:cubicBezTo>
                  <a:pt x="14" y="30"/>
                  <a:pt x="14" y="30"/>
                  <a:pt x="14" y="30"/>
                </a:cubicBezTo>
                <a:cubicBezTo>
                  <a:pt x="8" y="31"/>
                  <a:pt x="8" y="31"/>
                  <a:pt x="8" y="31"/>
                </a:cubicBezTo>
                <a:cubicBezTo>
                  <a:pt x="14" y="63"/>
                  <a:pt x="14" y="63"/>
                  <a:pt x="14" y="63"/>
                </a:cubicBezTo>
                <a:cubicBezTo>
                  <a:pt x="21" y="63"/>
                  <a:pt x="21" y="63"/>
                  <a:pt x="21" y="63"/>
                </a:cubicBezTo>
                <a:cubicBezTo>
                  <a:pt x="26" y="42"/>
                  <a:pt x="26" y="42"/>
                  <a:pt x="26" y="42"/>
                </a:cubicBezTo>
                <a:cubicBezTo>
                  <a:pt x="26" y="41"/>
                  <a:pt x="26" y="41"/>
                  <a:pt x="26" y="41"/>
                </a:cubicBezTo>
                <a:cubicBezTo>
                  <a:pt x="26" y="40"/>
                  <a:pt x="26" y="40"/>
                  <a:pt x="26" y="40"/>
                </a:cubicBezTo>
                <a:cubicBezTo>
                  <a:pt x="26" y="40"/>
                  <a:pt x="26" y="39"/>
                  <a:pt x="26" y="39"/>
                </a:cubicBezTo>
                <a:cubicBezTo>
                  <a:pt x="26" y="39"/>
                  <a:pt x="26" y="38"/>
                  <a:pt x="26" y="38"/>
                </a:cubicBezTo>
                <a:cubicBezTo>
                  <a:pt x="26" y="38"/>
                  <a:pt x="26" y="38"/>
                  <a:pt x="26" y="38"/>
                </a:cubicBezTo>
                <a:cubicBezTo>
                  <a:pt x="26" y="38"/>
                  <a:pt x="26" y="38"/>
                  <a:pt x="26" y="39"/>
                </a:cubicBezTo>
                <a:cubicBezTo>
                  <a:pt x="27" y="39"/>
                  <a:pt x="27" y="39"/>
                  <a:pt x="27" y="40"/>
                </a:cubicBezTo>
                <a:cubicBezTo>
                  <a:pt x="27" y="40"/>
                  <a:pt x="27" y="40"/>
                  <a:pt x="27" y="41"/>
                </a:cubicBezTo>
                <a:cubicBezTo>
                  <a:pt x="27" y="41"/>
                  <a:pt x="27" y="41"/>
                  <a:pt x="27" y="42"/>
                </a:cubicBezTo>
                <a:cubicBezTo>
                  <a:pt x="32" y="64"/>
                  <a:pt x="32" y="64"/>
                  <a:pt x="32" y="64"/>
                </a:cubicBezTo>
                <a:cubicBezTo>
                  <a:pt x="39" y="64"/>
                  <a:pt x="39" y="64"/>
                  <a:pt x="39" y="64"/>
                </a:cubicBezTo>
                <a:lnTo>
                  <a:pt x="48" y="28"/>
                </a:lnTo>
                <a:close/>
                <a:moveTo>
                  <a:pt x="168" y="31"/>
                </a:moveTo>
                <a:cubicBezTo>
                  <a:pt x="159" y="65"/>
                  <a:pt x="159" y="65"/>
                  <a:pt x="159" y="65"/>
                </a:cubicBezTo>
                <a:cubicBezTo>
                  <a:pt x="154" y="65"/>
                  <a:pt x="154" y="65"/>
                  <a:pt x="154" y="65"/>
                </a:cubicBezTo>
                <a:cubicBezTo>
                  <a:pt x="147" y="40"/>
                  <a:pt x="147" y="40"/>
                  <a:pt x="147" y="40"/>
                </a:cubicBezTo>
                <a:cubicBezTo>
                  <a:pt x="147" y="40"/>
                  <a:pt x="147" y="38"/>
                  <a:pt x="147" y="37"/>
                </a:cubicBezTo>
                <a:cubicBezTo>
                  <a:pt x="146" y="37"/>
                  <a:pt x="146" y="37"/>
                  <a:pt x="146" y="37"/>
                </a:cubicBezTo>
                <a:cubicBezTo>
                  <a:pt x="146" y="38"/>
                  <a:pt x="146" y="39"/>
                  <a:pt x="146" y="40"/>
                </a:cubicBezTo>
                <a:cubicBezTo>
                  <a:pt x="139" y="65"/>
                  <a:pt x="139" y="65"/>
                  <a:pt x="139" y="65"/>
                </a:cubicBezTo>
                <a:cubicBezTo>
                  <a:pt x="134" y="65"/>
                  <a:pt x="134" y="65"/>
                  <a:pt x="134" y="65"/>
                </a:cubicBezTo>
                <a:cubicBezTo>
                  <a:pt x="124" y="31"/>
                  <a:pt x="124" y="31"/>
                  <a:pt x="124" y="31"/>
                </a:cubicBezTo>
                <a:cubicBezTo>
                  <a:pt x="129" y="31"/>
                  <a:pt x="129" y="31"/>
                  <a:pt x="129" y="31"/>
                </a:cubicBezTo>
                <a:cubicBezTo>
                  <a:pt x="136" y="57"/>
                  <a:pt x="136" y="57"/>
                  <a:pt x="136" y="57"/>
                </a:cubicBezTo>
                <a:cubicBezTo>
                  <a:pt x="136" y="58"/>
                  <a:pt x="136" y="59"/>
                  <a:pt x="137" y="61"/>
                </a:cubicBezTo>
                <a:cubicBezTo>
                  <a:pt x="137" y="61"/>
                  <a:pt x="137" y="61"/>
                  <a:pt x="137" y="61"/>
                </a:cubicBezTo>
                <a:cubicBezTo>
                  <a:pt x="137" y="60"/>
                  <a:pt x="137" y="58"/>
                  <a:pt x="137" y="57"/>
                </a:cubicBezTo>
                <a:cubicBezTo>
                  <a:pt x="145" y="31"/>
                  <a:pt x="145" y="31"/>
                  <a:pt x="145" y="31"/>
                </a:cubicBezTo>
                <a:cubicBezTo>
                  <a:pt x="149" y="31"/>
                  <a:pt x="149" y="31"/>
                  <a:pt x="149" y="31"/>
                </a:cubicBezTo>
                <a:cubicBezTo>
                  <a:pt x="156" y="57"/>
                  <a:pt x="156" y="57"/>
                  <a:pt x="156" y="57"/>
                </a:cubicBezTo>
                <a:cubicBezTo>
                  <a:pt x="156" y="58"/>
                  <a:pt x="156" y="59"/>
                  <a:pt x="156" y="61"/>
                </a:cubicBezTo>
                <a:cubicBezTo>
                  <a:pt x="156" y="61"/>
                  <a:pt x="156" y="61"/>
                  <a:pt x="156" y="61"/>
                </a:cubicBezTo>
                <a:cubicBezTo>
                  <a:pt x="156" y="60"/>
                  <a:pt x="157" y="59"/>
                  <a:pt x="157" y="57"/>
                </a:cubicBezTo>
                <a:cubicBezTo>
                  <a:pt x="164" y="31"/>
                  <a:pt x="164" y="31"/>
                  <a:pt x="164" y="31"/>
                </a:cubicBezTo>
                <a:lnTo>
                  <a:pt x="168" y="31"/>
                </a:lnTo>
                <a:close/>
                <a:moveTo>
                  <a:pt x="192" y="53"/>
                </a:moveTo>
                <a:cubicBezTo>
                  <a:pt x="192" y="57"/>
                  <a:pt x="191" y="60"/>
                  <a:pt x="189" y="62"/>
                </a:cubicBezTo>
                <a:cubicBezTo>
                  <a:pt x="187" y="64"/>
                  <a:pt x="184" y="66"/>
                  <a:pt x="180" y="66"/>
                </a:cubicBezTo>
                <a:cubicBezTo>
                  <a:pt x="176" y="66"/>
                  <a:pt x="174" y="64"/>
                  <a:pt x="171" y="62"/>
                </a:cubicBezTo>
                <a:cubicBezTo>
                  <a:pt x="169" y="60"/>
                  <a:pt x="168" y="57"/>
                  <a:pt x="168" y="53"/>
                </a:cubicBezTo>
                <a:cubicBezTo>
                  <a:pt x="168" y="49"/>
                  <a:pt x="169" y="46"/>
                  <a:pt x="172" y="44"/>
                </a:cubicBezTo>
                <a:cubicBezTo>
                  <a:pt x="174" y="42"/>
                  <a:pt x="177" y="40"/>
                  <a:pt x="181" y="40"/>
                </a:cubicBezTo>
                <a:cubicBezTo>
                  <a:pt x="184" y="40"/>
                  <a:pt x="187" y="42"/>
                  <a:pt x="189" y="44"/>
                </a:cubicBezTo>
                <a:cubicBezTo>
                  <a:pt x="191" y="46"/>
                  <a:pt x="192" y="49"/>
                  <a:pt x="192" y="53"/>
                </a:cubicBezTo>
                <a:close/>
                <a:moveTo>
                  <a:pt x="188" y="53"/>
                </a:moveTo>
                <a:cubicBezTo>
                  <a:pt x="188" y="50"/>
                  <a:pt x="187" y="48"/>
                  <a:pt x="186" y="46"/>
                </a:cubicBezTo>
                <a:cubicBezTo>
                  <a:pt x="185" y="45"/>
                  <a:pt x="183" y="44"/>
                  <a:pt x="180" y="44"/>
                </a:cubicBezTo>
                <a:cubicBezTo>
                  <a:pt x="178" y="44"/>
                  <a:pt x="176" y="45"/>
                  <a:pt x="174" y="46"/>
                </a:cubicBezTo>
                <a:cubicBezTo>
                  <a:pt x="173" y="48"/>
                  <a:pt x="172" y="50"/>
                  <a:pt x="172" y="53"/>
                </a:cubicBezTo>
                <a:cubicBezTo>
                  <a:pt x="172" y="56"/>
                  <a:pt x="173" y="58"/>
                  <a:pt x="174" y="60"/>
                </a:cubicBezTo>
                <a:cubicBezTo>
                  <a:pt x="176" y="62"/>
                  <a:pt x="178" y="62"/>
                  <a:pt x="180" y="62"/>
                </a:cubicBezTo>
                <a:cubicBezTo>
                  <a:pt x="183" y="62"/>
                  <a:pt x="185" y="62"/>
                  <a:pt x="186" y="60"/>
                </a:cubicBezTo>
                <a:cubicBezTo>
                  <a:pt x="187" y="58"/>
                  <a:pt x="188" y="56"/>
                  <a:pt x="188" y="53"/>
                </a:cubicBezTo>
                <a:close/>
                <a:moveTo>
                  <a:pt x="209" y="45"/>
                </a:moveTo>
                <a:cubicBezTo>
                  <a:pt x="208" y="44"/>
                  <a:pt x="207" y="44"/>
                  <a:pt x="206" y="44"/>
                </a:cubicBezTo>
                <a:cubicBezTo>
                  <a:pt x="204" y="44"/>
                  <a:pt x="203" y="45"/>
                  <a:pt x="202" y="47"/>
                </a:cubicBezTo>
                <a:cubicBezTo>
                  <a:pt x="201" y="48"/>
                  <a:pt x="200" y="50"/>
                  <a:pt x="200" y="53"/>
                </a:cubicBezTo>
                <a:cubicBezTo>
                  <a:pt x="200" y="65"/>
                  <a:pt x="200" y="65"/>
                  <a:pt x="200" y="65"/>
                </a:cubicBezTo>
                <a:cubicBezTo>
                  <a:pt x="197" y="65"/>
                  <a:pt x="197" y="65"/>
                  <a:pt x="197" y="65"/>
                </a:cubicBezTo>
                <a:cubicBezTo>
                  <a:pt x="197" y="41"/>
                  <a:pt x="197" y="41"/>
                  <a:pt x="197" y="41"/>
                </a:cubicBezTo>
                <a:cubicBezTo>
                  <a:pt x="200" y="41"/>
                  <a:pt x="200" y="41"/>
                  <a:pt x="200" y="41"/>
                </a:cubicBezTo>
                <a:cubicBezTo>
                  <a:pt x="200" y="46"/>
                  <a:pt x="200" y="46"/>
                  <a:pt x="200" y="46"/>
                </a:cubicBezTo>
                <a:cubicBezTo>
                  <a:pt x="201" y="46"/>
                  <a:pt x="201" y="46"/>
                  <a:pt x="201" y="46"/>
                </a:cubicBezTo>
                <a:cubicBezTo>
                  <a:pt x="201" y="44"/>
                  <a:pt x="202" y="43"/>
                  <a:pt x="203" y="42"/>
                </a:cubicBezTo>
                <a:cubicBezTo>
                  <a:pt x="204" y="41"/>
                  <a:pt x="205" y="41"/>
                  <a:pt x="207" y="41"/>
                </a:cubicBezTo>
                <a:cubicBezTo>
                  <a:pt x="208" y="41"/>
                  <a:pt x="209" y="41"/>
                  <a:pt x="209" y="41"/>
                </a:cubicBezTo>
                <a:lnTo>
                  <a:pt x="209" y="45"/>
                </a:lnTo>
                <a:close/>
                <a:moveTo>
                  <a:pt x="232" y="65"/>
                </a:moveTo>
                <a:cubicBezTo>
                  <a:pt x="228" y="65"/>
                  <a:pt x="228" y="65"/>
                  <a:pt x="228" y="65"/>
                </a:cubicBezTo>
                <a:cubicBezTo>
                  <a:pt x="228" y="61"/>
                  <a:pt x="228" y="61"/>
                  <a:pt x="228" y="61"/>
                </a:cubicBezTo>
                <a:cubicBezTo>
                  <a:pt x="228" y="61"/>
                  <a:pt x="228" y="61"/>
                  <a:pt x="228" y="61"/>
                </a:cubicBezTo>
                <a:cubicBezTo>
                  <a:pt x="226" y="64"/>
                  <a:pt x="223" y="66"/>
                  <a:pt x="219" y="66"/>
                </a:cubicBezTo>
                <a:cubicBezTo>
                  <a:pt x="216" y="66"/>
                  <a:pt x="214" y="65"/>
                  <a:pt x="212" y="62"/>
                </a:cubicBezTo>
                <a:cubicBezTo>
                  <a:pt x="210" y="60"/>
                  <a:pt x="210" y="57"/>
                  <a:pt x="210" y="54"/>
                </a:cubicBezTo>
                <a:cubicBezTo>
                  <a:pt x="210" y="50"/>
                  <a:pt x="211" y="46"/>
                  <a:pt x="213" y="44"/>
                </a:cubicBezTo>
                <a:cubicBezTo>
                  <a:pt x="215" y="42"/>
                  <a:pt x="217" y="40"/>
                  <a:pt x="221" y="40"/>
                </a:cubicBezTo>
                <a:cubicBezTo>
                  <a:pt x="224" y="40"/>
                  <a:pt x="226" y="42"/>
                  <a:pt x="228" y="44"/>
                </a:cubicBezTo>
                <a:cubicBezTo>
                  <a:pt x="228" y="44"/>
                  <a:pt x="228" y="44"/>
                  <a:pt x="228" y="44"/>
                </a:cubicBezTo>
                <a:cubicBezTo>
                  <a:pt x="228" y="29"/>
                  <a:pt x="228" y="29"/>
                  <a:pt x="228" y="29"/>
                </a:cubicBezTo>
                <a:cubicBezTo>
                  <a:pt x="232" y="29"/>
                  <a:pt x="232" y="29"/>
                  <a:pt x="232" y="29"/>
                </a:cubicBezTo>
                <a:lnTo>
                  <a:pt x="232" y="65"/>
                </a:lnTo>
                <a:close/>
                <a:moveTo>
                  <a:pt x="228" y="54"/>
                </a:moveTo>
                <a:cubicBezTo>
                  <a:pt x="228" y="51"/>
                  <a:pt x="228" y="51"/>
                  <a:pt x="228" y="51"/>
                </a:cubicBezTo>
                <a:cubicBezTo>
                  <a:pt x="228" y="49"/>
                  <a:pt x="227" y="47"/>
                  <a:pt x="226" y="46"/>
                </a:cubicBezTo>
                <a:cubicBezTo>
                  <a:pt x="225" y="44"/>
                  <a:pt x="223" y="44"/>
                  <a:pt x="221" y="44"/>
                </a:cubicBezTo>
                <a:cubicBezTo>
                  <a:pt x="219" y="44"/>
                  <a:pt x="217" y="45"/>
                  <a:pt x="216" y="46"/>
                </a:cubicBezTo>
                <a:cubicBezTo>
                  <a:pt x="214" y="48"/>
                  <a:pt x="213" y="50"/>
                  <a:pt x="213" y="53"/>
                </a:cubicBezTo>
                <a:cubicBezTo>
                  <a:pt x="213" y="56"/>
                  <a:pt x="214" y="58"/>
                  <a:pt x="215" y="60"/>
                </a:cubicBezTo>
                <a:cubicBezTo>
                  <a:pt x="217" y="62"/>
                  <a:pt x="218" y="62"/>
                  <a:pt x="221" y="62"/>
                </a:cubicBezTo>
                <a:cubicBezTo>
                  <a:pt x="223" y="62"/>
                  <a:pt x="224" y="62"/>
                  <a:pt x="226" y="60"/>
                </a:cubicBezTo>
                <a:cubicBezTo>
                  <a:pt x="227" y="59"/>
                  <a:pt x="228" y="57"/>
                  <a:pt x="228"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nvGrpSpPr>
          <p:cNvPr id="855" name="Group 53"/>
          <p:cNvGrpSpPr>
            <a:grpSpLocks noChangeAspect="1"/>
          </p:cNvGrpSpPr>
          <p:nvPr/>
        </p:nvGrpSpPr>
        <p:grpSpPr bwMode="auto">
          <a:xfrm>
            <a:off x="2313561" y="4156585"/>
            <a:ext cx="1094204" cy="418456"/>
            <a:chOff x="3453" y="2013"/>
            <a:chExt cx="774" cy="296"/>
          </a:xfrm>
        </p:grpSpPr>
        <p:sp>
          <p:nvSpPr>
            <p:cNvPr id="874" name="Freeform 54"/>
            <p:cNvSpPr>
              <a:spLocks noEditPoints="1"/>
            </p:cNvSpPr>
            <p:nvPr/>
          </p:nvSpPr>
          <p:spPr bwMode="auto">
            <a:xfrm>
              <a:off x="3834" y="2108"/>
              <a:ext cx="60" cy="102"/>
            </a:xfrm>
            <a:custGeom>
              <a:avLst/>
              <a:gdLst>
                <a:gd name="T0" fmla="*/ 25 w 25"/>
                <a:gd name="T1" fmla="*/ 13 h 42"/>
                <a:gd name="T2" fmla="*/ 21 w 25"/>
                <a:gd name="T3" fmla="*/ 22 h 42"/>
                <a:gd name="T4" fmla="*/ 10 w 25"/>
                <a:gd name="T5" fmla="*/ 26 h 42"/>
                <a:gd name="T6" fmla="*/ 5 w 25"/>
                <a:gd name="T7" fmla="*/ 26 h 42"/>
                <a:gd name="T8" fmla="*/ 5 w 25"/>
                <a:gd name="T9" fmla="*/ 42 h 42"/>
                <a:gd name="T10" fmla="*/ 0 w 25"/>
                <a:gd name="T11" fmla="*/ 42 h 42"/>
                <a:gd name="T12" fmla="*/ 0 w 25"/>
                <a:gd name="T13" fmla="*/ 0 h 42"/>
                <a:gd name="T14" fmla="*/ 11 w 25"/>
                <a:gd name="T15" fmla="*/ 0 h 42"/>
                <a:gd name="T16" fmla="*/ 22 w 25"/>
                <a:gd name="T17" fmla="*/ 3 h 42"/>
                <a:gd name="T18" fmla="*/ 25 w 25"/>
                <a:gd name="T19" fmla="*/ 13 h 42"/>
                <a:gd name="T20" fmla="*/ 20 w 25"/>
                <a:gd name="T21" fmla="*/ 13 h 42"/>
                <a:gd name="T22" fmla="*/ 10 w 25"/>
                <a:gd name="T23" fmla="*/ 5 h 42"/>
                <a:gd name="T24" fmla="*/ 5 w 25"/>
                <a:gd name="T25" fmla="*/ 5 h 42"/>
                <a:gd name="T26" fmla="*/ 5 w 25"/>
                <a:gd name="T27" fmla="*/ 22 h 42"/>
                <a:gd name="T28" fmla="*/ 10 w 25"/>
                <a:gd name="T29" fmla="*/ 22 h 42"/>
                <a:gd name="T30" fmla="*/ 18 w 25"/>
                <a:gd name="T31" fmla="*/ 19 h 42"/>
                <a:gd name="T32" fmla="*/ 20 w 25"/>
                <a:gd name="T33" fmla="*/ 1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42">
                  <a:moveTo>
                    <a:pt x="25" y="13"/>
                  </a:moveTo>
                  <a:cubicBezTo>
                    <a:pt x="25" y="17"/>
                    <a:pt x="24" y="20"/>
                    <a:pt x="21" y="22"/>
                  </a:cubicBezTo>
                  <a:cubicBezTo>
                    <a:pt x="18" y="25"/>
                    <a:pt x="15" y="26"/>
                    <a:pt x="10" y="26"/>
                  </a:cubicBezTo>
                  <a:cubicBezTo>
                    <a:pt x="5" y="26"/>
                    <a:pt x="5" y="26"/>
                    <a:pt x="5" y="26"/>
                  </a:cubicBezTo>
                  <a:cubicBezTo>
                    <a:pt x="5" y="42"/>
                    <a:pt x="5" y="42"/>
                    <a:pt x="5" y="42"/>
                  </a:cubicBezTo>
                  <a:cubicBezTo>
                    <a:pt x="0" y="42"/>
                    <a:pt x="0" y="42"/>
                    <a:pt x="0" y="42"/>
                  </a:cubicBezTo>
                  <a:cubicBezTo>
                    <a:pt x="0" y="0"/>
                    <a:pt x="0" y="0"/>
                    <a:pt x="0" y="0"/>
                  </a:cubicBezTo>
                  <a:cubicBezTo>
                    <a:pt x="11" y="0"/>
                    <a:pt x="11" y="0"/>
                    <a:pt x="11" y="0"/>
                  </a:cubicBezTo>
                  <a:cubicBezTo>
                    <a:pt x="16" y="0"/>
                    <a:pt x="19" y="1"/>
                    <a:pt x="22" y="3"/>
                  </a:cubicBezTo>
                  <a:cubicBezTo>
                    <a:pt x="24" y="6"/>
                    <a:pt x="25" y="9"/>
                    <a:pt x="25" y="13"/>
                  </a:cubicBezTo>
                  <a:close/>
                  <a:moveTo>
                    <a:pt x="20" y="13"/>
                  </a:moveTo>
                  <a:cubicBezTo>
                    <a:pt x="20" y="7"/>
                    <a:pt x="17" y="5"/>
                    <a:pt x="10" y="5"/>
                  </a:cubicBezTo>
                  <a:cubicBezTo>
                    <a:pt x="5" y="5"/>
                    <a:pt x="5" y="5"/>
                    <a:pt x="5" y="5"/>
                  </a:cubicBezTo>
                  <a:cubicBezTo>
                    <a:pt x="5" y="22"/>
                    <a:pt x="5" y="22"/>
                    <a:pt x="5" y="22"/>
                  </a:cubicBezTo>
                  <a:cubicBezTo>
                    <a:pt x="10" y="22"/>
                    <a:pt x="10" y="22"/>
                    <a:pt x="10" y="22"/>
                  </a:cubicBezTo>
                  <a:cubicBezTo>
                    <a:pt x="13" y="22"/>
                    <a:pt x="16" y="21"/>
                    <a:pt x="18" y="19"/>
                  </a:cubicBezTo>
                  <a:cubicBezTo>
                    <a:pt x="19" y="18"/>
                    <a:pt x="20" y="16"/>
                    <a:pt x="20"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75" name="Freeform 55"/>
            <p:cNvSpPr>
              <a:spLocks/>
            </p:cNvSpPr>
            <p:nvPr/>
          </p:nvSpPr>
          <p:spPr bwMode="auto">
            <a:xfrm>
              <a:off x="3908" y="2137"/>
              <a:ext cx="38" cy="73"/>
            </a:xfrm>
            <a:custGeom>
              <a:avLst/>
              <a:gdLst>
                <a:gd name="T0" fmla="*/ 16 w 16"/>
                <a:gd name="T1" fmla="*/ 5 h 30"/>
                <a:gd name="T2" fmla="*/ 12 w 16"/>
                <a:gd name="T3" fmla="*/ 4 h 30"/>
                <a:gd name="T4" fmla="*/ 7 w 16"/>
                <a:gd name="T5" fmla="*/ 7 h 30"/>
                <a:gd name="T6" fmla="*/ 5 w 16"/>
                <a:gd name="T7" fmla="*/ 15 h 30"/>
                <a:gd name="T8" fmla="*/ 5 w 16"/>
                <a:gd name="T9" fmla="*/ 30 h 30"/>
                <a:gd name="T10" fmla="*/ 0 w 16"/>
                <a:gd name="T11" fmla="*/ 30 h 30"/>
                <a:gd name="T12" fmla="*/ 0 w 16"/>
                <a:gd name="T13" fmla="*/ 0 h 30"/>
                <a:gd name="T14" fmla="*/ 5 w 16"/>
                <a:gd name="T15" fmla="*/ 0 h 30"/>
                <a:gd name="T16" fmla="*/ 5 w 16"/>
                <a:gd name="T17" fmla="*/ 6 h 30"/>
                <a:gd name="T18" fmla="*/ 5 w 16"/>
                <a:gd name="T19" fmla="*/ 6 h 30"/>
                <a:gd name="T20" fmla="*/ 8 w 16"/>
                <a:gd name="T21" fmla="*/ 1 h 30"/>
                <a:gd name="T22" fmla="*/ 13 w 16"/>
                <a:gd name="T23" fmla="*/ 0 h 30"/>
                <a:gd name="T24" fmla="*/ 16 w 16"/>
                <a:gd name="T25" fmla="*/ 0 h 30"/>
                <a:gd name="T26" fmla="*/ 16 w 16"/>
                <a:gd name="T27"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30">
                  <a:moveTo>
                    <a:pt x="16" y="5"/>
                  </a:moveTo>
                  <a:cubicBezTo>
                    <a:pt x="15" y="4"/>
                    <a:pt x="14" y="4"/>
                    <a:pt x="12" y="4"/>
                  </a:cubicBezTo>
                  <a:cubicBezTo>
                    <a:pt x="10" y="4"/>
                    <a:pt x="8" y="5"/>
                    <a:pt x="7" y="7"/>
                  </a:cubicBezTo>
                  <a:cubicBezTo>
                    <a:pt x="5" y="9"/>
                    <a:pt x="5" y="12"/>
                    <a:pt x="5" y="15"/>
                  </a:cubicBezTo>
                  <a:cubicBezTo>
                    <a:pt x="5" y="30"/>
                    <a:pt x="5" y="30"/>
                    <a:pt x="5" y="30"/>
                  </a:cubicBezTo>
                  <a:cubicBezTo>
                    <a:pt x="0" y="30"/>
                    <a:pt x="0" y="30"/>
                    <a:pt x="0" y="30"/>
                  </a:cubicBezTo>
                  <a:cubicBezTo>
                    <a:pt x="0" y="0"/>
                    <a:pt x="0" y="0"/>
                    <a:pt x="0" y="0"/>
                  </a:cubicBezTo>
                  <a:cubicBezTo>
                    <a:pt x="5" y="0"/>
                    <a:pt x="5" y="0"/>
                    <a:pt x="5" y="0"/>
                  </a:cubicBezTo>
                  <a:cubicBezTo>
                    <a:pt x="5" y="6"/>
                    <a:pt x="5" y="6"/>
                    <a:pt x="5" y="6"/>
                  </a:cubicBezTo>
                  <a:cubicBezTo>
                    <a:pt x="5" y="6"/>
                    <a:pt x="5" y="6"/>
                    <a:pt x="5" y="6"/>
                  </a:cubicBezTo>
                  <a:cubicBezTo>
                    <a:pt x="6" y="4"/>
                    <a:pt x="7" y="3"/>
                    <a:pt x="8" y="1"/>
                  </a:cubicBezTo>
                  <a:cubicBezTo>
                    <a:pt x="9" y="0"/>
                    <a:pt x="11" y="0"/>
                    <a:pt x="13" y="0"/>
                  </a:cubicBezTo>
                  <a:cubicBezTo>
                    <a:pt x="14" y="0"/>
                    <a:pt x="15" y="0"/>
                    <a:pt x="16" y="0"/>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76" name="Freeform 56"/>
            <p:cNvSpPr>
              <a:spLocks noEditPoints="1"/>
            </p:cNvSpPr>
            <p:nvPr/>
          </p:nvSpPr>
          <p:spPr bwMode="auto">
            <a:xfrm>
              <a:off x="3946" y="2134"/>
              <a:ext cx="72" cy="78"/>
            </a:xfrm>
            <a:custGeom>
              <a:avLst/>
              <a:gdLst>
                <a:gd name="T0" fmla="*/ 30 w 30"/>
                <a:gd name="T1" fmla="*/ 16 h 32"/>
                <a:gd name="T2" fmla="*/ 26 w 30"/>
                <a:gd name="T3" fmla="*/ 27 h 32"/>
                <a:gd name="T4" fmla="*/ 15 w 30"/>
                <a:gd name="T5" fmla="*/ 32 h 32"/>
                <a:gd name="T6" fmla="*/ 4 w 30"/>
                <a:gd name="T7" fmla="*/ 28 h 32"/>
                <a:gd name="T8" fmla="*/ 0 w 30"/>
                <a:gd name="T9" fmla="*/ 16 h 32"/>
                <a:gd name="T10" fmla="*/ 4 w 30"/>
                <a:gd name="T11" fmla="*/ 5 h 32"/>
                <a:gd name="T12" fmla="*/ 15 w 30"/>
                <a:gd name="T13" fmla="*/ 0 h 32"/>
                <a:gd name="T14" fmla="*/ 26 w 30"/>
                <a:gd name="T15" fmla="*/ 5 h 32"/>
                <a:gd name="T16" fmla="*/ 30 w 30"/>
                <a:gd name="T17" fmla="*/ 16 h 32"/>
                <a:gd name="T18" fmla="*/ 25 w 30"/>
                <a:gd name="T19" fmla="*/ 16 h 32"/>
                <a:gd name="T20" fmla="*/ 22 w 30"/>
                <a:gd name="T21" fmla="*/ 7 h 32"/>
                <a:gd name="T22" fmla="*/ 15 w 30"/>
                <a:gd name="T23" fmla="*/ 4 h 32"/>
                <a:gd name="T24" fmla="*/ 8 w 30"/>
                <a:gd name="T25" fmla="*/ 8 h 32"/>
                <a:gd name="T26" fmla="*/ 5 w 30"/>
                <a:gd name="T27" fmla="*/ 16 h 32"/>
                <a:gd name="T28" fmla="*/ 8 w 30"/>
                <a:gd name="T29" fmla="*/ 25 h 32"/>
                <a:gd name="T30" fmla="*/ 15 w 30"/>
                <a:gd name="T31" fmla="*/ 28 h 32"/>
                <a:gd name="T32" fmla="*/ 22 w 30"/>
                <a:gd name="T33" fmla="*/ 25 h 32"/>
                <a:gd name="T34" fmla="*/ 25 w 30"/>
                <a:gd name="T35"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32">
                  <a:moveTo>
                    <a:pt x="30" y="16"/>
                  </a:moveTo>
                  <a:cubicBezTo>
                    <a:pt x="30" y="21"/>
                    <a:pt x="28" y="25"/>
                    <a:pt x="26" y="27"/>
                  </a:cubicBezTo>
                  <a:cubicBezTo>
                    <a:pt x="23" y="30"/>
                    <a:pt x="19" y="32"/>
                    <a:pt x="15" y="32"/>
                  </a:cubicBezTo>
                  <a:cubicBezTo>
                    <a:pt x="10" y="32"/>
                    <a:pt x="7" y="30"/>
                    <a:pt x="4" y="28"/>
                  </a:cubicBezTo>
                  <a:cubicBezTo>
                    <a:pt x="2" y="25"/>
                    <a:pt x="0" y="21"/>
                    <a:pt x="0" y="16"/>
                  </a:cubicBezTo>
                  <a:cubicBezTo>
                    <a:pt x="0" y="11"/>
                    <a:pt x="2" y="8"/>
                    <a:pt x="4" y="5"/>
                  </a:cubicBezTo>
                  <a:cubicBezTo>
                    <a:pt x="7" y="2"/>
                    <a:pt x="11" y="0"/>
                    <a:pt x="15" y="0"/>
                  </a:cubicBezTo>
                  <a:cubicBezTo>
                    <a:pt x="20" y="0"/>
                    <a:pt x="23" y="2"/>
                    <a:pt x="26" y="5"/>
                  </a:cubicBezTo>
                  <a:cubicBezTo>
                    <a:pt x="28" y="7"/>
                    <a:pt x="30" y="11"/>
                    <a:pt x="30" y="16"/>
                  </a:cubicBezTo>
                  <a:close/>
                  <a:moveTo>
                    <a:pt x="25" y="16"/>
                  </a:moveTo>
                  <a:cubicBezTo>
                    <a:pt x="25" y="12"/>
                    <a:pt x="24" y="9"/>
                    <a:pt x="22" y="7"/>
                  </a:cubicBezTo>
                  <a:cubicBezTo>
                    <a:pt x="21" y="5"/>
                    <a:pt x="18" y="4"/>
                    <a:pt x="15" y="4"/>
                  </a:cubicBezTo>
                  <a:cubicBezTo>
                    <a:pt x="12" y="4"/>
                    <a:pt x="10" y="5"/>
                    <a:pt x="8" y="8"/>
                  </a:cubicBezTo>
                  <a:cubicBezTo>
                    <a:pt x="6" y="10"/>
                    <a:pt x="5" y="12"/>
                    <a:pt x="5" y="16"/>
                  </a:cubicBezTo>
                  <a:cubicBezTo>
                    <a:pt x="5" y="20"/>
                    <a:pt x="6" y="23"/>
                    <a:pt x="8" y="25"/>
                  </a:cubicBezTo>
                  <a:cubicBezTo>
                    <a:pt x="10" y="27"/>
                    <a:pt x="12" y="28"/>
                    <a:pt x="15" y="28"/>
                  </a:cubicBezTo>
                  <a:cubicBezTo>
                    <a:pt x="18" y="28"/>
                    <a:pt x="21" y="27"/>
                    <a:pt x="22" y="25"/>
                  </a:cubicBezTo>
                  <a:cubicBezTo>
                    <a:pt x="24" y="23"/>
                    <a:pt x="25" y="20"/>
                    <a:pt x="25"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77" name="Freeform 57"/>
            <p:cNvSpPr>
              <a:spLocks noEditPoints="1"/>
            </p:cNvSpPr>
            <p:nvPr/>
          </p:nvSpPr>
          <p:spPr bwMode="auto">
            <a:xfrm>
              <a:off x="4006" y="2103"/>
              <a:ext cx="38" cy="141"/>
            </a:xfrm>
            <a:custGeom>
              <a:avLst/>
              <a:gdLst>
                <a:gd name="T0" fmla="*/ 15 w 16"/>
                <a:gd name="T1" fmla="*/ 43 h 58"/>
                <a:gd name="T2" fmla="*/ 12 w 16"/>
                <a:gd name="T3" fmla="*/ 54 h 58"/>
                <a:gd name="T4" fmla="*/ 4 w 16"/>
                <a:gd name="T5" fmla="*/ 58 h 58"/>
                <a:gd name="T6" fmla="*/ 0 w 16"/>
                <a:gd name="T7" fmla="*/ 57 h 58"/>
                <a:gd name="T8" fmla="*/ 0 w 16"/>
                <a:gd name="T9" fmla="*/ 53 h 58"/>
                <a:gd name="T10" fmla="*/ 4 w 16"/>
                <a:gd name="T11" fmla="*/ 54 h 58"/>
                <a:gd name="T12" fmla="*/ 11 w 16"/>
                <a:gd name="T13" fmla="*/ 44 h 58"/>
                <a:gd name="T14" fmla="*/ 11 w 16"/>
                <a:gd name="T15" fmla="*/ 14 h 58"/>
                <a:gd name="T16" fmla="*/ 15 w 16"/>
                <a:gd name="T17" fmla="*/ 14 h 58"/>
                <a:gd name="T18" fmla="*/ 15 w 16"/>
                <a:gd name="T19" fmla="*/ 43 h 58"/>
                <a:gd name="T20" fmla="*/ 16 w 16"/>
                <a:gd name="T21" fmla="*/ 3 h 58"/>
                <a:gd name="T22" fmla="*/ 15 w 16"/>
                <a:gd name="T23" fmla="*/ 6 h 58"/>
                <a:gd name="T24" fmla="*/ 13 w 16"/>
                <a:gd name="T25" fmla="*/ 6 h 58"/>
                <a:gd name="T26" fmla="*/ 11 w 16"/>
                <a:gd name="T27" fmla="*/ 6 h 58"/>
                <a:gd name="T28" fmla="*/ 10 w 16"/>
                <a:gd name="T29" fmla="*/ 3 h 58"/>
                <a:gd name="T30" fmla="*/ 11 w 16"/>
                <a:gd name="T31" fmla="*/ 1 h 58"/>
                <a:gd name="T32" fmla="*/ 13 w 16"/>
                <a:gd name="T33" fmla="*/ 0 h 58"/>
                <a:gd name="T34" fmla="*/ 15 w 16"/>
                <a:gd name="T35" fmla="*/ 1 h 58"/>
                <a:gd name="T36" fmla="*/ 16 w 16"/>
                <a:gd name="T37" fmla="*/ 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58">
                  <a:moveTo>
                    <a:pt x="15" y="43"/>
                  </a:moveTo>
                  <a:cubicBezTo>
                    <a:pt x="15" y="48"/>
                    <a:pt x="14" y="52"/>
                    <a:pt x="12" y="54"/>
                  </a:cubicBezTo>
                  <a:cubicBezTo>
                    <a:pt x="10" y="57"/>
                    <a:pt x="8" y="58"/>
                    <a:pt x="4" y="58"/>
                  </a:cubicBezTo>
                  <a:cubicBezTo>
                    <a:pt x="2" y="58"/>
                    <a:pt x="1" y="58"/>
                    <a:pt x="0" y="57"/>
                  </a:cubicBezTo>
                  <a:cubicBezTo>
                    <a:pt x="0" y="53"/>
                    <a:pt x="0" y="53"/>
                    <a:pt x="0" y="53"/>
                  </a:cubicBezTo>
                  <a:cubicBezTo>
                    <a:pt x="1" y="54"/>
                    <a:pt x="3" y="54"/>
                    <a:pt x="4" y="54"/>
                  </a:cubicBezTo>
                  <a:cubicBezTo>
                    <a:pt x="8" y="54"/>
                    <a:pt x="11" y="51"/>
                    <a:pt x="11" y="44"/>
                  </a:cubicBezTo>
                  <a:cubicBezTo>
                    <a:pt x="11" y="14"/>
                    <a:pt x="11" y="14"/>
                    <a:pt x="11" y="14"/>
                  </a:cubicBezTo>
                  <a:cubicBezTo>
                    <a:pt x="15" y="14"/>
                    <a:pt x="15" y="14"/>
                    <a:pt x="15" y="14"/>
                  </a:cubicBezTo>
                  <a:lnTo>
                    <a:pt x="15" y="43"/>
                  </a:lnTo>
                  <a:close/>
                  <a:moveTo>
                    <a:pt x="16" y="3"/>
                  </a:moveTo>
                  <a:cubicBezTo>
                    <a:pt x="16" y="4"/>
                    <a:pt x="16" y="5"/>
                    <a:pt x="15" y="6"/>
                  </a:cubicBezTo>
                  <a:cubicBezTo>
                    <a:pt x="15" y="6"/>
                    <a:pt x="14" y="6"/>
                    <a:pt x="13" y="6"/>
                  </a:cubicBezTo>
                  <a:cubicBezTo>
                    <a:pt x="12" y="6"/>
                    <a:pt x="11" y="6"/>
                    <a:pt x="11" y="6"/>
                  </a:cubicBezTo>
                  <a:cubicBezTo>
                    <a:pt x="10" y="5"/>
                    <a:pt x="10" y="4"/>
                    <a:pt x="10" y="3"/>
                  </a:cubicBezTo>
                  <a:cubicBezTo>
                    <a:pt x="10" y="2"/>
                    <a:pt x="10" y="2"/>
                    <a:pt x="11" y="1"/>
                  </a:cubicBezTo>
                  <a:cubicBezTo>
                    <a:pt x="11" y="1"/>
                    <a:pt x="12" y="0"/>
                    <a:pt x="13" y="0"/>
                  </a:cubicBezTo>
                  <a:cubicBezTo>
                    <a:pt x="14" y="0"/>
                    <a:pt x="15" y="1"/>
                    <a:pt x="15" y="1"/>
                  </a:cubicBezTo>
                  <a:cubicBezTo>
                    <a:pt x="16" y="2"/>
                    <a:pt x="16" y="2"/>
                    <a:pt x="16"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78" name="Freeform 58"/>
            <p:cNvSpPr>
              <a:spLocks noEditPoints="1"/>
            </p:cNvSpPr>
            <p:nvPr/>
          </p:nvSpPr>
          <p:spPr bwMode="auto">
            <a:xfrm>
              <a:off x="4056" y="2134"/>
              <a:ext cx="62" cy="78"/>
            </a:xfrm>
            <a:custGeom>
              <a:avLst/>
              <a:gdLst>
                <a:gd name="T0" fmla="*/ 26 w 26"/>
                <a:gd name="T1" fmla="*/ 17 h 32"/>
                <a:gd name="T2" fmla="*/ 5 w 26"/>
                <a:gd name="T3" fmla="*/ 17 h 32"/>
                <a:gd name="T4" fmla="*/ 8 w 26"/>
                <a:gd name="T5" fmla="*/ 25 h 32"/>
                <a:gd name="T6" fmla="*/ 15 w 26"/>
                <a:gd name="T7" fmla="*/ 28 h 32"/>
                <a:gd name="T8" fmla="*/ 24 w 26"/>
                <a:gd name="T9" fmla="*/ 24 h 32"/>
                <a:gd name="T10" fmla="*/ 24 w 26"/>
                <a:gd name="T11" fmla="*/ 29 h 32"/>
                <a:gd name="T12" fmla="*/ 14 w 26"/>
                <a:gd name="T13" fmla="*/ 32 h 32"/>
                <a:gd name="T14" fmla="*/ 4 w 26"/>
                <a:gd name="T15" fmla="*/ 28 h 32"/>
                <a:gd name="T16" fmla="*/ 0 w 26"/>
                <a:gd name="T17" fmla="*/ 16 h 32"/>
                <a:gd name="T18" fmla="*/ 2 w 26"/>
                <a:gd name="T19" fmla="*/ 8 h 32"/>
                <a:gd name="T20" fmla="*/ 7 w 26"/>
                <a:gd name="T21" fmla="*/ 2 h 32"/>
                <a:gd name="T22" fmla="*/ 14 w 26"/>
                <a:gd name="T23" fmla="*/ 0 h 32"/>
                <a:gd name="T24" fmla="*/ 23 w 26"/>
                <a:gd name="T25" fmla="*/ 4 h 32"/>
                <a:gd name="T26" fmla="*/ 26 w 26"/>
                <a:gd name="T27" fmla="*/ 15 h 32"/>
                <a:gd name="T28" fmla="*/ 26 w 26"/>
                <a:gd name="T29" fmla="*/ 17 h 32"/>
                <a:gd name="T30" fmla="*/ 21 w 26"/>
                <a:gd name="T31" fmla="*/ 13 h 32"/>
                <a:gd name="T32" fmla="*/ 19 w 26"/>
                <a:gd name="T33" fmla="*/ 7 h 32"/>
                <a:gd name="T34" fmla="*/ 14 w 26"/>
                <a:gd name="T35" fmla="*/ 4 h 32"/>
                <a:gd name="T36" fmla="*/ 8 w 26"/>
                <a:gd name="T37" fmla="*/ 7 h 32"/>
                <a:gd name="T38" fmla="*/ 5 w 26"/>
                <a:gd name="T39" fmla="*/ 13 h 32"/>
                <a:gd name="T40" fmla="*/ 21 w 26"/>
                <a:gd name="T41" fmla="*/ 1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2">
                  <a:moveTo>
                    <a:pt x="26" y="17"/>
                  </a:moveTo>
                  <a:cubicBezTo>
                    <a:pt x="5" y="17"/>
                    <a:pt x="5" y="17"/>
                    <a:pt x="5" y="17"/>
                  </a:cubicBezTo>
                  <a:cubicBezTo>
                    <a:pt x="5" y="21"/>
                    <a:pt x="6" y="23"/>
                    <a:pt x="8" y="25"/>
                  </a:cubicBezTo>
                  <a:cubicBezTo>
                    <a:pt x="10" y="27"/>
                    <a:pt x="12" y="28"/>
                    <a:pt x="15" y="28"/>
                  </a:cubicBezTo>
                  <a:cubicBezTo>
                    <a:pt x="18" y="28"/>
                    <a:pt x="21" y="27"/>
                    <a:pt x="24" y="24"/>
                  </a:cubicBezTo>
                  <a:cubicBezTo>
                    <a:pt x="24" y="29"/>
                    <a:pt x="24" y="29"/>
                    <a:pt x="24" y="29"/>
                  </a:cubicBezTo>
                  <a:cubicBezTo>
                    <a:pt x="22" y="31"/>
                    <a:pt x="18" y="32"/>
                    <a:pt x="14" y="32"/>
                  </a:cubicBezTo>
                  <a:cubicBezTo>
                    <a:pt x="10" y="32"/>
                    <a:pt x="6" y="30"/>
                    <a:pt x="4" y="28"/>
                  </a:cubicBezTo>
                  <a:cubicBezTo>
                    <a:pt x="1" y="25"/>
                    <a:pt x="0" y="21"/>
                    <a:pt x="0" y="16"/>
                  </a:cubicBezTo>
                  <a:cubicBezTo>
                    <a:pt x="0" y="13"/>
                    <a:pt x="1" y="11"/>
                    <a:pt x="2" y="8"/>
                  </a:cubicBezTo>
                  <a:cubicBezTo>
                    <a:pt x="3" y="6"/>
                    <a:pt x="5" y="4"/>
                    <a:pt x="7" y="2"/>
                  </a:cubicBezTo>
                  <a:cubicBezTo>
                    <a:pt x="9" y="1"/>
                    <a:pt x="11" y="0"/>
                    <a:pt x="14" y="0"/>
                  </a:cubicBezTo>
                  <a:cubicBezTo>
                    <a:pt x="18" y="0"/>
                    <a:pt x="21" y="2"/>
                    <a:pt x="23" y="4"/>
                  </a:cubicBezTo>
                  <a:cubicBezTo>
                    <a:pt x="25" y="7"/>
                    <a:pt x="26" y="10"/>
                    <a:pt x="26" y="15"/>
                  </a:cubicBezTo>
                  <a:lnTo>
                    <a:pt x="26" y="17"/>
                  </a:lnTo>
                  <a:close/>
                  <a:moveTo>
                    <a:pt x="21" y="13"/>
                  </a:moveTo>
                  <a:cubicBezTo>
                    <a:pt x="21" y="10"/>
                    <a:pt x="21" y="8"/>
                    <a:pt x="19" y="7"/>
                  </a:cubicBezTo>
                  <a:cubicBezTo>
                    <a:pt x="18" y="5"/>
                    <a:pt x="16" y="4"/>
                    <a:pt x="14" y="4"/>
                  </a:cubicBezTo>
                  <a:cubicBezTo>
                    <a:pt x="12" y="4"/>
                    <a:pt x="10" y="5"/>
                    <a:pt x="8" y="7"/>
                  </a:cubicBezTo>
                  <a:cubicBezTo>
                    <a:pt x="7" y="8"/>
                    <a:pt x="6" y="11"/>
                    <a:pt x="5" y="13"/>
                  </a:cubicBezTo>
                  <a:lnTo>
                    <a:pt x="21"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79" name="Freeform 59"/>
            <p:cNvSpPr>
              <a:spLocks/>
            </p:cNvSpPr>
            <p:nvPr/>
          </p:nvSpPr>
          <p:spPr bwMode="auto">
            <a:xfrm>
              <a:off x="4125" y="2134"/>
              <a:ext cx="55" cy="78"/>
            </a:xfrm>
            <a:custGeom>
              <a:avLst/>
              <a:gdLst>
                <a:gd name="T0" fmla="*/ 23 w 23"/>
                <a:gd name="T1" fmla="*/ 30 h 32"/>
                <a:gd name="T2" fmla="*/ 15 w 23"/>
                <a:gd name="T3" fmla="*/ 32 h 32"/>
                <a:gd name="T4" fmla="*/ 7 w 23"/>
                <a:gd name="T5" fmla="*/ 30 h 32"/>
                <a:gd name="T6" fmla="*/ 2 w 23"/>
                <a:gd name="T7" fmla="*/ 25 h 32"/>
                <a:gd name="T8" fmla="*/ 0 w 23"/>
                <a:gd name="T9" fmla="*/ 17 h 32"/>
                <a:gd name="T10" fmla="*/ 5 w 23"/>
                <a:gd name="T11" fmla="*/ 5 h 32"/>
                <a:gd name="T12" fmla="*/ 16 w 23"/>
                <a:gd name="T13" fmla="*/ 0 h 32"/>
                <a:gd name="T14" fmla="*/ 23 w 23"/>
                <a:gd name="T15" fmla="*/ 2 h 32"/>
                <a:gd name="T16" fmla="*/ 23 w 23"/>
                <a:gd name="T17" fmla="*/ 7 h 32"/>
                <a:gd name="T18" fmla="*/ 16 w 23"/>
                <a:gd name="T19" fmla="*/ 4 h 32"/>
                <a:gd name="T20" fmla="*/ 8 w 23"/>
                <a:gd name="T21" fmla="*/ 8 h 32"/>
                <a:gd name="T22" fmla="*/ 5 w 23"/>
                <a:gd name="T23" fmla="*/ 16 h 32"/>
                <a:gd name="T24" fmla="*/ 8 w 23"/>
                <a:gd name="T25" fmla="*/ 25 h 32"/>
                <a:gd name="T26" fmla="*/ 16 w 23"/>
                <a:gd name="T27" fmla="*/ 28 h 32"/>
                <a:gd name="T28" fmla="*/ 23 w 23"/>
                <a:gd name="T29" fmla="*/ 25 h 32"/>
                <a:gd name="T30" fmla="*/ 23 w 23"/>
                <a:gd name="T31"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32">
                  <a:moveTo>
                    <a:pt x="23" y="30"/>
                  </a:moveTo>
                  <a:cubicBezTo>
                    <a:pt x="21" y="31"/>
                    <a:pt x="18" y="32"/>
                    <a:pt x="15" y="32"/>
                  </a:cubicBezTo>
                  <a:cubicBezTo>
                    <a:pt x="12" y="32"/>
                    <a:pt x="10" y="31"/>
                    <a:pt x="7" y="30"/>
                  </a:cubicBezTo>
                  <a:cubicBezTo>
                    <a:pt x="5" y="29"/>
                    <a:pt x="3" y="27"/>
                    <a:pt x="2" y="25"/>
                  </a:cubicBezTo>
                  <a:cubicBezTo>
                    <a:pt x="1" y="22"/>
                    <a:pt x="0" y="20"/>
                    <a:pt x="0" y="17"/>
                  </a:cubicBezTo>
                  <a:cubicBezTo>
                    <a:pt x="0" y="12"/>
                    <a:pt x="2" y="8"/>
                    <a:pt x="5" y="5"/>
                  </a:cubicBezTo>
                  <a:cubicBezTo>
                    <a:pt x="8" y="2"/>
                    <a:pt x="11" y="0"/>
                    <a:pt x="16" y="0"/>
                  </a:cubicBezTo>
                  <a:cubicBezTo>
                    <a:pt x="19" y="0"/>
                    <a:pt x="21" y="1"/>
                    <a:pt x="23" y="2"/>
                  </a:cubicBezTo>
                  <a:cubicBezTo>
                    <a:pt x="23" y="7"/>
                    <a:pt x="23" y="7"/>
                    <a:pt x="23" y="7"/>
                  </a:cubicBezTo>
                  <a:cubicBezTo>
                    <a:pt x="21" y="5"/>
                    <a:pt x="18" y="4"/>
                    <a:pt x="16" y="4"/>
                  </a:cubicBezTo>
                  <a:cubicBezTo>
                    <a:pt x="13" y="4"/>
                    <a:pt x="10" y="6"/>
                    <a:pt x="8" y="8"/>
                  </a:cubicBezTo>
                  <a:cubicBezTo>
                    <a:pt x="6" y="10"/>
                    <a:pt x="5" y="13"/>
                    <a:pt x="5" y="16"/>
                  </a:cubicBezTo>
                  <a:cubicBezTo>
                    <a:pt x="5" y="20"/>
                    <a:pt x="6" y="23"/>
                    <a:pt x="8" y="25"/>
                  </a:cubicBezTo>
                  <a:cubicBezTo>
                    <a:pt x="10" y="27"/>
                    <a:pt x="12" y="28"/>
                    <a:pt x="16" y="28"/>
                  </a:cubicBezTo>
                  <a:cubicBezTo>
                    <a:pt x="18" y="28"/>
                    <a:pt x="21" y="27"/>
                    <a:pt x="23" y="25"/>
                  </a:cubicBezTo>
                  <a:lnTo>
                    <a:pt x="23"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80" name="Freeform 60"/>
            <p:cNvSpPr>
              <a:spLocks/>
            </p:cNvSpPr>
            <p:nvPr/>
          </p:nvSpPr>
          <p:spPr bwMode="auto">
            <a:xfrm>
              <a:off x="4185" y="2115"/>
              <a:ext cx="42" cy="97"/>
            </a:xfrm>
            <a:custGeom>
              <a:avLst/>
              <a:gdLst>
                <a:gd name="T0" fmla="*/ 18 w 18"/>
                <a:gd name="T1" fmla="*/ 39 h 40"/>
                <a:gd name="T2" fmla="*/ 13 w 18"/>
                <a:gd name="T3" fmla="*/ 40 h 40"/>
                <a:gd name="T4" fmla="*/ 5 w 18"/>
                <a:gd name="T5" fmla="*/ 31 h 40"/>
                <a:gd name="T6" fmla="*/ 5 w 18"/>
                <a:gd name="T7" fmla="*/ 13 h 40"/>
                <a:gd name="T8" fmla="*/ 0 w 18"/>
                <a:gd name="T9" fmla="*/ 13 h 40"/>
                <a:gd name="T10" fmla="*/ 0 w 18"/>
                <a:gd name="T11" fmla="*/ 9 h 40"/>
                <a:gd name="T12" fmla="*/ 5 w 18"/>
                <a:gd name="T13" fmla="*/ 9 h 40"/>
                <a:gd name="T14" fmla="*/ 5 w 18"/>
                <a:gd name="T15" fmla="*/ 2 h 40"/>
                <a:gd name="T16" fmla="*/ 10 w 18"/>
                <a:gd name="T17" fmla="*/ 0 h 40"/>
                <a:gd name="T18" fmla="*/ 10 w 18"/>
                <a:gd name="T19" fmla="*/ 9 h 40"/>
                <a:gd name="T20" fmla="*/ 18 w 18"/>
                <a:gd name="T21" fmla="*/ 9 h 40"/>
                <a:gd name="T22" fmla="*/ 18 w 18"/>
                <a:gd name="T23" fmla="*/ 13 h 40"/>
                <a:gd name="T24" fmla="*/ 10 w 18"/>
                <a:gd name="T25" fmla="*/ 13 h 40"/>
                <a:gd name="T26" fmla="*/ 10 w 18"/>
                <a:gd name="T27" fmla="*/ 30 h 40"/>
                <a:gd name="T28" fmla="*/ 11 w 18"/>
                <a:gd name="T29" fmla="*/ 34 h 40"/>
                <a:gd name="T30" fmla="*/ 14 w 18"/>
                <a:gd name="T31" fmla="*/ 36 h 40"/>
                <a:gd name="T32" fmla="*/ 18 w 18"/>
                <a:gd name="T33" fmla="*/ 35 h 40"/>
                <a:gd name="T34" fmla="*/ 18 w 18"/>
                <a:gd name="T35"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40">
                  <a:moveTo>
                    <a:pt x="18" y="39"/>
                  </a:moveTo>
                  <a:cubicBezTo>
                    <a:pt x="16" y="39"/>
                    <a:pt x="15" y="40"/>
                    <a:pt x="13" y="40"/>
                  </a:cubicBezTo>
                  <a:cubicBezTo>
                    <a:pt x="8" y="40"/>
                    <a:pt x="5" y="37"/>
                    <a:pt x="5" y="31"/>
                  </a:cubicBezTo>
                  <a:cubicBezTo>
                    <a:pt x="5" y="13"/>
                    <a:pt x="5" y="13"/>
                    <a:pt x="5" y="13"/>
                  </a:cubicBezTo>
                  <a:cubicBezTo>
                    <a:pt x="0" y="13"/>
                    <a:pt x="0" y="13"/>
                    <a:pt x="0" y="13"/>
                  </a:cubicBezTo>
                  <a:cubicBezTo>
                    <a:pt x="0" y="9"/>
                    <a:pt x="0" y="9"/>
                    <a:pt x="0" y="9"/>
                  </a:cubicBezTo>
                  <a:cubicBezTo>
                    <a:pt x="5" y="9"/>
                    <a:pt x="5" y="9"/>
                    <a:pt x="5" y="9"/>
                  </a:cubicBezTo>
                  <a:cubicBezTo>
                    <a:pt x="5" y="2"/>
                    <a:pt x="5" y="2"/>
                    <a:pt x="5" y="2"/>
                  </a:cubicBezTo>
                  <a:cubicBezTo>
                    <a:pt x="10" y="0"/>
                    <a:pt x="10" y="0"/>
                    <a:pt x="10" y="0"/>
                  </a:cubicBezTo>
                  <a:cubicBezTo>
                    <a:pt x="10" y="9"/>
                    <a:pt x="10" y="9"/>
                    <a:pt x="10" y="9"/>
                  </a:cubicBezTo>
                  <a:cubicBezTo>
                    <a:pt x="18" y="9"/>
                    <a:pt x="18" y="9"/>
                    <a:pt x="18" y="9"/>
                  </a:cubicBezTo>
                  <a:cubicBezTo>
                    <a:pt x="18" y="13"/>
                    <a:pt x="18" y="13"/>
                    <a:pt x="18" y="13"/>
                  </a:cubicBezTo>
                  <a:cubicBezTo>
                    <a:pt x="10" y="13"/>
                    <a:pt x="10" y="13"/>
                    <a:pt x="10" y="13"/>
                  </a:cubicBezTo>
                  <a:cubicBezTo>
                    <a:pt x="10" y="30"/>
                    <a:pt x="10" y="30"/>
                    <a:pt x="10" y="30"/>
                  </a:cubicBezTo>
                  <a:cubicBezTo>
                    <a:pt x="10" y="32"/>
                    <a:pt x="10" y="34"/>
                    <a:pt x="11" y="34"/>
                  </a:cubicBezTo>
                  <a:cubicBezTo>
                    <a:pt x="12" y="35"/>
                    <a:pt x="13" y="36"/>
                    <a:pt x="14" y="36"/>
                  </a:cubicBezTo>
                  <a:cubicBezTo>
                    <a:pt x="16" y="36"/>
                    <a:pt x="17" y="35"/>
                    <a:pt x="18" y="35"/>
                  </a:cubicBezTo>
                  <a:lnTo>
                    <a:pt x="18" y="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81" name="Freeform 61"/>
            <p:cNvSpPr>
              <a:spLocks noEditPoints="1"/>
            </p:cNvSpPr>
            <p:nvPr/>
          </p:nvSpPr>
          <p:spPr bwMode="auto">
            <a:xfrm>
              <a:off x="3834" y="2108"/>
              <a:ext cx="60" cy="102"/>
            </a:xfrm>
            <a:custGeom>
              <a:avLst/>
              <a:gdLst>
                <a:gd name="T0" fmla="*/ 25 w 25"/>
                <a:gd name="T1" fmla="*/ 13 h 42"/>
                <a:gd name="T2" fmla="*/ 21 w 25"/>
                <a:gd name="T3" fmla="*/ 22 h 42"/>
                <a:gd name="T4" fmla="*/ 10 w 25"/>
                <a:gd name="T5" fmla="*/ 26 h 42"/>
                <a:gd name="T6" fmla="*/ 5 w 25"/>
                <a:gd name="T7" fmla="*/ 26 h 42"/>
                <a:gd name="T8" fmla="*/ 5 w 25"/>
                <a:gd name="T9" fmla="*/ 42 h 42"/>
                <a:gd name="T10" fmla="*/ 0 w 25"/>
                <a:gd name="T11" fmla="*/ 42 h 42"/>
                <a:gd name="T12" fmla="*/ 0 w 25"/>
                <a:gd name="T13" fmla="*/ 0 h 42"/>
                <a:gd name="T14" fmla="*/ 11 w 25"/>
                <a:gd name="T15" fmla="*/ 0 h 42"/>
                <a:gd name="T16" fmla="*/ 22 w 25"/>
                <a:gd name="T17" fmla="*/ 3 h 42"/>
                <a:gd name="T18" fmla="*/ 25 w 25"/>
                <a:gd name="T19" fmla="*/ 13 h 42"/>
                <a:gd name="T20" fmla="*/ 20 w 25"/>
                <a:gd name="T21" fmla="*/ 13 h 42"/>
                <a:gd name="T22" fmla="*/ 10 w 25"/>
                <a:gd name="T23" fmla="*/ 5 h 42"/>
                <a:gd name="T24" fmla="*/ 5 w 25"/>
                <a:gd name="T25" fmla="*/ 5 h 42"/>
                <a:gd name="T26" fmla="*/ 5 w 25"/>
                <a:gd name="T27" fmla="*/ 22 h 42"/>
                <a:gd name="T28" fmla="*/ 10 w 25"/>
                <a:gd name="T29" fmla="*/ 22 h 42"/>
                <a:gd name="T30" fmla="*/ 18 w 25"/>
                <a:gd name="T31" fmla="*/ 19 h 42"/>
                <a:gd name="T32" fmla="*/ 20 w 25"/>
                <a:gd name="T33" fmla="*/ 1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42">
                  <a:moveTo>
                    <a:pt x="25" y="13"/>
                  </a:moveTo>
                  <a:cubicBezTo>
                    <a:pt x="25" y="17"/>
                    <a:pt x="24" y="20"/>
                    <a:pt x="21" y="22"/>
                  </a:cubicBezTo>
                  <a:cubicBezTo>
                    <a:pt x="18" y="25"/>
                    <a:pt x="15" y="26"/>
                    <a:pt x="10" y="26"/>
                  </a:cubicBezTo>
                  <a:cubicBezTo>
                    <a:pt x="5" y="26"/>
                    <a:pt x="5" y="26"/>
                    <a:pt x="5" y="26"/>
                  </a:cubicBezTo>
                  <a:cubicBezTo>
                    <a:pt x="5" y="42"/>
                    <a:pt x="5" y="42"/>
                    <a:pt x="5" y="42"/>
                  </a:cubicBezTo>
                  <a:cubicBezTo>
                    <a:pt x="0" y="42"/>
                    <a:pt x="0" y="42"/>
                    <a:pt x="0" y="42"/>
                  </a:cubicBezTo>
                  <a:cubicBezTo>
                    <a:pt x="0" y="0"/>
                    <a:pt x="0" y="0"/>
                    <a:pt x="0" y="0"/>
                  </a:cubicBezTo>
                  <a:cubicBezTo>
                    <a:pt x="11" y="0"/>
                    <a:pt x="11" y="0"/>
                    <a:pt x="11" y="0"/>
                  </a:cubicBezTo>
                  <a:cubicBezTo>
                    <a:pt x="16" y="0"/>
                    <a:pt x="19" y="1"/>
                    <a:pt x="22" y="3"/>
                  </a:cubicBezTo>
                  <a:cubicBezTo>
                    <a:pt x="24" y="6"/>
                    <a:pt x="25" y="9"/>
                    <a:pt x="25" y="13"/>
                  </a:cubicBezTo>
                  <a:close/>
                  <a:moveTo>
                    <a:pt x="20" y="13"/>
                  </a:moveTo>
                  <a:cubicBezTo>
                    <a:pt x="20" y="7"/>
                    <a:pt x="17" y="5"/>
                    <a:pt x="10" y="5"/>
                  </a:cubicBezTo>
                  <a:cubicBezTo>
                    <a:pt x="5" y="5"/>
                    <a:pt x="5" y="5"/>
                    <a:pt x="5" y="5"/>
                  </a:cubicBezTo>
                  <a:cubicBezTo>
                    <a:pt x="5" y="22"/>
                    <a:pt x="5" y="22"/>
                    <a:pt x="5" y="22"/>
                  </a:cubicBezTo>
                  <a:cubicBezTo>
                    <a:pt x="10" y="22"/>
                    <a:pt x="10" y="22"/>
                    <a:pt x="10" y="22"/>
                  </a:cubicBezTo>
                  <a:cubicBezTo>
                    <a:pt x="13" y="22"/>
                    <a:pt x="16" y="21"/>
                    <a:pt x="18" y="19"/>
                  </a:cubicBezTo>
                  <a:cubicBezTo>
                    <a:pt x="19" y="18"/>
                    <a:pt x="20" y="16"/>
                    <a:pt x="20"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82" name="Freeform 62"/>
            <p:cNvSpPr>
              <a:spLocks/>
            </p:cNvSpPr>
            <p:nvPr/>
          </p:nvSpPr>
          <p:spPr bwMode="auto">
            <a:xfrm>
              <a:off x="3908" y="2137"/>
              <a:ext cx="38" cy="73"/>
            </a:xfrm>
            <a:custGeom>
              <a:avLst/>
              <a:gdLst>
                <a:gd name="T0" fmla="*/ 16 w 16"/>
                <a:gd name="T1" fmla="*/ 5 h 30"/>
                <a:gd name="T2" fmla="*/ 12 w 16"/>
                <a:gd name="T3" fmla="*/ 4 h 30"/>
                <a:gd name="T4" fmla="*/ 7 w 16"/>
                <a:gd name="T5" fmla="*/ 7 h 30"/>
                <a:gd name="T6" fmla="*/ 5 w 16"/>
                <a:gd name="T7" fmla="*/ 15 h 30"/>
                <a:gd name="T8" fmla="*/ 5 w 16"/>
                <a:gd name="T9" fmla="*/ 30 h 30"/>
                <a:gd name="T10" fmla="*/ 0 w 16"/>
                <a:gd name="T11" fmla="*/ 30 h 30"/>
                <a:gd name="T12" fmla="*/ 0 w 16"/>
                <a:gd name="T13" fmla="*/ 0 h 30"/>
                <a:gd name="T14" fmla="*/ 5 w 16"/>
                <a:gd name="T15" fmla="*/ 0 h 30"/>
                <a:gd name="T16" fmla="*/ 5 w 16"/>
                <a:gd name="T17" fmla="*/ 6 h 30"/>
                <a:gd name="T18" fmla="*/ 5 w 16"/>
                <a:gd name="T19" fmla="*/ 6 h 30"/>
                <a:gd name="T20" fmla="*/ 8 w 16"/>
                <a:gd name="T21" fmla="*/ 1 h 30"/>
                <a:gd name="T22" fmla="*/ 13 w 16"/>
                <a:gd name="T23" fmla="*/ 0 h 30"/>
                <a:gd name="T24" fmla="*/ 16 w 16"/>
                <a:gd name="T25" fmla="*/ 0 h 30"/>
                <a:gd name="T26" fmla="*/ 16 w 16"/>
                <a:gd name="T27"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30">
                  <a:moveTo>
                    <a:pt x="16" y="5"/>
                  </a:moveTo>
                  <a:cubicBezTo>
                    <a:pt x="15" y="4"/>
                    <a:pt x="14" y="4"/>
                    <a:pt x="12" y="4"/>
                  </a:cubicBezTo>
                  <a:cubicBezTo>
                    <a:pt x="10" y="4"/>
                    <a:pt x="8" y="5"/>
                    <a:pt x="7" y="7"/>
                  </a:cubicBezTo>
                  <a:cubicBezTo>
                    <a:pt x="5" y="9"/>
                    <a:pt x="5" y="12"/>
                    <a:pt x="5" y="15"/>
                  </a:cubicBezTo>
                  <a:cubicBezTo>
                    <a:pt x="5" y="30"/>
                    <a:pt x="5" y="30"/>
                    <a:pt x="5" y="30"/>
                  </a:cubicBezTo>
                  <a:cubicBezTo>
                    <a:pt x="0" y="30"/>
                    <a:pt x="0" y="30"/>
                    <a:pt x="0" y="30"/>
                  </a:cubicBezTo>
                  <a:cubicBezTo>
                    <a:pt x="0" y="0"/>
                    <a:pt x="0" y="0"/>
                    <a:pt x="0" y="0"/>
                  </a:cubicBezTo>
                  <a:cubicBezTo>
                    <a:pt x="5" y="0"/>
                    <a:pt x="5" y="0"/>
                    <a:pt x="5" y="0"/>
                  </a:cubicBezTo>
                  <a:cubicBezTo>
                    <a:pt x="5" y="6"/>
                    <a:pt x="5" y="6"/>
                    <a:pt x="5" y="6"/>
                  </a:cubicBezTo>
                  <a:cubicBezTo>
                    <a:pt x="5" y="6"/>
                    <a:pt x="5" y="6"/>
                    <a:pt x="5" y="6"/>
                  </a:cubicBezTo>
                  <a:cubicBezTo>
                    <a:pt x="6" y="4"/>
                    <a:pt x="7" y="3"/>
                    <a:pt x="8" y="1"/>
                  </a:cubicBezTo>
                  <a:cubicBezTo>
                    <a:pt x="9" y="0"/>
                    <a:pt x="11" y="0"/>
                    <a:pt x="13" y="0"/>
                  </a:cubicBezTo>
                  <a:cubicBezTo>
                    <a:pt x="14" y="0"/>
                    <a:pt x="15" y="0"/>
                    <a:pt x="16" y="0"/>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83" name="Freeform 63"/>
            <p:cNvSpPr>
              <a:spLocks noEditPoints="1"/>
            </p:cNvSpPr>
            <p:nvPr/>
          </p:nvSpPr>
          <p:spPr bwMode="auto">
            <a:xfrm>
              <a:off x="3946" y="2134"/>
              <a:ext cx="72" cy="78"/>
            </a:xfrm>
            <a:custGeom>
              <a:avLst/>
              <a:gdLst>
                <a:gd name="T0" fmla="*/ 30 w 30"/>
                <a:gd name="T1" fmla="*/ 16 h 32"/>
                <a:gd name="T2" fmla="*/ 26 w 30"/>
                <a:gd name="T3" fmla="*/ 27 h 32"/>
                <a:gd name="T4" fmla="*/ 15 w 30"/>
                <a:gd name="T5" fmla="*/ 32 h 32"/>
                <a:gd name="T6" fmla="*/ 4 w 30"/>
                <a:gd name="T7" fmla="*/ 28 h 32"/>
                <a:gd name="T8" fmla="*/ 0 w 30"/>
                <a:gd name="T9" fmla="*/ 16 h 32"/>
                <a:gd name="T10" fmla="*/ 4 w 30"/>
                <a:gd name="T11" fmla="*/ 5 h 32"/>
                <a:gd name="T12" fmla="*/ 15 w 30"/>
                <a:gd name="T13" fmla="*/ 0 h 32"/>
                <a:gd name="T14" fmla="*/ 26 w 30"/>
                <a:gd name="T15" fmla="*/ 5 h 32"/>
                <a:gd name="T16" fmla="*/ 30 w 30"/>
                <a:gd name="T17" fmla="*/ 16 h 32"/>
                <a:gd name="T18" fmla="*/ 25 w 30"/>
                <a:gd name="T19" fmla="*/ 16 h 32"/>
                <a:gd name="T20" fmla="*/ 22 w 30"/>
                <a:gd name="T21" fmla="*/ 7 h 32"/>
                <a:gd name="T22" fmla="*/ 15 w 30"/>
                <a:gd name="T23" fmla="*/ 4 h 32"/>
                <a:gd name="T24" fmla="*/ 8 w 30"/>
                <a:gd name="T25" fmla="*/ 8 h 32"/>
                <a:gd name="T26" fmla="*/ 5 w 30"/>
                <a:gd name="T27" fmla="*/ 16 h 32"/>
                <a:gd name="T28" fmla="*/ 8 w 30"/>
                <a:gd name="T29" fmla="*/ 25 h 32"/>
                <a:gd name="T30" fmla="*/ 15 w 30"/>
                <a:gd name="T31" fmla="*/ 28 h 32"/>
                <a:gd name="T32" fmla="*/ 22 w 30"/>
                <a:gd name="T33" fmla="*/ 25 h 32"/>
                <a:gd name="T34" fmla="*/ 25 w 30"/>
                <a:gd name="T35"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32">
                  <a:moveTo>
                    <a:pt x="30" y="16"/>
                  </a:moveTo>
                  <a:cubicBezTo>
                    <a:pt x="30" y="21"/>
                    <a:pt x="28" y="25"/>
                    <a:pt x="26" y="27"/>
                  </a:cubicBezTo>
                  <a:cubicBezTo>
                    <a:pt x="23" y="30"/>
                    <a:pt x="19" y="32"/>
                    <a:pt x="15" y="32"/>
                  </a:cubicBezTo>
                  <a:cubicBezTo>
                    <a:pt x="10" y="32"/>
                    <a:pt x="7" y="30"/>
                    <a:pt x="4" y="28"/>
                  </a:cubicBezTo>
                  <a:cubicBezTo>
                    <a:pt x="2" y="25"/>
                    <a:pt x="0" y="21"/>
                    <a:pt x="0" y="16"/>
                  </a:cubicBezTo>
                  <a:cubicBezTo>
                    <a:pt x="0" y="11"/>
                    <a:pt x="2" y="8"/>
                    <a:pt x="4" y="5"/>
                  </a:cubicBezTo>
                  <a:cubicBezTo>
                    <a:pt x="7" y="2"/>
                    <a:pt x="11" y="0"/>
                    <a:pt x="15" y="0"/>
                  </a:cubicBezTo>
                  <a:cubicBezTo>
                    <a:pt x="20" y="0"/>
                    <a:pt x="23" y="2"/>
                    <a:pt x="26" y="5"/>
                  </a:cubicBezTo>
                  <a:cubicBezTo>
                    <a:pt x="28" y="7"/>
                    <a:pt x="30" y="11"/>
                    <a:pt x="30" y="16"/>
                  </a:cubicBezTo>
                  <a:close/>
                  <a:moveTo>
                    <a:pt x="25" y="16"/>
                  </a:moveTo>
                  <a:cubicBezTo>
                    <a:pt x="25" y="12"/>
                    <a:pt x="24" y="9"/>
                    <a:pt x="22" y="7"/>
                  </a:cubicBezTo>
                  <a:cubicBezTo>
                    <a:pt x="21" y="5"/>
                    <a:pt x="18" y="4"/>
                    <a:pt x="15" y="4"/>
                  </a:cubicBezTo>
                  <a:cubicBezTo>
                    <a:pt x="12" y="4"/>
                    <a:pt x="10" y="5"/>
                    <a:pt x="8" y="8"/>
                  </a:cubicBezTo>
                  <a:cubicBezTo>
                    <a:pt x="6" y="10"/>
                    <a:pt x="5" y="12"/>
                    <a:pt x="5" y="16"/>
                  </a:cubicBezTo>
                  <a:cubicBezTo>
                    <a:pt x="5" y="20"/>
                    <a:pt x="6" y="23"/>
                    <a:pt x="8" y="25"/>
                  </a:cubicBezTo>
                  <a:cubicBezTo>
                    <a:pt x="10" y="27"/>
                    <a:pt x="12" y="28"/>
                    <a:pt x="15" y="28"/>
                  </a:cubicBezTo>
                  <a:cubicBezTo>
                    <a:pt x="18" y="28"/>
                    <a:pt x="21" y="27"/>
                    <a:pt x="22" y="25"/>
                  </a:cubicBezTo>
                  <a:cubicBezTo>
                    <a:pt x="24" y="23"/>
                    <a:pt x="25" y="20"/>
                    <a:pt x="25"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84" name="Freeform 64"/>
            <p:cNvSpPr>
              <a:spLocks noEditPoints="1"/>
            </p:cNvSpPr>
            <p:nvPr/>
          </p:nvSpPr>
          <p:spPr bwMode="auto">
            <a:xfrm>
              <a:off x="4006" y="2103"/>
              <a:ext cx="38" cy="141"/>
            </a:xfrm>
            <a:custGeom>
              <a:avLst/>
              <a:gdLst>
                <a:gd name="T0" fmla="*/ 15 w 16"/>
                <a:gd name="T1" fmla="*/ 43 h 58"/>
                <a:gd name="T2" fmla="*/ 12 w 16"/>
                <a:gd name="T3" fmla="*/ 54 h 58"/>
                <a:gd name="T4" fmla="*/ 4 w 16"/>
                <a:gd name="T5" fmla="*/ 58 h 58"/>
                <a:gd name="T6" fmla="*/ 0 w 16"/>
                <a:gd name="T7" fmla="*/ 57 h 58"/>
                <a:gd name="T8" fmla="*/ 0 w 16"/>
                <a:gd name="T9" fmla="*/ 53 h 58"/>
                <a:gd name="T10" fmla="*/ 4 w 16"/>
                <a:gd name="T11" fmla="*/ 54 h 58"/>
                <a:gd name="T12" fmla="*/ 11 w 16"/>
                <a:gd name="T13" fmla="*/ 44 h 58"/>
                <a:gd name="T14" fmla="*/ 11 w 16"/>
                <a:gd name="T15" fmla="*/ 14 h 58"/>
                <a:gd name="T16" fmla="*/ 15 w 16"/>
                <a:gd name="T17" fmla="*/ 14 h 58"/>
                <a:gd name="T18" fmla="*/ 15 w 16"/>
                <a:gd name="T19" fmla="*/ 43 h 58"/>
                <a:gd name="T20" fmla="*/ 16 w 16"/>
                <a:gd name="T21" fmla="*/ 3 h 58"/>
                <a:gd name="T22" fmla="*/ 15 w 16"/>
                <a:gd name="T23" fmla="*/ 6 h 58"/>
                <a:gd name="T24" fmla="*/ 13 w 16"/>
                <a:gd name="T25" fmla="*/ 6 h 58"/>
                <a:gd name="T26" fmla="*/ 11 w 16"/>
                <a:gd name="T27" fmla="*/ 6 h 58"/>
                <a:gd name="T28" fmla="*/ 10 w 16"/>
                <a:gd name="T29" fmla="*/ 3 h 58"/>
                <a:gd name="T30" fmla="*/ 11 w 16"/>
                <a:gd name="T31" fmla="*/ 1 h 58"/>
                <a:gd name="T32" fmla="*/ 13 w 16"/>
                <a:gd name="T33" fmla="*/ 0 h 58"/>
                <a:gd name="T34" fmla="*/ 15 w 16"/>
                <a:gd name="T35" fmla="*/ 1 h 58"/>
                <a:gd name="T36" fmla="*/ 16 w 16"/>
                <a:gd name="T37" fmla="*/ 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58">
                  <a:moveTo>
                    <a:pt x="15" y="43"/>
                  </a:moveTo>
                  <a:cubicBezTo>
                    <a:pt x="15" y="48"/>
                    <a:pt x="14" y="52"/>
                    <a:pt x="12" y="54"/>
                  </a:cubicBezTo>
                  <a:cubicBezTo>
                    <a:pt x="10" y="57"/>
                    <a:pt x="8" y="58"/>
                    <a:pt x="4" y="58"/>
                  </a:cubicBezTo>
                  <a:cubicBezTo>
                    <a:pt x="2" y="58"/>
                    <a:pt x="1" y="58"/>
                    <a:pt x="0" y="57"/>
                  </a:cubicBezTo>
                  <a:cubicBezTo>
                    <a:pt x="0" y="53"/>
                    <a:pt x="0" y="53"/>
                    <a:pt x="0" y="53"/>
                  </a:cubicBezTo>
                  <a:cubicBezTo>
                    <a:pt x="1" y="54"/>
                    <a:pt x="3" y="54"/>
                    <a:pt x="4" y="54"/>
                  </a:cubicBezTo>
                  <a:cubicBezTo>
                    <a:pt x="8" y="54"/>
                    <a:pt x="11" y="51"/>
                    <a:pt x="11" y="44"/>
                  </a:cubicBezTo>
                  <a:cubicBezTo>
                    <a:pt x="11" y="14"/>
                    <a:pt x="11" y="14"/>
                    <a:pt x="11" y="14"/>
                  </a:cubicBezTo>
                  <a:cubicBezTo>
                    <a:pt x="15" y="14"/>
                    <a:pt x="15" y="14"/>
                    <a:pt x="15" y="14"/>
                  </a:cubicBezTo>
                  <a:lnTo>
                    <a:pt x="15" y="43"/>
                  </a:lnTo>
                  <a:close/>
                  <a:moveTo>
                    <a:pt x="16" y="3"/>
                  </a:moveTo>
                  <a:cubicBezTo>
                    <a:pt x="16" y="4"/>
                    <a:pt x="16" y="5"/>
                    <a:pt x="15" y="6"/>
                  </a:cubicBezTo>
                  <a:cubicBezTo>
                    <a:pt x="15" y="6"/>
                    <a:pt x="14" y="6"/>
                    <a:pt x="13" y="6"/>
                  </a:cubicBezTo>
                  <a:cubicBezTo>
                    <a:pt x="12" y="6"/>
                    <a:pt x="11" y="6"/>
                    <a:pt x="11" y="6"/>
                  </a:cubicBezTo>
                  <a:cubicBezTo>
                    <a:pt x="10" y="5"/>
                    <a:pt x="10" y="4"/>
                    <a:pt x="10" y="3"/>
                  </a:cubicBezTo>
                  <a:cubicBezTo>
                    <a:pt x="10" y="2"/>
                    <a:pt x="10" y="2"/>
                    <a:pt x="11" y="1"/>
                  </a:cubicBezTo>
                  <a:cubicBezTo>
                    <a:pt x="11" y="1"/>
                    <a:pt x="12" y="0"/>
                    <a:pt x="13" y="0"/>
                  </a:cubicBezTo>
                  <a:cubicBezTo>
                    <a:pt x="14" y="0"/>
                    <a:pt x="15" y="1"/>
                    <a:pt x="15" y="1"/>
                  </a:cubicBezTo>
                  <a:cubicBezTo>
                    <a:pt x="16" y="2"/>
                    <a:pt x="16" y="2"/>
                    <a:pt x="16"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85" name="Freeform 65"/>
            <p:cNvSpPr>
              <a:spLocks noEditPoints="1"/>
            </p:cNvSpPr>
            <p:nvPr/>
          </p:nvSpPr>
          <p:spPr bwMode="auto">
            <a:xfrm>
              <a:off x="4056" y="2134"/>
              <a:ext cx="62" cy="78"/>
            </a:xfrm>
            <a:custGeom>
              <a:avLst/>
              <a:gdLst>
                <a:gd name="T0" fmla="*/ 26 w 26"/>
                <a:gd name="T1" fmla="*/ 17 h 32"/>
                <a:gd name="T2" fmla="*/ 5 w 26"/>
                <a:gd name="T3" fmla="*/ 17 h 32"/>
                <a:gd name="T4" fmla="*/ 8 w 26"/>
                <a:gd name="T5" fmla="*/ 25 h 32"/>
                <a:gd name="T6" fmla="*/ 15 w 26"/>
                <a:gd name="T7" fmla="*/ 28 h 32"/>
                <a:gd name="T8" fmla="*/ 24 w 26"/>
                <a:gd name="T9" fmla="*/ 24 h 32"/>
                <a:gd name="T10" fmla="*/ 24 w 26"/>
                <a:gd name="T11" fmla="*/ 29 h 32"/>
                <a:gd name="T12" fmla="*/ 14 w 26"/>
                <a:gd name="T13" fmla="*/ 32 h 32"/>
                <a:gd name="T14" fmla="*/ 4 w 26"/>
                <a:gd name="T15" fmla="*/ 28 h 32"/>
                <a:gd name="T16" fmla="*/ 0 w 26"/>
                <a:gd name="T17" fmla="*/ 16 h 32"/>
                <a:gd name="T18" fmla="*/ 2 w 26"/>
                <a:gd name="T19" fmla="*/ 8 h 32"/>
                <a:gd name="T20" fmla="*/ 7 w 26"/>
                <a:gd name="T21" fmla="*/ 2 h 32"/>
                <a:gd name="T22" fmla="*/ 14 w 26"/>
                <a:gd name="T23" fmla="*/ 0 h 32"/>
                <a:gd name="T24" fmla="*/ 23 w 26"/>
                <a:gd name="T25" fmla="*/ 4 h 32"/>
                <a:gd name="T26" fmla="*/ 26 w 26"/>
                <a:gd name="T27" fmla="*/ 15 h 32"/>
                <a:gd name="T28" fmla="*/ 26 w 26"/>
                <a:gd name="T29" fmla="*/ 17 h 32"/>
                <a:gd name="T30" fmla="*/ 21 w 26"/>
                <a:gd name="T31" fmla="*/ 13 h 32"/>
                <a:gd name="T32" fmla="*/ 19 w 26"/>
                <a:gd name="T33" fmla="*/ 7 h 32"/>
                <a:gd name="T34" fmla="*/ 14 w 26"/>
                <a:gd name="T35" fmla="*/ 4 h 32"/>
                <a:gd name="T36" fmla="*/ 8 w 26"/>
                <a:gd name="T37" fmla="*/ 7 h 32"/>
                <a:gd name="T38" fmla="*/ 5 w 26"/>
                <a:gd name="T39" fmla="*/ 13 h 32"/>
                <a:gd name="T40" fmla="*/ 21 w 26"/>
                <a:gd name="T41" fmla="*/ 1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2">
                  <a:moveTo>
                    <a:pt x="26" y="17"/>
                  </a:moveTo>
                  <a:cubicBezTo>
                    <a:pt x="5" y="17"/>
                    <a:pt x="5" y="17"/>
                    <a:pt x="5" y="17"/>
                  </a:cubicBezTo>
                  <a:cubicBezTo>
                    <a:pt x="5" y="21"/>
                    <a:pt x="6" y="23"/>
                    <a:pt x="8" y="25"/>
                  </a:cubicBezTo>
                  <a:cubicBezTo>
                    <a:pt x="10" y="27"/>
                    <a:pt x="12" y="28"/>
                    <a:pt x="15" y="28"/>
                  </a:cubicBezTo>
                  <a:cubicBezTo>
                    <a:pt x="18" y="28"/>
                    <a:pt x="21" y="27"/>
                    <a:pt x="24" y="24"/>
                  </a:cubicBezTo>
                  <a:cubicBezTo>
                    <a:pt x="24" y="29"/>
                    <a:pt x="24" y="29"/>
                    <a:pt x="24" y="29"/>
                  </a:cubicBezTo>
                  <a:cubicBezTo>
                    <a:pt x="22" y="31"/>
                    <a:pt x="18" y="32"/>
                    <a:pt x="14" y="32"/>
                  </a:cubicBezTo>
                  <a:cubicBezTo>
                    <a:pt x="10" y="32"/>
                    <a:pt x="6" y="30"/>
                    <a:pt x="4" y="28"/>
                  </a:cubicBezTo>
                  <a:cubicBezTo>
                    <a:pt x="1" y="25"/>
                    <a:pt x="0" y="21"/>
                    <a:pt x="0" y="16"/>
                  </a:cubicBezTo>
                  <a:cubicBezTo>
                    <a:pt x="0" y="13"/>
                    <a:pt x="1" y="11"/>
                    <a:pt x="2" y="8"/>
                  </a:cubicBezTo>
                  <a:cubicBezTo>
                    <a:pt x="3" y="6"/>
                    <a:pt x="5" y="4"/>
                    <a:pt x="7" y="2"/>
                  </a:cubicBezTo>
                  <a:cubicBezTo>
                    <a:pt x="9" y="1"/>
                    <a:pt x="11" y="0"/>
                    <a:pt x="14" y="0"/>
                  </a:cubicBezTo>
                  <a:cubicBezTo>
                    <a:pt x="18" y="0"/>
                    <a:pt x="21" y="2"/>
                    <a:pt x="23" y="4"/>
                  </a:cubicBezTo>
                  <a:cubicBezTo>
                    <a:pt x="25" y="7"/>
                    <a:pt x="26" y="10"/>
                    <a:pt x="26" y="15"/>
                  </a:cubicBezTo>
                  <a:lnTo>
                    <a:pt x="26" y="17"/>
                  </a:lnTo>
                  <a:close/>
                  <a:moveTo>
                    <a:pt x="21" y="13"/>
                  </a:moveTo>
                  <a:cubicBezTo>
                    <a:pt x="21" y="10"/>
                    <a:pt x="21" y="8"/>
                    <a:pt x="19" y="7"/>
                  </a:cubicBezTo>
                  <a:cubicBezTo>
                    <a:pt x="18" y="5"/>
                    <a:pt x="16" y="4"/>
                    <a:pt x="14" y="4"/>
                  </a:cubicBezTo>
                  <a:cubicBezTo>
                    <a:pt x="12" y="4"/>
                    <a:pt x="10" y="5"/>
                    <a:pt x="8" y="7"/>
                  </a:cubicBezTo>
                  <a:cubicBezTo>
                    <a:pt x="7" y="8"/>
                    <a:pt x="6" y="11"/>
                    <a:pt x="5" y="13"/>
                  </a:cubicBezTo>
                  <a:lnTo>
                    <a:pt x="21"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86" name="Freeform 66"/>
            <p:cNvSpPr>
              <a:spLocks/>
            </p:cNvSpPr>
            <p:nvPr/>
          </p:nvSpPr>
          <p:spPr bwMode="auto">
            <a:xfrm>
              <a:off x="4125" y="2134"/>
              <a:ext cx="55" cy="78"/>
            </a:xfrm>
            <a:custGeom>
              <a:avLst/>
              <a:gdLst>
                <a:gd name="T0" fmla="*/ 23 w 23"/>
                <a:gd name="T1" fmla="*/ 30 h 32"/>
                <a:gd name="T2" fmla="*/ 15 w 23"/>
                <a:gd name="T3" fmla="*/ 32 h 32"/>
                <a:gd name="T4" fmla="*/ 7 w 23"/>
                <a:gd name="T5" fmla="*/ 30 h 32"/>
                <a:gd name="T6" fmla="*/ 2 w 23"/>
                <a:gd name="T7" fmla="*/ 25 h 32"/>
                <a:gd name="T8" fmla="*/ 0 w 23"/>
                <a:gd name="T9" fmla="*/ 17 h 32"/>
                <a:gd name="T10" fmla="*/ 5 w 23"/>
                <a:gd name="T11" fmla="*/ 5 h 32"/>
                <a:gd name="T12" fmla="*/ 16 w 23"/>
                <a:gd name="T13" fmla="*/ 0 h 32"/>
                <a:gd name="T14" fmla="*/ 23 w 23"/>
                <a:gd name="T15" fmla="*/ 2 h 32"/>
                <a:gd name="T16" fmla="*/ 23 w 23"/>
                <a:gd name="T17" fmla="*/ 7 h 32"/>
                <a:gd name="T18" fmla="*/ 16 w 23"/>
                <a:gd name="T19" fmla="*/ 4 h 32"/>
                <a:gd name="T20" fmla="*/ 8 w 23"/>
                <a:gd name="T21" fmla="*/ 8 h 32"/>
                <a:gd name="T22" fmla="*/ 5 w 23"/>
                <a:gd name="T23" fmla="*/ 16 h 32"/>
                <a:gd name="T24" fmla="*/ 8 w 23"/>
                <a:gd name="T25" fmla="*/ 25 h 32"/>
                <a:gd name="T26" fmla="*/ 16 w 23"/>
                <a:gd name="T27" fmla="*/ 28 h 32"/>
                <a:gd name="T28" fmla="*/ 23 w 23"/>
                <a:gd name="T29" fmla="*/ 25 h 32"/>
                <a:gd name="T30" fmla="*/ 23 w 23"/>
                <a:gd name="T31"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32">
                  <a:moveTo>
                    <a:pt x="23" y="30"/>
                  </a:moveTo>
                  <a:cubicBezTo>
                    <a:pt x="21" y="31"/>
                    <a:pt x="18" y="32"/>
                    <a:pt x="15" y="32"/>
                  </a:cubicBezTo>
                  <a:cubicBezTo>
                    <a:pt x="12" y="32"/>
                    <a:pt x="10" y="31"/>
                    <a:pt x="7" y="30"/>
                  </a:cubicBezTo>
                  <a:cubicBezTo>
                    <a:pt x="5" y="29"/>
                    <a:pt x="3" y="27"/>
                    <a:pt x="2" y="25"/>
                  </a:cubicBezTo>
                  <a:cubicBezTo>
                    <a:pt x="1" y="22"/>
                    <a:pt x="0" y="20"/>
                    <a:pt x="0" y="17"/>
                  </a:cubicBezTo>
                  <a:cubicBezTo>
                    <a:pt x="0" y="12"/>
                    <a:pt x="2" y="8"/>
                    <a:pt x="5" y="5"/>
                  </a:cubicBezTo>
                  <a:cubicBezTo>
                    <a:pt x="8" y="2"/>
                    <a:pt x="11" y="0"/>
                    <a:pt x="16" y="0"/>
                  </a:cubicBezTo>
                  <a:cubicBezTo>
                    <a:pt x="19" y="0"/>
                    <a:pt x="21" y="1"/>
                    <a:pt x="23" y="2"/>
                  </a:cubicBezTo>
                  <a:cubicBezTo>
                    <a:pt x="23" y="7"/>
                    <a:pt x="23" y="7"/>
                    <a:pt x="23" y="7"/>
                  </a:cubicBezTo>
                  <a:cubicBezTo>
                    <a:pt x="21" y="5"/>
                    <a:pt x="18" y="4"/>
                    <a:pt x="16" y="4"/>
                  </a:cubicBezTo>
                  <a:cubicBezTo>
                    <a:pt x="13" y="4"/>
                    <a:pt x="10" y="6"/>
                    <a:pt x="8" y="8"/>
                  </a:cubicBezTo>
                  <a:cubicBezTo>
                    <a:pt x="6" y="10"/>
                    <a:pt x="5" y="13"/>
                    <a:pt x="5" y="16"/>
                  </a:cubicBezTo>
                  <a:cubicBezTo>
                    <a:pt x="5" y="20"/>
                    <a:pt x="6" y="23"/>
                    <a:pt x="8" y="25"/>
                  </a:cubicBezTo>
                  <a:cubicBezTo>
                    <a:pt x="10" y="27"/>
                    <a:pt x="12" y="28"/>
                    <a:pt x="16" y="28"/>
                  </a:cubicBezTo>
                  <a:cubicBezTo>
                    <a:pt x="18" y="28"/>
                    <a:pt x="21" y="27"/>
                    <a:pt x="23" y="25"/>
                  </a:cubicBezTo>
                  <a:lnTo>
                    <a:pt x="23"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87" name="Freeform 67"/>
            <p:cNvSpPr>
              <a:spLocks/>
            </p:cNvSpPr>
            <p:nvPr/>
          </p:nvSpPr>
          <p:spPr bwMode="auto">
            <a:xfrm>
              <a:off x="4185" y="2115"/>
              <a:ext cx="42" cy="97"/>
            </a:xfrm>
            <a:custGeom>
              <a:avLst/>
              <a:gdLst>
                <a:gd name="T0" fmla="*/ 18 w 18"/>
                <a:gd name="T1" fmla="*/ 39 h 40"/>
                <a:gd name="T2" fmla="*/ 13 w 18"/>
                <a:gd name="T3" fmla="*/ 40 h 40"/>
                <a:gd name="T4" fmla="*/ 5 w 18"/>
                <a:gd name="T5" fmla="*/ 31 h 40"/>
                <a:gd name="T6" fmla="*/ 5 w 18"/>
                <a:gd name="T7" fmla="*/ 13 h 40"/>
                <a:gd name="T8" fmla="*/ 0 w 18"/>
                <a:gd name="T9" fmla="*/ 13 h 40"/>
                <a:gd name="T10" fmla="*/ 0 w 18"/>
                <a:gd name="T11" fmla="*/ 9 h 40"/>
                <a:gd name="T12" fmla="*/ 5 w 18"/>
                <a:gd name="T13" fmla="*/ 9 h 40"/>
                <a:gd name="T14" fmla="*/ 5 w 18"/>
                <a:gd name="T15" fmla="*/ 2 h 40"/>
                <a:gd name="T16" fmla="*/ 10 w 18"/>
                <a:gd name="T17" fmla="*/ 0 h 40"/>
                <a:gd name="T18" fmla="*/ 10 w 18"/>
                <a:gd name="T19" fmla="*/ 9 h 40"/>
                <a:gd name="T20" fmla="*/ 18 w 18"/>
                <a:gd name="T21" fmla="*/ 9 h 40"/>
                <a:gd name="T22" fmla="*/ 18 w 18"/>
                <a:gd name="T23" fmla="*/ 13 h 40"/>
                <a:gd name="T24" fmla="*/ 10 w 18"/>
                <a:gd name="T25" fmla="*/ 13 h 40"/>
                <a:gd name="T26" fmla="*/ 10 w 18"/>
                <a:gd name="T27" fmla="*/ 30 h 40"/>
                <a:gd name="T28" fmla="*/ 11 w 18"/>
                <a:gd name="T29" fmla="*/ 34 h 40"/>
                <a:gd name="T30" fmla="*/ 14 w 18"/>
                <a:gd name="T31" fmla="*/ 36 h 40"/>
                <a:gd name="T32" fmla="*/ 18 w 18"/>
                <a:gd name="T33" fmla="*/ 35 h 40"/>
                <a:gd name="T34" fmla="*/ 18 w 18"/>
                <a:gd name="T35"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40">
                  <a:moveTo>
                    <a:pt x="18" y="39"/>
                  </a:moveTo>
                  <a:cubicBezTo>
                    <a:pt x="16" y="39"/>
                    <a:pt x="15" y="40"/>
                    <a:pt x="13" y="40"/>
                  </a:cubicBezTo>
                  <a:cubicBezTo>
                    <a:pt x="8" y="40"/>
                    <a:pt x="5" y="37"/>
                    <a:pt x="5" y="31"/>
                  </a:cubicBezTo>
                  <a:cubicBezTo>
                    <a:pt x="5" y="13"/>
                    <a:pt x="5" y="13"/>
                    <a:pt x="5" y="13"/>
                  </a:cubicBezTo>
                  <a:cubicBezTo>
                    <a:pt x="0" y="13"/>
                    <a:pt x="0" y="13"/>
                    <a:pt x="0" y="13"/>
                  </a:cubicBezTo>
                  <a:cubicBezTo>
                    <a:pt x="0" y="9"/>
                    <a:pt x="0" y="9"/>
                    <a:pt x="0" y="9"/>
                  </a:cubicBezTo>
                  <a:cubicBezTo>
                    <a:pt x="5" y="9"/>
                    <a:pt x="5" y="9"/>
                    <a:pt x="5" y="9"/>
                  </a:cubicBezTo>
                  <a:cubicBezTo>
                    <a:pt x="5" y="2"/>
                    <a:pt x="5" y="2"/>
                    <a:pt x="5" y="2"/>
                  </a:cubicBezTo>
                  <a:cubicBezTo>
                    <a:pt x="10" y="0"/>
                    <a:pt x="10" y="0"/>
                    <a:pt x="10" y="0"/>
                  </a:cubicBezTo>
                  <a:cubicBezTo>
                    <a:pt x="10" y="9"/>
                    <a:pt x="10" y="9"/>
                    <a:pt x="10" y="9"/>
                  </a:cubicBezTo>
                  <a:cubicBezTo>
                    <a:pt x="18" y="9"/>
                    <a:pt x="18" y="9"/>
                    <a:pt x="18" y="9"/>
                  </a:cubicBezTo>
                  <a:cubicBezTo>
                    <a:pt x="18" y="13"/>
                    <a:pt x="18" y="13"/>
                    <a:pt x="18" y="13"/>
                  </a:cubicBezTo>
                  <a:cubicBezTo>
                    <a:pt x="10" y="13"/>
                    <a:pt x="10" y="13"/>
                    <a:pt x="10" y="13"/>
                  </a:cubicBezTo>
                  <a:cubicBezTo>
                    <a:pt x="10" y="30"/>
                    <a:pt x="10" y="30"/>
                    <a:pt x="10" y="30"/>
                  </a:cubicBezTo>
                  <a:cubicBezTo>
                    <a:pt x="10" y="32"/>
                    <a:pt x="10" y="34"/>
                    <a:pt x="11" y="34"/>
                  </a:cubicBezTo>
                  <a:cubicBezTo>
                    <a:pt x="12" y="35"/>
                    <a:pt x="13" y="36"/>
                    <a:pt x="14" y="36"/>
                  </a:cubicBezTo>
                  <a:cubicBezTo>
                    <a:pt x="16" y="36"/>
                    <a:pt x="17" y="35"/>
                    <a:pt x="18" y="35"/>
                  </a:cubicBezTo>
                  <a:lnTo>
                    <a:pt x="18" y="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88" name="Freeform 68"/>
            <p:cNvSpPr>
              <a:spLocks/>
            </p:cNvSpPr>
            <p:nvPr/>
          </p:nvSpPr>
          <p:spPr bwMode="auto">
            <a:xfrm>
              <a:off x="3634" y="2064"/>
              <a:ext cx="105" cy="194"/>
            </a:xfrm>
            <a:custGeom>
              <a:avLst/>
              <a:gdLst>
                <a:gd name="T0" fmla="*/ 40 w 44"/>
                <a:gd name="T1" fmla="*/ 0 h 80"/>
                <a:gd name="T2" fmla="*/ 0 w 44"/>
                <a:gd name="T3" fmla="*/ 0 h 80"/>
                <a:gd name="T4" fmla="*/ 0 w 44"/>
                <a:gd name="T5" fmla="*/ 12 h 80"/>
                <a:gd name="T6" fmla="*/ 24 w 44"/>
                <a:gd name="T7" fmla="*/ 12 h 80"/>
                <a:gd name="T8" fmla="*/ 32 w 44"/>
                <a:gd name="T9" fmla="*/ 12 h 80"/>
                <a:gd name="T10" fmla="*/ 32 w 44"/>
                <a:gd name="T11" fmla="*/ 20 h 80"/>
                <a:gd name="T12" fmla="*/ 32 w 44"/>
                <a:gd name="T13" fmla="*/ 32 h 80"/>
                <a:gd name="T14" fmla="*/ 36 w 44"/>
                <a:gd name="T15" fmla="*/ 32 h 80"/>
                <a:gd name="T16" fmla="*/ 40 w 44"/>
                <a:gd name="T17" fmla="*/ 34 h 80"/>
                <a:gd name="T18" fmla="*/ 28 w 44"/>
                <a:gd name="T19" fmla="*/ 48 h 80"/>
                <a:gd name="T20" fmla="*/ 16 w 44"/>
                <a:gd name="T21" fmla="*/ 34 h 80"/>
                <a:gd name="T22" fmla="*/ 20 w 44"/>
                <a:gd name="T23" fmla="*/ 32 h 80"/>
                <a:gd name="T24" fmla="*/ 24 w 44"/>
                <a:gd name="T25" fmla="*/ 32 h 80"/>
                <a:gd name="T26" fmla="*/ 24 w 44"/>
                <a:gd name="T27" fmla="*/ 20 h 80"/>
                <a:gd name="T28" fmla="*/ 0 w 44"/>
                <a:gd name="T29" fmla="*/ 20 h 80"/>
                <a:gd name="T30" fmla="*/ 0 w 44"/>
                <a:gd name="T31" fmla="*/ 56 h 80"/>
                <a:gd name="T32" fmla="*/ 12 w 44"/>
                <a:gd name="T33" fmla="*/ 44 h 80"/>
                <a:gd name="T34" fmla="*/ 26 w 44"/>
                <a:gd name="T35" fmla="*/ 58 h 80"/>
                <a:gd name="T36" fmla="*/ 12 w 44"/>
                <a:gd name="T37" fmla="*/ 72 h 80"/>
                <a:gd name="T38" fmla="*/ 0 w 44"/>
                <a:gd name="T39" fmla="*/ 60 h 80"/>
                <a:gd name="T40" fmla="*/ 0 w 44"/>
                <a:gd name="T41" fmla="*/ 80 h 80"/>
                <a:gd name="T42" fmla="*/ 40 w 44"/>
                <a:gd name="T43" fmla="*/ 80 h 80"/>
                <a:gd name="T44" fmla="*/ 44 w 44"/>
                <a:gd name="T45" fmla="*/ 76 h 80"/>
                <a:gd name="T46" fmla="*/ 44 w 44"/>
                <a:gd name="T47" fmla="*/ 4 h 80"/>
                <a:gd name="T48" fmla="*/ 40 w 44"/>
                <a:gd name="T4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 h="80">
                  <a:moveTo>
                    <a:pt x="40" y="0"/>
                  </a:moveTo>
                  <a:cubicBezTo>
                    <a:pt x="0" y="0"/>
                    <a:pt x="0" y="0"/>
                    <a:pt x="0" y="0"/>
                  </a:cubicBezTo>
                  <a:cubicBezTo>
                    <a:pt x="0" y="12"/>
                    <a:pt x="0" y="12"/>
                    <a:pt x="0" y="12"/>
                  </a:cubicBezTo>
                  <a:cubicBezTo>
                    <a:pt x="24" y="12"/>
                    <a:pt x="24" y="12"/>
                    <a:pt x="24" y="12"/>
                  </a:cubicBezTo>
                  <a:cubicBezTo>
                    <a:pt x="32" y="12"/>
                    <a:pt x="32" y="12"/>
                    <a:pt x="32" y="12"/>
                  </a:cubicBezTo>
                  <a:cubicBezTo>
                    <a:pt x="32" y="20"/>
                    <a:pt x="32" y="20"/>
                    <a:pt x="32" y="20"/>
                  </a:cubicBezTo>
                  <a:cubicBezTo>
                    <a:pt x="32" y="32"/>
                    <a:pt x="32" y="32"/>
                    <a:pt x="32" y="32"/>
                  </a:cubicBezTo>
                  <a:cubicBezTo>
                    <a:pt x="36" y="32"/>
                    <a:pt x="36" y="32"/>
                    <a:pt x="36" y="32"/>
                  </a:cubicBezTo>
                  <a:cubicBezTo>
                    <a:pt x="40" y="34"/>
                    <a:pt x="40" y="34"/>
                    <a:pt x="40" y="34"/>
                  </a:cubicBezTo>
                  <a:cubicBezTo>
                    <a:pt x="28" y="48"/>
                    <a:pt x="28" y="48"/>
                    <a:pt x="28" y="48"/>
                  </a:cubicBezTo>
                  <a:cubicBezTo>
                    <a:pt x="16" y="34"/>
                    <a:pt x="16" y="34"/>
                    <a:pt x="16" y="34"/>
                  </a:cubicBezTo>
                  <a:cubicBezTo>
                    <a:pt x="20" y="32"/>
                    <a:pt x="20" y="32"/>
                    <a:pt x="20" y="32"/>
                  </a:cubicBezTo>
                  <a:cubicBezTo>
                    <a:pt x="24" y="32"/>
                    <a:pt x="24" y="32"/>
                    <a:pt x="24" y="32"/>
                  </a:cubicBezTo>
                  <a:cubicBezTo>
                    <a:pt x="24" y="20"/>
                    <a:pt x="24" y="20"/>
                    <a:pt x="24" y="20"/>
                  </a:cubicBezTo>
                  <a:cubicBezTo>
                    <a:pt x="0" y="20"/>
                    <a:pt x="0" y="20"/>
                    <a:pt x="0" y="20"/>
                  </a:cubicBezTo>
                  <a:cubicBezTo>
                    <a:pt x="0" y="56"/>
                    <a:pt x="0" y="56"/>
                    <a:pt x="0" y="56"/>
                  </a:cubicBezTo>
                  <a:cubicBezTo>
                    <a:pt x="12" y="44"/>
                    <a:pt x="12" y="44"/>
                    <a:pt x="12" y="44"/>
                  </a:cubicBezTo>
                  <a:cubicBezTo>
                    <a:pt x="26" y="58"/>
                    <a:pt x="26" y="58"/>
                    <a:pt x="26" y="58"/>
                  </a:cubicBezTo>
                  <a:cubicBezTo>
                    <a:pt x="12" y="72"/>
                    <a:pt x="12" y="72"/>
                    <a:pt x="12" y="72"/>
                  </a:cubicBezTo>
                  <a:cubicBezTo>
                    <a:pt x="0" y="60"/>
                    <a:pt x="0" y="60"/>
                    <a:pt x="0" y="60"/>
                  </a:cubicBezTo>
                  <a:cubicBezTo>
                    <a:pt x="0" y="80"/>
                    <a:pt x="0" y="80"/>
                    <a:pt x="0" y="80"/>
                  </a:cubicBezTo>
                  <a:cubicBezTo>
                    <a:pt x="40" y="80"/>
                    <a:pt x="40" y="80"/>
                    <a:pt x="40" y="80"/>
                  </a:cubicBezTo>
                  <a:cubicBezTo>
                    <a:pt x="41" y="80"/>
                    <a:pt x="44" y="77"/>
                    <a:pt x="44" y="76"/>
                  </a:cubicBezTo>
                  <a:cubicBezTo>
                    <a:pt x="44" y="4"/>
                    <a:pt x="44" y="4"/>
                    <a:pt x="44" y="4"/>
                  </a:cubicBezTo>
                  <a:cubicBezTo>
                    <a:pt x="44" y="3"/>
                    <a:pt x="41" y="0"/>
                    <a:pt x="4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89" name="Freeform 69"/>
            <p:cNvSpPr>
              <a:spLocks noEditPoints="1"/>
            </p:cNvSpPr>
            <p:nvPr/>
          </p:nvSpPr>
          <p:spPr bwMode="auto">
            <a:xfrm>
              <a:off x="3453" y="2013"/>
              <a:ext cx="172" cy="296"/>
            </a:xfrm>
            <a:custGeom>
              <a:avLst/>
              <a:gdLst>
                <a:gd name="T0" fmla="*/ 0 w 72"/>
                <a:gd name="T1" fmla="*/ 17 h 122"/>
                <a:gd name="T2" fmla="*/ 0 w 72"/>
                <a:gd name="T3" fmla="*/ 105 h 122"/>
                <a:gd name="T4" fmla="*/ 72 w 72"/>
                <a:gd name="T5" fmla="*/ 122 h 122"/>
                <a:gd name="T6" fmla="*/ 72 w 72"/>
                <a:gd name="T7" fmla="*/ 0 h 122"/>
                <a:gd name="T8" fmla="*/ 0 w 72"/>
                <a:gd name="T9" fmla="*/ 17 h 122"/>
                <a:gd name="T10" fmla="*/ 52 w 72"/>
                <a:gd name="T11" fmla="*/ 55 h 122"/>
                <a:gd name="T12" fmla="*/ 51 w 72"/>
                <a:gd name="T13" fmla="*/ 58 h 122"/>
                <a:gd name="T14" fmla="*/ 49 w 72"/>
                <a:gd name="T15" fmla="*/ 61 h 122"/>
                <a:gd name="T16" fmla="*/ 47 w 72"/>
                <a:gd name="T17" fmla="*/ 64 h 122"/>
                <a:gd name="T18" fmla="*/ 44 w 72"/>
                <a:gd name="T19" fmla="*/ 66 h 122"/>
                <a:gd name="T20" fmla="*/ 41 w 72"/>
                <a:gd name="T21" fmla="*/ 68 h 122"/>
                <a:gd name="T22" fmla="*/ 38 w 72"/>
                <a:gd name="T23" fmla="*/ 68 h 122"/>
                <a:gd name="T24" fmla="*/ 34 w 72"/>
                <a:gd name="T25" fmla="*/ 69 h 122"/>
                <a:gd name="T26" fmla="*/ 29 w 72"/>
                <a:gd name="T27" fmla="*/ 69 h 122"/>
                <a:gd name="T28" fmla="*/ 29 w 72"/>
                <a:gd name="T29" fmla="*/ 86 h 122"/>
                <a:gd name="T30" fmla="*/ 20 w 72"/>
                <a:gd name="T31" fmla="*/ 85 h 122"/>
                <a:gd name="T32" fmla="*/ 20 w 72"/>
                <a:gd name="T33" fmla="*/ 37 h 122"/>
                <a:gd name="T34" fmla="*/ 35 w 72"/>
                <a:gd name="T35" fmla="*/ 36 h 122"/>
                <a:gd name="T36" fmla="*/ 42 w 72"/>
                <a:gd name="T37" fmla="*/ 36 h 122"/>
                <a:gd name="T38" fmla="*/ 47 w 72"/>
                <a:gd name="T39" fmla="*/ 39 h 122"/>
                <a:gd name="T40" fmla="*/ 51 w 72"/>
                <a:gd name="T41" fmla="*/ 44 h 122"/>
                <a:gd name="T42" fmla="*/ 52 w 72"/>
                <a:gd name="T43" fmla="*/ 51 h 122"/>
                <a:gd name="T44" fmla="*/ 52 w 72"/>
                <a:gd name="T45" fmla="*/ 5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2" h="122">
                  <a:moveTo>
                    <a:pt x="0" y="17"/>
                  </a:moveTo>
                  <a:cubicBezTo>
                    <a:pt x="0" y="105"/>
                    <a:pt x="0" y="105"/>
                    <a:pt x="0" y="105"/>
                  </a:cubicBezTo>
                  <a:cubicBezTo>
                    <a:pt x="72" y="122"/>
                    <a:pt x="72" y="122"/>
                    <a:pt x="72" y="122"/>
                  </a:cubicBezTo>
                  <a:cubicBezTo>
                    <a:pt x="72" y="0"/>
                    <a:pt x="72" y="0"/>
                    <a:pt x="72" y="0"/>
                  </a:cubicBezTo>
                  <a:lnTo>
                    <a:pt x="0" y="17"/>
                  </a:lnTo>
                  <a:close/>
                  <a:moveTo>
                    <a:pt x="52" y="55"/>
                  </a:moveTo>
                  <a:cubicBezTo>
                    <a:pt x="51" y="56"/>
                    <a:pt x="51" y="57"/>
                    <a:pt x="51" y="58"/>
                  </a:cubicBezTo>
                  <a:cubicBezTo>
                    <a:pt x="50" y="59"/>
                    <a:pt x="50" y="60"/>
                    <a:pt x="49" y="61"/>
                  </a:cubicBezTo>
                  <a:cubicBezTo>
                    <a:pt x="49" y="62"/>
                    <a:pt x="48" y="63"/>
                    <a:pt x="47" y="64"/>
                  </a:cubicBezTo>
                  <a:cubicBezTo>
                    <a:pt x="46" y="65"/>
                    <a:pt x="45" y="65"/>
                    <a:pt x="44" y="66"/>
                  </a:cubicBezTo>
                  <a:cubicBezTo>
                    <a:pt x="43" y="67"/>
                    <a:pt x="42" y="67"/>
                    <a:pt x="41" y="68"/>
                  </a:cubicBezTo>
                  <a:cubicBezTo>
                    <a:pt x="40" y="68"/>
                    <a:pt x="39" y="68"/>
                    <a:pt x="38" y="68"/>
                  </a:cubicBezTo>
                  <a:cubicBezTo>
                    <a:pt x="37" y="69"/>
                    <a:pt x="35" y="69"/>
                    <a:pt x="34" y="69"/>
                  </a:cubicBezTo>
                  <a:cubicBezTo>
                    <a:pt x="29" y="69"/>
                    <a:pt x="29" y="69"/>
                    <a:pt x="29" y="69"/>
                  </a:cubicBezTo>
                  <a:cubicBezTo>
                    <a:pt x="29" y="86"/>
                    <a:pt x="29" y="86"/>
                    <a:pt x="29" y="86"/>
                  </a:cubicBezTo>
                  <a:cubicBezTo>
                    <a:pt x="20" y="85"/>
                    <a:pt x="20" y="85"/>
                    <a:pt x="20" y="85"/>
                  </a:cubicBezTo>
                  <a:cubicBezTo>
                    <a:pt x="20" y="37"/>
                    <a:pt x="20" y="37"/>
                    <a:pt x="20" y="37"/>
                  </a:cubicBezTo>
                  <a:cubicBezTo>
                    <a:pt x="35" y="36"/>
                    <a:pt x="35" y="36"/>
                    <a:pt x="35" y="36"/>
                  </a:cubicBezTo>
                  <a:cubicBezTo>
                    <a:pt x="38" y="36"/>
                    <a:pt x="40" y="36"/>
                    <a:pt x="42" y="36"/>
                  </a:cubicBezTo>
                  <a:cubicBezTo>
                    <a:pt x="44" y="37"/>
                    <a:pt x="46" y="38"/>
                    <a:pt x="47" y="39"/>
                  </a:cubicBezTo>
                  <a:cubicBezTo>
                    <a:pt x="49" y="40"/>
                    <a:pt x="50" y="42"/>
                    <a:pt x="51" y="44"/>
                  </a:cubicBezTo>
                  <a:cubicBezTo>
                    <a:pt x="51" y="46"/>
                    <a:pt x="52" y="49"/>
                    <a:pt x="52" y="51"/>
                  </a:cubicBezTo>
                  <a:cubicBezTo>
                    <a:pt x="52" y="53"/>
                    <a:pt x="52" y="54"/>
                    <a:pt x="52" y="5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90" name="Freeform 70"/>
            <p:cNvSpPr>
              <a:spLocks/>
            </p:cNvSpPr>
            <p:nvPr/>
          </p:nvSpPr>
          <p:spPr bwMode="auto">
            <a:xfrm>
              <a:off x="3522" y="2120"/>
              <a:ext cx="29" cy="39"/>
            </a:xfrm>
            <a:custGeom>
              <a:avLst/>
              <a:gdLst>
                <a:gd name="T0" fmla="*/ 10 w 12"/>
                <a:gd name="T1" fmla="*/ 2 h 16"/>
                <a:gd name="T2" fmla="*/ 8 w 12"/>
                <a:gd name="T3" fmla="*/ 1 h 16"/>
                <a:gd name="T4" fmla="*/ 4 w 12"/>
                <a:gd name="T5" fmla="*/ 0 h 16"/>
                <a:gd name="T6" fmla="*/ 0 w 12"/>
                <a:gd name="T7" fmla="*/ 1 h 16"/>
                <a:gd name="T8" fmla="*/ 0 w 12"/>
                <a:gd name="T9" fmla="*/ 16 h 16"/>
                <a:gd name="T10" fmla="*/ 4 w 12"/>
                <a:gd name="T11" fmla="*/ 16 h 16"/>
                <a:gd name="T12" fmla="*/ 8 w 12"/>
                <a:gd name="T13" fmla="*/ 16 h 16"/>
                <a:gd name="T14" fmla="*/ 10 w 12"/>
                <a:gd name="T15" fmla="*/ 14 h 16"/>
                <a:gd name="T16" fmla="*/ 11 w 12"/>
                <a:gd name="T17" fmla="*/ 12 h 16"/>
                <a:gd name="T18" fmla="*/ 12 w 12"/>
                <a:gd name="T19" fmla="*/ 8 h 16"/>
                <a:gd name="T20" fmla="*/ 11 w 12"/>
                <a:gd name="T21" fmla="*/ 5 h 16"/>
                <a:gd name="T22" fmla="*/ 10 w 12"/>
                <a:gd name="T2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16">
                  <a:moveTo>
                    <a:pt x="10" y="2"/>
                  </a:moveTo>
                  <a:cubicBezTo>
                    <a:pt x="9" y="2"/>
                    <a:pt x="9" y="1"/>
                    <a:pt x="8" y="1"/>
                  </a:cubicBezTo>
                  <a:cubicBezTo>
                    <a:pt x="7" y="1"/>
                    <a:pt x="5" y="0"/>
                    <a:pt x="4" y="0"/>
                  </a:cubicBezTo>
                  <a:cubicBezTo>
                    <a:pt x="0" y="1"/>
                    <a:pt x="0" y="1"/>
                    <a:pt x="0" y="1"/>
                  </a:cubicBezTo>
                  <a:cubicBezTo>
                    <a:pt x="0" y="16"/>
                    <a:pt x="0" y="16"/>
                    <a:pt x="0" y="16"/>
                  </a:cubicBezTo>
                  <a:cubicBezTo>
                    <a:pt x="4" y="16"/>
                    <a:pt x="4" y="16"/>
                    <a:pt x="4" y="16"/>
                  </a:cubicBezTo>
                  <a:cubicBezTo>
                    <a:pt x="5" y="16"/>
                    <a:pt x="7" y="16"/>
                    <a:pt x="8" y="16"/>
                  </a:cubicBezTo>
                  <a:cubicBezTo>
                    <a:pt x="9" y="15"/>
                    <a:pt x="9" y="15"/>
                    <a:pt x="10" y="14"/>
                  </a:cubicBezTo>
                  <a:cubicBezTo>
                    <a:pt x="11" y="13"/>
                    <a:pt x="11" y="13"/>
                    <a:pt x="11" y="12"/>
                  </a:cubicBezTo>
                  <a:cubicBezTo>
                    <a:pt x="12" y="11"/>
                    <a:pt x="12" y="9"/>
                    <a:pt x="12" y="8"/>
                  </a:cubicBezTo>
                  <a:cubicBezTo>
                    <a:pt x="12" y="7"/>
                    <a:pt x="12" y="6"/>
                    <a:pt x="11" y="5"/>
                  </a:cubicBezTo>
                  <a:cubicBezTo>
                    <a:pt x="11" y="4"/>
                    <a:pt x="11" y="3"/>
                    <a:pt x="10"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sp>
        <p:nvSpPr>
          <p:cNvPr id="856" name="Freeform 30"/>
          <p:cNvSpPr>
            <a:spLocks noChangeAspect="1" noEditPoints="1"/>
          </p:cNvSpPr>
          <p:nvPr/>
        </p:nvSpPr>
        <p:spPr bwMode="auto">
          <a:xfrm>
            <a:off x="675063" y="4156585"/>
            <a:ext cx="927367" cy="412968"/>
          </a:xfrm>
          <a:custGeom>
            <a:avLst/>
            <a:gdLst>
              <a:gd name="T0" fmla="*/ 60 w 216"/>
              <a:gd name="T1" fmla="*/ 20 h 96"/>
              <a:gd name="T2" fmla="*/ 60 w 216"/>
              <a:gd name="T3" fmla="*/ 28 h 96"/>
              <a:gd name="T4" fmla="*/ 68 w 216"/>
              <a:gd name="T5" fmla="*/ 40 h 96"/>
              <a:gd name="T6" fmla="*/ 68 w 216"/>
              <a:gd name="T7" fmla="*/ 44 h 96"/>
              <a:gd name="T8" fmla="*/ 60 w 216"/>
              <a:gd name="T9" fmla="*/ 56 h 96"/>
              <a:gd name="T10" fmla="*/ 60 w 216"/>
              <a:gd name="T11" fmla="*/ 64 h 96"/>
              <a:gd name="T12" fmla="*/ 68 w 216"/>
              <a:gd name="T13" fmla="*/ 76 h 96"/>
              <a:gd name="T14" fmla="*/ 92 w 216"/>
              <a:gd name="T15" fmla="*/ 84 h 96"/>
              <a:gd name="T16" fmla="*/ 92 w 216"/>
              <a:gd name="T17" fmla="*/ 12 h 96"/>
              <a:gd name="T18" fmla="*/ 72 w 216"/>
              <a:gd name="T19" fmla="*/ 68 h 96"/>
              <a:gd name="T20" fmla="*/ 88 w 216"/>
              <a:gd name="T21" fmla="*/ 64 h 96"/>
              <a:gd name="T22" fmla="*/ 88 w 216"/>
              <a:gd name="T23" fmla="*/ 56 h 96"/>
              <a:gd name="T24" fmla="*/ 72 w 216"/>
              <a:gd name="T25" fmla="*/ 52 h 96"/>
              <a:gd name="T26" fmla="*/ 88 w 216"/>
              <a:gd name="T27" fmla="*/ 52 h 96"/>
              <a:gd name="T28" fmla="*/ 72 w 216"/>
              <a:gd name="T29" fmla="*/ 32 h 96"/>
              <a:gd name="T30" fmla="*/ 88 w 216"/>
              <a:gd name="T31" fmla="*/ 28 h 96"/>
              <a:gd name="T32" fmla="*/ 88 w 216"/>
              <a:gd name="T33" fmla="*/ 20 h 96"/>
              <a:gd name="T34" fmla="*/ 0 w 216"/>
              <a:gd name="T35" fmla="*/ 82 h 96"/>
              <a:gd name="T36" fmla="*/ 0 w 216"/>
              <a:gd name="T37" fmla="*/ 13 h 96"/>
              <a:gd name="T38" fmla="*/ 27 w 216"/>
              <a:gd name="T39" fmla="*/ 54 h 96"/>
              <a:gd name="T40" fmla="*/ 27 w 216"/>
              <a:gd name="T41" fmla="*/ 52 h 96"/>
              <a:gd name="T42" fmla="*/ 26 w 216"/>
              <a:gd name="T43" fmla="*/ 53 h 96"/>
              <a:gd name="T44" fmla="*/ 20 w 216"/>
              <a:gd name="T45" fmla="*/ 66 h 96"/>
              <a:gd name="T46" fmla="*/ 13 w 216"/>
              <a:gd name="T47" fmla="*/ 29 h 96"/>
              <a:gd name="T48" fmla="*/ 26 w 216"/>
              <a:gd name="T49" fmla="*/ 41 h 96"/>
              <a:gd name="T50" fmla="*/ 27 w 216"/>
              <a:gd name="T51" fmla="*/ 43 h 96"/>
              <a:gd name="T52" fmla="*/ 27 w 216"/>
              <a:gd name="T53" fmla="*/ 42 h 96"/>
              <a:gd name="T54" fmla="*/ 33 w 216"/>
              <a:gd name="T55" fmla="*/ 28 h 96"/>
              <a:gd name="T56" fmla="*/ 42 w 216"/>
              <a:gd name="T57" fmla="*/ 68 h 96"/>
              <a:gd name="T58" fmla="*/ 124 w 216"/>
              <a:gd name="T59" fmla="*/ 65 h 96"/>
              <a:gd name="T60" fmla="*/ 141 w 216"/>
              <a:gd name="T61" fmla="*/ 35 h 96"/>
              <a:gd name="T62" fmla="*/ 140 w 216"/>
              <a:gd name="T63" fmla="*/ 46 h 96"/>
              <a:gd name="T64" fmla="*/ 128 w 216"/>
              <a:gd name="T65" fmla="*/ 61 h 96"/>
              <a:gd name="T66" fmla="*/ 166 w 216"/>
              <a:gd name="T67" fmla="*/ 41 h 96"/>
              <a:gd name="T68" fmla="*/ 161 w 216"/>
              <a:gd name="T69" fmla="*/ 65 h 96"/>
              <a:gd name="T70" fmla="*/ 155 w 216"/>
              <a:gd name="T71" fmla="*/ 55 h 96"/>
              <a:gd name="T72" fmla="*/ 153 w 216"/>
              <a:gd name="T73" fmla="*/ 53 h 96"/>
              <a:gd name="T74" fmla="*/ 155 w 216"/>
              <a:gd name="T75" fmla="*/ 51 h 96"/>
              <a:gd name="T76" fmla="*/ 166 w 216"/>
              <a:gd name="T77" fmla="*/ 41 h 96"/>
              <a:gd name="T78" fmla="*/ 172 w 216"/>
              <a:gd name="T79" fmla="*/ 64 h 96"/>
              <a:gd name="T80" fmla="*/ 170 w 216"/>
              <a:gd name="T81" fmla="*/ 44 h 96"/>
              <a:gd name="T82" fmla="*/ 185 w 216"/>
              <a:gd name="T83" fmla="*/ 45 h 96"/>
              <a:gd name="T84" fmla="*/ 170 w 216"/>
              <a:gd name="T85" fmla="*/ 53 h 96"/>
              <a:gd name="T86" fmla="*/ 184 w 216"/>
              <a:gd name="T87" fmla="*/ 60 h 96"/>
              <a:gd name="T88" fmla="*/ 191 w 216"/>
              <a:gd name="T89" fmla="*/ 54 h 96"/>
              <a:gd name="T90" fmla="*/ 206 w 216"/>
              <a:gd name="T91" fmla="*/ 59 h 96"/>
              <a:gd name="T92" fmla="*/ 190 w 216"/>
              <a:gd name="T93" fmla="*/ 62 h 96"/>
              <a:gd name="T94" fmla="*/ 192 w 216"/>
              <a:gd name="T95" fmla="*/ 42 h 96"/>
              <a:gd name="T96" fmla="*/ 208 w 216"/>
              <a:gd name="T97" fmla="*/ 52 h 96"/>
              <a:gd name="T98" fmla="*/ 202 w 216"/>
              <a:gd name="T99" fmla="*/ 45 h 96"/>
              <a:gd name="T100" fmla="*/ 191 w 216"/>
              <a:gd name="T101" fmla="*/ 50 h 96"/>
              <a:gd name="T102" fmla="*/ 212 w 216"/>
              <a:gd name="T103" fmla="*/ 65 h 96"/>
              <a:gd name="T104" fmla="*/ 216 w 216"/>
              <a:gd name="T105"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6" h="96">
                <a:moveTo>
                  <a:pt x="92" y="12"/>
                </a:moveTo>
                <a:cubicBezTo>
                  <a:pt x="60" y="12"/>
                  <a:pt x="60" y="12"/>
                  <a:pt x="60" y="12"/>
                </a:cubicBezTo>
                <a:cubicBezTo>
                  <a:pt x="60" y="20"/>
                  <a:pt x="60" y="20"/>
                  <a:pt x="60" y="20"/>
                </a:cubicBezTo>
                <a:cubicBezTo>
                  <a:pt x="68" y="20"/>
                  <a:pt x="68" y="20"/>
                  <a:pt x="68" y="20"/>
                </a:cubicBezTo>
                <a:cubicBezTo>
                  <a:pt x="68" y="28"/>
                  <a:pt x="68" y="28"/>
                  <a:pt x="68" y="28"/>
                </a:cubicBezTo>
                <a:cubicBezTo>
                  <a:pt x="60" y="28"/>
                  <a:pt x="60" y="28"/>
                  <a:pt x="60" y="28"/>
                </a:cubicBezTo>
                <a:cubicBezTo>
                  <a:pt x="60" y="32"/>
                  <a:pt x="60" y="32"/>
                  <a:pt x="60" y="32"/>
                </a:cubicBezTo>
                <a:cubicBezTo>
                  <a:pt x="68" y="32"/>
                  <a:pt x="68" y="32"/>
                  <a:pt x="68" y="32"/>
                </a:cubicBezTo>
                <a:cubicBezTo>
                  <a:pt x="68" y="40"/>
                  <a:pt x="68" y="40"/>
                  <a:pt x="68" y="40"/>
                </a:cubicBezTo>
                <a:cubicBezTo>
                  <a:pt x="60" y="40"/>
                  <a:pt x="60" y="40"/>
                  <a:pt x="60" y="40"/>
                </a:cubicBezTo>
                <a:cubicBezTo>
                  <a:pt x="60" y="44"/>
                  <a:pt x="60" y="44"/>
                  <a:pt x="60" y="44"/>
                </a:cubicBezTo>
                <a:cubicBezTo>
                  <a:pt x="68" y="44"/>
                  <a:pt x="68" y="44"/>
                  <a:pt x="68" y="44"/>
                </a:cubicBezTo>
                <a:cubicBezTo>
                  <a:pt x="68" y="52"/>
                  <a:pt x="68" y="52"/>
                  <a:pt x="68" y="52"/>
                </a:cubicBezTo>
                <a:cubicBezTo>
                  <a:pt x="60" y="52"/>
                  <a:pt x="60" y="52"/>
                  <a:pt x="60" y="52"/>
                </a:cubicBezTo>
                <a:cubicBezTo>
                  <a:pt x="60" y="56"/>
                  <a:pt x="60" y="56"/>
                  <a:pt x="60" y="56"/>
                </a:cubicBezTo>
                <a:cubicBezTo>
                  <a:pt x="68" y="56"/>
                  <a:pt x="68" y="56"/>
                  <a:pt x="68" y="56"/>
                </a:cubicBezTo>
                <a:cubicBezTo>
                  <a:pt x="68" y="64"/>
                  <a:pt x="68" y="64"/>
                  <a:pt x="68" y="64"/>
                </a:cubicBezTo>
                <a:cubicBezTo>
                  <a:pt x="60" y="64"/>
                  <a:pt x="60" y="64"/>
                  <a:pt x="60" y="64"/>
                </a:cubicBezTo>
                <a:cubicBezTo>
                  <a:pt x="60" y="68"/>
                  <a:pt x="60" y="68"/>
                  <a:pt x="60" y="68"/>
                </a:cubicBezTo>
                <a:cubicBezTo>
                  <a:pt x="68" y="68"/>
                  <a:pt x="68" y="68"/>
                  <a:pt x="68" y="68"/>
                </a:cubicBezTo>
                <a:cubicBezTo>
                  <a:pt x="68" y="76"/>
                  <a:pt x="68" y="76"/>
                  <a:pt x="68" y="76"/>
                </a:cubicBezTo>
                <a:cubicBezTo>
                  <a:pt x="60" y="76"/>
                  <a:pt x="60" y="76"/>
                  <a:pt x="60" y="76"/>
                </a:cubicBezTo>
                <a:cubicBezTo>
                  <a:pt x="60" y="84"/>
                  <a:pt x="60" y="84"/>
                  <a:pt x="60" y="84"/>
                </a:cubicBezTo>
                <a:cubicBezTo>
                  <a:pt x="92" y="84"/>
                  <a:pt x="92" y="84"/>
                  <a:pt x="92" y="84"/>
                </a:cubicBezTo>
                <a:cubicBezTo>
                  <a:pt x="93" y="84"/>
                  <a:pt x="96" y="81"/>
                  <a:pt x="96" y="80"/>
                </a:cubicBezTo>
                <a:cubicBezTo>
                  <a:pt x="96" y="16"/>
                  <a:pt x="96" y="16"/>
                  <a:pt x="96" y="16"/>
                </a:cubicBezTo>
                <a:cubicBezTo>
                  <a:pt x="96" y="14"/>
                  <a:pt x="93" y="12"/>
                  <a:pt x="92" y="12"/>
                </a:cubicBezTo>
                <a:close/>
                <a:moveTo>
                  <a:pt x="88" y="76"/>
                </a:moveTo>
                <a:cubicBezTo>
                  <a:pt x="72" y="76"/>
                  <a:pt x="72" y="76"/>
                  <a:pt x="72" y="76"/>
                </a:cubicBezTo>
                <a:cubicBezTo>
                  <a:pt x="72" y="68"/>
                  <a:pt x="72" y="68"/>
                  <a:pt x="72" y="68"/>
                </a:cubicBezTo>
                <a:cubicBezTo>
                  <a:pt x="88" y="68"/>
                  <a:pt x="88" y="68"/>
                  <a:pt x="88" y="68"/>
                </a:cubicBezTo>
                <a:lnTo>
                  <a:pt x="88" y="76"/>
                </a:lnTo>
                <a:close/>
                <a:moveTo>
                  <a:pt x="88" y="64"/>
                </a:moveTo>
                <a:cubicBezTo>
                  <a:pt x="72" y="64"/>
                  <a:pt x="72" y="64"/>
                  <a:pt x="72" y="64"/>
                </a:cubicBezTo>
                <a:cubicBezTo>
                  <a:pt x="72" y="56"/>
                  <a:pt x="72" y="56"/>
                  <a:pt x="72" y="56"/>
                </a:cubicBezTo>
                <a:cubicBezTo>
                  <a:pt x="88" y="56"/>
                  <a:pt x="88" y="56"/>
                  <a:pt x="88" y="56"/>
                </a:cubicBezTo>
                <a:lnTo>
                  <a:pt x="88" y="64"/>
                </a:lnTo>
                <a:close/>
                <a:moveTo>
                  <a:pt x="88" y="52"/>
                </a:moveTo>
                <a:cubicBezTo>
                  <a:pt x="72" y="52"/>
                  <a:pt x="72" y="52"/>
                  <a:pt x="72" y="52"/>
                </a:cubicBezTo>
                <a:cubicBezTo>
                  <a:pt x="72" y="44"/>
                  <a:pt x="72" y="44"/>
                  <a:pt x="72" y="44"/>
                </a:cubicBezTo>
                <a:cubicBezTo>
                  <a:pt x="88" y="44"/>
                  <a:pt x="88" y="44"/>
                  <a:pt x="88" y="44"/>
                </a:cubicBezTo>
                <a:lnTo>
                  <a:pt x="88" y="52"/>
                </a:lnTo>
                <a:close/>
                <a:moveTo>
                  <a:pt x="88" y="40"/>
                </a:moveTo>
                <a:cubicBezTo>
                  <a:pt x="72" y="40"/>
                  <a:pt x="72" y="40"/>
                  <a:pt x="72" y="40"/>
                </a:cubicBezTo>
                <a:cubicBezTo>
                  <a:pt x="72" y="32"/>
                  <a:pt x="72" y="32"/>
                  <a:pt x="72" y="32"/>
                </a:cubicBezTo>
                <a:cubicBezTo>
                  <a:pt x="88" y="32"/>
                  <a:pt x="88" y="32"/>
                  <a:pt x="88" y="32"/>
                </a:cubicBezTo>
                <a:lnTo>
                  <a:pt x="88" y="40"/>
                </a:lnTo>
                <a:close/>
                <a:moveTo>
                  <a:pt x="88" y="28"/>
                </a:moveTo>
                <a:cubicBezTo>
                  <a:pt x="72" y="28"/>
                  <a:pt x="72" y="28"/>
                  <a:pt x="72" y="28"/>
                </a:cubicBezTo>
                <a:cubicBezTo>
                  <a:pt x="72" y="20"/>
                  <a:pt x="72" y="20"/>
                  <a:pt x="72" y="20"/>
                </a:cubicBezTo>
                <a:cubicBezTo>
                  <a:pt x="88" y="20"/>
                  <a:pt x="88" y="20"/>
                  <a:pt x="88" y="20"/>
                </a:cubicBezTo>
                <a:lnTo>
                  <a:pt x="88" y="28"/>
                </a:lnTo>
                <a:close/>
                <a:moveTo>
                  <a:pt x="0" y="13"/>
                </a:moveTo>
                <a:cubicBezTo>
                  <a:pt x="0" y="82"/>
                  <a:pt x="0" y="82"/>
                  <a:pt x="0" y="82"/>
                </a:cubicBezTo>
                <a:cubicBezTo>
                  <a:pt x="56" y="96"/>
                  <a:pt x="56" y="96"/>
                  <a:pt x="56" y="96"/>
                </a:cubicBezTo>
                <a:cubicBezTo>
                  <a:pt x="56" y="0"/>
                  <a:pt x="56" y="0"/>
                  <a:pt x="56" y="0"/>
                </a:cubicBezTo>
                <a:lnTo>
                  <a:pt x="0" y="13"/>
                </a:lnTo>
                <a:close/>
                <a:moveTo>
                  <a:pt x="33" y="67"/>
                </a:moveTo>
                <a:cubicBezTo>
                  <a:pt x="27" y="54"/>
                  <a:pt x="27" y="54"/>
                  <a:pt x="27" y="54"/>
                </a:cubicBezTo>
                <a:cubicBezTo>
                  <a:pt x="27" y="54"/>
                  <a:pt x="27" y="54"/>
                  <a:pt x="27" y="54"/>
                </a:cubicBezTo>
                <a:cubicBezTo>
                  <a:pt x="27" y="54"/>
                  <a:pt x="27" y="53"/>
                  <a:pt x="27" y="53"/>
                </a:cubicBezTo>
                <a:cubicBezTo>
                  <a:pt x="27" y="53"/>
                  <a:pt x="27" y="53"/>
                  <a:pt x="27" y="52"/>
                </a:cubicBezTo>
                <a:cubicBezTo>
                  <a:pt x="27" y="52"/>
                  <a:pt x="27" y="52"/>
                  <a:pt x="27" y="52"/>
                </a:cubicBezTo>
                <a:cubicBezTo>
                  <a:pt x="27" y="52"/>
                  <a:pt x="27" y="52"/>
                  <a:pt x="27" y="52"/>
                </a:cubicBezTo>
                <a:cubicBezTo>
                  <a:pt x="27" y="52"/>
                  <a:pt x="27" y="52"/>
                  <a:pt x="26" y="52"/>
                </a:cubicBezTo>
                <a:cubicBezTo>
                  <a:pt x="26" y="52"/>
                  <a:pt x="26" y="52"/>
                  <a:pt x="26" y="53"/>
                </a:cubicBezTo>
                <a:cubicBezTo>
                  <a:pt x="26" y="53"/>
                  <a:pt x="26" y="53"/>
                  <a:pt x="26" y="53"/>
                </a:cubicBezTo>
                <a:cubicBezTo>
                  <a:pt x="26" y="54"/>
                  <a:pt x="26" y="54"/>
                  <a:pt x="26" y="54"/>
                </a:cubicBezTo>
                <a:cubicBezTo>
                  <a:pt x="20" y="66"/>
                  <a:pt x="20" y="66"/>
                  <a:pt x="20" y="66"/>
                </a:cubicBezTo>
                <a:cubicBezTo>
                  <a:pt x="12" y="66"/>
                  <a:pt x="12" y="66"/>
                  <a:pt x="12" y="66"/>
                </a:cubicBezTo>
                <a:cubicBezTo>
                  <a:pt x="22" y="48"/>
                  <a:pt x="22" y="48"/>
                  <a:pt x="22" y="48"/>
                </a:cubicBezTo>
                <a:cubicBezTo>
                  <a:pt x="13" y="29"/>
                  <a:pt x="13" y="29"/>
                  <a:pt x="13" y="29"/>
                </a:cubicBezTo>
                <a:cubicBezTo>
                  <a:pt x="21" y="29"/>
                  <a:pt x="21" y="29"/>
                  <a:pt x="21" y="29"/>
                </a:cubicBezTo>
                <a:cubicBezTo>
                  <a:pt x="26" y="40"/>
                  <a:pt x="26" y="40"/>
                  <a:pt x="26" y="40"/>
                </a:cubicBezTo>
                <a:cubicBezTo>
                  <a:pt x="26" y="40"/>
                  <a:pt x="26" y="40"/>
                  <a:pt x="26" y="41"/>
                </a:cubicBezTo>
                <a:cubicBezTo>
                  <a:pt x="26" y="41"/>
                  <a:pt x="26" y="41"/>
                  <a:pt x="26" y="41"/>
                </a:cubicBezTo>
                <a:cubicBezTo>
                  <a:pt x="27" y="42"/>
                  <a:pt x="27" y="42"/>
                  <a:pt x="27" y="42"/>
                </a:cubicBezTo>
                <a:cubicBezTo>
                  <a:pt x="27" y="42"/>
                  <a:pt x="27" y="43"/>
                  <a:pt x="27" y="43"/>
                </a:cubicBezTo>
                <a:cubicBezTo>
                  <a:pt x="27" y="43"/>
                  <a:pt x="27" y="43"/>
                  <a:pt x="27" y="43"/>
                </a:cubicBezTo>
                <a:cubicBezTo>
                  <a:pt x="27" y="43"/>
                  <a:pt x="27" y="43"/>
                  <a:pt x="27" y="42"/>
                </a:cubicBezTo>
                <a:cubicBezTo>
                  <a:pt x="27" y="42"/>
                  <a:pt x="27" y="42"/>
                  <a:pt x="27" y="42"/>
                </a:cubicBezTo>
                <a:cubicBezTo>
                  <a:pt x="27" y="41"/>
                  <a:pt x="28" y="41"/>
                  <a:pt x="28" y="41"/>
                </a:cubicBezTo>
                <a:cubicBezTo>
                  <a:pt x="28" y="40"/>
                  <a:pt x="28" y="40"/>
                  <a:pt x="28" y="40"/>
                </a:cubicBezTo>
                <a:cubicBezTo>
                  <a:pt x="33" y="28"/>
                  <a:pt x="33" y="28"/>
                  <a:pt x="33" y="28"/>
                </a:cubicBezTo>
                <a:cubicBezTo>
                  <a:pt x="42" y="28"/>
                  <a:pt x="42" y="28"/>
                  <a:pt x="42" y="28"/>
                </a:cubicBezTo>
                <a:cubicBezTo>
                  <a:pt x="32" y="47"/>
                  <a:pt x="32" y="47"/>
                  <a:pt x="32" y="47"/>
                </a:cubicBezTo>
                <a:cubicBezTo>
                  <a:pt x="42" y="68"/>
                  <a:pt x="42" y="68"/>
                  <a:pt x="42" y="68"/>
                </a:cubicBezTo>
                <a:lnTo>
                  <a:pt x="33" y="67"/>
                </a:lnTo>
                <a:close/>
                <a:moveTo>
                  <a:pt x="142" y="65"/>
                </a:moveTo>
                <a:cubicBezTo>
                  <a:pt x="124" y="65"/>
                  <a:pt x="124" y="65"/>
                  <a:pt x="124" y="65"/>
                </a:cubicBezTo>
                <a:cubicBezTo>
                  <a:pt x="124" y="31"/>
                  <a:pt x="124" y="31"/>
                  <a:pt x="124" y="31"/>
                </a:cubicBezTo>
                <a:cubicBezTo>
                  <a:pt x="141" y="31"/>
                  <a:pt x="141" y="31"/>
                  <a:pt x="141" y="31"/>
                </a:cubicBezTo>
                <a:cubicBezTo>
                  <a:pt x="141" y="35"/>
                  <a:pt x="141" y="35"/>
                  <a:pt x="141" y="35"/>
                </a:cubicBezTo>
                <a:cubicBezTo>
                  <a:pt x="128" y="35"/>
                  <a:pt x="128" y="35"/>
                  <a:pt x="128" y="35"/>
                </a:cubicBezTo>
                <a:cubicBezTo>
                  <a:pt x="128" y="46"/>
                  <a:pt x="128" y="46"/>
                  <a:pt x="128" y="46"/>
                </a:cubicBezTo>
                <a:cubicBezTo>
                  <a:pt x="140" y="46"/>
                  <a:pt x="140" y="46"/>
                  <a:pt x="140" y="46"/>
                </a:cubicBezTo>
                <a:cubicBezTo>
                  <a:pt x="140" y="49"/>
                  <a:pt x="140" y="49"/>
                  <a:pt x="140" y="49"/>
                </a:cubicBezTo>
                <a:cubicBezTo>
                  <a:pt x="128" y="49"/>
                  <a:pt x="128" y="49"/>
                  <a:pt x="128" y="49"/>
                </a:cubicBezTo>
                <a:cubicBezTo>
                  <a:pt x="128" y="61"/>
                  <a:pt x="128" y="61"/>
                  <a:pt x="128" y="61"/>
                </a:cubicBezTo>
                <a:cubicBezTo>
                  <a:pt x="142" y="61"/>
                  <a:pt x="142" y="61"/>
                  <a:pt x="142" y="61"/>
                </a:cubicBezTo>
                <a:lnTo>
                  <a:pt x="142" y="65"/>
                </a:lnTo>
                <a:close/>
                <a:moveTo>
                  <a:pt x="166" y="41"/>
                </a:moveTo>
                <a:cubicBezTo>
                  <a:pt x="157" y="53"/>
                  <a:pt x="157" y="53"/>
                  <a:pt x="157" y="53"/>
                </a:cubicBezTo>
                <a:cubicBezTo>
                  <a:pt x="165" y="65"/>
                  <a:pt x="165" y="65"/>
                  <a:pt x="165" y="65"/>
                </a:cubicBezTo>
                <a:cubicBezTo>
                  <a:pt x="161" y="65"/>
                  <a:pt x="161" y="65"/>
                  <a:pt x="161" y="65"/>
                </a:cubicBezTo>
                <a:cubicBezTo>
                  <a:pt x="156" y="57"/>
                  <a:pt x="156" y="57"/>
                  <a:pt x="156" y="57"/>
                </a:cubicBezTo>
                <a:cubicBezTo>
                  <a:pt x="155" y="55"/>
                  <a:pt x="155" y="55"/>
                  <a:pt x="155" y="55"/>
                </a:cubicBezTo>
                <a:cubicBezTo>
                  <a:pt x="155" y="55"/>
                  <a:pt x="155" y="55"/>
                  <a:pt x="155" y="55"/>
                </a:cubicBezTo>
                <a:cubicBezTo>
                  <a:pt x="149" y="65"/>
                  <a:pt x="149" y="65"/>
                  <a:pt x="149" y="65"/>
                </a:cubicBezTo>
                <a:cubicBezTo>
                  <a:pt x="145" y="65"/>
                  <a:pt x="145" y="65"/>
                  <a:pt x="145" y="65"/>
                </a:cubicBezTo>
                <a:cubicBezTo>
                  <a:pt x="153" y="53"/>
                  <a:pt x="153" y="53"/>
                  <a:pt x="153" y="53"/>
                </a:cubicBezTo>
                <a:cubicBezTo>
                  <a:pt x="145" y="41"/>
                  <a:pt x="145" y="41"/>
                  <a:pt x="145" y="41"/>
                </a:cubicBezTo>
                <a:cubicBezTo>
                  <a:pt x="150" y="41"/>
                  <a:pt x="150" y="41"/>
                  <a:pt x="150" y="41"/>
                </a:cubicBezTo>
                <a:cubicBezTo>
                  <a:pt x="153" y="47"/>
                  <a:pt x="155" y="50"/>
                  <a:pt x="155" y="51"/>
                </a:cubicBezTo>
                <a:cubicBezTo>
                  <a:pt x="155" y="51"/>
                  <a:pt x="155" y="51"/>
                  <a:pt x="155" y="51"/>
                </a:cubicBezTo>
                <a:cubicBezTo>
                  <a:pt x="161" y="41"/>
                  <a:pt x="161" y="41"/>
                  <a:pt x="161" y="41"/>
                </a:cubicBezTo>
                <a:lnTo>
                  <a:pt x="166" y="41"/>
                </a:lnTo>
                <a:close/>
                <a:moveTo>
                  <a:pt x="184" y="64"/>
                </a:moveTo>
                <a:cubicBezTo>
                  <a:pt x="183" y="65"/>
                  <a:pt x="180" y="65"/>
                  <a:pt x="178" y="65"/>
                </a:cubicBezTo>
                <a:cubicBezTo>
                  <a:pt x="176" y="65"/>
                  <a:pt x="174" y="65"/>
                  <a:pt x="172" y="64"/>
                </a:cubicBezTo>
                <a:cubicBezTo>
                  <a:pt x="170" y="63"/>
                  <a:pt x="169" y="61"/>
                  <a:pt x="168" y="59"/>
                </a:cubicBezTo>
                <a:cubicBezTo>
                  <a:pt x="167" y="58"/>
                  <a:pt x="166" y="56"/>
                  <a:pt x="166" y="53"/>
                </a:cubicBezTo>
                <a:cubicBezTo>
                  <a:pt x="166" y="49"/>
                  <a:pt x="168" y="46"/>
                  <a:pt x="170" y="44"/>
                </a:cubicBezTo>
                <a:cubicBezTo>
                  <a:pt x="172" y="41"/>
                  <a:pt x="175" y="40"/>
                  <a:pt x="179" y="40"/>
                </a:cubicBezTo>
                <a:cubicBezTo>
                  <a:pt x="181" y="40"/>
                  <a:pt x="183" y="40"/>
                  <a:pt x="185" y="41"/>
                </a:cubicBezTo>
                <a:cubicBezTo>
                  <a:pt x="185" y="45"/>
                  <a:pt x="185" y="45"/>
                  <a:pt x="185" y="45"/>
                </a:cubicBezTo>
                <a:cubicBezTo>
                  <a:pt x="183" y="44"/>
                  <a:pt x="181" y="43"/>
                  <a:pt x="179" y="43"/>
                </a:cubicBezTo>
                <a:cubicBezTo>
                  <a:pt x="176" y="43"/>
                  <a:pt x="174" y="44"/>
                  <a:pt x="173" y="46"/>
                </a:cubicBezTo>
                <a:cubicBezTo>
                  <a:pt x="171" y="48"/>
                  <a:pt x="170" y="50"/>
                  <a:pt x="170" y="53"/>
                </a:cubicBezTo>
                <a:cubicBezTo>
                  <a:pt x="170" y="56"/>
                  <a:pt x="171" y="58"/>
                  <a:pt x="173" y="59"/>
                </a:cubicBezTo>
                <a:cubicBezTo>
                  <a:pt x="174" y="61"/>
                  <a:pt x="176" y="62"/>
                  <a:pt x="179" y="62"/>
                </a:cubicBezTo>
                <a:cubicBezTo>
                  <a:pt x="181" y="62"/>
                  <a:pt x="183" y="61"/>
                  <a:pt x="184" y="60"/>
                </a:cubicBezTo>
                <a:lnTo>
                  <a:pt x="184" y="64"/>
                </a:lnTo>
                <a:close/>
                <a:moveTo>
                  <a:pt x="208" y="54"/>
                </a:moveTo>
                <a:cubicBezTo>
                  <a:pt x="191" y="54"/>
                  <a:pt x="191" y="54"/>
                  <a:pt x="191" y="54"/>
                </a:cubicBezTo>
                <a:cubicBezTo>
                  <a:pt x="191" y="56"/>
                  <a:pt x="192" y="58"/>
                  <a:pt x="193" y="60"/>
                </a:cubicBezTo>
                <a:cubicBezTo>
                  <a:pt x="194" y="61"/>
                  <a:pt x="196" y="62"/>
                  <a:pt x="199" y="62"/>
                </a:cubicBezTo>
                <a:cubicBezTo>
                  <a:pt x="201" y="62"/>
                  <a:pt x="204" y="61"/>
                  <a:pt x="206" y="59"/>
                </a:cubicBezTo>
                <a:cubicBezTo>
                  <a:pt x="206" y="63"/>
                  <a:pt x="206" y="63"/>
                  <a:pt x="206" y="63"/>
                </a:cubicBezTo>
                <a:cubicBezTo>
                  <a:pt x="204" y="64"/>
                  <a:pt x="201" y="65"/>
                  <a:pt x="198" y="65"/>
                </a:cubicBezTo>
                <a:cubicBezTo>
                  <a:pt x="194" y="65"/>
                  <a:pt x="192" y="64"/>
                  <a:pt x="190" y="62"/>
                </a:cubicBezTo>
                <a:cubicBezTo>
                  <a:pt x="188" y="60"/>
                  <a:pt x="187" y="57"/>
                  <a:pt x="187" y="53"/>
                </a:cubicBezTo>
                <a:cubicBezTo>
                  <a:pt x="187" y="50"/>
                  <a:pt x="187" y="48"/>
                  <a:pt x="188" y="46"/>
                </a:cubicBezTo>
                <a:cubicBezTo>
                  <a:pt x="189" y="44"/>
                  <a:pt x="191" y="43"/>
                  <a:pt x="192" y="42"/>
                </a:cubicBezTo>
                <a:cubicBezTo>
                  <a:pt x="194" y="41"/>
                  <a:pt x="196" y="40"/>
                  <a:pt x="198" y="40"/>
                </a:cubicBezTo>
                <a:cubicBezTo>
                  <a:pt x="201" y="40"/>
                  <a:pt x="203" y="41"/>
                  <a:pt x="205" y="43"/>
                </a:cubicBezTo>
                <a:cubicBezTo>
                  <a:pt x="207" y="45"/>
                  <a:pt x="208" y="48"/>
                  <a:pt x="208" y="52"/>
                </a:cubicBezTo>
                <a:lnTo>
                  <a:pt x="208" y="54"/>
                </a:lnTo>
                <a:close/>
                <a:moveTo>
                  <a:pt x="204" y="50"/>
                </a:moveTo>
                <a:cubicBezTo>
                  <a:pt x="204" y="48"/>
                  <a:pt x="203" y="46"/>
                  <a:pt x="202" y="45"/>
                </a:cubicBezTo>
                <a:cubicBezTo>
                  <a:pt x="201" y="44"/>
                  <a:pt x="200" y="43"/>
                  <a:pt x="198" y="43"/>
                </a:cubicBezTo>
                <a:cubicBezTo>
                  <a:pt x="196" y="43"/>
                  <a:pt x="195" y="44"/>
                  <a:pt x="193" y="45"/>
                </a:cubicBezTo>
                <a:cubicBezTo>
                  <a:pt x="192" y="47"/>
                  <a:pt x="191" y="48"/>
                  <a:pt x="191" y="50"/>
                </a:cubicBezTo>
                <a:lnTo>
                  <a:pt x="204" y="50"/>
                </a:lnTo>
                <a:close/>
                <a:moveTo>
                  <a:pt x="216" y="65"/>
                </a:moveTo>
                <a:cubicBezTo>
                  <a:pt x="212" y="65"/>
                  <a:pt x="212" y="65"/>
                  <a:pt x="212" y="65"/>
                </a:cubicBezTo>
                <a:cubicBezTo>
                  <a:pt x="212" y="29"/>
                  <a:pt x="212" y="29"/>
                  <a:pt x="212" y="29"/>
                </a:cubicBezTo>
                <a:cubicBezTo>
                  <a:pt x="216" y="29"/>
                  <a:pt x="216" y="29"/>
                  <a:pt x="216" y="29"/>
                </a:cubicBezTo>
                <a:lnTo>
                  <a:pt x="216" y="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94" name="Freeform 35"/>
          <p:cNvSpPr>
            <a:spLocks noChangeAspect="1" noEditPoints="1"/>
          </p:cNvSpPr>
          <p:nvPr/>
        </p:nvSpPr>
        <p:spPr bwMode="auto">
          <a:xfrm>
            <a:off x="675063" y="5405758"/>
            <a:ext cx="1446447" cy="404650"/>
          </a:xfrm>
          <a:custGeom>
            <a:avLst/>
            <a:gdLst>
              <a:gd name="T0" fmla="*/ 128 w 344"/>
              <a:gd name="T1" fmla="*/ 52 h 96"/>
              <a:gd name="T2" fmla="*/ 133 w 344"/>
              <a:gd name="T3" fmla="*/ 31 h 96"/>
              <a:gd name="T4" fmla="*/ 133 w 344"/>
              <a:gd name="T5" fmla="*/ 34 h 96"/>
              <a:gd name="T6" fmla="*/ 139 w 344"/>
              <a:gd name="T7" fmla="*/ 46 h 96"/>
              <a:gd name="T8" fmla="*/ 157 w 344"/>
              <a:gd name="T9" fmla="*/ 65 h 96"/>
              <a:gd name="T10" fmla="*/ 158 w 344"/>
              <a:gd name="T11" fmla="*/ 40 h 96"/>
              <a:gd name="T12" fmla="*/ 163 w 344"/>
              <a:gd name="T13" fmla="*/ 45 h 96"/>
              <a:gd name="T14" fmla="*/ 152 w 344"/>
              <a:gd name="T15" fmla="*/ 59 h 96"/>
              <a:gd name="T16" fmla="*/ 204 w 344"/>
              <a:gd name="T17" fmla="*/ 40 h 96"/>
              <a:gd name="T18" fmla="*/ 188 w 344"/>
              <a:gd name="T19" fmla="*/ 45 h 96"/>
              <a:gd name="T20" fmla="*/ 178 w 344"/>
              <a:gd name="T21" fmla="*/ 64 h 96"/>
              <a:gd name="T22" fmla="*/ 180 w 344"/>
              <a:gd name="T23" fmla="*/ 61 h 96"/>
              <a:gd name="T24" fmla="*/ 190 w 344"/>
              <a:gd name="T25" fmla="*/ 40 h 96"/>
              <a:gd name="T26" fmla="*/ 196 w 344"/>
              <a:gd name="T27" fmla="*/ 58 h 96"/>
              <a:gd name="T28" fmla="*/ 210 w 344"/>
              <a:gd name="T29" fmla="*/ 53 h 96"/>
              <a:gd name="T30" fmla="*/ 225 w 344"/>
              <a:gd name="T31" fmla="*/ 63 h 96"/>
              <a:gd name="T32" fmla="*/ 207 w 344"/>
              <a:gd name="T33" fmla="*/ 46 h 96"/>
              <a:gd name="T34" fmla="*/ 227 w 344"/>
              <a:gd name="T35" fmla="*/ 51 h 96"/>
              <a:gd name="T36" fmla="*/ 217 w 344"/>
              <a:gd name="T37" fmla="*/ 43 h 96"/>
              <a:gd name="T38" fmla="*/ 243 w 344"/>
              <a:gd name="T39" fmla="*/ 44 h 96"/>
              <a:gd name="T40" fmla="*/ 235 w 344"/>
              <a:gd name="T41" fmla="*/ 64 h 96"/>
              <a:gd name="T42" fmla="*/ 235 w 344"/>
              <a:gd name="T43" fmla="*/ 45 h 96"/>
              <a:gd name="T44" fmla="*/ 243 w 344"/>
              <a:gd name="T45" fmla="*/ 40 h 96"/>
              <a:gd name="T46" fmla="*/ 255 w 344"/>
              <a:gd name="T47" fmla="*/ 52 h 96"/>
              <a:gd name="T48" fmla="*/ 247 w 344"/>
              <a:gd name="T49" fmla="*/ 31 h 96"/>
              <a:gd name="T50" fmla="*/ 263 w 344"/>
              <a:gd name="T51" fmla="*/ 41 h 96"/>
              <a:gd name="T52" fmla="*/ 255 w 344"/>
              <a:gd name="T53" fmla="*/ 48 h 96"/>
              <a:gd name="T54" fmla="*/ 289 w 344"/>
              <a:gd name="T55" fmla="*/ 61 h 96"/>
              <a:gd name="T56" fmla="*/ 271 w 344"/>
              <a:gd name="T57" fmla="*/ 43 h 96"/>
              <a:gd name="T58" fmla="*/ 288 w 344"/>
              <a:gd name="T59" fmla="*/ 52 h 96"/>
              <a:gd name="T60" fmla="*/ 272 w 344"/>
              <a:gd name="T61" fmla="*/ 53 h 96"/>
              <a:gd name="T62" fmla="*/ 288 w 344"/>
              <a:gd name="T63" fmla="*/ 52 h 96"/>
              <a:gd name="T64" fmla="*/ 297 w 344"/>
              <a:gd name="T65" fmla="*/ 34 h 96"/>
              <a:gd name="T66" fmla="*/ 300 w 344"/>
              <a:gd name="T67" fmla="*/ 30 h 96"/>
              <a:gd name="T68" fmla="*/ 297 w 344"/>
              <a:gd name="T69" fmla="*/ 40 h 96"/>
              <a:gd name="T70" fmla="*/ 323 w 344"/>
              <a:gd name="T71" fmla="*/ 64 h 96"/>
              <a:gd name="T72" fmla="*/ 311 w 344"/>
              <a:gd name="T73" fmla="*/ 51 h 96"/>
              <a:gd name="T74" fmla="*/ 311 w 344"/>
              <a:gd name="T75" fmla="*/ 40 h 96"/>
              <a:gd name="T76" fmla="*/ 325 w 344"/>
              <a:gd name="T77" fmla="*/ 42 h 96"/>
              <a:gd name="T78" fmla="*/ 340 w 344"/>
              <a:gd name="T79" fmla="*/ 65 h 96"/>
              <a:gd name="T80" fmla="*/ 330 w 344"/>
              <a:gd name="T81" fmla="*/ 40 h 96"/>
              <a:gd name="T82" fmla="*/ 338 w 344"/>
              <a:gd name="T83" fmla="*/ 40 h 96"/>
              <a:gd name="T84" fmla="*/ 338 w 344"/>
              <a:gd name="T85" fmla="*/ 57 h 96"/>
              <a:gd name="T86" fmla="*/ 344 w 344"/>
              <a:gd name="T87" fmla="*/ 64 h 96"/>
              <a:gd name="T88" fmla="*/ 31 w 344"/>
              <a:gd name="T89" fmla="*/ 45 h 96"/>
              <a:gd name="T90" fmla="*/ 23 w 344"/>
              <a:gd name="T91" fmla="*/ 47 h 96"/>
              <a:gd name="T92" fmla="*/ 31 w 344"/>
              <a:gd name="T93" fmla="*/ 36 h 96"/>
              <a:gd name="T94" fmla="*/ 0 w 344"/>
              <a:gd name="T95" fmla="*/ 83 h 96"/>
              <a:gd name="T96" fmla="*/ 40 w 344"/>
              <a:gd name="T97" fmla="*/ 34 h 96"/>
              <a:gd name="T98" fmla="*/ 16 w 344"/>
              <a:gd name="T99" fmla="*/ 28 h 96"/>
              <a:gd name="T100" fmla="*/ 27 w 344"/>
              <a:gd name="T101" fmla="*/ 54 h 96"/>
              <a:gd name="T102" fmla="*/ 37 w 344"/>
              <a:gd name="T103" fmla="*/ 50 h 96"/>
              <a:gd name="T104" fmla="*/ 41 w 344"/>
              <a:gd name="T105" fmla="*/ 40 h 96"/>
              <a:gd name="T106" fmla="*/ 60 w 344"/>
              <a:gd name="T107" fmla="*/ 84 h 96"/>
              <a:gd name="T108" fmla="*/ 60 w 344"/>
              <a:gd name="T109" fmla="*/ 72 h 96"/>
              <a:gd name="T110" fmla="*/ 60 w 344"/>
              <a:gd name="T111" fmla="*/ 60 h 96"/>
              <a:gd name="T112" fmla="*/ 79 w 344"/>
              <a:gd name="T113" fmla="*/ 40 h 96"/>
              <a:gd name="T114" fmla="*/ 60 w 344"/>
              <a:gd name="T115" fmla="*/ 50 h 96"/>
              <a:gd name="T116" fmla="*/ 72 w 344"/>
              <a:gd name="T117" fmla="*/ 2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44" h="96">
                <a:moveTo>
                  <a:pt x="145" y="41"/>
                </a:moveTo>
                <a:cubicBezTo>
                  <a:pt x="145" y="44"/>
                  <a:pt x="144" y="47"/>
                  <a:pt x="141" y="49"/>
                </a:cubicBezTo>
                <a:cubicBezTo>
                  <a:pt x="139" y="51"/>
                  <a:pt x="136" y="52"/>
                  <a:pt x="133" y="52"/>
                </a:cubicBezTo>
                <a:cubicBezTo>
                  <a:pt x="128" y="52"/>
                  <a:pt x="128" y="52"/>
                  <a:pt x="128" y="52"/>
                </a:cubicBezTo>
                <a:cubicBezTo>
                  <a:pt x="128" y="64"/>
                  <a:pt x="128" y="64"/>
                  <a:pt x="128" y="64"/>
                </a:cubicBezTo>
                <a:cubicBezTo>
                  <a:pt x="124" y="64"/>
                  <a:pt x="124" y="64"/>
                  <a:pt x="124" y="64"/>
                </a:cubicBezTo>
                <a:cubicBezTo>
                  <a:pt x="124" y="31"/>
                  <a:pt x="124" y="31"/>
                  <a:pt x="124" y="31"/>
                </a:cubicBezTo>
                <a:cubicBezTo>
                  <a:pt x="133" y="31"/>
                  <a:pt x="133" y="31"/>
                  <a:pt x="133" y="31"/>
                </a:cubicBezTo>
                <a:cubicBezTo>
                  <a:pt x="137" y="31"/>
                  <a:pt x="140" y="32"/>
                  <a:pt x="142" y="33"/>
                </a:cubicBezTo>
                <a:cubicBezTo>
                  <a:pt x="144" y="35"/>
                  <a:pt x="145" y="38"/>
                  <a:pt x="145" y="41"/>
                </a:cubicBezTo>
                <a:close/>
                <a:moveTo>
                  <a:pt x="141" y="41"/>
                </a:moveTo>
                <a:cubicBezTo>
                  <a:pt x="141" y="37"/>
                  <a:pt x="138" y="34"/>
                  <a:pt x="133" y="34"/>
                </a:cubicBezTo>
                <a:cubicBezTo>
                  <a:pt x="128" y="34"/>
                  <a:pt x="128" y="34"/>
                  <a:pt x="128" y="34"/>
                </a:cubicBezTo>
                <a:cubicBezTo>
                  <a:pt x="128" y="48"/>
                  <a:pt x="128" y="48"/>
                  <a:pt x="128" y="48"/>
                </a:cubicBezTo>
                <a:cubicBezTo>
                  <a:pt x="132" y="48"/>
                  <a:pt x="132" y="48"/>
                  <a:pt x="132" y="48"/>
                </a:cubicBezTo>
                <a:cubicBezTo>
                  <a:pt x="135" y="48"/>
                  <a:pt x="137" y="48"/>
                  <a:pt x="139" y="46"/>
                </a:cubicBezTo>
                <a:cubicBezTo>
                  <a:pt x="140" y="45"/>
                  <a:pt x="141" y="43"/>
                  <a:pt x="141" y="41"/>
                </a:cubicBezTo>
                <a:close/>
                <a:moveTo>
                  <a:pt x="169" y="52"/>
                </a:moveTo>
                <a:cubicBezTo>
                  <a:pt x="169" y="56"/>
                  <a:pt x="168" y="59"/>
                  <a:pt x="166" y="61"/>
                </a:cubicBezTo>
                <a:cubicBezTo>
                  <a:pt x="164" y="64"/>
                  <a:pt x="161" y="65"/>
                  <a:pt x="157" y="65"/>
                </a:cubicBezTo>
                <a:cubicBezTo>
                  <a:pt x="154" y="65"/>
                  <a:pt x="151" y="64"/>
                  <a:pt x="149" y="62"/>
                </a:cubicBezTo>
                <a:cubicBezTo>
                  <a:pt x="147" y="59"/>
                  <a:pt x="146" y="56"/>
                  <a:pt x="146" y="53"/>
                </a:cubicBezTo>
                <a:cubicBezTo>
                  <a:pt x="146" y="49"/>
                  <a:pt x="147" y="46"/>
                  <a:pt x="149" y="43"/>
                </a:cubicBezTo>
                <a:cubicBezTo>
                  <a:pt x="151" y="41"/>
                  <a:pt x="154" y="40"/>
                  <a:pt x="158" y="40"/>
                </a:cubicBezTo>
                <a:cubicBezTo>
                  <a:pt x="162" y="40"/>
                  <a:pt x="164" y="41"/>
                  <a:pt x="166" y="43"/>
                </a:cubicBezTo>
                <a:cubicBezTo>
                  <a:pt x="168" y="45"/>
                  <a:pt x="169" y="48"/>
                  <a:pt x="169" y="52"/>
                </a:cubicBezTo>
                <a:close/>
                <a:moveTo>
                  <a:pt x="165" y="52"/>
                </a:moveTo>
                <a:cubicBezTo>
                  <a:pt x="165" y="49"/>
                  <a:pt x="165" y="47"/>
                  <a:pt x="163" y="45"/>
                </a:cubicBezTo>
                <a:cubicBezTo>
                  <a:pt x="162" y="44"/>
                  <a:pt x="160" y="43"/>
                  <a:pt x="158" y="43"/>
                </a:cubicBezTo>
                <a:cubicBezTo>
                  <a:pt x="155" y="43"/>
                  <a:pt x="153" y="44"/>
                  <a:pt x="152" y="46"/>
                </a:cubicBezTo>
                <a:cubicBezTo>
                  <a:pt x="150" y="47"/>
                  <a:pt x="150" y="50"/>
                  <a:pt x="150" y="53"/>
                </a:cubicBezTo>
                <a:cubicBezTo>
                  <a:pt x="150" y="55"/>
                  <a:pt x="150" y="58"/>
                  <a:pt x="152" y="59"/>
                </a:cubicBezTo>
                <a:cubicBezTo>
                  <a:pt x="153" y="61"/>
                  <a:pt x="155" y="62"/>
                  <a:pt x="158" y="62"/>
                </a:cubicBezTo>
                <a:cubicBezTo>
                  <a:pt x="160" y="62"/>
                  <a:pt x="162" y="61"/>
                  <a:pt x="163" y="59"/>
                </a:cubicBezTo>
                <a:cubicBezTo>
                  <a:pt x="165" y="58"/>
                  <a:pt x="165" y="55"/>
                  <a:pt x="165" y="52"/>
                </a:cubicBezTo>
                <a:close/>
                <a:moveTo>
                  <a:pt x="204" y="40"/>
                </a:moveTo>
                <a:cubicBezTo>
                  <a:pt x="197" y="64"/>
                  <a:pt x="197" y="64"/>
                  <a:pt x="197" y="64"/>
                </a:cubicBezTo>
                <a:cubicBezTo>
                  <a:pt x="193" y="64"/>
                  <a:pt x="193" y="64"/>
                  <a:pt x="193" y="64"/>
                </a:cubicBezTo>
                <a:cubicBezTo>
                  <a:pt x="188" y="47"/>
                  <a:pt x="188" y="47"/>
                  <a:pt x="188" y="47"/>
                </a:cubicBezTo>
                <a:cubicBezTo>
                  <a:pt x="188" y="47"/>
                  <a:pt x="188" y="46"/>
                  <a:pt x="188" y="45"/>
                </a:cubicBezTo>
                <a:cubicBezTo>
                  <a:pt x="188" y="45"/>
                  <a:pt x="188" y="45"/>
                  <a:pt x="188" y="45"/>
                </a:cubicBezTo>
                <a:cubicBezTo>
                  <a:pt x="188" y="46"/>
                  <a:pt x="187" y="46"/>
                  <a:pt x="187" y="47"/>
                </a:cubicBezTo>
                <a:cubicBezTo>
                  <a:pt x="182" y="64"/>
                  <a:pt x="182" y="64"/>
                  <a:pt x="182" y="64"/>
                </a:cubicBezTo>
                <a:cubicBezTo>
                  <a:pt x="178" y="64"/>
                  <a:pt x="178" y="64"/>
                  <a:pt x="178" y="64"/>
                </a:cubicBezTo>
                <a:cubicBezTo>
                  <a:pt x="171" y="40"/>
                  <a:pt x="171" y="40"/>
                  <a:pt x="171" y="40"/>
                </a:cubicBezTo>
                <a:cubicBezTo>
                  <a:pt x="175" y="40"/>
                  <a:pt x="175" y="40"/>
                  <a:pt x="175" y="40"/>
                </a:cubicBezTo>
                <a:cubicBezTo>
                  <a:pt x="180" y="58"/>
                  <a:pt x="180" y="58"/>
                  <a:pt x="180" y="58"/>
                </a:cubicBezTo>
                <a:cubicBezTo>
                  <a:pt x="180" y="59"/>
                  <a:pt x="180" y="60"/>
                  <a:pt x="180" y="61"/>
                </a:cubicBezTo>
                <a:cubicBezTo>
                  <a:pt x="180" y="61"/>
                  <a:pt x="180" y="61"/>
                  <a:pt x="180" y="61"/>
                </a:cubicBezTo>
                <a:cubicBezTo>
                  <a:pt x="180" y="60"/>
                  <a:pt x="180" y="59"/>
                  <a:pt x="181" y="58"/>
                </a:cubicBezTo>
                <a:cubicBezTo>
                  <a:pt x="186" y="40"/>
                  <a:pt x="186" y="40"/>
                  <a:pt x="186" y="40"/>
                </a:cubicBezTo>
                <a:cubicBezTo>
                  <a:pt x="190" y="40"/>
                  <a:pt x="190" y="40"/>
                  <a:pt x="190" y="40"/>
                </a:cubicBezTo>
                <a:cubicBezTo>
                  <a:pt x="195" y="58"/>
                  <a:pt x="195" y="58"/>
                  <a:pt x="195" y="58"/>
                </a:cubicBezTo>
                <a:cubicBezTo>
                  <a:pt x="195" y="59"/>
                  <a:pt x="195" y="60"/>
                  <a:pt x="195" y="61"/>
                </a:cubicBezTo>
                <a:cubicBezTo>
                  <a:pt x="195" y="61"/>
                  <a:pt x="195" y="61"/>
                  <a:pt x="195" y="61"/>
                </a:cubicBezTo>
                <a:cubicBezTo>
                  <a:pt x="195" y="60"/>
                  <a:pt x="195" y="59"/>
                  <a:pt x="196" y="58"/>
                </a:cubicBezTo>
                <a:cubicBezTo>
                  <a:pt x="200" y="40"/>
                  <a:pt x="200" y="40"/>
                  <a:pt x="200" y="40"/>
                </a:cubicBezTo>
                <a:lnTo>
                  <a:pt x="204" y="40"/>
                </a:lnTo>
                <a:close/>
                <a:moveTo>
                  <a:pt x="227" y="53"/>
                </a:moveTo>
                <a:cubicBezTo>
                  <a:pt x="210" y="53"/>
                  <a:pt x="210" y="53"/>
                  <a:pt x="210" y="53"/>
                </a:cubicBezTo>
                <a:cubicBezTo>
                  <a:pt x="210" y="56"/>
                  <a:pt x="210" y="58"/>
                  <a:pt x="212" y="60"/>
                </a:cubicBezTo>
                <a:cubicBezTo>
                  <a:pt x="213" y="61"/>
                  <a:pt x="215" y="62"/>
                  <a:pt x="217" y="62"/>
                </a:cubicBezTo>
                <a:cubicBezTo>
                  <a:pt x="220" y="62"/>
                  <a:pt x="223" y="61"/>
                  <a:pt x="225" y="59"/>
                </a:cubicBezTo>
                <a:cubicBezTo>
                  <a:pt x="225" y="63"/>
                  <a:pt x="225" y="63"/>
                  <a:pt x="225" y="63"/>
                </a:cubicBezTo>
                <a:cubicBezTo>
                  <a:pt x="223" y="64"/>
                  <a:pt x="220" y="65"/>
                  <a:pt x="216" y="65"/>
                </a:cubicBezTo>
                <a:cubicBezTo>
                  <a:pt x="213" y="65"/>
                  <a:pt x="210" y="64"/>
                  <a:pt x="208" y="62"/>
                </a:cubicBezTo>
                <a:cubicBezTo>
                  <a:pt x="207" y="59"/>
                  <a:pt x="206" y="56"/>
                  <a:pt x="206" y="52"/>
                </a:cubicBezTo>
                <a:cubicBezTo>
                  <a:pt x="206" y="50"/>
                  <a:pt x="206" y="48"/>
                  <a:pt x="207" y="46"/>
                </a:cubicBezTo>
                <a:cubicBezTo>
                  <a:pt x="208" y="44"/>
                  <a:pt x="209" y="42"/>
                  <a:pt x="211" y="41"/>
                </a:cubicBezTo>
                <a:cubicBezTo>
                  <a:pt x="213" y="40"/>
                  <a:pt x="215" y="40"/>
                  <a:pt x="217" y="40"/>
                </a:cubicBezTo>
                <a:cubicBezTo>
                  <a:pt x="220" y="40"/>
                  <a:pt x="222" y="41"/>
                  <a:pt x="224" y="43"/>
                </a:cubicBezTo>
                <a:cubicBezTo>
                  <a:pt x="226" y="45"/>
                  <a:pt x="227" y="48"/>
                  <a:pt x="227" y="51"/>
                </a:cubicBezTo>
                <a:lnTo>
                  <a:pt x="227" y="53"/>
                </a:lnTo>
                <a:close/>
                <a:moveTo>
                  <a:pt x="223" y="50"/>
                </a:moveTo>
                <a:cubicBezTo>
                  <a:pt x="223" y="48"/>
                  <a:pt x="222" y="46"/>
                  <a:pt x="221" y="45"/>
                </a:cubicBezTo>
                <a:cubicBezTo>
                  <a:pt x="220" y="44"/>
                  <a:pt x="218" y="43"/>
                  <a:pt x="217" y="43"/>
                </a:cubicBezTo>
                <a:cubicBezTo>
                  <a:pt x="215" y="43"/>
                  <a:pt x="213" y="44"/>
                  <a:pt x="212" y="45"/>
                </a:cubicBezTo>
                <a:cubicBezTo>
                  <a:pt x="211" y="46"/>
                  <a:pt x="210" y="48"/>
                  <a:pt x="210" y="50"/>
                </a:cubicBezTo>
                <a:lnTo>
                  <a:pt x="223" y="50"/>
                </a:lnTo>
                <a:close/>
                <a:moveTo>
                  <a:pt x="243" y="44"/>
                </a:moveTo>
                <a:cubicBezTo>
                  <a:pt x="243" y="44"/>
                  <a:pt x="242" y="44"/>
                  <a:pt x="240" y="44"/>
                </a:cubicBezTo>
                <a:cubicBezTo>
                  <a:pt x="239" y="44"/>
                  <a:pt x="237" y="44"/>
                  <a:pt x="236" y="46"/>
                </a:cubicBezTo>
                <a:cubicBezTo>
                  <a:pt x="235" y="48"/>
                  <a:pt x="235" y="50"/>
                  <a:pt x="235" y="52"/>
                </a:cubicBezTo>
                <a:cubicBezTo>
                  <a:pt x="235" y="64"/>
                  <a:pt x="235" y="64"/>
                  <a:pt x="235" y="64"/>
                </a:cubicBezTo>
                <a:cubicBezTo>
                  <a:pt x="231" y="64"/>
                  <a:pt x="231" y="64"/>
                  <a:pt x="231" y="64"/>
                </a:cubicBezTo>
                <a:cubicBezTo>
                  <a:pt x="231" y="40"/>
                  <a:pt x="231" y="40"/>
                  <a:pt x="231" y="40"/>
                </a:cubicBezTo>
                <a:cubicBezTo>
                  <a:pt x="235" y="40"/>
                  <a:pt x="235" y="40"/>
                  <a:pt x="235" y="40"/>
                </a:cubicBezTo>
                <a:cubicBezTo>
                  <a:pt x="235" y="45"/>
                  <a:pt x="235" y="45"/>
                  <a:pt x="235" y="45"/>
                </a:cubicBezTo>
                <a:cubicBezTo>
                  <a:pt x="235" y="45"/>
                  <a:pt x="235" y="45"/>
                  <a:pt x="235" y="45"/>
                </a:cubicBezTo>
                <a:cubicBezTo>
                  <a:pt x="235" y="44"/>
                  <a:pt x="236" y="42"/>
                  <a:pt x="237" y="41"/>
                </a:cubicBezTo>
                <a:cubicBezTo>
                  <a:pt x="238" y="40"/>
                  <a:pt x="240" y="40"/>
                  <a:pt x="241" y="40"/>
                </a:cubicBezTo>
                <a:cubicBezTo>
                  <a:pt x="242" y="40"/>
                  <a:pt x="243" y="40"/>
                  <a:pt x="243" y="40"/>
                </a:cubicBezTo>
                <a:lnTo>
                  <a:pt x="243" y="44"/>
                </a:lnTo>
                <a:close/>
                <a:moveTo>
                  <a:pt x="267" y="41"/>
                </a:moveTo>
                <a:cubicBezTo>
                  <a:pt x="267" y="44"/>
                  <a:pt x="266" y="47"/>
                  <a:pt x="264" y="49"/>
                </a:cubicBezTo>
                <a:cubicBezTo>
                  <a:pt x="262" y="51"/>
                  <a:pt x="259" y="52"/>
                  <a:pt x="255" y="52"/>
                </a:cubicBezTo>
                <a:cubicBezTo>
                  <a:pt x="251" y="52"/>
                  <a:pt x="251" y="52"/>
                  <a:pt x="251" y="52"/>
                </a:cubicBezTo>
                <a:cubicBezTo>
                  <a:pt x="251" y="64"/>
                  <a:pt x="251" y="64"/>
                  <a:pt x="251" y="64"/>
                </a:cubicBezTo>
                <a:cubicBezTo>
                  <a:pt x="247" y="64"/>
                  <a:pt x="247" y="64"/>
                  <a:pt x="247" y="64"/>
                </a:cubicBezTo>
                <a:cubicBezTo>
                  <a:pt x="247" y="31"/>
                  <a:pt x="247" y="31"/>
                  <a:pt x="247" y="31"/>
                </a:cubicBezTo>
                <a:cubicBezTo>
                  <a:pt x="256" y="31"/>
                  <a:pt x="256" y="31"/>
                  <a:pt x="256" y="31"/>
                </a:cubicBezTo>
                <a:cubicBezTo>
                  <a:pt x="260" y="31"/>
                  <a:pt x="262" y="32"/>
                  <a:pt x="264" y="33"/>
                </a:cubicBezTo>
                <a:cubicBezTo>
                  <a:pt x="266" y="35"/>
                  <a:pt x="267" y="38"/>
                  <a:pt x="267" y="41"/>
                </a:cubicBezTo>
                <a:close/>
                <a:moveTo>
                  <a:pt x="263" y="41"/>
                </a:moveTo>
                <a:cubicBezTo>
                  <a:pt x="263" y="37"/>
                  <a:pt x="261" y="34"/>
                  <a:pt x="255" y="34"/>
                </a:cubicBezTo>
                <a:cubicBezTo>
                  <a:pt x="251" y="34"/>
                  <a:pt x="251" y="34"/>
                  <a:pt x="251" y="34"/>
                </a:cubicBezTo>
                <a:cubicBezTo>
                  <a:pt x="251" y="48"/>
                  <a:pt x="251" y="48"/>
                  <a:pt x="251" y="48"/>
                </a:cubicBezTo>
                <a:cubicBezTo>
                  <a:pt x="255" y="48"/>
                  <a:pt x="255" y="48"/>
                  <a:pt x="255" y="48"/>
                </a:cubicBezTo>
                <a:cubicBezTo>
                  <a:pt x="258" y="48"/>
                  <a:pt x="260" y="48"/>
                  <a:pt x="261" y="46"/>
                </a:cubicBezTo>
                <a:cubicBezTo>
                  <a:pt x="262" y="45"/>
                  <a:pt x="263" y="43"/>
                  <a:pt x="263" y="41"/>
                </a:cubicBezTo>
                <a:close/>
                <a:moveTo>
                  <a:pt x="292" y="52"/>
                </a:moveTo>
                <a:cubicBezTo>
                  <a:pt x="292" y="56"/>
                  <a:pt x="291" y="59"/>
                  <a:pt x="289" y="61"/>
                </a:cubicBezTo>
                <a:cubicBezTo>
                  <a:pt x="286" y="64"/>
                  <a:pt x="284" y="65"/>
                  <a:pt x="280" y="65"/>
                </a:cubicBezTo>
                <a:cubicBezTo>
                  <a:pt x="276" y="65"/>
                  <a:pt x="274" y="64"/>
                  <a:pt x="271" y="62"/>
                </a:cubicBezTo>
                <a:cubicBezTo>
                  <a:pt x="269" y="59"/>
                  <a:pt x="268" y="56"/>
                  <a:pt x="268" y="53"/>
                </a:cubicBezTo>
                <a:cubicBezTo>
                  <a:pt x="268" y="49"/>
                  <a:pt x="269" y="46"/>
                  <a:pt x="271" y="43"/>
                </a:cubicBezTo>
                <a:cubicBezTo>
                  <a:pt x="274" y="41"/>
                  <a:pt x="277" y="40"/>
                  <a:pt x="280" y="40"/>
                </a:cubicBezTo>
                <a:cubicBezTo>
                  <a:pt x="284" y="40"/>
                  <a:pt x="287" y="41"/>
                  <a:pt x="289" y="43"/>
                </a:cubicBezTo>
                <a:cubicBezTo>
                  <a:pt x="291" y="45"/>
                  <a:pt x="292" y="48"/>
                  <a:pt x="292" y="52"/>
                </a:cubicBezTo>
                <a:close/>
                <a:moveTo>
                  <a:pt x="288" y="52"/>
                </a:moveTo>
                <a:cubicBezTo>
                  <a:pt x="288" y="49"/>
                  <a:pt x="287" y="47"/>
                  <a:pt x="286" y="45"/>
                </a:cubicBezTo>
                <a:cubicBezTo>
                  <a:pt x="285" y="44"/>
                  <a:pt x="283" y="43"/>
                  <a:pt x="280" y="43"/>
                </a:cubicBezTo>
                <a:cubicBezTo>
                  <a:pt x="278" y="43"/>
                  <a:pt x="276" y="44"/>
                  <a:pt x="274" y="46"/>
                </a:cubicBezTo>
                <a:cubicBezTo>
                  <a:pt x="273" y="47"/>
                  <a:pt x="272" y="50"/>
                  <a:pt x="272" y="53"/>
                </a:cubicBezTo>
                <a:cubicBezTo>
                  <a:pt x="272" y="55"/>
                  <a:pt x="273" y="58"/>
                  <a:pt x="274" y="59"/>
                </a:cubicBezTo>
                <a:cubicBezTo>
                  <a:pt x="276" y="61"/>
                  <a:pt x="278" y="62"/>
                  <a:pt x="280" y="62"/>
                </a:cubicBezTo>
                <a:cubicBezTo>
                  <a:pt x="283" y="62"/>
                  <a:pt x="285" y="61"/>
                  <a:pt x="286" y="59"/>
                </a:cubicBezTo>
                <a:cubicBezTo>
                  <a:pt x="287" y="58"/>
                  <a:pt x="288" y="55"/>
                  <a:pt x="288" y="52"/>
                </a:cubicBezTo>
                <a:close/>
                <a:moveTo>
                  <a:pt x="301" y="32"/>
                </a:moveTo>
                <a:cubicBezTo>
                  <a:pt x="301" y="33"/>
                  <a:pt x="301" y="33"/>
                  <a:pt x="300" y="34"/>
                </a:cubicBezTo>
                <a:cubicBezTo>
                  <a:pt x="300" y="34"/>
                  <a:pt x="299" y="34"/>
                  <a:pt x="298" y="34"/>
                </a:cubicBezTo>
                <a:cubicBezTo>
                  <a:pt x="298" y="34"/>
                  <a:pt x="297" y="34"/>
                  <a:pt x="297" y="34"/>
                </a:cubicBezTo>
                <a:cubicBezTo>
                  <a:pt x="296" y="33"/>
                  <a:pt x="296" y="33"/>
                  <a:pt x="296" y="32"/>
                </a:cubicBezTo>
                <a:cubicBezTo>
                  <a:pt x="296" y="31"/>
                  <a:pt x="296" y="31"/>
                  <a:pt x="297" y="30"/>
                </a:cubicBezTo>
                <a:cubicBezTo>
                  <a:pt x="297" y="30"/>
                  <a:pt x="298" y="29"/>
                  <a:pt x="298" y="29"/>
                </a:cubicBezTo>
                <a:cubicBezTo>
                  <a:pt x="299" y="29"/>
                  <a:pt x="300" y="30"/>
                  <a:pt x="300" y="30"/>
                </a:cubicBezTo>
                <a:cubicBezTo>
                  <a:pt x="301" y="31"/>
                  <a:pt x="301" y="31"/>
                  <a:pt x="301" y="32"/>
                </a:cubicBezTo>
                <a:close/>
                <a:moveTo>
                  <a:pt x="300" y="64"/>
                </a:moveTo>
                <a:cubicBezTo>
                  <a:pt x="297" y="64"/>
                  <a:pt x="297" y="64"/>
                  <a:pt x="297" y="64"/>
                </a:cubicBezTo>
                <a:cubicBezTo>
                  <a:pt x="297" y="40"/>
                  <a:pt x="297" y="40"/>
                  <a:pt x="297" y="40"/>
                </a:cubicBezTo>
                <a:cubicBezTo>
                  <a:pt x="300" y="40"/>
                  <a:pt x="300" y="40"/>
                  <a:pt x="300" y="40"/>
                </a:cubicBezTo>
                <a:lnTo>
                  <a:pt x="300" y="64"/>
                </a:lnTo>
                <a:close/>
                <a:moveTo>
                  <a:pt x="327" y="64"/>
                </a:moveTo>
                <a:cubicBezTo>
                  <a:pt x="323" y="64"/>
                  <a:pt x="323" y="64"/>
                  <a:pt x="323" y="64"/>
                </a:cubicBezTo>
                <a:cubicBezTo>
                  <a:pt x="323" y="51"/>
                  <a:pt x="323" y="51"/>
                  <a:pt x="323" y="51"/>
                </a:cubicBezTo>
                <a:cubicBezTo>
                  <a:pt x="323" y="46"/>
                  <a:pt x="321" y="43"/>
                  <a:pt x="317" y="43"/>
                </a:cubicBezTo>
                <a:cubicBezTo>
                  <a:pt x="315" y="43"/>
                  <a:pt x="314" y="44"/>
                  <a:pt x="313" y="45"/>
                </a:cubicBezTo>
                <a:cubicBezTo>
                  <a:pt x="311" y="47"/>
                  <a:pt x="311" y="48"/>
                  <a:pt x="311" y="51"/>
                </a:cubicBezTo>
                <a:cubicBezTo>
                  <a:pt x="311" y="64"/>
                  <a:pt x="311" y="64"/>
                  <a:pt x="311" y="64"/>
                </a:cubicBezTo>
                <a:cubicBezTo>
                  <a:pt x="307" y="64"/>
                  <a:pt x="307" y="64"/>
                  <a:pt x="307" y="64"/>
                </a:cubicBezTo>
                <a:cubicBezTo>
                  <a:pt x="307" y="40"/>
                  <a:pt x="307" y="40"/>
                  <a:pt x="307" y="40"/>
                </a:cubicBezTo>
                <a:cubicBezTo>
                  <a:pt x="311" y="40"/>
                  <a:pt x="311" y="40"/>
                  <a:pt x="311" y="40"/>
                </a:cubicBezTo>
                <a:cubicBezTo>
                  <a:pt x="311" y="44"/>
                  <a:pt x="311" y="44"/>
                  <a:pt x="311" y="44"/>
                </a:cubicBezTo>
                <a:cubicBezTo>
                  <a:pt x="311" y="44"/>
                  <a:pt x="311" y="44"/>
                  <a:pt x="311" y="44"/>
                </a:cubicBezTo>
                <a:cubicBezTo>
                  <a:pt x="313" y="41"/>
                  <a:pt x="315" y="40"/>
                  <a:pt x="319" y="40"/>
                </a:cubicBezTo>
                <a:cubicBezTo>
                  <a:pt x="321" y="40"/>
                  <a:pt x="323" y="41"/>
                  <a:pt x="325" y="42"/>
                </a:cubicBezTo>
                <a:cubicBezTo>
                  <a:pt x="326" y="44"/>
                  <a:pt x="327" y="47"/>
                  <a:pt x="327" y="50"/>
                </a:cubicBezTo>
                <a:lnTo>
                  <a:pt x="327" y="64"/>
                </a:lnTo>
                <a:close/>
                <a:moveTo>
                  <a:pt x="344" y="64"/>
                </a:moveTo>
                <a:cubicBezTo>
                  <a:pt x="343" y="65"/>
                  <a:pt x="342" y="65"/>
                  <a:pt x="340" y="65"/>
                </a:cubicBezTo>
                <a:cubicBezTo>
                  <a:pt x="336" y="65"/>
                  <a:pt x="334" y="63"/>
                  <a:pt x="334" y="58"/>
                </a:cubicBezTo>
                <a:cubicBezTo>
                  <a:pt x="334" y="44"/>
                  <a:pt x="334" y="44"/>
                  <a:pt x="334" y="44"/>
                </a:cubicBezTo>
                <a:cubicBezTo>
                  <a:pt x="330" y="44"/>
                  <a:pt x="330" y="44"/>
                  <a:pt x="330" y="44"/>
                </a:cubicBezTo>
                <a:cubicBezTo>
                  <a:pt x="330" y="40"/>
                  <a:pt x="330" y="40"/>
                  <a:pt x="330" y="40"/>
                </a:cubicBezTo>
                <a:cubicBezTo>
                  <a:pt x="334" y="40"/>
                  <a:pt x="334" y="40"/>
                  <a:pt x="334" y="40"/>
                </a:cubicBezTo>
                <a:cubicBezTo>
                  <a:pt x="334" y="35"/>
                  <a:pt x="334" y="35"/>
                  <a:pt x="334" y="35"/>
                </a:cubicBezTo>
                <a:cubicBezTo>
                  <a:pt x="338" y="33"/>
                  <a:pt x="338" y="33"/>
                  <a:pt x="338" y="33"/>
                </a:cubicBezTo>
                <a:cubicBezTo>
                  <a:pt x="338" y="40"/>
                  <a:pt x="338" y="40"/>
                  <a:pt x="338" y="40"/>
                </a:cubicBezTo>
                <a:cubicBezTo>
                  <a:pt x="344" y="40"/>
                  <a:pt x="344" y="40"/>
                  <a:pt x="344" y="40"/>
                </a:cubicBezTo>
                <a:cubicBezTo>
                  <a:pt x="344" y="44"/>
                  <a:pt x="344" y="44"/>
                  <a:pt x="344" y="44"/>
                </a:cubicBezTo>
                <a:cubicBezTo>
                  <a:pt x="338" y="44"/>
                  <a:pt x="338" y="44"/>
                  <a:pt x="338" y="44"/>
                </a:cubicBezTo>
                <a:cubicBezTo>
                  <a:pt x="338" y="57"/>
                  <a:pt x="338" y="57"/>
                  <a:pt x="338" y="57"/>
                </a:cubicBezTo>
                <a:cubicBezTo>
                  <a:pt x="338" y="59"/>
                  <a:pt x="338" y="60"/>
                  <a:pt x="339" y="61"/>
                </a:cubicBezTo>
                <a:cubicBezTo>
                  <a:pt x="339" y="61"/>
                  <a:pt x="340" y="62"/>
                  <a:pt x="341" y="62"/>
                </a:cubicBezTo>
                <a:cubicBezTo>
                  <a:pt x="342" y="62"/>
                  <a:pt x="343" y="61"/>
                  <a:pt x="344" y="61"/>
                </a:cubicBezTo>
                <a:lnTo>
                  <a:pt x="344" y="64"/>
                </a:lnTo>
                <a:close/>
                <a:moveTo>
                  <a:pt x="32" y="38"/>
                </a:moveTo>
                <a:cubicBezTo>
                  <a:pt x="32" y="39"/>
                  <a:pt x="33" y="40"/>
                  <a:pt x="33" y="41"/>
                </a:cubicBezTo>
                <a:cubicBezTo>
                  <a:pt x="33" y="42"/>
                  <a:pt x="32" y="43"/>
                  <a:pt x="32" y="43"/>
                </a:cubicBezTo>
                <a:cubicBezTo>
                  <a:pt x="32" y="44"/>
                  <a:pt x="32" y="45"/>
                  <a:pt x="31" y="45"/>
                </a:cubicBezTo>
                <a:cubicBezTo>
                  <a:pt x="30" y="46"/>
                  <a:pt x="30" y="46"/>
                  <a:pt x="29" y="47"/>
                </a:cubicBezTo>
                <a:cubicBezTo>
                  <a:pt x="28" y="47"/>
                  <a:pt x="27" y="47"/>
                  <a:pt x="26" y="47"/>
                </a:cubicBezTo>
                <a:cubicBezTo>
                  <a:pt x="23" y="47"/>
                  <a:pt x="23" y="47"/>
                  <a:pt x="23" y="47"/>
                </a:cubicBezTo>
                <a:cubicBezTo>
                  <a:pt x="23" y="47"/>
                  <a:pt x="23" y="47"/>
                  <a:pt x="23" y="47"/>
                </a:cubicBezTo>
                <a:cubicBezTo>
                  <a:pt x="23" y="35"/>
                  <a:pt x="23" y="35"/>
                  <a:pt x="23" y="35"/>
                </a:cubicBezTo>
                <a:cubicBezTo>
                  <a:pt x="26" y="35"/>
                  <a:pt x="26" y="35"/>
                  <a:pt x="26" y="35"/>
                </a:cubicBezTo>
                <a:cubicBezTo>
                  <a:pt x="27" y="35"/>
                  <a:pt x="28" y="35"/>
                  <a:pt x="29" y="35"/>
                </a:cubicBezTo>
                <a:cubicBezTo>
                  <a:pt x="30" y="35"/>
                  <a:pt x="30" y="35"/>
                  <a:pt x="31" y="36"/>
                </a:cubicBezTo>
                <a:cubicBezTo>
                  <a:pt x="32" y="36"/>
                  <a:pt x="32" y="37"/>
                  <a:pt x="32" y="38"/>
                </a:cubicBezTo>
                <a:close/>
                <a:moveTo>
                  <a:pt x="56" y="0"/>
                </a:moveTo>
                <a:cubicBezTo>
                  <a:pt x="56" y="96"/>
                  <a:pt x="56" y="96"/>
                  <a:pt x="56" y="96"/>
                </a:cubicBezTo>
                <a:cubicBezTo>
                  <a:pt x="0" y="83"/>
                  <a:pt x="0" y="83"/>
                  <a:pt x="0" y="83"/>
                </a:cubicBezTo>
                <a:cubicBezTo>
                  <a:pt x="0" y="13"/>
                  <a:pt x="0" y="13"/>
                  <a:pt x="0" y="13"/>
                </a:cubicBezTo>
                <a:lnTo>
                  <a:pt x="56" y="0"/>
                </a:lnTo>
                <a:close/>
                <a:moveTo>
                  <a:pt x="41" y="40"/>
                </a:moveTo>
                <a:cubicBezTo>
                  <a:pt x="41" y="38"/>
                  <a:pt x="41" y="36"/>
                  <a:pt x="40" y="34"/>
                </a:cubicBezTo>
                <a:cubicBezTo>
                  <a:pt x="40" y="33"/>
                  <a:pt x="39" y="31"/>
                  <a:pt x="38" y="30"/>
                </a:cubicBezTo>
                <a:cubicBezTo>
                  <a:pt x="37" y="29"/>
                  <a:pt x="35" y="29"/>
                  <a:pt x="33" y="28"/>
                </a:cubicBezTo>
                <a:cubicBezTo>
                  <a:pt x="32" y="28"/>
                  <a:pt x="30" y="28"/>
                  <a:pt x="28" y="28"/>
                </a:cubicBezTo>
                <a:cubicBezTo>
                  <a:pt x="16" y="28"/>
                  <a:pt x="16" y="28"/>
                  <a:pt x="16" y="28"/>
                </a:cubicBezTo>
                <a:cubicBezTo>
                  <a:pt x="16" y="67"/>
                  <a:pt x="16" y="67"/>
                  <a:pt x="16" y="67"/>
                </a:cubicBezTo>
                <a:cubicBezTo>
                  <a:pt x="23" y="68"/>
                  <a:pt x="23" y="68"/>
                  <a:pt x="23" y="68"/>
                </a:cubicBezTo>
                <a:cubicBezTo>
                  <a:pt x="23" y="54"/>
                  <a:pt x="23" y="54"/>
                  <a:pt x="23" y="54"/>
                </a:cubicBezTo>
                <a:cubicBezTo>
                  <a:pt x="27" y="54"/>
                  <a:pt x="27" y="54"/>
                  <a:pt x="27" y="54"/>
                </a:cubicBezTo>
                <a:cubicBezTo>
                  <a:pt x="28" y="54"/>
                  <a:pt x="29" y="54"/>
                  <a:pt x="30" y="54"/>
                </a:cubicBezTo>
                <a:cubicBezTo>
                  <a:pt x="31" y="53"/>
                  <a:pt x="32" y="53"/>
                  <a:pt x="33" y="53"/>
                </a:cubicBezTo>
                <a:cubicBezTo>
                  <a:pt x="34" y="53"/>
                  <a:pt x="34" y="52"/>
                  <a:pt x="35" y="52"/>
                </a:cubicBezTo>
                <a:cubicBezTo>
                  <a:pt x="36" y="51"/>
                  <a:pt x="37" y="51"/>
                  <a:pt x="37" y="50"/>
                </a:cubicBezTo>
                <a:cubicBezTo>
                  <a:pt x="38" y="49"/>
                  <a:pt x="39" y="49"/>
                  <a:pt x="39" y="48"/>
                </a:cubicBezTo>
                <a:cubicBezTo>
                  <a:pt x="39" y="47"/>
                  <a:pt x="40" y="46"/>
                  <a:pt x="40" y="46"/>
                </a:cubicBezTo>
                <a:cubicBezTo>
                  <a:pt x="41" y="45"/>
                  <a:pt x="41" y="44"/>
                  <a:pt x="41" y="43"/>
                </a:cubicBezTo>
                <a:cubicBezTo>
                  <a:pt x="41" y="42"/>
                  <a:pt x="41" y="41"/>
                  <a:pt x="41" y="40"/>
                </a:cubicBezTo>
                <a:close/>
                <a:moveTo>
                  <a:pt x="96" y="16"/>
                </a:moveTo>
                <a:cubicBezTo>
                  <a:pt x="96" y="80"/>
                  <a:pt x="96" y="80"/>
                  <a:pt x="96" y="80"/>
                </a:cubicBezTo>
                <a:cubicBezTo>
                  <a:pt x="96" y="81"/>
                  <a:pt x="93" y="84"/>
                  <a:pt x="92" y="84"/>
                </a:cubicBezTo>
                <a:cubicBezTo>
                  <a:pt x="60" y="84"/>
                  <a:pt x="60" y="84"/>
                  <a:pt x="60" y="84"/>
                </a:cubicBezTo>
                <a:cubicBezTo>
                  <a:pt x="60" y="76"/>
                  <a:pt x="60" y="76"/>
                  <a:pt x="60" y="76"/>
                </a:cubicBezTo>
                <a:cubicBezTo>
                  <a:pt x="84" y="76"/>
                  <a:pt x="84" y="76"/>
                  <a:pt x="84" y="76"/>
                </a:cubicBezTo>
                <a:cubicBezTo>
                  <a:pt x="84" y="72"/>
                  <a:pt x="84" y="72"/>
                  <a:pt x="84" y="72"/>
                </a:cubicBezTo>
                <a:cubicBezTo>
                  <a:pt x="60" y="72"/>
                  <a:pt x="60" y="72"/>
                  <a:pt x="60" y="72"/>
                </a:cubicBezTo>
                <a:cubicBezTo>
                  <a:pt x="60" y="64"/>
                  <a:pt x="60" y="64"/>
                  <a:pt x="60" y="64"/>
                </a:cubicBezTo>
                <a:cubicBezTo>
                  <a:pt x="84" y="64"/>
                  <a:pt x="84" y="64"/>
                  <a:pt x="84" y="64"/>
                </a:cubicBezTo>
                <a:cubicBezTo>
                  <a:pt x="84" y="60"/>
                  <a:pt x="84" y="60"/>
                  <a:pt x="84" y="60"/>
                </a:cubicBezTo>
                <a:cubicBezTo>
                  <a:pt x="60" y="60"/>
                  <a:pt x="60" y="60"/>
                  <a:pt x="60" y="60"/>
                </a:cubicBezTo>
                <a:cubicBezTo>
                  <a:pt x="60" y="12"/>
                  <a:pt x="60" y="12"/>
                  <a:pt x="60" y="12"/>
                </a:cubicBezTo>
                <a:cubicBezTo>
                  <a:pt x="92" y="12"/>
                  <a:pt x="92" y="12"/>
                  <a:pt x="92" y="12"/>
                </a:cubicBezTo>
                <a:cubicBezTo>
                  <a:pt x="93" y="12"/>
                  <a:pt x="96" y="14"/>
                  <a:pt x="96" y="16"/>
                </a:cubicBezTo>
                <a:close/>
                <a:moveTo>
                  <a:pt x="79" y="40"/>
                </a:moveTo>
                <a:cubicBezTo>
                  <a:pt x="68" y="40"/>
                  <a:pt x="68" y="40"/>
                  <a:pt x="68" y="40"/>
                </a:cubicBezTo>
                <a:cubicBezTo>
                  <a:pt x="67" y="28"/>
                  <a:pt x="67" y="28"/>
                  <a:pt x="67" y="28"/>
                </a:cubicBezTo>
                <a:cubicBezTo>
                  <a:pt x="65" y="28"/>
                  <a:pt x="62" y="28"/>
                  <a:pt x="60" y="29"/>
                </a:cubicBezTo>
                <a:cubicBezTo>
                  <a:pt x="60" y="50"/>
                  <a:pt x="60" y="50"/>
                  <a:pt x="60" y="50"/>
                </a:cubicBezTo>
                <a:cubicBezTo>
                  <a:pt x="62" y="51"/>
                  <a:pt x="64" y="52"/>
                  <a:pt x="66" y="52"/>
                </a:cubicBezTo>
                <a:cubicBezTo>
                  <a:pt x="73" y="52"/>
                  <a:pt x="79" y="46"/>
                  <a:pt x="79" y="40"/>
                </a:cubicBezTo>
                <a:close/>
                <a:moveTo>
                  <a:pt x="84" y="36"/>
                </a:moveTo>
                <a:cubicBezTo>
                  <a:pt x="84" y="29"/>
                  <a:pt x="78" y="24"/>
                  <a:pt x="72" y="24"/>
                </a:cubicBezTo>
                <a:cubicBezTo>
                  <a:pt x="72" y="36"/>
                  <a:pt x="72" y="36"/>
                  <a:pt x="72" y="36"/>
                </a:cubicBezTo>
                <a:lnTo>
                  <a:pt x="84" y="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nvGrpSpPr>
          <p:cNvPr id="858" name="Group 140"/>
          <p:cNvGrpSpPr>
            <a:grpSpLocks noChangeAspect="1"/>
          </p:cNvGrpSpPr>
          <p:nvPr/>
        </p:nvGrpSpPr>
        <p:grpSpPr bwMode="auto">
          <a:xfrm>
            <a:off x="2313561" y="4769138"/>
            <a:ext cx="1454505" cy="430284"/>
            <a:chOff x="562" y="2539"/>
            <a:chExt cx="791" cy="234"/>
          </a:xfrm>
        </p:grpSpPr>
        <p:sp>
          <p:nvSpPr>
            <p:cNvPr id="859" name="Freeform 141"/>
            <p:cNvSpPr>
              <a:spLocks/>
            </p:cNvSpPr>
            <p:nvPr/>
          </p:nvSpPr>
          <p:spPr bwMode="auto">
            <a:xfrm>
              <a:off x="705" y="2595"/>
              <a:ext cx="67" cy="120"/>
            </a:xfrm>
            <a:custGeom>
              <a:avLst/>
              <a:gdLst>
                <a:gd name="T0" fmla="*/ 4 w 28"/>
                <a:gd name="T1" fmla="*/ 0 h 49"/>
                <a:gd name="T2" fmla="*/ 0 w 28"/>
                <a:gd name="T3" fmla="*/ 1 h 49"/>
                <a:gd name="T4" fmla="*/ 0 w 28"/>
                <a:gd name="T5" fmla="*/ 5 h 49"/>
                <a:gd name="T6" fmla="*/ 4 w 28"/>
                <a:gd name="T7" fmla="*/ 5 h 49"/>
                <a:gd name="T8" fmla="*/ 24 w 28"/>
                <a:gd name="T9" fmla="*/ 25 h 49"/>
                <a:gd name="T10" fmla="*/ 4 w 28"/>
                <a:gd name="T11" fmla="*/ 45 h 49"/>
                <a:gd name="T12" fmla="*/ 0 w 28"/>
                <a:gd name="T13" fmla="*/ 44 h 49"/>
                <a:gd name="T14" fmla="*/ 0 w 28"/>
                <a:gd name="T15" fmla="*/ 49 h 49"/>
                <a:gd name="T16" fmla="*/ 4 w 28"/>
                <a:gd name="T17" fmla="*/ 49 h 49"/>
                <a:gd name="T18" fmla="*/ 28 w 28"/>
                <a:gd name="T19" fmla="*/ 25 h 49"/>
                <a:gd name="T20" fmla="*/ 4 w 28"/>
                <a:gd name="T21"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49">
                  <a:moveTo>
                    <a:pt x="4" y="0"/>
                  </a:moveTo>
                  <a:cubicBezTo>
                    <a:pt x="3" y="0"/>
                    <a:pt x="1" y="0"/>
                    <a:pt x="0" y="1"/>
                  </a:cubicBezTo>
                  <a:cubicBezTo>
                    <a:pt x="0" y="5"/>
                    <a:pt x="0" y="5"/>
                    <a:pt x="0" y="5"/>
                  </a:cubicBezTo>
                  <a:cubicBezTo>
                    <a:pt x="1" y="5"/>
                    <a:pt x="3" y="5"/>
                    <a:pt x="4" y="5"/>
                  </a:cubicBezTo>
                  <a:cubicBezTo>
                    <a:pt x="15" y="5"/>
                    <a:pt x="24" y="14"/>
                    <a:pt x="24" y="25"/>
                  </a:cubicBezTo>
                  <a:cubicBezTo>
                    <a:pt x="24" y="36"/>
                    <a:pt x="15" y="45"/>
                    <a:pt x="4" y="45"/>
                  </a:cubicBezTo>
                  <a:cubicBezTo>
                    <a:pt x="3" y="45"/>
                    <a:pt x="1" y="45"/>
                    <a:pt x="0" y="44"/>
                  </a:cubicBezTo>
                  <a:cubicBezTo>
                    <a:pt x="0" y="49"/>
                    <a:pt x="0" y="49"/>
                    <a:pt x="0" y="49"/>
                  </a:cubicBezTo>
                  <a:cubicBezTo>
                    <a:pt x="1" y="49"/>
                    <a:pt x="3" y="49"/>
                    <a:pt x="4" y="49"/>
                  </a:cubicBezTo>
                  <a:cubicBezTo>
                    <a:pt x="18" y="49"/>
                    <a:pt x="28" y="38"/>
                    <a:pt x="28" y="25"/>
                  </a:cubicBezTo>
                  <a:cubicBezTo>
                    <a:pt x="28" y="11"/>
                    <a:pt x="18" y="0"/>
                    <a:pt x="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60" name="Freeform 142"/>
            <p:cNvSpPr>
              <a:spLocks/>
            </p:cNvSpPr>
            <p:nvPr/>
          </p:nvSpPr>
          <p:spPr bwMode="auto">
            <a:xfrm>
              <a:off x="705" y="2685"/>
              <a:ext cx="33" cy="47"/>
            </a:xfrm>
            <a:custGeom>
              <a:avLst/>
              <a:gdLst>
                <a:gd name="T0" fmla="*/ 5 w 14"/>
                <a:gd name="T1" fmla="*/ 0 h 19"/>
                <a:gd name="T2" fmla="*/ 0 w 14"/>
                <a:gd name="T3" fmla="*/ 2 h 19"/>
                <a:gd name="T4" fmla="*/ 0 w 14"/>
                <a:gd name="T5" fmla="*/ 18 h 19"/>
                <a:gd name="T6" fmla="*/ 5 w 14"/>
                <a:gd name="T7" fmla="*/ 19 h 19"/>
                <a:gd name="T8" fmla="*/ 14 w 14"/>
                <a:gd name="T9" fmla="*/ 10 h 19"/>
                <a:gd name="T10" fmla="*/ 5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5" y="0"/>
                  </a:moveTo>
                  <a:cubicBezTo>
                    <a:pt x="3" y="0"/>
                    <a:pt x="1" y="1"/>
                    <a:pt x="0" y="2"/>
                  </a:cubicBezTo>
                  <a:cubicBezTo>
                    <a:pt x="0" y="18"/>
                    <a:pt x="0" y="18"/>
                    <a:pt x="0" y="18"/>
                  </a:cubicBezTo>
                  <a:cubicBezTo>
                    <a:pt x="1" y="19"/>
                    <a:pt x="3" y="19"/>
                    <a:pt x="5" y="19"/>
                  </a:cubicBezTo>
                  <a:cubicBezTo>
                    <a:pt x="10" y="19"/>
                    <a:pt x="14" y="15"/>
                    <a:pt x="14" y="10"/>
                  </a:cubicBezTo>
                  <a:cubicBezTo>
                    <a:pt x="14" y="5"/>
                    <a:pt x="10" y="0"/>
                    <a:pt x="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61" name="Freeform 143"/>
            <p:cNvSpPr>
              <a:spLocks/>
            </p:cNvSpPr>
            <p:nvPr/>
          </p:nvSpPr>
          <p:spPr bwMode="auto">
            <a:xfrm>
              <a:off x="705" y="2578"/>
              <a:ext cx="33" cy="49"/>
            </a:xfrm>
            <a:custGeom>
              <a:avLst/>
              <a:gdLst>
                <a:gd name="T0" fmla="*/ 4 w 14"/>
                <a:gd name="T1" fmla="*/ 0 h 20"/>
                <a:gd name="T2" fmla="*/ 0 w 14"/>
                <a:gd name="T3" fmla="*/ 2 h 20"/>
                <a:gd name="T4" fmla="*/ 0 w 14"/>
                <a:gd name="T5" fmla="*/ 18 h 20"/>
                <a:gd name="T6" fmla="*/ 4 w 14"/>
                <a:gd name="T7" fmla="*/ 20 h 20"/>
                <a:gd name="T8" fmla="*/ 14 w 14"/>
                <a:gd name="T9" fmla="*/ 10 h 20"/>
                <a:gd name="T10" fmla="*/ 4 w 14"/>
                <a:gd name="T11" fmla="*/ 0 h 20"/>
              </a:gdLst>
              <a:ahLst/>
              <a:cxnLst>
                <a:cxn ang="0">
                  <a:pos x="T0" y="T1"/>
                </a:cxn>
                <a:cxn ang="0">
                  <a:pos x="T2" y="T3"/>
                </a:cxn>
                <a:cxn ang="0">
                  <a:pos x="T4" y="T5"/>
                </a:cxn>
                <a:cxn ang="0">
                  <a:pos x="T6" y="T7"/>
                </a:cxn>
                <a:cxn ang="0">
                  <a:pos x="T8" y="T9"/>
                </a:cxn>
                <a:cxn ang="0">
                  <a:pos x="T10" y="T11"/>
                </a:cxn>
              </a:cxnLst>
              <a:rect l="0" t="0" r="r" b="b"/>
              <a:pathLst>
                <a:path w="14" h="20">
                  <a:moveTo>
                    <a:pt x="4" y="0"/>
                  </a:moveTo>
                  <a:cubicBezTo>
                    <a:pt x="3" y="0"/>
                    <a:pt x="1" y="1"/>
                    <a:pt x="0" y="2"/>
                  </a:cubicBezTo>
                  <a:cubicBezTo>
                    <a:pt x="0" y="18"/>
                    <a:pt x="0" y="18"/>
                    <a:pt x="0" y="18"/>
                  </a:cubicBezTo>
                  <a:cubicBezTo>
                    <a:pt x="1" y="19"/>
                    <a:pt x="3" y="20"/>
                    <a:pt x="4" y="20"/>
                  </a:cubicBezTo>
                  <a:cubicBezTo>
                    <a:pt x="10" y="20"/>
                    <a:pt x="14" y="15"/>
                    <a:pt x="14" y="10"/>
                  </a:cubicBezTo>
                  <a:cubicBezTo>
                    <a:pt x="14" y="5"/>
                    <a:pt x="10" y="0"/>
                    <a:pt x="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62" name="Oval 144"/>
            <p:cNvSpPr>
              <a:spLocks noChangeArrowheads="1"/>
            </p:cNvSpPr>
            <p:nvPr/>
          </p:nvSpPr>
          <p:spPr bwMode="auto">
            <a:xfrm>
              <a:off x="743" y="2629"/>
              <a:ext cx="45" cy="4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63" name="Freeform 145"/>
            <p:cNvSpPr>
              <a:spLocks noEditPoints="1"/>
            </p:cNvSpPr>
            <p:nvPr/>
          </p:nvSpPr>
          <p:spPr bwMode="auto">
            <a:xfrm>
              <a:off x="562" y="2539"/>
              <a:ext cx="133" cy="234"/>
            </a:xfrm>
            <a:custGeom>
              <a:avLst/>
              <a:gdLst>
                <a:gd name="T0" fmla="*/ 0 w 56"/>
                <a:gd name="T1" fmla="*/ 83 h 96"/>
                <a:gd name="T2" fmla="*/ 56 w 56"/>
                <a:gd name="T3" fmla="*/ 0 h 96"/>
                <a:gd name="T4" fmla="*/ 35 w 56"/>
                <a:gd name="T5" fmla="*/ 59 h 96"/>
                <a:gd name="T6" fmla="*/ 34 w 56"/>
                <a:gd name="T7" fmla="*/ 63 h 96"/>
                <a:gd name="T8" fmla="*/ 31 w 56"/>
                <a:gd name="T9" fmla="*/ 66 h 96"/>
                <a:gd name="T10" fmla="*/ 26 w 56"/>
                <a:gd name="T11" fmla="*/ 68 h 96"/>
                <a:gd name="T12" fmla="*/ 21 w 56"/>
                <a:gd name="T13" fmla="*/ 68 h 96"/>
                <a:gd name="T14" fmla="*/ 17 w 56"/>
                <a:gd name="T15" fmla="*/ 66 h 96"/>
                <a:gd name="T16" fmla="*/ 16 w 56"/>
                <a:gd name="T17" fmla="*/ 57 h 96"/>
                <a:gd name="T18" fmla="*/ 20 w 56"/>
                <a:gd name="T19" fmla="*/ 60 h 96"/>
                <a:gd name="T20" fmla="*/ 24 w 56"/>
                <a:gd name="T21" fmla="*/ 61 h 96"/>
                <a:gd name="T22" fmla="*/ 26 w 56"/>
                <a:gd name="T23" fmla="*/ 61 h 96"/>
                <a:gd name="T24" fmla="*/ 27 w 56"/>
                <a:gd name="T25" fmla="*/ 60 h 96"/>
                <a:gd name="T26" fmla="*/ 28 w 56"/>
                <a:gd name="T27" fmla="*/ 59 h 96"/>
                <a:gd name="T28" fmla="*/ 28 w 56"/>
                <a:gd name="T29" fmla="*/ 57 h 96"/>
                <a:gd name="T30" fmla="*/ 28 w 56"/>
                <a:gd name="T31" fmla="*/ 56 h 96"/>
                <a:gd name="T32" fmla="*/ 27 w 56"/>
                <a:gd name="T33" fmla="*/ 54 h 96"/>
                <a:gd name="T34" fmla="*/ 25 w 56"/>
                <a:gd name="T35" fmla="*/ 53 h 96"/>
                <a:gd name="T36" fmla="*/ 22 w 56"/>
                <a:gd name="T37" fmla="*/ 51 h 96"/>
                <a:gd name="T38" fmla="*/ 17 w 56"/>
                <a:gd name="T39" fmla="*/ 46 h 96"/>
                <a:gd name="T40" fmla="*/ 16 w 56"/>
                <a:gd name="T41" fmla="*/ 40 h 96"/>
                <a:gd name="T42" fmla="*/ 16 w 56"/>
                <a:gd name="T43" fmla="*/ 35 h 96"/>
                <a:gd name="T44" fmla="*/ 19 w 56"/>
                <a:gd name="T45" fmla="*/ 32 h 96"/>
                <a:gd name="T46" fmla="*/ 22 w 56"/>
                <a:gd name="T47" fmla="*/ 29 h 96"/>
                <a:gd name="T48" fmla="*/ 27 w 56"/>
                <a:gd name="T49" fmla="*/ 28 h 96"/>
                <a:gd name="T50" fmla="*/ 31 w 56"/>
                <a:gd name="T51" fmla="*/ 28 h 96"/>
                <a:gd name="T52" fmla="*/ 34 w 56"/>
                <a:gd name="T53" fmla="*/ 29 h 96"/>
                <a:gd name="T54" fmla="*/ 32 w 56"/>
                <a:gd name="T55" fmla="*/ 36 h 96"/>
                <a:gd name="T56" fmla="*/ 29 w 56"/>
                <a:gd name="T57" fmla="*/ 35 h 96"/>
                <a:gd name="T58" fmla="*/ 26 w 56"/>
                <a:gd name="T59" fmla="*/ 35 h 96"/>
                <a:gd name="T60" fmla="*/ 24 w 56"/>
                <a:gd name="T61" fmla="*/ 36 h 96"/>
                <a:gd name="T62" fmla="*/ 23 w 56"/>
                <a:gd name="T63" fmla="*/ 37 h 96"/>
                <a:gd name="T64" fmla="*/ 23 w 56"/>
                <a:gd name="T65" fmla="*/ 38 h 96"/>
                <a:gd name="T66" fmla="*/ 23 w 56"/>
                <a:gd name="T67" fmla="*/ 40 h 96"/>
                <a:gd name="T68" fmla="*/ 23 w 56"/>
                <a:gd name="T69" fmla="*/ 41 h 96"/>
                <a:gd name="T70" fmla="*/ 24 w 56"/>
                <a:gd name="T71" fmla="*/ 43 h 96"/>
                <a:gd name="T72" fmla="*/ 26 w 56"/>
                <a:gd name="T73" fmla="*/ 44 h 96"/>
                <a:gd name="T74" fmla="*/ 29 w 56"/>
                <a:gd name="T75" fmla="*/ 46 h 96"/>
                <a:gd name="T76" fmla="*/ 32 w 56"/>
                <a:gd name="T77" fmla="*/ 48 h 96"/>
                <a:gd name="T78" fmla="*/ 34 w 56"/>
                <a:gd name="T79" fmla="*/ 51 h 96"/>
                <a:gd name="T80" fmla="*/ 35 w 56"/>
                <a:gd name="T81" fmla="*/ 55 h 96"/>
                <a:gd name="T82" fmla="*/ 35 w 56"/>
                <a:gd name="T83" fmla="*/ 5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6" h="96">
                  <a:moveTo>
                    <a:pt x="0" y="13"/>
                  </a:moveTo>
                  <a:cubicBezTo>
                    <a:pt x="0" y="83"/>
                    <a:pt x="0" y="83"/>
                    <a:pt x="0" y="83"/>
                  </a:cubicBezTo>
                  <a:cubicBezTo>
                    <a:pt x="56" y="96"/>
                    <a:pt x="56" y="96"/>
                    <a:pt x="56" y="96"/>
                  </a:cubicBezTo>
                  <a:cubicBezTo>
                    <a:pt x="56" y="0"/>
                    <a:pt x="56" y="0"/>
                    <a:pt x="56" y="0"/>
                  </a:cubicBezTo>
                  <a:lnTo>
                    <a:pt x="0" y="13"/>
                  </a:lnTo>
                  <a:close/>
                  <a:moveTo>
                    <a:pt x="35" y="59"/>
                  </a:moveTo>
                  <a:cubicBezTo>
                    <a:pt x="35" y="60"/>
                    <a:pt x="35" y="61"/>
                    <a:pt x="35" y="61"/>
                  </a:cubicBezTo>
                  <a:cubicBezTo>
                    <a:pt x="35" y="62"/>
                    <a:pt x="34" y="63"/>
                    <a:pt x="34" y="63"/>
                  </a:cubicBezTo>
                  <a:cubicBezTo>
                    <a:pt x="34" y="64"/>
                    <a:pt x="33" y="64"/>
                    <a:pt x="33" y="65"/>
                  </a:cubicBezTo>
                  <a:cubicBezTo>
                    <a:pt x="32" y="65"/>
                    <a:pt x="32" y="66"/>
                    <a:pt x="31" y="66"/>
                  </a:cubicBezTo>
                  <a:cubicBezTo>
                    <a:pt x="30" y="67"/>
                    <a:pt x="30" y="67"/>
                    <a:pt x="29" y="67"/>
                  </a:cubicBezTo>
                  <a:cubicBezTo>
                    <a:pt x="28" y="68"/>
                    <a:pt x="27" y="68"/>
                    <a:pt x="26" y="68"/>
                  </a:cubicBezTo>
                  <a:cubicBezTo>
                    <a:pt x="25" y="68"/>
                    <a:pt x="24" y="68"/>
                    <a:pt x="23" y="68"/>
                  </a:cubicBezTo>
                  <a:cubicBezTo>
                    <a:pt x="23" y="68"/>
                    <a:pt x="22" y="68"/>
                    <a:pt x="21" y="68"/>
                  </a:cubicBezTo>
                  <a:cubicBezTo>
                    <a:pt x="21" y="68"/>
                    <a:pt x="20" y="67"/>
                    <a:pt x="19" y="67"/>
                  </a:cubicBezTo>
                  <a:cubicBezTo>
                    <a:pt x="19" y="67"/>
                    <a:pt x="18" y="67"/>
                    <a:pt x="17" y="66"/>
                  </a:cubicBezTo>
                  <a:cubicBezTo>
                    <a:pt x="17" y="66"/>
                    <a:pt x="16" y="66"/>
                    <a:pt x="16" y="65"/>
                  </a:cubicBezTo>
                  <a:cubicBezTo>
                    <a:pt x="16" y="57"/>
                    <a:pt x="16" y="57"/>
                    <a:pt x="16" y="57"/>
                  </a:cubicBezTo>
                  <a:cubicBezTo>
                    <a:pt x="16" y="58"/>
                    <a:pt x="17" y="58"/>
                    <a:pt x="18" y="59"/>
                  </a:cubicBezTo>
                  <a:cubicBezTo>
                    <a:pt x="18" y="59"/>
                    <a:pt x="19" y="60"/>
                    <a:pt x="20" y="60"/>
                  </a:cubicBezTo>
                  <a:cubicBezTo>
                    <a:pt x="20" y="60"/>
                    <a:pt x="21" y="61"/>
                    <a:pt x="21" y="61"/>
                  </a:cubicBezTo>
                  <a:cubicBezTo>
                    <a:pt x="22" y="61"/>
                    <a:pt x="23" y="61"/>
                    <a:pt x="24" y="61"/>
                  </a:cubicBezTo>
                  <a:cubicBezTo>
                    <a:pt x="24" y="61"/>
                    <a:pt x="24" y="61"/>
                    <a:pt x="25" y="61"/>
                  </a:cubicBezTo>
                  <a:cubicBezTo>
                    <a:pt x="25" y="61"/>
                    <a:pt x="25" y="61"/>
                    <a:pt x="26" y="61"/>
                  </a:cubicBezTo>
                  <a:cubicBezTo>
                    <a:pt x="26" y="61"/>
                    <a:pt x="26" y="61"/>
                    <a:pt x="26" y="61"/>
                  </a:cubicBezTo>
                  <a:cubicBezTo>
                    <a:pt x="27" y="60"/>
                    <a:pt x="27" y="60"/>
                    <a:pt x="27" y="60"/>
                  </a:cubicBezTo>
                  <a:cubicBezTo>
                    <a:pt x="27" y="60"/>
                    <a:pt x="27" y="60"/>
                    <a:pt x="27" y="59"/>
                  </a:cubicBezTo>
                  <a:cubicBezTo>
                    <a:pt x="28" y="59"/>
                    <a:pt x="28" y="59"/>
                    <a:pt x="28" y="59"/>
                  </a:cubicBezTo>
                  <a:cubicBezTo>
                    <a:pt x="28" y="59"/>
                    <a:pt x="28" y="58"/>
                    <a:pt x="28" y="58"/>
                  </a:cubicBezTo>
                  <a:cubicBezTo>
                    <a:pt x="28" y="58"/>
                    <a:pt x="28" y="58"/>
                    <a:pt x="28" y="57"/>
                  </a:cubicBezTo>
                  <a:cubicBezTo>
                    <a:pt x="28" y="57"/>
                    <a:pt x="28" y="57"/>
                    <a:pt x="28" y="56"/>
                  </a:cubicBezTo>
                  <a:cubicBezTo>
                    <a:pt x="28" y="56"/>
                    <a:pt x="28" y="56"/>
                    <a:pt x="28" y="56"/>
                  </a:cubicBezTo>
                  <a:cubicBezTo>
                    <a:pt x="28" y="55"/>
                    <a:pt x="27" y="55"/>
                    <a:pt x="27" y="55"/>
                  </a:cubicBezTo>
                  <a:cubicBezTo>
                    <a:pt x="27" y="54"/>
                    <a:pt x="27" y="54"/>
                    <a:pt x="27" y="54"/>
                  </a:cubicBezTo>
                  <a:cubicBezTo>
                    <a:pt x="26" y="54"/>
                    <a:pt x="26" y="53"/>
                    <a:pt x="26" y="53"/>
                  </a:cubicBezTo>
                  <a:cubicBezTo>
                    <a:pt x="26" y="53"/>
                    <a:pt x="25" y="53"/>
                    <a:pt x="25" y="53"/>
                  </a:cubicBezTo>
                  <a:cubicBezTo>
                    <a:pt x="25" y="52"/>
                    <a:pt x="24" y="52"/>
                    <a:pt x="24" y="52"/>
                  </a:cubicBezTo>
                  <a:cubicBezTo>
                    <a:pt x="23" y="51"/>
                    <a:pt x="23" y="51"/>
                    <a:pt x="22" y="51"/>
                  </a:cubicBezTo>
                  <a:cubicBezTo>
                    <a:pt x="21" y="50"/>
                    <a:pt x="20" y="49"/>
                    <a:pt x="19" y="49"/>
                  </a:cubicBezTo>
                  <a:cubicBezTo>
                    <a:pt x="19" y="48"/>
                    <a:pt x="18" y="47"/>
                    <a:pt x="17" y="46"/>
                  </a:cubicBezTo>
                  <a:cubicBezTo>
                    <a:pt x="17" y="45"/>
                    <a:pt x="16" y="44"/>
                    <a:pt x="16" y="43"/>
                  </a:cubicBezTo>
                  <a:cubicBezTo>
                    <a:pt x="16" y="42"/>
                    <a:pt x="16" y="41"/>
                    <a:pt x="16" y="40"/>
                  </a:cubicBezTo>
                  <a:cubicBezTo>
                    <a:pt x="16" y="39"/>
                    <a:pt x="16" y="38"/>
                    <a:pt x="16" y="37"/>
                  </a:cubicBezTo>
                  <a:cubicBezTo>
                    <a:pt x="16" y="37"/>
                    <a:pt x="16" y="36"/>
                    <a:pt x="16" y="35"/>
                  </a:cubicBezTo>
                  <a:cubicBezTo>
                    <a:pt x="17" y="35"/>
                    <a:pt x="17" y="34"/>
                    <a:pt x="17" y="33"/>
                  </a:cubicBezTo>
                  <a:cubicBezTo>
                    <a:pt x="18" y="33"/>
                    <a:pt x="18" y="32"/>
                    <a:pt x="19" y="32"/>
                  </a:cubicBezTo>
                  <a:cubicBezTo>
                    <a:pt x="19" y="31"/>
                    <a:pt x="20" y="31"/>
                    <a:pt x="20" y="30"/>
                  </a:cubicBezTo>
                  <a:cubicBezTo>
                    <a:pt x="21" y="30"/>
                    <a:pt x="21" y="29"/>
                    <a:pt x="22" y="29"/>
                  </a:cubicBezTo>
                  <a:cubicBezTo>
                    <a:pt x="23" y="29"/>
                    <a:pt x="23" y="29"/>
                    <a:pt x="24" y="28"/>
                  </a:cubicBezTo>
                  <a:cubicBezTo>
                    <a:pt x="25" y="28"/>
                    <a:pt x="26" y="28"/>
                    <a:pt x="27" y="28"/>
                  </a:cubicBezTo>
                  <a:cubicBezTo>
                    <a:pt x="27" y="28"/>
                    <a:pt x="28" y="28"/>
                    <a:pt x="29" y="28"/>
                  </a:cubicBezTo>
                  <a:cubicBezTo>
                    <a:pt x="29" y="28"/>
                    <a:pt x="30" y="28"/>
                    <a:pt x="31" y="28"/>
                  </a:cubicBezTo>
                  <a:cubicBezTo>
                    <a:pt x="31" y="28"/>
                    <a:pt x="32" y="28"/>
                    <a:pt x="32" y="28"/>
                  </a:cubicBezTo>
                  <a:cubicBezTo>
                    <a:pt x="33" y="29"/>
                    <a:pt x="34" y="29"/>
                    <a:pt x="34" y="29"/>
                  </a:cubicBezTo>
                  <a:cubicBezTo>
                    <a:pt x="34" y="37"/>
                    <a:pt x="34" y="37"/>
                    <a:pt x="34" y="37"/>
                  </a:cubicBezTo>
                  <a:cubicBezTo>
                    <a:pt x="34" y="37"/>
                    <a:pt x="33" y="36"/>
                    <a:pt x="32" y="36"/>
                  </a:cubicBezTo>
                  <a:cubicBezTo>
                    <a:pt x="32" y="36"/>
                    <a:pt x="31" y="36"/>
                    <a:pt x="31" y="35"/>
                  </a:cubicBezTo>
                  <a:cubicBezTo>
                    <a:pt x="30" y="35"/>
                    <a:pt x="29" y="35"/>
                    <a:pt x="29" y="35"/>
                  </a:cubicBezTo>
                  <a:cubicBezTo>
                    <a:pt x="28" y="35"/>
                    <a:pt x="28" y="35"/>
                    <a:pt x="27" y="35"/>
                  </a:cubicBezTo>
                  <a:cubicBezTo>
                    <a:pt x="27" y="35"/>
                    <a:pt x="26" y="35"/>
                    <a:pt x="26" y="35"/>
                  </a:cubicBezTo>
                  <a:cubicBezTo>
                    <a:pt x="26" y="35"/>
                    <a:pt x="25" y="35"/>
                    <a:pt x="25" y="35"/>
                  </a:cubicBezTo>
                  <a:cubicBezTo>
                    <a:pt x="25" y="35"/>
                    <a:pt x="25" y="35"/>
                    <a:pt x="24" y="36"/>
                  </a:cubicBezTo>
                  <a:cubicBezTo>
                    <a:pt x="24" y="36"/>
                    <a:pt x="24" y="36"/>
                    <a:pt x="24" y="36"/>
                  </a:cubicBezTo>
                  <a:cubicBezTo>
                    <a:pt x="24" y="36"/>
                    <a:pt x="23" y="36"/>
                    <a:pt x="23" y="37"/>
                  </a:cubicBezTo>
                  <a:cubicBezTo>
                    <a:pt x="23" y="37"/>
                    <a:pt x="23" y="37"/>
                    <a:pt x="23" y="37"/>
                  </a:cubicBezTo>
                  <a:cubicBezTo>
                    <a:pt x="23" y="38"/>
                    <a:pt x="23" y="38"/>
                    <a:pt x="23" y="38"/>
                  </a:cubicBezTo>
                  <a:cubicBezTo>
                    <a:pt x="23" y="38"/>
                    <a:pt x="23" y="39"/>
                    <a:pt x="23" y="39"/>
                  </a:cubicBezTo>
                  <a:cubicBezTo>
                    <a:pt x="23" y="39"/>
                    <a:pt x="23" y="40"/>
                    <a:pt x="23" y="40"/>
                  </a:cubicBezTo>
                  <a:cubicBezTo>
                    <a:pt x="23" y="40"/>
                    <a:pt x="23" y="40"/>
                    <a:pt x="23" y="41"/>
                  </a:cubicBezTo>
                  <a:cubicBezTo>
                    <a:pt x="23" y="41"/>
                    <a:pt x="23" y="41"/>
                    <a:pt x="23" y="41"/>
                  </a:cubicBezTo>
                  <a:cubicBezTo>
                    <a:pt x="23" y="42"/>
                    <a:pt x="23" y="42"/>
                    <a:pt x="24" y="42"/>
                  </a:cubicBezTo>
                  <a:cubicBezTo>
                    <a:pt x="24" y="42"/>
                    <a:pt x="24" y="42"/>
                    <a:pt x="24" y="43"/>
                  </a:cubicBezTo>
                  <a:cubicBezTo>
                    <a:pt x="24" y="43"/>
                    <a:pt x="25" y="43"/>
                    <a:pt x="25" y="43"/>
                  </a:cubicBezTo>
                  <a:cubicBezTo>
                    <a:pt x="25" y="43"/>
                    <a:pt x="26" y="44"/>
                    <a:pt x="26" y="44"/>
                  </a:cubicBezTo>
                  <a:cubicBezTo>
                    <a:pt x="26" y="44"/>
                    <a:pt x="27" y="44"/>
                    <a:pt x="27" y="45"/>
                  </a:cubicBezTo>
                  <a:cubicBezTo>
                    <a:pt x="28" y="45"/>
                    <a:pt x="29" y="46"/>
                    <a:pt x="29" y="46"/>
                  </a:cubicBezTo>
                  <a:cubicBezTo>
                    <a:pt x="30" y="46"/>
                    <a:pt x="30" y="47"/>
                    <a:pt x="31" y="47"/>
                  </a:cubicBezTo>
                  <a:cubicBezTo>
                    <a:pt x="31" y="48"/>
                    <a:pt x="32" y="48"/>
                    <a:pt x="32" y="48"/>
                  </a:cubicBezTo>
                  <a:cubicBezTo>
                    <a:pt x="33" y="49"/>
                    <a:pt x="33" y="49"/>
                    <a:pt x="33" y="50"/>
                  </a:cubicBezTo>
                  <a:cubicBezTo>
                    <a:pt x="34" y="50"/>
                    <a:pt x="34" y="51"/>
                    <a:pt x="34" y="51"/>
                  </a:cubicBezTo>
                  <a:cubicBezTo>
                    <a:pt x="35" y="52"/>
                    <a:pt x="35" y="52"/>
                    <a:pt x="35" y="53"/>
                  </a:cubicBezTo>
                  <a:cubicBezTo>
                    <a:pt x="35" y="53"/>
                    <a:pt x="35" y="54"/>
                    <a:pt x="35" y="55"/>
                  </a:cubicBezTo>
                  <a:cubicBezTo>
                    <a:pt x="35" y="55"/>
                    <a:pt x="36" y="56"/>
                    <a:pt x="36" y="57"/>
                  </a:cubicBezTo>
                  <a:cubicBezTo>
                    <a:pt x="36" y="58"/>
                    <a:pt x="35" y="58"/>
                    <a:pt x="35" y="5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64" name="Freeform 146"/>
            <p:cNvSpPr>
              <a:spLocks/>
            </p:cNvSpPr>
            <p:nvPr/>
          </p:nvSpPr>
          <p:spPr bwMode="auto">
            <a:xfrm>
              <a:off x="858" y="2615"/>
              <a:ext cx="45" cy="85"/>
            </a:xfrm>
            <a:custGeom>
              <a:avLst/>
              <a:gdLst>
                <a:gd name="T0" fmla="*/ 19 w 19"/>
                <a:gd name="T1" fmla="*/ 26 h 35"/>
                <a:gd name="T2" fmla="*/ 16 w 19"/>
                <a:gd name="T3" fmla="*/ 32 h 35"/>
                <a:gd name="T4" fmla="*/ 8 w 19"/>
                <a:gd name="T5" fmla="*/ 35 h 35"/>
                <a:gd name="T6" fmla="*/ 3 w 19"/>
                <a:gd name="T7" fmla="*/ 34 h 35"/>
                <a:gd name="T8" fmla="*/ 0 w 19"/>
                <a:gd name="T9" fmla="*/ 33 h 35"/>
                <a:gd name="T10" fmla="*/ 0 w 19"/>
                <a:gd name="T11" fmla="*/ 28 h 35"/>
                <a:gd name="T12" fmla="*/ 4 w 19"/>
                <a:gd name="T13" fmla="*/ 30 h 35"/>
                <a:gd name="T14" fmla="*/ 8 w 19"/>
                <a:gd name="T15" fmla="*/ 31 h 35"/>
                <a:gd name="T16" fmla="*/ 15 w 19"/>
                <a:gd name="T17" fmla="*/ 26 h 35"/>
                <a:gd name="T18" fmla="*/ 13 w 19"/>
                <a:gd name="T19" fmla="*/ 22 h 35"/>
                <a:gd name="T20" fmla="*/ 8 w 19"/>
                <a:gd name="T21" fmla="*/ 18 h 35"/>
                <a:gd name="T22" fmla="*/ 2 w 19"/>
                <a:gd name="T23" fmla="*/ 14 h 35"/>
                <a:gd name="T24" fmla="*/ 0 w 19"/>
                <a:gd name="T25" fmla="*/ 9 h 35"/>
                <a:gd name="T26" fmla="*/ 3 w 19"/>
                <a:gd name="T27" fmla="*/ 2 h 35"/>
                <a:gd name="T28" fmla="*/ 11 w 19"/>
                <a:gd name="T29" fmla="*/ 0 h 35"/>
                <a:gd name="T30" fmla="*/ 17 w 19"/>
                <a:gd name="T31" fmla="*/ 1 h 35"/>
                <a:gd name="T32" fmla="*/ 17 w 19"/>
                <a:gd name="T33" fmla="*/ 5 h 35"/>
                <a:gd name="T34" fmla="*/ 11 w 19"/>
                <a:gd name="T35" fmla="*/ 3 h 35"/>
                <a:gd name="T36" fmla="*/ 6 w 19"/>
                <a:gd name="T37" fmla="*/ 5 h 35"/>
                <a:gd name="T38" fmla="*/ 4 w 19"/>
                <a:gd name="T39" fmla="*/ 8 h 35"/>
                <a:gd name="T40" fmla="*/ 5 w 19"/>
                <a:gd name="T41" fmla="*/ 11 h 35"/>
                <a:gd name="T42" fmla="*/ 7 w 19"/>
                <a:gd name="T43" fmla="*/ 13 h 35"/>
                <a:gd name="T44" fmla="*/ 11 w 19"/>
                <a:gd name="T45" fmla="*/ 16 h 35"/>
                <a:gd name="T46" fmla="*/ 17 w 19"/>
                <a:gd name="T47" fmla="*/ 20 h 35"/>
                <a:gd name="T48" fmla="*/ 19 w 19"/>
                <a:gd name="T49" fmla="*/ 2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35">
                  <a:moveTo>
                    <a:pt x="19" y="26"/>
                  </a:moveTo>
                  <a:cubicBezTo>
                    <a:pt x="19" y="28"/>
                    <a:pt x="18" y="31"/>
                    <a:pt x="16" y="32"/>
                  </a:cubicBezTo>
                  <a:cubicBezTo>
                    <a:pt x="14" y="34"/>
                    <a:pt x="11" y="35"/>
                    <a:pt x="8" y="35"/>
                  </a:cubicBezTo>
                  <a:cubicBezTo>
                    <a:pt x="6" y="35"/>
                    <a:pt x="5" y="34"/>
                    <a:pt x="3" y="34"/>
                  </a:cubicBezTo>
                  <a:cubicBezTo>
                    <a:pt x="2" y="34"/>
                    <a:pt x="1" y="33"/>
                    <a:pt x="0" y="33"/>
                  </a:cubicBezTo>
                  <a:cubicBezTo>
                    <a:pt x="0" y="28"/>
                    <a:pt x="0" y="28"/>
                    <a:pt x="0" y="28"/>
                  </a:cubicBezTo>
                  <a:cubicBezTo>
                    <a:pt x="1" y="29"/>
                    <a:pt x="2" y="30"/>
                    <a:pt x="4" y="30"/>
                  </a:cubicBezTo>
                  <a:cubicBezTo>
                    <a:pt x="5" y="31"/>
                    <a:pt x="7" y="31"/>
                    <a:pt x="8" y="31"/>
                  </a:cubicBezTo>
                  <a:cubicBezTo>
                    <a:pt x="12" y="31"/>
                    <a:pt x="15" y="29"/>
                    <a:pt x="15" y="26"/>
                  </a:cubicBezTo>
                  <a:cubicBezTo>
                    <a:pt x="15" y="25"/>
                    <a:pt x="14" y="23"/>
                    <a:pt x="13" y="22"/>
                  </a:cubicBezTo>
                  <a:cubicBezTo>
                    <a:pt x="12" y="21"/>
                    <a:pt x="10" y="20"/>
                    <a:pt x="8" y="18"/>
                  </a:cubicBezTo>
                  <a:cubicBezTo>
                    <a:pt x="5" y="17"/>
                    <a:pt x="3" y="15"/>
                    <a:pt x="2" y="14"/>
                  </a:cubicBezTo>
                  <a:cubicBezTo>
                    <a:pt x="1" y="13"/>
                    <a:pt x="0" y="11"/>
                    <a:pt x="0" y="9"/>
                  </a:cubicBezTo>
                  <a:cubicBezTo>
                    <a:pt x="0" y="6"/>
                    <a:pt x="1" y="4"/>
                    <a:pt x="3" y="2"/>
                  </a:cubicBezTo>
                  <a:cubicBezTo>
                    <a:pt x="5" y="1"/>
                    <a:pt x="8" y="0"/>
                    <a:pt x="11" y="0"/>
                  </a:cubicBezTo>
                  <a:cubicBezTo>
                    <a:pt x="14" y="0"/>
                    <a:pt x="16" y="0"/>
                    <a:pt x="17" y="1"/>
                  </a:cubicBezTo>
                  <a:cubicBezTo>
                    <a:pt x="17" y="5"/>
                    <a:pt x="17" y="5"/>
                    <a:pt x="17" y="5"/>
                  </a:cubicBezTo>
                  <a:cubicBezTo>
                    <a:pt x="16" y="4"/>
                    <a:pt x="13" y="3"/>
                    <a:pt x="11" y="3"/>
                  </a:cubicBezTo>
                  <a:cubicBezTo>
                    <a:pt x="9" y="3"/>
                    <a:pt x="7" y="4"/>
                    <a:pt x="6" y="5"/>
                  </a:cubicBezTo>
                  <a:cubicBezTo>
                    <a:pt x="5" y="6"/>
                    <a:pt x="4" y="7"/>
                    <a:pt x="4" y="8"/>
                  </a:cubicBezTo>
                  <a:cubicBezTo>
                    <a:pt x="4" y="10"/>
                    <a:pt x="4" y="10"/>
                    <a:pt x="5" y="11"/>
                  </a:cubicBezTo>
                  <a:cubicBezTo>
                    <a:pt x="5" y="12"/>
                    <a:pt x="6" y="12"/>
                    <a:pt x="7" y="13"/>
                  </a:cubicBezTo>
                  <a:cubicBezTo>
                    <a:pt x="7" y="14"/>
                    <a:pt x="9" y="15"/>
                    <a:pt x="11" y="16"/>
                  </a:cubicBezTo>
                  <a:cubicBezTo>
                    <a:pt x="14" y="17"/>
                    <a:pt x="16" y="19"/>
                    <a:pt x="17" y="20"/>
                  </a:cubicBezTo>
                  <a:cubicBezTo>
                    <a:pt x="18" y="22"/>
                    <a:pt x="19" y="24"/>
                    <a:pt x="19"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65" name="Freeform 147"/>
            <p:cNvSpPr>
              <a:spLocks/>
            </p:cNvSpPr>
            <p:nvPr/>
          </p:nvSpPr>
          <p:spPr bwMode="auto">
            <a:xfrm>
              <a:off x="915" y="2612"/>
              <a:ext cx="47" cy="85"/>
            </a:xfrm>
            <a:custGeom>
              <a:avLst/>
              <a:gdLst>
                <a:gd name="T0" fmla="*/ 20 w 20"/>
                <a:gd name="T1" fmla="*/ 35 h 35"/>
                <a:gd name="T2" fmla="*/ 16 w 20"/>
                <a:gd name="T3" fmla="*/ 35 h 35"/>
                <a:gd name="T4" fmla="*/ 16 w 20"/>
                <a:gd name="T5" fmla="*/ 21 h 35"/>
                <a:gd name="T6" fmla="*/ 10 w 20"/>
                <a:gd name="T7" fmla="*/ 14 h 35"/>
                <a:gd name="T8" fmla="*/ 5 w 20"/>
                <a:gd name="T9" fmla="*/ 16 h 35"/>
                <a:gd name="T10" fmla="*/ 4 w 20"/>
                <a:gd name="T11" fmla="*/ 21 h 35"/>
                <a:gd name="T12" fmla="*/ 4 w 20"/>
                <a:gd name="T13" fmla="*/ 35 h 35"/>
                <a:gd name="T14" fmla="*/ 0 w 20"/>
                <a:gd name="T15" fmla="*/ 35 h 35"/>
                <a:gd name="T16" fmla="*/ 0 w 20"/>
                <a:gd name="T17" fmla="*/ 0 h 35"/>
                <a:gd name="T18" fmla="*/ 4 w 20"/>
                <a:gd name="T19" fmla="*/ 0 h 35"/>
                <a:gd name="T20" fmla="*/ 4 w 20"/>
                <a:gd name="T21" fmla="*/ 15 h 35"/>
                <a:gd name="T22" fmla="*/ 4 w 20"/>
                <a:gd name="T23" fmla="*/ 15 h 35"/>
                <a:gd name="T24" fmla="*/ 11 w 20"/>
                <a:gd name="T25" fmla="*/ 10 h 35"/>
                <a:gd name="T26" fmla="*/ 20 w 20"/>
                <a:gd name="T27" fmla="*/ 20 h 35"/>
                <a:gd name="T28" fmla="*/ 20 w 20"/>
                <a:gd name="T2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35">
                  <a:moveTo>
                    <a:pt x="20" y="35"/>
                  </a:moveTo>
                  <a:cubicBezTo>
                    <a:pt x="16" y="35"/>
                    <a:pt x="16" y="35"/>
                    <a:pt x="16" y="35"/>
                  </a:cubicBezTo>
                  <a:cubicBezTo>
                    <a:pt x="16" y="21"/>
                    <a:pt x="16" y="21"/>
                    <a:pt x="16" y="21"/>
                  </a:cubicBezTo>
                  <a:cubicBezTo>
                    <a:pt x="16" y="16"/>
                    <a:pt x="14" y="14"/>
                    <a:pt x="10" y="14"/>
                  </a:cubicBezTo>
                  <a:cubicBezTo>
                    <a:pt x="8" y="14"/>
                    <a:pt x="7" y="14"/>
                    <a:pt x="5" y="16"/>
                  </a:cubicBezTo>
                  <a:cubicBezTo>
                    <a:pt x="4" y="17"/>
                    <a:pt x="4" y="19"/>
                    <a:pt x="4" y="21"/>
                  </a:cubicBezTo>
                  <a:cubicBezTo>
                    <a:pt x="4" y="35"/>
                    <a:pt x="4" y="35"/>
                    <a:pt x="4" y="35"/>
                  </a:cubicBezTo>
                  <a:cubicBezTo>
                    <a:pt x="0" y="35"/>
                    <a:pt x="0" y="35"/>
                    <a:pt x="0" y="35"/>
                  </a:cubicBezTo>
                  <a:cubicBezTo>
                    <a:pt x="0" y="0"/>
                    <a:pt x="0" y="0"/>
                    <a:pt x="0" y="0"/>
                  </a:cubicBezTo>
                  <a:cubicBezTo>
                    <a:pt x="4" y="0"/>
                    <a:pt x="4" y="0"/>
                    <a:pt x="4" y="0"/>
                  </a:cubicBezTo>
                  <a:cubicBezTo>
                    <a:pt x="4" y="15"/>
                    <a:pt x="4" y="15"/>
                    <a:pt x="4" y="15"/>
                  </a:cubicBezTo>
                  <a:cubicBezTo>
                    <a:pt x="4" y="15"/>
                    <a:pt x="4" y="15"/>
                    <a:pt x="4" y="15"/>
                  </a:cubicBezTo>
                  <a:cubicBezTo>
                    <a:pt x="5" y="12"/>
                    <a:pt x="8" y="10"/>
                    <a:pt x="11" y="10"/>
                  </a:cubicBezTo>
                  <a:cubicBezTo>
                    <a:pt x="17" y="10"/>
                    <a:pt x="20" y="14"/>
                    <a:pt x="20" y="20"/>
                  </a:cubicBezTo>
                  <a:lnTo>
                    <a:pt x="20"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66" name="Freeform 148"/>
            <p:cNvSpPr>
              <a:spLocks noEditPoints="1"/>
            </p:cNvSpPr>
            <p:nvPr/>
          </p:nvSpPr>
          <p:spPr bwMode="auto">
            <a:xfrm>
              <a:off x="972" y="2637"/>
              <a:ext cx="45" cy="63"/>
            </a:xfrm>
            <a:custGeom>
              <a:avLst/>
              <a:gdLst>
                <a:gd name="T0" fmla="*/ 19 w 19"/>
                <a:gd name="T1" fmla="*/ 25 h 26"/>
                <a:gd name="T2" fmla="*/ 15 w 19"/>
                <a:gd name="T3" fmla="*/ 25 h 26"/>
                <a:gd name="T4" fmla="*/ 15 w 19"/>
                <a:gd name="T5" fmla="*/ 21 h 26"/>
                <a:gd name="T6" fmla="*/ 15 w 19"/>
                <a:gd name="T7" fmla="*/ 21 h 26"/>
                <a:gd name="T8" fmla="*/ 7 w 19"/>
                <a:gd name="T9" fmla="*/ 26 h 26"/>
                <a:gd name="T10" fmla="*/ 2 w 19"/>
                <a:gd name="T11" fmla="*/ 24 h 26"/>
                <a:gd name="T12" fmla="*/ 0 w 19"/>
                <a:gd name="T13" fmla="*/ 19 h 26"/>
                <a:gd name="T14" fmla="*/ 8 w 19"/>
                <a:gd name="T15" fmla="*/ 11 h 26"/>
                <a:gd name="T16" fmla="*/ 15 w 19"/>
                <a:gd name="T17" fmla="*/ 10 h 26"/>
                <a:gd name="T18" fmla="*/ 10 w 19"/>
                <a:gd name="T19" fmla="*/ 4 h 26"/>
                <a:gd name="T20" fmla="*/ 2 w 19"/>
                <a:gd name="T21" fmla="*/ 7 h 26"/>
                <a:gd name="T22" fmla="*/ 2 w 19"/>
                <a:gd name="T23" fmla="*/ 3 h 26"/>
                <a:gd name="T24" fmla="*/ 6 w 19"/>
                <a:gd name="T25" fmla="*/ 1 h 26"/>
                <a:gd name="T26" fmla="*/ 10 w 19"/>
                <a:gd name="T27" fmla="*/ 0 h 26"/>
                <a:gd name="T28" fmla="*/ 19 w 19"/>
                <a:gd name="T29" fmla="*/ 9 h 26"/>
                <a:gd name="T30" fmla="*/ 19 w 19"/>
                <a:gd name="T31" fmla="*/ 25 h 26"/>
                <a:gd name="T32" fmla="*/ 15 w 19"/>
                <a:gd name="T33" fmla="*/ 13 h 26"/>
                <a:gd name="T34" fmla="*/ 9 w 19"/>
                <a:gd name="T35" fmla="*/ 14 h 26"/>
                <a:gd name="T36" fmla="*/ 5 w 19"/>
                <a:gd name="T37" fmla="*/ 15 h 26"/>
                <a:gd name="T38" fmla="*/ 4 w 19"/>
                <a:gd name="T39" fmla="*/ 18 h 26"/>
                <a:gd name="T40" fmla="*/ 5 w 19"/>
                <a:gd name="T41" fmla="*/ 21 h 26"/>
                <a:gd name="T42" fmla="*/ 8 w 19"/>
                <a:gd name="T43" fmla="*/ 22 h 26"/>
                <a:gd name="T44" fmla="*/ 13 w 19"/>
                <a:gd name="T45" fmla="*/ 20 h 26"/>
                <a:gd name="T46" fmla="*/ 15 w 19"/>
                <a:gd name="T47" fmla="*/ 15 h 26"/>
                <a:gd name="T48" fmla="*/ 15 w 19"/>
                <a:gd name="T49" fmla="*/ 1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26">
                  <a:moveTo>
                    <a:pt x="19" y="25"/>
                  </a:moveTo>
                  <a:cubicBezTo>
                    <a:pt x="15" y="25"/>
                    <a:pt x="15" y="25"/>
                    <a:pt x="15" y="25"/>
                  </a:cubicBezTo>
                  <a:cubicBezTo>
                    <a:pt x="15" y="21"/>
                    <a:pt x="15" y="21"/>
                    <a:pt x="15" y="21"/>
                  </a:cubicBezTo>
                  <a:cubicBezTo>
                    <a:pt x="15" y="21"/>
                    <a:pt x="15" y="21"/>
                    <a:pt x="15" y="21"/>
                  </a:cubicBezTo>
                  <a:cubicBezTo>
                    <a:pt x="13" y="24"/>
                    <a:pt x="10" y="26"/>
                    <a:pt x="7" y="26"/>
                  </a:cubicBezTo>
                  <a:cubicBezTo>
                    <a:pt x="5" y="26"/>
                    <a:pt x="3" y="25"/>
                    <a:pt x="2" y="24"/>
                  </a:cubicBezTo>
                  <a:cubicBezTo>
                    <a:pt x="0" y="22"/>
                    <a:pt x="0" y="21"/>
                    <a:pt x="0" y="19"/>
                  </a:cubicBezTo>
                  <a:cubicBezTo>
                    <a:pt x="0" y="14"/>
                    <a:pt x="2" y="12"/>
                    <a:pt x="8" y="11"/>
                  </a:cubicBezTo>
                  <a:cubicBezTo>
                    <a:pt x="15" y="10"/>
                    <a:pt x="15" y="10"/>
                    <a:pt x="15" y="10"/>
                  </a:cubicBezTo>
                  <a:cubicBezTo>
                    <a:pt x="15" y="6"/>
                    <a:pt x="13" y="4"/>
                    <a:pt x="10" y="4"/>
                  </a:cubicBezTo>
                  <a:cubicBezTo>
                    <a:pt x="7" y="4"/>
                    <a:pt x="4" y="5"/>
                    <a:pt x="2" y="7"/>
                  </a:cubicBezTo>
                  <a:cubicBezTo>
                    <a:pt x="2" y="3"/>
                    <a:pt x="2" y="3"/>
                    <a:pt x="2" y="3"/>
                  </a:cubicBezTo>
                  <a:cubicBezTo>
                    <a:pt x="3" y="2"/>
                    <a:pt x="4" y="2"/>
                    <a:pt x="6" y="1"/>
                  </a:cubicBezTo>
                  <a:cubicBezTo>
                    <a:pt x="7" y="1"/>
                    <a:pt x="9" y="0"/>
                    <a:pt x="10" y="0"/>
                  </a:cubicBezTo>
                  <a:cubicBezTo>
                    <a:pt x="16" y="0"/>
                    <a:pt x="19" y="3"/>
                    <a:pt x="19" y="9"/>
                  </a:cubicBezTo>
                  <a:lnTo>
                    <a:pt x="19" y="25"/>
                  </a:lnTo>
                  <a:close/>
                  <a:moveTo>
                    <a:pt x="15" y="13"/>
                  </a:moveTo>
                  <a:cubicBezTo>
                    <a:pt x="9" y="14"/>
                    <a:pt x="9" y="14"/>
                    <a:pt x="9" y="14"/>
                  </a:cubicBezTo>
                  <a:cubicBezTo>
                    <a:pt x="7" y="14"/>
                    <a:pt x="6" y="14"/>
                    <a:pt x="5" y="15"/>
                  </a:cubicBezTo>
                  <a:cubicBezTo>
                    <a:pt x="4" y="16"/>
                    <a:pt x="4" y="17"/>
                    <a:pt x="4" y="18"/>
                  </a:cubicBezTo>
                  <a:cubicBezTo>
                    <a:pt x="4" y="20"/>
                    <a:pt x="4" y="21"/>
                    <a:pt x="5" y="21"/>
                  </a:cubicBezTo>
                  <a:cubicBezTo>
                    <a:pt x="6" y="22"/>
                    <a:pt x="7" y="22"/>
                    <a:pt x="8" y="22"/>
                  </a:cubicBezTo>
                  <a:cubicBezTo>
                    <a:pt x="10" y="22"/>
                    <a:pt x="12" y="22"/>
                    <a:pt x="13" y="20"/>
                  </a:cubicBezTo>
                  <a:cubicBezTo>
                    <a:pt x="14" y="19"/>
                    <a:pt x="15" y="17"/>
                    <a:pt x="15" y="15"/>
                  </a:cubicBezTo>
                  <a:lnTo>
                    <a:pt x="15"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67" name="Freeform 149"/>
            <p:cNvSpPr>
              <a:spLocks/>
            </p:cNvSpPr>
            <p:nvPr/>
          </p:nvSpPr>
          <p:spPr bwMode="auto">
            <a:xfrm>
              <a:off x="1029" y="2639"/>
              <a:ext cx="31" cy="58"/>
            </a:xfrm>
            <a:custGeom>
              <a:avLst/>
              <a:gdLst>
                <a:gd name="T0" fmla="*/ 13 w 13"/>
                <a:gd name="T1" fmla="*/ 4 h 24"/>
                <a:gd name="T2" fmla="*/ 10 w 13"/>
                <a:gd name="T3" fmla="*/ 3 h 24"/>
                <a:gd name="T4" fmla="*/ 6 w 13"/>
                <a:gd name="T5" fmla="*/ 6 h 24"/>
                <a:gd name="T6" fmla="*/ 4 w 13"/>
                <a:gd name="T7" fmla="*/ 12 h 24"/>
                <a:gd name="T8" fmla="*/ 4 w 13"/>
                <a:gd name="T9" fmla="*/ 24 h 24"/>
                <a:gd name="T10" fmla="*/ 0 w 13"/>
                <a:gd name="T11" fmla="*/ 24 h 24"/>
                <a:gd name="T12" fmla="*/ 0 w 13"/>
                <a:gd name="T13" fmla="*/ 0 h 24"/>
                <a:gd name="T14" fmla="*/ 4 w 13"/>
                <a:gd name="T15" fmla="*/ 0 h 24"/>
                <a:gd name="T16" fmla="*/ 4 w 13"/>
                <a:gd name="T17" fmla="*/ 5 h 24"/>
                <a:gd name="T18" fmla="*/ 4 w 13"/>
                <a:gd name="T19" fmla="*/ 5 h 24"/>
                <a:gd name="T20" fmla="*/ 7 w 13"/>
                <a:gd name="T21" fmla="*/ 1 h 24"/>
                <a:gd name="T22" fmla="*/ 11 w 13"/>
                <a:gd name="T23" fmla="*/ 0 h 24"/>
                <a:gd name="T24" fmla="*/ 13 w 13"/>
                <a:gd name="T25" fmla="*/ 0 h 24"/>
                <a:gd name="T26" fmla="*/ 13 w 13"/>
                <a:gd name="T27"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24">
                  <a:moveTo>
                    <a:pt x="13" y="4"/>
                  </a:moveTo>
                  <a:cubicBezTo>
                    <a:pt x="12" y="3"/>
                    <a:pt x="11" y="3"/>
                    <a:pt x="10" y="3"/>
                  </a:cubicBezTo>
                  <a:cubicBezTo>
                    <a:pt x="8" y="3"/>
                    <a:pt x="7" y="4"/>
                    <a:pt x="6" y="6"/>
                  </a:cubicBezTo>
                  <a:cubicBezTo>
                    <a:pt x="5" y="7"/>
                    <a:pt x="4" y="9"/>
                    <a:pt x="4" y="12"/>
                  </a:cubicBezTo>
                  <a:cubicBezTo>
                    <a:pt x="4" y="24"/>
                    <a:pt x="4" y="24"/>
                    <a:pt x="4" y="24"/>
                  </a:cubicBezTo>
                  <a:cubicBezTo>
                    <a:pt x="0" y="24"/>
                    <a:pt x="0" y="24"/>
                    <a:pt x="0" y="24"/>
                  </a:cubicBezTo>
                  <a:cubicBezTo>
                    <a:pt x="0" y="0"/>
                    <a:pt x="0" y="0"/>
                    <a:pt x="0" y="0"/>
                  </a:cubicBezTo>
                  <a:cubicBezTo>
                    <a:pt x="4" y="0"/>
                    <a:pt x="4" y="0"/>
                    <a:pt x="4" y="0"/>
                  </a:cubicBezTo>
                  <a:cubicBezTo>
                    <a:pt x="4" y="5"/>
                    <a:pt x="4" y="5"/>
                    <a:pt x="4" y="5"/>
                  </a:cubicBezTo>
                  <a:cubicBezTo>
                    <a:pt x="4" y="5"/>
                    <a:pt x="4" y="5"/>
                    <a:pt x="4" y="5"/>
                  </a:cubicBezTo>
                  <a:cubicBezTo>
                    <a:pt x="5" y="3"/>
                    <a:pt x="6" y="2"/>
                    <a:pt x="7" y="1"/>
                  </a:cubicBezTo>
                  <a:cubicBezTo>
                    <a:pt x="8" y="0"/>
                    <a:pt x="9" y="0"/>
                    <a:pt x="11" y="0"/>
                  </a:cubicBezTo>
                  <a:cubicBezTo>
                    <a:pt x="12" y="0"/>
                    <a:pt x="12" y="0"/>
                    <a:pt x="13" y="0"/>
                  </a:cubicBezTo>
                  <a:lnTo>
                    <a:pt x="13"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68" name="Freeform 150"/>
            <p:cNvSpPr>
              <a:spLocks noEditPoints="1"/>
            </p:cNvSpPr>
            <p:nvPr/>
          </p:nvSpPr>
          <p:spPr bwMode="auto">
            <a:xfrm>
              <a:off x="1060" y="2637"/>
              <a:ext cx="50" cy="63"/>
            </a:xfrm>
            <a:custGeom>
              <a:avLst/>
              <a:gdLst>
                <a:gd name="T0" fmla="*/ 21 w 21"/>
                <a:gd name="T1" fmla="*/ 14 h 26"/>
                <a:gd name="T2" fmla="*/ 4 w 21"/>
                <a:gd name="T3" fmla="*/ 14 h 26"/>
                <a:gd name="T4" fmla="*/ 7 w 21"/>
                <a:gd name="T5" fmla="*/ 20 h 26"/>
                <a:gd name="T6" fmla="*/ 12 w 21"/>
                <a:gd name="T7" fmla="*/ 22 h 26"/>
                <a:gd name="T8" fmla="*/ 20 w 21"/>
                <a:gd name="T9" fmla="*/ 20 h 26"/>
                <a:gd name="T10" fmla="*/ 20 w 21"/>
                <a:gd name="T11" fmla="*/ 23 h 26"/>
                <a:gd name="T12" fmla="*/ 11 w 21"/>
                <a:gd name="T13" fmla="*/ 26 h 26"/>
                <a:gd name="T14" fmla="*/ 3 w 21"/>
                <a:gd name="T15" fmla="*/ 22 h 26"/>
                <a:gd name="T16" fmla="*/ 0 w 21"/>
                <a:gd name="T17" fmla="*/ 13 h 26"/>
                <a:gd name="T18" fmla="*/ 2 w 21"/>
                <a:gd name="T19" fmla="*/ 7 h 26"/>
                <a:gd name="T20" fmla="*/ 6 w 21"/>
                <a:gd name="T21" fmla="*/ 2 h 26"/>
                <a:gd name="T22" fmla="*/ 11 w 21"/>
                <a:gd name="T23" fmla="*/ 0 h 26"/>
                <a:gd name="T24" fmla="*/ 19 w 21"/>
                <a:gd name="T25" fmla="*/ 3 h 26"/>
                <a:gd name="T26" fmla="*/ 21 w 21"/>
                <a:gd name="T27" fmla="*/ 12 h 26"/>
                <a:gd name="T28" fmla="*/ 21 w 21"/>
                <a:gd name="T29" fmla="*/ 14 h 26"/>
                <a:gd name="T30" fmla="*/ 17 w 21"/>
                <a:gd name="T31" fmla="*/ 11 h 26"/>
                <a:gd name="T32" fmla="*/ 16 w 21"/>
                <a:gd name="T33" fmla="*/ 6 h 26"/>
                <a:gd name="T34" fmla="*/ 11 w 21"/>
                <a:gd name="T35" fmla="*/ 4 h 26"/>
                <a:gd name="T36" fmla="*/ 7 w 21"/>
                <a:gd name="T37" fmla="*/ 6 h 26"/>
                <a:gd name="T38" fmla="*/ 4 w 21"/>
                <a:gd name="T39" fmla="*/ 11 h 26"/>
                <a:gd name="T40" fmla="*/ 17 w 21"/>
                <a:gd name="T41" fmla="*/ 1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 h="26">
                  <a:moveTo>
                    <a:pt x="21" y="14"/>
                  </a:moveTo>
                  <a:cubicBezTo>
                    <a:pt x="4" y="14"/>
                    <a:pt x="4" y="14"/>
                    <a:pt x="4" y="14"/>
                  </a:cubicBezTo>
                  <a:cubicBezTo>
                    <a:pt x="4" y="17"/>
                    <a:pt x="5" y="19"/>
                    <a:pt x="7" y="20"/>
                  </a:cubicBezTo>
                  <a:cubicBezTo>
                    <a:pt x="8" y="22"/>
                    <a:pt x="10" y="22"/>
                    <a:pt x="12" y="22"/>
                  </a:cubicBezTo>
                  <a:cubicBezTo>
                    <a:pt x="15" y="22"/>
                    <a:pt x="17" y="21"/>
                    <a:pt x="20" y="20"/>
                  </a:cubicBezTo>
                  <a:cubicBezTo>
                    <a:pt x="20" y="23"/>
                    <a:pt x="20" y="23"/>
                    <a:pt x="20" y="23"/>
                  </a:cubicBezTo>
                  <a:cubicBezTo>
                    <a:pt x="18" y="25"/>
                    <a:pt x="15" y="26"/>
                    <a:pt x="11" y="26"/>
                  </a:cubicBezTo>
                  <a:cubicBezTo>
                    <a:pt x="8" y="26"/>
                    <a:pt x="5" y="25"/>
                    <a:pt x="3" y="22"/>
                  </a:cubicBezTo>
                  <a:cubicBezTo>
                    <a:pt x="1" y="20"/>
                    <a:pt x="0" y="17"/>
                    <a:pt x="0" y="13"/>
                  </a:cubicBezTo>
                  <a:cubicBezTo>
                    <a:pt x="0" y="11"/>
                    <a:pt x="1" y="9"/>
                    <a:pt x="2" y="7"/>
                  </a:cubicBezTo>
                  <a:cubicBezTo>
                    <a:pt x="3" y="5"/>
                    <a:pt x="4" y="3"/>
                    <a:pt x="6" y="2"/>
                  </a:cubicBezTo>
                  <a:cubicBezTo>
                    <a:pt x="8" y="1"/>
                    <a:pt x="9" y="0"/>
                    <a:pt x="11" y="0"/>
                  </a:cubicBezTo>
                  <a:cubicBezTo>
                    <a:pt x="15" y="0"/>
                    <a:pt x="17" y="1"/>
                    <a:pt x="19" y="3"/>
                  </a:cubicBezTo>
                  <a:cubicBezTo>
                    <a:pt x="21" y="6"/>
                    <a:pt x="21" y="8"/>
                    <a:pt x="21" y="12"/>
                  </a:cubicBezTo>
                  <a:lnTo>
                    <a:pt x="21" y="14"/>
                  </a:lnTo>
                  <a:close/>
                  <a:moveTo>
                    <a:pt x="17" y="11"/>
                  </a:moveTo>
                  <a:cubicBezTo>
                    <a:pt x="17" y="9"/>
                    <a:pt x="17" y="7"/>
                    <a:pt x="16" y="6"/>
                  </a:cubicBezTo>
                  <a:cubicBezTo>
                    <a:pt x="15" y="4"/>
                    <a:pt x="13" y="4"/>
                    <a:pt x="11" y="4"/>
                  </a:cubicBezTo>
                  <a:cubicBezTo>
                    <a:pt x="10" y="4"/>
                    <a:pt x="8" y="4"/>
                    <a:pt x="7" y="6"/>
                  </a:cubicBezTo>
                  <a:cubicBezTo>
                    <a:pt x="6" y="7"/>
                    <a:pt x="5" y="9"/>
                    <a:pt x="4" y="11"/>
                  </a:cubicBezTo>
                  <a:lnTo>
                    <a:pt x="17"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69" name="Freeform 151"/>
            <p:cNvSpPr>
              <a:spLocks noEditPoints="1"/>
            </p:cNvSpPr>
            <p:nvPr/>
          </p:nvSpPr>
          <p:spPr bwMode="auto">
            <a:xfrm>
              <a:off x="1122" y="2615"/>
              <a:ext cx="50" cy="82"/>
            </a:xfrm>
            <a:custGeom>
              <a:avLst/>
              <a:gdLst>
                <a:gd name="T0" fmla="*/ 21 w 21"/>
                <a:gd name="T1" fmla="*/ 10 h 34"/>
                <a:gd name="T2" fmla="*/ 17 w 21"/>
                <a:gd name="T3" fmla="*/ 18 h 34"/>
                <a:gd name="T4" fmla="*/ 9 w 21"/>
                <a:gd name="T5" fmla="*/ 21 h 34"/>
                <a:gd name="T6" fmla="*/ 4 w 21"/>
                <a:gd name="T7" fmla="*/ 21 h 34"/>
                <a:gd name="T8" fmla="*/ 4 w 21"/>
                <a:gd name="T9" fmla="*/ 34 h 34"/>
                <a:gd name="T10" fmla="*/ 0 w 21"/>
                <a:gd name="T11" fmla="*/ 34 h 34"/>
                <a:gd name="T12" fmla="*/ 0 w 21"/>
                <a:gd name="T13" fmla="*/ 0 h 34"/>
                <a:gd name="T14" fmla="*/ 9 w 21"/>
                <a:gd name="T15" fmla="*/ 0 h 34"/>
                <a:gd name="T16" fmla="*/ 18 w 21"/>
                <a:gd name="T17" fmla="*/ 3 h 34"/>
                <a:gd name="T18" fmla="*/ 21 w 21"/>
                <a:gd name="T19" fmla="*/ 10 h 34"/>
                <a:gd name="T20" fmla="*/ 17 w 21"/>
                <a:gd name="T21" fmla="*/ 11 h 34"/>
                <a:gd name="T22" fmla="*/ 9 w 21"/>
                <a:gd name="T23" fmla="*/ 4 h 34"/>
                <a:gd name="T24" fmla="*/ 4 w 21"/>
                <a:gd name="T25" fmla="*/ 4 h 34"/>
                <a:gd name="T26" fmla="*/ 4 w 21"/>
                <a:gd name="T27" fmla="*/ 18 h 34"/>
                <a:gd name="T28" fmla="*/ 8 w 21"/>
                <a:gd name="T29" fmla="*/ 18 h 34"/>
                <a:gd name="T30" fmla="*/ 14 w 21"/>
                <a:gd name="T31" fmla="*/ 16 h 34"/>
                <a:gd name="T32" fmla="*/ 17 w 21"/>
                <a:gd name="T33" fmla="*/ 1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 h="34">
                  <a:moveTo>
                    <a:pt x="21" y="10"/>
                  </a:moveTo>
                  <a:cubicBezTo>
                    <a:pt x="21" y="14"/>
                    <a:pt x="20" y="16"/>
                    <a:pt x="17" y="18"/>
                  </a:cubicBezTo>
                  <a:cubicBezTo>
                    <a:pt x="15" y="20"/>
                    <a:pt x="12" y="21"/>
                    <a:pt x="9" y="21"/>
                  </a:cubicBezTo>
                  <a:cubicBezTo>
                    <a:pt x="4" y="21"/>
                    <a:pt x="4" y="21"/>
                    <a:pt x="4" y="21"/>
                  </a:cubicBezTo>
                  <a:cubicBezTo>
                    <a:pt x="4" y="34"/>
                    <a:pt x="4" y="34"/>
                    <a:pt x="4" y="34"/>
                  </a:cubicBezTo>
                  <a:cubicBezTo>
                    <a:pt x="0" y="34"/>
                    <a:pt x="0" y="34"/>
                    <a:pt x="0" y="34"/>
                  </a:cubicBezTo>
                  <a:cubicBezTo>
                    <a:pt x="0" y="0"/>
                    <a:pt x="0" y="0"/>
                    <a:pt x="0" y="0"/>
                  </a:cubicBezTo>
                  <a:cubicBezTo>
                    <a:pt x="9" y="0"/>
                    <a:pt x="9" y="0"/>
                    <a:pt x="9" y="0"/>
                  </a:cubicBezTo>
                  <a:cubicBezTo>
                    <a:pt x="13" y="0"/>
                    <a:pt x="16" y="1"/>
                    <a:pt x="18" y="3"/>
                  </a:cubicBezTo>
                  <a:cubicBezTo>
                    <a:pt x="20" y="5"/>
                    <a:pt x="21" y="7"/>
                    <a:pt x="21" y="10"/>
                  </a:cubicBezTo>
                  <a:close/>
                  <a:moveTo>
                    <a:pt x="17" y="11"/>
                  </a:moveTo>
                  <a:cubicBezTo>
                    <a:pt x="17" y="6"/>
                    <a:pt x="14" y="4"/>
                    <a:pt x="9" y="4"/>
                  </a:cubicBezTo>
                  <a:cubicBezTo>
                    <a:pt x="4" y="4"/>
                    <a:pt x="4" y="4"/>
                    <a:pt x="4" y="4"/>
                  </a:cubicBezTo>
                  <a:cubicBezTo>
                    <a:pt x="4" y="18"/>
                    <a:pt x="4" y="18"/>
                    <a:pt x="4" y="18"/>
                  </a:cubicBezTo>
                  <a:cubicBezTo>
                    <a:pt x="8" y="18"/>
                    <a:pt x="8" y="18"/>
                    <a:pt x="8" y="18"/>
                  </a:cubicBezTo>
                  <a:cubicBezTo>
                    <a:pt x="11" y="18"/>
                    <a:pt x="13" y="17"/>
                    <a:pt x="14" y="16"/>
                  </a:cubicBezTo>
                  <a:cubicBezTo>
                    <a:pt x="16" y="15"/>
                    <a:pt x="17" y="13"/>
                    <a:pt x="17"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70" name="Freeform 152"/>
            <p:cNvSpPr>
              <a:spLocks noEditPoints="1"/>
            </p:cNvSpPr>
            <p:nvPr/>
          </p:nvSpPr>
          <p:spPr bwMode="auto">
            <a:xfrm>
              <a:off x="1175" y="2637"/>
              <a:ext cx="54" cy="63"/>
            </a:xfrm>
            <a:custGeom>
              <a:avLst/>
              <a:gdLst>
                <a:gd name="T0" fmla="*/ 23 w 23"/>
                <a:gd name="T1" fmla="*/ 13 h 26"/>
                <a:gd name="T2" fmla="*/ 20 w 23"/>
                <a:gd name="T3" fmla="*/ 22 h 26"/>
                <a:gd name="T4" fmla="*/ 11 w 23"/>
                <a:gd name="T5" fmla="*/ 26 h 26"/>
                <a:gd name="T6" fmla="*/ 3 w 23"/>
                <a:gd name="T7" fmla="*/ 22 h 26"/>
                <a:gd name="T8" fmla="*/ 0 w 23"/>
                <a:gd name="T9" fmla="*/ 13 h 26"/>
                <a:gd name="T10" fmla="*/ 3 w 23"/>
                <a:gd name="T11" fmla="*/ 4 h 26"/>
                <a:gd name="T12" fmla="*/ 12 w 23"/>
                <a:gd name="T13" fmla="*/ 0 h 26"/>
                <a:gd name="T14" fmla="*/ 20 w 23"/>
                <a:gd name="T15" fmla="*/ 4 h 26"/>
                <a:gd name="T16" fmla="*/ 23 w 23"/>
                <a:gd name="T17" fmla="*/ 13 h 26"/>
                <a:gd name="T18" fmla="*/ 19 w 23"/>
                <a:gd name="T19" fmla="*/ 13 h 26"/>
                <a:gd name="T20" fmla="*/ 17 w 23"/>
                <a:gd name="T21" fmla="*/ 6 h 26"/>
                <a:gd name="T22" fmla="*/ 12 w 23"/>
                <a:gd name="T23" fmla="*/ 4 h 26"/>
                <a:gd name="T24" fmla="*/ 6 w 23"/>
                <a:gd name="T25" fmla="*/ 6 h 26"/>
                <a:gd name="T26" fmla="*/ 4 w 23"/>
                <a:gd name="T27" fmla="*/ 13 h 26"/>
                <a:gd name="T28" fmla="*/ 6 w 23"/>
                <a:gd name="T29" fmla="*/ 20 h 26"/>
                <a:gd name="T30" fmla="*/ 12 w 23"/>
                <a:gd name="T31" fmla="*/ 22 h 26"/>
                <a:gd name="T32" fmla="*/ 17 w 23"/>
                <a:gd name="T33" fmla="*/ 20 h 26"/>
                <a:gd name="T34" fmla="*/ 19 w 23"/>
                <a:gd name="T35" fmla="*/ 1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 h="26">
                  <a:moveTo>
                    <a:pt x="23" y="13"/>
                  </a:moveTo>
                  <a:cubicBezTo>
                    <a:pt x="23" y="17"/>
                    <a:pt x="22" y="20"/>
                    <a:pt x="20" y="22"/>
                  </a:cubicBezTo>
                  <a:cubicBezTo>
                    <a:pt x="18" y="24"/>
                    <a:pt x="15" y="26"/>
                    <a:pt x="11" y="26"/>
                  </a:cubicBezTo>
                  <a:cubicBezTo>
                    <a:pt x="8" y="26"/>
                    <a:pt x="5" y="24"/>
                    <a:pt x="3" y="22"/>
                  </a:cubicBezTo>
                  <a:cubicBezTo>
                    <a:pt x="1" y="20"/>
                    <a:pt x="0" y="17"/>
                    <a:pt x="0" y="13"/>
                  </a:cubicBezTo>
                  <a:cubicBezTo>
                    <a:pt x="0" y="9"/>
                    <a:pt x="1" y="6"/>
                    <a:pt x="3" y="4"/>
                  </a:cubicBezTo>
                  <a:cubicBezTo>
                    <a:pt x="5" y="2"/>
                    <a:pt x="8" y="0"/>
                    <a:pt x="12" y="0"/>
                  </a:cubicBezTo>
                  <a:cubicBezTo>
                    <a:pt x="15" y="0"/>
                    <a:pt x="18" y="2"/>
                    <a:pt x="20" y="4"/>
                  </a:cubicBezTo>
                  <a:cubicBezTo>
                    <a:pt x="22" y="6"/>
                    <a:pt x="23" y="9"/>
                    <a:pt x="23" y="13"/>
                  </a:cubicBezTo>
                  <a:close/>
                  <a:moveTo>
                    <a:pt x="19" y="13"/>
                  </a:moveTo>
                  <a:cubicBezTo>
                    <a:pt x="19" y="10"/>
                    <a:pt x="19" y="8"/>
                    <a:pt x="17" y="6"/>
                  </a:cubicBezTo>
                  <a:cubicBezTo>
                    <a:pt x="16" y="5"/>
                    <a:pt x="14" y="4"/>
                    <a:pt x="12" y="4"/>
                  </a:cubicBezTo>
                  <a:cubicBezTo>
                    <a:pt x="9" y="4"/>
                    <a:pt x="7" y="5"/>
                    <a:pt x="6" y="6"/>
                  </a:cubicBezTo>
                  <a:cubicBezTo>
                    <a:pt x="4" y="8"/>
                    <a:pt x="4" y="10"/>
                    <a:pt x="4" y="13"/>
                  </a:cubicBezTo>
                  <a:cubicBezTo>
                    <a:pt x="4" y="16"/>
                    <a:pt x="4" y="18"/>
                    <a:pt x="6" y="20"/>
                  </a:cubicBezTo>
                  <a:cubicBezTo>
                    <a:pt x="7" y="22"/>
                    <a:pt x="9" y="22"/>
                    <a:pt x="12" y="22"/>
                  </a:cubicBezTo>
                  <a:cubicBezTo>
                    <a:pt x="14" y="22"/>
                    <a:pt x="16" y="22"/>
                    <a:pt x="17" y="20"/>
                  </a:cubicBezTo>
                  <a:cubicBezTo>
                    <a:pt x="19" y="18"/>
                    <a:pt x="19" y="16"/>
                    <a:pt x="19"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71" name="Freeform 153"/>
            <p:cNvSpPr>
              <a:spLocks noEditPoints="1"/>
            </p:cNvSpPr>
            <p:nvPr/>
          </p:nvSpPr>
          <p:spPr bwMode="auto">
            <a:xfrm>
              <a:off x="1239" y="2612"/>
              <a:ext cx="12" cy="85"/>
            </a:xfrm>
            <a:custGeom>
              <a:avLst/>
              <a:gdLst>
                <a:gd name="T0" fmla="*/ 5 w 5"/>
                <a:gd name="T1" fmla="*/ 2 h 35"/>
                <a:gd name="T2" fmla="*/ 5 w 5"/>
                <a:gd name="T3" fmla="*/ 4 h 35"/>
                <a:gd name="T4" fmla="*/ 3 w 5"/>
                <a:gd name="T5" fmla="*/ 5 h 35"/>
                <a:gd name="T6" fmla="*/ 1 w 5"/>
                <a:gd name="T7" fmla="*/ 4 h 35"/>
                <a:gd name="T8" fmla="*/ 0 w 5"/>
                <a:gd name="T9" fmla="*/ 2 h 35"/>
                <a:gd name="T10" fmla="*/ 1 w 5"/>
                <a:gd name="T11" fmla="*/ 1 h 35"/>
                <a:gd name="T12" fmla="*/ 3 w 5"/>
                <a:gd name="T13" fmla="*/ 0 h 35"/>
                <a:gd name="T14" fmla="*/ 5 w 5"/>
                <a:gd name="T15" fmla="*/ 1 h 35"/>
                <a:gd name="T16" fmla="*/ 5 w 5"/>
                <a:gd name="T17" fmla="*/ 2 h 35"/>
                <a:gd name="T18" fmla="*/ 5 w 5"/>
                <a:gd name="T19" fmla="*/ 35 h 35"/>
                <a:gd name="T20" fmla="*/ 1 w 5"/>
                <a:gd name="T21" fmla="*/ 35 h 35"/>
                <a:gd name="T22" fmla="*/ 1 w 5"/>
                <a:gd name="T23" fmla="*/ 11 h 35"/>
                <a:gd name="T24" fmla="*/ 5 w 5"/>
                <a:gd name="T25" fmla="*/ 11 h 35"/>
                <a:gd name="T26" fmla="*/ 5 w 5"/>
                <a:gd name="T27"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35">
                  <a:moveTo>
                    <a:pt x="5" y="2"/>
                  </a:moveTo>
                  <a:cubicBezTo>
                    <a:pt x="5" y="3"/>
                    <a:pt x="5" y="4"/>
                    <a:pt x="5" y="4"/>
                  </a:cubicBezTo>
                  <a:cubicBezTo>
                    <a:pt x="4" y="5"/>
                    <a:pt x="4" y="5"/>
                    <a:pt x="3" y="5"/>
                  </a:cubicBezTo>
                  <a:cubicBezTo>
                    <a:pt x="2" y="5"/>
                    <a:pt x="2" y="5"/>
                    <a:pt x="1" y="4"/>
                  </a:cubicBezTo>
                  <a:cubicBezTo>
                    <a:pt x="1" y="4"/>
                    <a:pt x="0" y="3"/>
                    <a:pt x="0" y="2"/>
                  </a:cubicBezTo>
                  <a:cubicBezTo>
                    <a:pt x="0" y="2"/>
                    <a:pt x="1" y="1"/>
                    <a:pt x="1" y="1"/>
                  </a:cubicBezTo>
                  <a:cubicBezTo>
                    <a:pt x="2" y="0"/>
                    <a:pt x="2" y="0"/>
                    <a:pt x="3" y="0"/>
                  </a:cubicBezTo>
                  <a:cubicBezTo>
                    <a:pt x="4" y="0"/>
                    <a:pt x="4" y="0"/>
                    <a:pt x="5" y="1"/>
                  </a:cubicBezTo>
                  <a:cubicBezTo>
                    <a:pt x="5" y="1"/>
                    <a:pt x="5" y="2"/>
                    <a:pt x="5" y="2"/>
                  </a:cubicBezTo>
                  <a:close/>
                  <a:moveTo>
                    <a:pt x="5" y="35"/>
                  </a:moveTo>
                  <a:cubicBezTo>
                    <a:pt x="1" y="35"/>
                    <a:pt x="1" y="35"/>
                    <a:pt x="1" y="35"/>
                  </a:cubicBezTo>
                  <a:cubicBezTo>
                    <a:pt x="1" y="11"/>
                    <a:pt x="1" y="11"/>
                    <a:pt x="1" y="11"/>
                  </a:cubicBezTo>
                  <a:cubicBezTo>
                    <a:pt x="5" y="11"/>
                    <a:pt x="5" y="11"/>
                    <a:pt x="5" y="11"/>
                  </a:cubicBezTo>
                  <a:lnTo>
                    <a:pt x="5"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72" name="Freeform 154"/>
            <p:cNvSpPr>
              <a:spLocks/>
            </p:cNvSpPr>
            <p:nvPr/>
          </p:nvSpPr>
          <p:spPr bwMode="auto">
            <a:xfrm>
              <a:off x="1265" y="2637"/>
              <a:ext cx="48" cy="60"/>
            </a:xfrm>
            <a:custGeom>
              <a:avLst/>
              <a:gdLst>
                <a:gd name="T0" fmla="*/ 20 w 20"/>
                <a:gd name="T1" fmla="*/ 25 h 25"/>
                <a:gd name="T2" fmla="*/ 16 w 20"/>
                <a:gd name="T3" fmla="*/ 25 h 25"/>
                <a:gd name="T4" fmla="*/ 16 w 20"/>
                <a:gd name="T5" fmla="*/ 11 h 25"/>
                <a:gd name="T6" fmla="*/ 11 w 20"/>
                <a:gd name="T7" fmla="*/ 4 h 25"/>
                <a:gd name="T8" fmla="*/ 6 w 20"/>
                <a:gd name="T9" fmla="*/ 6 h 25"/>
                <a:gd name="T10" fmla="*/ 4 w 20"/>
                <a:gd name="T11" fmla="*/ 11 h 25"/>
                <a:gd name="T12" fmla="*/ 4 w 20"/>
                <a:gd name="T13" fmla="*/ 25 h 25"/>
                <a:gd name="T14" fmla="*/ 0 w 20"/>
                <a:gd name="T15" fmla="*/ 25 h 25"/>
                <a:gd name="T16" fmla="*/ 0 w 20"/>
                <a:gd name="T17" fmla="*/ 1 h 25"/>
                <a:gd name="T18" fmla="*/ 4 w 20"/>
                <a:gd name="T19" fmla="*/ 1 h 25"/>
                <a:gd name="T20" fmla="*/ 4 w 20"/>
                <a:gd name="T21" fmla="*/ 5 h 25"/>
                <a:gd name="T22" fmla="*/ 4 w 20"/>
                <a:gd name="T23" fmla="*/ 5 h 25"/>
                <a:gd name="T24" fmla="*/ 12 w 20"/>
                <a:gd name="T25" fmla="*/ 0 h 25"/>
                <a:gd name="T26" fmla="*/ 18 w 20"/>
                <a:gd name="T27" fmla="*/ 3 h 25"/>
                <a:gd name="T28" fmla="*/ 20 w 20"/>
                <a:gd name="T29" fmla="*/ 10 h 25"/>
                <a:gd name="T30" fmla="*/ 20 w 20"/>
                <a:gd name="T31"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 h="25">
                  <a:moveTo>
                    <a:pt x="20" y="25"/>
                  </a:moveTo>
                  <a:cubicBezTo>
                    <a:pt x="16" y="25"/>
                    <a:pt x="16" y="25"/>
                    <a:pt x="16" y="25"/>
                  </a:cubicBezTo>
                  <a:cubicBezTo>
                    <a:pt x="16" y="11"/>
                    <a:pt x="16" y="11"/>
                    <a:pt x="16" y="11"/>
                  </a:cubicBezTo>
                  <a:cubicBezTo>
                    <a:pt x="16" y="6"/>
                    <a:pt x="15" y="4"/>
                    <a:pt x="11" y="4"/>
                  </a:cubicBezTo>
                  <a:cubicBezTo>
                    <a:pt x="9" y="4"/>
                    <a:pt x="7" y="4"/>
                    <a:pt x="6" y="6"/>
                  </a:cubicBezTo>
                  <a:cubicBezTo>
                    <a:pt x="5" y="7"/>
                    <a:pt x="4" y="9"/>
                    <a:pt x="4" y="11"/>
                  </a:cubicBezTo>
                  <a:cubicBezTo>
                    <a:pt x="4" y="25"/>
                    <a:pt x="4" y="25"/>
                    <a:pt x="4" y="25"/>
                  </a:cubicBezTo>
                  <a:cubicBezTo>
                    <a:pt x="0" y="25"/>
                    <a:pt x="0" y="25"/>
                    <a:pt x="0" y="25"/>
                  </a:cubicBezTo>
                  <a:cubicBezTo>
                    <a:pt x="0" y="1"/>
                    <a:pt x="0" y="1"/>
                    <a:pt x="0" y="1"/>
                  </a:cubicBezTo>
                  <a:cubicBezTo>
                    <a:pt x="4" y="1"/>
                    <a:pt x="4" y="1"/>
                    <a:pt x="4" y="1"/>
                  </a:cubicBezTo>
                  <a:cubicBezTo>
                    <a:pt x="4" y="5"/>
                    <a:pt x="4" y="5"/>
                    <a:pt x="4" y="5"/>
                  </a:cubicBezTo>
                  <a:cubicBezTo>
                    <a:pt x="4" y="5"/>
                    <a:pt x="4" y="5"/>
                    <a:pt x="4" y="5"/>
                  </a:cubicBezTo>
                  <a:cubicBezTo>
                    <a:pt x="6" y="2"/>
                    <a:pt x="9" y="0"/>
                    <a:pt x="12" y="0"/>
                  </a:cubicBezTo>
                  <a:cubicBezTo>
                    <a:pt x="15" y="0"/>
                    <a:pt x="17" y="1"/>
                    <a:pt x="18" y="3"/>
                  </a:cubicBezTo>
                  <a:cubicBezTo>
                    <a:pt x="20" y="5"/>
                    <a:pt x="20" y="7"/>
                    <a:pt x="20" y="10"/>
                  </a:cubicBezTo>
                  <a:lnTo>
                    <a:pt x="2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73" name="Freeform 155"/>
            <p:cNvSpPr>
              <a:spLocks/>
            </p:cNvSpPr>
            <p:nvPr/>
          </p:nvSpPr>
          <p:spPr bwMode="auto">
            <a:xfrm>
              <a:off x="1320" y="2622"/>
              <a:ext cx="33" cy="78"/>
            </a:xfrm>
            <a:custGeom>
              <a:avLst/>
              <a:gdLst>
                <a:gd name="T0" fmla="*/ 14 w 14"/>
                <a:gd name="T1" fmla="*/ 31 h 32"/>
                <a:gd name="T2" fmla="*/ 11 w 14"/>
                <a:gd name="T3" fmla="*/ 32 h 32"/>
                <a:gd name="T4" fmla="*/ 4 w 14"/>
                <a:gd name="T5" fmla="*/ 25 h 32"/>
                <a:gd name="T6" fmla="*/ 4 w 14"/>
                <a:gd name="T7" fmla="*/ 10 h 32"/>
                <a:gd name="T8" fmla="*/ 0 w 14"/>
                <a:gd name="T9" fmla="*/ 10 h 32"/>
                <a:gd name="T10" fmla="*/ 0 w 14"/>
                <a:gd name="T11" fmla="*/ 7 h 32"/>
                <a:gd name="T12" fmla="*/ 4 w 14"/>
                <a:gd name="T13" fmla="*/ 7 h 32"/>
                <a:gd name="T14" fmla="*/ 4 w 14"/>
                <a:gd name="T15" fmla="*/ 1 h 32"/>
                <a:gd name="T16" fmla="*/ 8 w 14"/>
                <a:gd name="T17" fmla="*/ 0 h 32"/>
                <a:gd name="T18" fmla="*/ 8 w 14"/>
                <a:gd name="T19" fmla="*/ 7 h 32"/>
                <a:gd name="T20" fmla="*/ 14 w 14"/>
                <a:gd name="T21" fmla="*/ 7 h 32"/>
                <a:gd name="T22" fmla="*/ 14 w 14"/>
                <a:gd name="T23" fmla="*/ 10 h 32"/>
                <a:gd name="T24" fmla="*/ 8 w 14"/>
                <a:gd name="T25" fmla="*/ 10 h 32"/>
                <a:gd name="T26" fmla="*/ 8 w 14"/>
                <a:gd name="T27" fmla="*/ 24 h 32"/>
                <a:gd name="T28" fmla="*/ 9 w 14"/>
                <a:gd name="T29" fmla="*/ 27 h 32"/>
                <a:gd name="T30" fmla="*/ 12 w 14"/>
                <a:gd name="T31" fmla="*/ 28 h 32"/>
                <a:gd name="T32" fmla="*/ 14 w 14"/>
                <a:gd name="T33" fmla="*/ 28 h 32"/>
                <a:gd name="T34" fmla="*/ 14 w 14"/>
                <a:gd name="T35" fmla="*/ 3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 h="32">
                  <a:moveTo>
                    <a:pt x="14" y="31"/>
                  </a:moveTo>
                  <a:cubicBezTo>
                    <a:pt x="13" y="31"/>
                    <a:pt x="12" y="32"/>
                    <a:pt x="11" y="32"/>
                  </a:cubicBezTo>
                  <a:cubicBezTo>
                    <a:pt x="6" y="32"/>
                    <a:pt x="4" y="29"/>
                    <a:pt x="4" y="25"/>
                  </a:cubicBezTo>
                  <a:cubicBezTo>
                    <a:pt x="4" y="10"/>
                    <a:pt x="4" y="10"/>
                    <a:pt x="4" y="10"/>
                  </a:cubicBezTo>
                  <a:cubicBezTo>
                    <a:pt x="0" y="10"/>
                    <a:pt x="0" y="10"/>
                    <a:pt x="0" y="10"/>
                  </a:cubicBezTo>
                  <a:cubicBezTo>
                    <a:pt x="0" y="7"/>
                    <a:pt x="0" y="7"/>
                    <a:pt x="0" y="7"/>
                  </a:cubicBezTo>
                  <a:cubicBezTo>
                    <a:pt x="4" y="7"/>
                    <a:pt x="4" y="7"/>
                    <a:pt x="4" y="7"/>
                  </a:cubicBezTo>
                  <a:cubicBezTo>
                    <a:pt x="4" y="1"/>
                    <a:pt x="4" y="1"/>
                    <a:pt x="4" y="1"/>
                  </a:cubicBezTo>
                  <a:cubicBezTo>
                    <a:pt x="8" y="0"/>
                    <a:pt x="8" y="0"/>
                    <a:pt x="8" y="0"/>
                  </a:cubicBezTo>
                  <a:cubicBezTo>
                    <a:pt x="8" y="7"/>
                    <a:pt x="8" y="7"/>
                    <a:pt x="8" y="7"/>
                  </a:cubicBezTo>
                  <a:cubicBezTo>
                    <a:pt x="14" y="7"/>
                    <a:pt x="14" y="7"/>
                    <a:pt x="14" y="7"/>
                  </a:cubicBezTo>
                  <a:cubicBezTo>
                    <a:pt x="14" y="10"/>
                    <a:pt x="14" y="10"/>
                    <a:pt x="14" y="10"/>
                  </a:cubicBezTo>
                  <a:cubicBezTo>
                    <a:pt x="8" y="10"/>
                    <a:pt x="8" y="10"/>
                    <a:pt x="8" y="10"/>
                  </a:cubicBezTo>
                  <a:cubicBezTo>
                    <a:pt x="8" y="24"/>
                    <a:pt x="8" y="24"/>
                    <a:pt x="8" y="24"/>
                  </a:cubicBezTo>
                  <a:cubicBezTo>
                    <a:pt x="8" y="25"/>
                    <a:pt x="9" y="27"/>
                    <a:pt x="9" y="27"/>
                  </a:cubicBezTo>
                  <a:cubicBezTo>
                    <a:pt x="10" y="28"/>
                    <a:pt x="11" y="28"/>
                    <a:pt x="12" y="28"/>
                  </a:cubicBezTo>
                  <a:cubicBezTo>
                    <a:pt x="13" y="28"/>
                    <a:pt x="14" y="28"/>
                    <a:pt x="14" y="28"/>
                  </a:cubicBezTo>
                  <a:lnTo>
                    <a:pt x="14" y="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sp>
        <p:nvSpPr>
          <p:cNvPr id="893" name="Freeform 33"/>
          <p:cNvSpPr>
            <a:spLocks noChangeAspect="1" noEditPoints="1"/>
          </p:cNvSpPr>
          <p:nvPr/>
        </p:nvSpPr>
        <p:spPr bwMode="auto">
          <a:xfrm>
            <a:off x="2313561" y="5395499"/>
            <a:ext cx="1000876" cy="414909"/>
          </a:xfrm>
          <a:custGeom>
            <a:avLst/>
            <a:gdLst>
              <a:gd name="T0" fmla="*/ 88 w 232"/>
              <a:gd name="T1" fmla="*/ 84 h 96"/>
              <a:gd name="T2" fmla="*/ 84 w 232"/>
              <a:gd name="T3" fmla="*/ 72 h 96"/>
              <a:gd name="T4" fmla="*/ 60 w 232"/>
              <a:gd name="T5" fmla="*/ 60 h 96"/>
              <a:gd name="T6" fmla="*/ 60 w 232"/>
              <a:gd name="T7" fmla="*/ 56 h 96"/>
              <a:gd name="T8" fmla="*/ 84 w 232"/>
              <a:gd name="T9" fmla="*/ 44 h 96"/>
              <a:gd name="T10" fmla="*/ 84 w 232"/>
              <a:gd name="T11" fmla="*/ 36 h 96"/>
              <a:gd name="T12" fmla="*/ 60 w 232"/>
              <a:gd name="T13" fmla="*/ 24 h 96"/>
              <a:gd name="T14" fmla="*/ 60 w 232"/>
              <a:gd name="T15" fmla="*/ 20 h 96"/>
              <a:gd name="T16" fmla="*/ 92 w 232"/>
              <a:gd name="T17" fmla="*/ 16 h 96"/>
              <a:gd name="T18" fmla="*/ 0 w 232"/>
              <a:gd name="T19" fmla="*/ 83 h 96"/>
              <a:gd name="T20" fmla="*/ 48 w 232"/>
              <a:gd name="T21" fmla="*/ 28 h 96"/>
              <a:gd name="T22" fmla="*/ 36 w 232"/>
              <a:gd name="T23" fmla="*/ 53 h 96"/>
              <a:gd name="T24" fmla="*/ 36 w 232"/>
              <a:gd name="T25" fmla="*/ 56 h 96"/>
              <a:gd name="T26" fmla="*/ 35 w 232"/>
              <a:gd name="T27" fmla="*/ 54 h 96"/>
              <a:gd name="T28" fmla="*/ 30 w 232"/>
              <a:gd name="T29" fmla="*/ 29 h 96"/>
              <a:gd name="T30" fmla="*/ 18 w 232"/>
              <a:gd name="T31" fmla="*/ 53 h 96"/>
              <a:gd name="T32" fmla="*/ 18 w 232"/>
              <a:gd name="T33" fmla="*/ 56 h 96"/>
              <a:gd name="T34" fmla="*/ 18 w 232"/>
              <a:gd name="T35" fmla="*/ 53 h 96"/>
              <a:gd name="T36" fmla="*/ 14 w 232"/>
              <a:gd name="T37" fmla="*/ 30 h 96"/>
              <a:gd name="T38" fmla="*/ 21 w 232"/>
              <a:gd name="T39" fmla="*/ 63 h 96"/>
              <a:gd name="T40" fmla="*/ 26 w 232"/>
              <a:gd name="T41" fmla="*/ 40 h 96"/>
              <a:gd name="T42" fmla="*/ 26 w 232"/>
              <a:gd name="T43" fmla="*/ 38 h 96"/>
              <a:gd name="T44" fmla="*/ 27 w 232"/>
              <a:gd name="T45" fmla="*/ 41 h 96"/>
              <a:gd name="T46" fmla="*/ 39 w 232"/>
              <a:gd name="T47" fmla="*/ 64 h 96"/>
              <a:gd name="T48" fmla="*/ 159 w 232"/>
              <a:gd name="T49" fmla="*/ 65 h 96"/>
              <a:gd name="T50" fmla="*/ 147 w 232"/>
              <a:gd name="T51" fmla="*/ 37 h 96"/>
              <a:gd name="T52" fmla="*/ 139 w 232"/>
              <a:gd name="T53" fmla="*/ 65 h 96"/>
              <a:gd name="T54" fmla="*/ 129 w 232"/>
              <a:gd name="T55" fmla="*/ 31 h 96"/>
              <a:gd name="T56" fmla="*/ 137 w 232"/>
              <a:gd name="T57" fmla="*/ 61 h 96"/>
              <a:gd name="T58" fmla="*/ 149 w 232"/>
              <a:gd name="T59" fmla="*/ 31 h 96"/>
              <a:gd name="T60" fmla="*/ 156 w 232"/>
              <a:gd name="T61" fmla="*/ 61 h 96"/>
              <a:gd name="T62" fmla="*/ 168 w 232"/>
              <a:gd name="T63" fmla="*/ 31 h 96"/>
              <a:gd name="T64" fmla="*/ 180 w 232"/>
              <a:gd name="T65" fmla="*/ 66 h 96"/>
              <a:gd name="T66" fmla="*/ 172 w 232"/>
              <a:gd name="T67" fmla="*/ 44 h 96"/>
              <a:gd name="T68" fmla="*/ 192 w 232"/>
              <a:gd name="T69" fmla="*/ 53 h 96"/>
              <a:gd name="T70" fmla="*/ 180 w 232"/>
              <a:gd name="T71" fmla="*/ 44 h 96"/>
              <a:gd name="T72" fmla="*/ 174 w 232"/>
              <a:gd name="T73" fmla="*/ 60 h 96"/>
              <a:gd name="T74" fmla="*/ 188 w 232"/>
              <a:gd name="T75" fmla="*/ 53 h 96"/>
              <a:gd name="T76" fmla="*/ 202 w 232"/>
              <a:gd name="T77" fmla="*/ 47 h 96"/>
              <a:gd name="T78" fmla="*/ 197 w 232"/>
              <a:gd name="T79" fmla="*/ 65 h 96"/>
              <a:gd name="T80" fmla="*/ 200 w 232"/>
              <a:gd name="T81" fmla="*/ 46 h 96"/>
              <a:gd name="T82" fmla="*/ 207 w 232"/>
              <a:gd name="T83" fmla="*/ 41 h 96"/>
              <a:gd name="T84" fmla="*/ 232 w 232"/>
              <a:gd name="T85" fmla="*/ 65 h 96"/>
              <a:gd name="T86" fmla="*/ 228 w 232"/>
              <a:gd name="T87" fmla="*/ 61 h 96"/>
              <a:gd name="T88" fmla="*/ 210 w 232"/>
              <a:gd name="T89" fmla="*/ 54 h 96"/>
              <a:gd name="T90" fmla="*/ 228 w 232"/>
              <a:gd name="T91" fmla="*/ 44 h 96"/>
              <a:gd name="T92" fmla="*/ 232 w 232"/>
              <a:gd name="T93" fmla="*/ 29 h 96"/>
              <a:gd name="T94" fmla="*/ 228 w 232"/>
              <a:gd name="T95" fmla="*/ 51 h 96"/>
              <a:gd name="T96" fmla="*/ 216 w 232"/>
              <a:gd name="T97" fmla="*/ 46 h 96"/>
              <a:gd name="T98" fmla="*/ 221 w 232"/>
              <a:gd name="T99" fmla="*/ 6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32" h="96">
                <a:moveTo>
                  <a:pt x="92" y="16"/>
                </a:moveTo>
                <a:cubicBezTo>
                  <a:pt x="92" y="80"/>
                  <a:pt x="92" y="80"/>
                  <a:pt x="92" y="80"/>
                </a:cubicBezTo>
                <a:cubicBezTo>
                  <a:pt x="92" y="83"/>
                  <a:pt x="90" y="84"/>
                  <a:pt x="88" y="84"/>
                </a:cubicBezTo>
                <a:cubicBezTo>
                  <a:pt x="60" y="84"/>
                  <a:pt x="60" y="84"/>
                  <a:pt x="60" y="84"/>
                </a:cubicBezTo>
                <a:cubicBezTo>
                  <a:pt x="60" y="72"/>
                  <a:pt x="60" y="72"/>
                  <a:pt x="60" y="72"/>
                </a:cubicBezTo>
                <a:cubicBezTo>
                  <a:pt x="84" y="72"/>
                  <a:pt x="84" y="72"/>
                  <a:pt x="84" y="72"/>
                </a:cubicBezTo>
                <a:cubicBezTo>
                  <a:pt x="84" y="68"/>
                  <a:pt x="84" y="68"/>
                  <a:pt x="84" y="68"/>
                </a:cubicBezTo>
                <a:cubicBezTo>
                  <a:pt x="60" y="68"/>
                  <a:pt x="60" y="68"/>
                  <a:pt x="60" y="68"/>
                </a:cubicBezTo>
                <a:cubicBezTo>
                  <a:pt x="60" y="60"/>
                  <a:pt x="60" y="60"/>
                  <a:pt x="60" y="60"/>
                </a:cubicBezTo>
                <a:cubicBezTo>
                  <a:pt x="84" y="60"/>
                  <a:pt x="84" y="60"/>
                  <a:pt x="84" y="60"/>
                </a:cubicBezTo>
                <a:cubicBezTo>
                  <a:pt x="84" y="56"/>
                  <a:pt x="84" y="56"/>
                  <a:pt x="84" y="56"/>
                </a:cubicBezTo>
                <a:cubicBezTo>
                  <a:pt x="60" y="56"/>
                  <a:pt x="60" y="56"/>
                  <a:pt x="60" y="56"/>
                </a:cubicBezTo>
                <a:cubicBezTo>
                  <a:pt x="60" y="48"/>
                  <a:pt x="60" y="48"/>
                  <a:pt x="60" y="48"/>
                </a:cubicBezTo>
                <a:cubicBezTo>
                  <a:pt x="84" y="48"/>
                  <a:pt x="84" y="48"/>
                  <a:pt x="84" y="48"/>
                </a:cubicBezTo>
                <a:cubicBezTo>
                  <a:pt x="84" y="44"/>
                  <a:pt x="84" y="44"/>
                  <a:pt x="84" y="44"/>
                </a:cubicBezTo>
                <a:cubicBezTo>
                  <a:pt x="60" y="44"/>
                  <a:pt x="60" y="44"/>
                  <a:pt x="60" y="44"/>
                </a:cubicBezTo>
                <a:cubicBezTo>
                  <a:pt x="60" y="36"/>
                  <a:pt x="60" y="36"/>
                  <a:pt x="60" y="36"/>
                </a:cubicBezTo>
                <a:cubicBezTo>
                  <a:pt x="84" y="36"/>
                  <a:pt x="84" y="36"/>
                  <a:pt x="84" y="36"/>
                </a:cubicBezTo>
                <a:cubicBezTo>
                  <a:pt x="84" y="32"/>
                  <a:pt x="84" y="32"/>
                  <a:pt x="84" y="32"/>
                </a:cubicBezTo>
                <a:cubicBezTo>
                  <a:pt x="60" y="32"/>
                  <a:pt x="60" y="32"/>
                  <a:pt x="60" y="32"/>
                </a:cubicBezTo>
                <a:cubicBezTo>
                  <a:pt x="60" y="24"/>
                  <a:pt x="60" y="24"/>
                  <a:pt x="60" y="24"/>
                </a:cubicBezTo>
                <a:cubicBezTo>
                  <a:pt x="84" y="24"/>
                  <a:pt x="84" y="24"/>
                  <a:pt x="84" y="24"/>
                </a:cubicBezTo>
                <a:cubicBezTo>
                  <a:pt x="84" y="20"/>
                  <a:pt x="84" y="20"/>
                  <a:pt x="84" y="20"/>
                </a:cubicBezTo>
                <a:cubicBezTo>
                  <a:pt x="60" y="20"/>
                  <a:pt x="60" y="20"/>
                  <a:pt x="60" y="20"/>
                </a:cubicBezTo>
                <a:cubicBezTo>
                  <a:pt x="60" y="12"/>
                  <a:pt x="60" y="12"/>
                  <a:pt x="60" y="12"/>
                </a:cubicBezTo>
                <a:cubicBezTo>
                  <a:pt x="88" y="12"/>
                  <a:pt x="88" y="12"/>
                  <a:pt x="88" y="12"/>
                </a:cubicBezTo>
                <a:cubicBezTo>
                  <a:pt x="90" y="12"/>
                  <a:pt x="92" y="14"/>
                  <a:pt x="92" y="16"/>
                </a:cubicBezTo>
                <a:close/>
                <a:moveTo>
                  <a:pt x="56" y="0"/>
                </a:moveTo>
                <a:cubicBezTo>
                  <a:pt x="56" y="96"/>
                  <a:pt x="56" y="96"/>
                  <a:pt x="56" y="96"/>
                </a:cubicBezTo>
                <a:cubicBezTo>
                  <a:pt x="0" y="83"/>
                  <a:pt x="0" y="83"/>
                  <a:pt x="0" y="83"/>
                </a:cubicBezTo>
                <a:cubicBezTo>
                  <a:pt x="0" y="13"/>
                  <a:pt x="0" y="13"/>
                  <a:pt x="0" y="13"/>
                </a:cubicBezTo>
                <a:lnTo>
                  <a:pt x="56" y="0"/>
                </a:lnTo>
                <a:close/>
                <a:moveTo>
                  <a:pt x="48" y="28"/>
                </a:moveTo>
                <a:cubicBezTo>
                  <a:pt x="40" y="29"/>
                  <a:pt x="40" y="29"/>
                  <a:pt x="40" y="29"/>
                </a:cubicBezTo>
                <a:cubicBezTo>
                  <a:pt x="36" y="52"/>
                  <a:pt x="36" y="52"/>
                  <a:pt x="36" y="52"/>
                </a:cubicBezTo>
                <a:cubicBezTo>
                  <a:pt x="36" y="53"/>
                  <a:pt x="36" y="53"/>
                  <a:pt x="36" y="53"/>
                </a:cubicBezTo>
                <a:cubicBezTo>
                  <a:pt x="36" y="54"/>
                  <a:pt x="36" y="54"/>
                  <a:pt x="36" y="54"/>
                </a:cubicBezTo>
                <a:cubicBezTo>
                  <a:pt x="36" y="55"/>
                  <a:pt x="36" y="55"/>
                  <a:pt x="36" y="55"/>
                </a:cubicBezTo>
                <a:cubicBezTo>
                  <a:pt x="36" y="56"/>
                  <a:pt x="36" y="56"/>
                  <a:pt x="36" y="56"/>
                </a:cubicBezTo>
                <a:cubicBezTo>
                  <a:pt x="36" y="56"/>
                  <a:pt x="36" y="56"/>
                  <a:pt x="36" y="56"/>
                </a:cubicBezTo>
                <a:cubicBezTo>
                  <a:pt x="36" y="56"/>
                  <a:pt x="35" y="55"/>
                  <a:pt x="35" y="55"/>
                </a:cubicBezTo>
                <a:cubicBezTo>
                  <a:pt x="35" y="55"/>
                  <a:pt x="35" y="54"/>
                  <a:pt x="35" y="54"/>
                </a:cubicBezTo>
                <a:cubicBezTo>
                  <a:pt x="35" y="54"/>
                  <a:pt x="35" y="53"/>
                  <a:pt x="35" y="53"/>
                </a:cubicBezTo>
                <a:cubicBezTo>
                  <a:pt x="35" y="53"/>
                  <a:pt x="35" y="53"/>
                  <a:pt x="35" y="52"/>
                </a:cubicBezTo>
                <a:cubicBezTo>
                  <a:pt x="30" y="29"/>
                  <a:pt x="30" y="29"/>
                  <a:pt x="30" y="29"/>
                </a:cubicBezTo>
                <a:cubicBezTo>
                  <a:pt x="23" y="30"/>
                  <a:pt x="23" y="30"/>
                  <a:pt x="23" y="30"/>
                </a:cubicBezTo>
                <a:cubicBezTo>
                  <a:pt x="18" y="52"/>
                  <a:pt x="18" y="52"/>
                  <a:pt x="18" y="52"/>
                </a:cubicBezTo>
                <a:cubicBezTo>
                  <a:pt x="18" y="52"/>
                  <a:pt x="18" y="52"/>
                  <a:pt x="18" y="53"/>
                </a:cubicBezTo>
                <a:cubicBezTo>
                  <a:pt x="18" y="53"/>
                  <a:pt x="18" y="53"/>
                  <a:pt x="18" y="54"/>
                </a:cubicBezTo>
                <a:cubicBezTo>
                  <a:pt x="18" y="54"/>
                  <a:pt x="18" y="54"/>
                  <a:pt x="18" y="55"/>
                </a:cubicBezTo>
                <a:cubicBezTo>
                  <a:pt x="18" y="55"/>
                  <a:pt x="18" y="55"/>
                  <a:pt x="18" y="56"/>
                </a:cubicBezTo>
                <a:cubicBezTo>
                  <a:pt x="18" y="56"/>
                  <a:pt x="18" y="56"/>
                  <a:pt x="18" y="56"/>
                </a:cubicBezTo>
                <a:cubicBezTo>
                  <a:pt x="18" y="55"/>
                  <a:pt x="18" y="55"/>
                  <a:pt x="18" y="54"/>
                </a:cubicBezTo>
                <a:cubicBezTo>
                  <a:pt x="18" y="54"/>
                  <a:pt x="18" y="54"/>
                  <a:pt x="18" y="53"/>
                </a:cubicBezTo>
                <a:cubicBezTo>
                  <a:pt x="18" y="53"/>
                  <a:pt x="18" y="53"/>
                  <a:pt x="18" y="53"/>
                </a:cubicBezTo>
                <a:cubicBezTo>
                  <a:pt x="18" y="52"/>
                  <a:pt x="18" y="52"/>
                  <a:pt x="17" y="52"/>
                </a:cubicBezTo>
                <a:cubicBezTo>
                  <a:pt x="14" y="30"/>
                  <a:pt x="14" y="30"/>
                  <a:pt x="14" y="30"/>
                </a:cubicBezTo>
                <a:cubicBezTo>
                  <a:pt x="8" y="31"/>
                  <a:pt x="8" y="31"/>
                  <a:pt x="8" y="31"/>
                </a:cubicBezTo>
                <a:cubicBezTo>
                  <a:pt x="14" y="63"/>
                  <a:pt x="14" y="63"/>
                  <a:pt x="14" y="63"/>
                </a:cubicBezTo>
                <a:cubicBezTo>
                  <a:pt x="21" y="63"/>
                  <a:pt x="21" y="63"/>
                  <a:pt x="21" y="63"/>
                </a:cubicBezTo>
                <a:cubicBezTo>
                  <a:pt x="26" y="42"/>
                  <a:pt x="26" y="42"/>
                  <a:pt x="26" y="42"/>
                </a:cubicBezTo>
                <a:cubicBezTo>
                  <a:pt x="26" y="41"/>
                  <a:pt x="26" y="41"/>
                  <a:pt x="26" y="41"/>
                </a:cubicBezTo>
                <a:cubicBezTo>
                  <a:pt x="26" y="40"/>
                  <a:pt x="26" y="40"/>
                  <a:pt x="26" y="40"/>
                </a:cubicBezTo>
                <a:cubicBezTo>
                  <a:pt x="26" y="40"/>
                  <a:pt x="26" y="39"/>
                  <a:pt x="26" y="39"/>
                </a:cubicBezTo>
                <a:cubicBezTo>
                  <a:pt x="26" y="39"/>
                  <a:pt x="26" y="38"/>
                  <a:pt x="26" y="38"/>
                </a:cubicBezTo>
                <a:cubicBezTo>
                  <a:pt x="26" y="38"/>
                  <a:pt x="26" y="38"/>
                  <a:pt x="26" y="38"/>
                </a:cubicBezTo>
                <a:cubicBezTo>
                  <a:pt x="26" y="38"/>
                  <a:pt x="26" y="38"/>
                  <a:pt x="26" y="39"/>
                </a:cubicBezTo>
                <a:cubicBezTo>
                  <a:pt x="27" y="39"/>
                  <a:pt x="27" y="39"/>
                  <a:pt x="27" y="40"/>
                </a:cubicBezTo>
                <a:cubicBezTo>
                  <a:pt x="27" y="40"/>
                  <a:pt x="27" y="40"/>
                  <a:pt x="27" y="41"/>
                </a:cubicBezTo>
                <a:cubicBezTo>
                  <a:pt x="27" y="41"/>
                  <a:pt x="27" y="41"/>
                  <a:pt x="27" y="42"/>
                </a:cubicBezTo>
                <a:cubicBezTo>
                  <a:pt x="32" y="64"/>
                  <a:pt x="32" y="64"/>
                  <a:pt x="32" y="64"/>
                </a:cubicBezTo>
                <a:cubicBezTo>
                  <a:pt x="39" y="64"/>
                  <a:pt x="39" y="64"/>
                  <a:pt x="39" y="64"/>
                </a:cubicBezTo>
                <a:lnTo>
                  <a:pt x="48" y="28"/>
                </a:lnTo>
                <a:close/>
                <a:moveTo>
                  <a:pt x="168" y="31"/>
                </a:moveTo>
                <a:cubicBezTo>
                  <a:pt x="159" y="65"/>
                  <a:pt x="159" y="65"/>
                  <a:pt x="159" y="65"/>
                </a:cubicBezTo>
                <a:cubicBezTo>
                  <a:pt x="154" y="65"/>
                  <a:pt x="154" y="65"/>
                  <a:pt x="154" y="65"/>
                </a:cubicBezTo>
                <a:cubicBezTo>
                  <a:pt x="147" y="40"/>
                  <a:pt x="147" y="40"/>
                  <a:pt x="147" y="40"/>
                </a:cubicBezTo>
                <a:cubicBezTo>
                  <a:pt x="147" y="40"/>
                  <a:pt x="147" y="38"/>
                  <a:pt x="147" y="37"/>
                </a:cubicBezTo>
                <a:cubicBezTo>
                  <a:pt x="146" y="37"/>
                  <a:pt x="146" y="37"/>
                  <a:pt x="146" y="37"/>
                </a:cubicBezTo>
                <a:cubicBezTo>
                  <a:pt x="146" y="38"/>
                  <a:pt x="146" y="39"/>
                  <a:pt x="146" y="40"/>
                </a:cubicBezTo>
                <a:cubicBezTo>
                  <a:pt x="139" y="65"/>
                  <a:pt x="139" y="65"/>
                  <a:pt x="139" y="65"/>
                </a:cubicBezTo>
                <a:cubicBezTo>
                  <a:pt x="134" y="65"/>
                  <a:pt x="134" y="65"/>
                  <a:pt x="134" y="65"/>
                </a:cubicBezTo>
                <a:cubicBezTo>
                  <a:pt x="124" y="31"/>
                  <a:pt x="124" y="31"/>
                  <a:pt x="124" y="31"/>
                </a:cubicBezTo>
                <a:cubicBezTo>
                  <a:pt x="129" y="31"/>
                  <a:pt x="129" y="31"/>
                  <a:pt x="129" y="31"/>
                </a:cubicBezTo>
                <a:cubicBezTo>
                  <a:pt x="136" y="57"/>
                  <a:pt x="136" y="57"/>
                  <a:pt x="136" y="57"/>
                </a:cubicBezTo>
                <a:cubicBezTo>
                  <a:pt x="136" y="58"/>
                  <a:pt x="136" y="59"/>
                  <a:pt x="137" y="61"/>
                </a:cubicBezTo>
                <a:cubicBezTo>
                  <a:pt x="137" y="61"/>
                  <a:pt x="137" y="61"/>
                  <a:pt x="137" y="61"/>
                </a:cubicBezTo>
                <a:cubicBezTo>
                  <a:pt x="137" y="60"/>
                  <a:pt x="137" y="58"/>
                  <a:pt x="137" y="57"/>
                </a:cubicBezTo>
                <a:cubicBezTo>
                  <a:pt x="145" y="31"/>
                  <a:pt x="145" y="31"/>
                  <a:pt x="145" y="31"/>
                </a:cubicBezTo>
                <a:cubicBezTo>
                  <a:pt x="149" y="31"/>
                  <a:pt x="149" y="31"/>
                  <a:pt x="149" y="31"/>
                </a:cubicBezTo>
                <a:cubicBezTo>
                  <a:pt x="156" y="57"/>
                  <a:pt x="156" y="57"/>
                  <a:pt x="156" y="57"/>
                </a:cubicBezTo>
                <a:cubicBezTo>
                  <a:pt x="156" y="58"/>
                  <a:pt x="156" y="59"/>
                  <a:pt x="156" y="61"/>
                </a:cubicBezTo>
                <a:cubicBezTo>
                  <a:pt x="156" y="61"/>
                  <a:pt x="156" y="61"/>
                  <a:pt x="156" y="61"/>
                </a:cubicBezTo>
                <a:cubicBezTo>
                  <a:pt x="156" y="60"/>
                  <a:pt x="157" y="59"/>
                  <a:pt x="157" y="57"/>
                </a:cubicBezTo>
                <a:cubicBezTo>
                  <a:pt x="164" y="31"/>
                  <a:pt x="164" y="31"/>
                  <a:pt x="164" y="31"/>
                </a:cubicBezTo>
                <a:lnTo>
                  <a:pt x="168" y="31"/>
                </a:lnTo>
                <a:close/>
                <a:moveTo>
                  <a:pt x="192" y="53"/>
                </a:moveTo>
                <a:cubicBezTo>
                  <a:pt x="192" y="57"/>
                  <a:pt x="191" y="60"/>
                  <a:pt x="189" y="62"/>
                </a:cubicBezTo>
                <a:cubicBezTo>
                  <a:pt x="187" y="64"/>
                  <a:pt x="184" y="66"/>
                  <a:pt x="180" y="66"/>
                </a:cubicBezTo>
                <a:cubicBezTo>
                  <a:pt x="176" y="66"/>
                  <a:pt x="174" y="64"/>
                  <a:pt x="171" y="62"/>
                </a:cubicBezTo>
                <a:cubicBezTo>
                  <a:pt x="169" y="60"/>
                  <a:pt x="168" y="57"/>
                  <a:pt x="168" y="53"/>
                </a:cubicBezTo>
                <a:cubicBezTo>
                  <a:pt x="168" y="49"/>
                  <a:pt x="169" y="46"/>
                  <a:pt x="172" y="44"/>
                </a:cubicBezTo>
                <a:cubicBezTo>
                  <a:pt x="174" y="42"/>
                  <a:pt x="177" y="40"/>
                  <a:pt x="181" y="40"/>
                </a:cubicBezTo>
                <a:cubicBezTo>
                  <a:pt x="184" y="40"/>
                  <a:pt x="187" y="42"/>
                  <a:pt x="189" y="44"/>
                </a:cubicBezTo>
                <a:cubicBezTo>
                  <a:pt x="191" y="46"/>
                  <a:pt x="192" y="49"/>
                  <a:pt x="192" y="53"/>
                </a:cubicBezTo>
                <a:close/>
                <a:moveTo>
                  <a:pt x="188" y="53"/>
                </a:moveTo>
                <a:cubicBezTo>
                  <a:pt x="188" y="50"/>
                  <a:pt x="187" y="48"/>
                  <a:pt x="186" y="46"/>
                </a:cubicBezTo>
                <a:cubicBezTo>
                  <a:pt x="185" y="45"/>
                  <a:pt x="183" y="44"/>
                  <a:pt x="180" y="44"/>
                </a:cubicBezTo>
                <a:cubicBezTo>
                  <a:pt x="178" y="44"/>
                  <a:pt x="176" y="45"/>
                  <a:pt x="174" y="46"/>
                </a:cubicBezTo>
                <a:cubicBezTo>
                  <a:pt x="173" y="48"/>
                  <a:pt x="172" y="50"/>
                  <a:pt x="172" y="53"/>
                </a:cubicBezTo>
                <a:cubicBezTo>
                  <a:pt x="172" y="56"/>
                  <a:pt x="173" y="58"/>
                  <a:pt x="174" y="60"/>
                </a:cubicBezTo>
                <a:cubicBezTo>
                  <a:pt x="176" y="62"/>
                  <a:pt x="178" y="62"/>
                  <a:pt x="180" y="62"/>
                </a:cubicBezTo>
                <a:cubicBezTo>
                  <a:pt x="183" y="62"/>
                  <a:pt x="185" y="62"/>
                  <a:pt x="186" y="60"/>
                </a:cubicBezTo>
                <a:cubicBezTo>
                  <a:pt x="187" y="58"/>
                  <a:pt x="188" y="56"/>
                  <a:pt x="188" y="53"/>
                </a:cubicBezTo>
                <a:close/>
                <a:moveTo>
                  <a:pt x="209" y="45"/>
                </a:moveTo>
                <a:cubicBezTo>
                  <a:pt x="208" y="44"/>
                  <a:pt x="207" y="44"/>
                  <a:pt x="206" y="44"/>
                </a:cubicBezTo>
                <a:cubicBezTo>
                  <a:pt x="204" y="44"/>
                  <a:pt x="203" y="45"/>
                  <a:pt x="202" y="47"/>
                </a:cubicBezTo>
                <a:cubicBezTo>
                  <a:pt x="201" y="48"/>
                  <a:pt x="200" y="50"/>
                  <a:pt x="200" y="53"/>
                </a:cubicBezTo>
                <a:cubicBezTo>
                  <a:pt x="200" y="65"/>
                  <a:pt x="200" y="65"/>
                  <a:pt x="200" y="65"/>
                </a:cubicBezTo>
                <a:cubicBezTo>
                  <a:pt x="197" y="65"/>
                  <a:pt x="197" y="65"/>
                  <a:pt x="197" y="65"/>
                </a:cubicBezTo>
                <a:cubicBezTo>
                  <a:pt x="197" y="41"/>
                  <a:pt x="197" y="41"/>
                  <a:pt x="197" y="41"/>
                </a:cubicBezTo>
                <a:cubicBezTo>
                  <a:pt x="200" y="41"/>
                  <a:pt x="200" y="41"/>
                  <a:pt x="200" y="41"/>
                </a:cubicBezTo>
                <a:cubicBezTo>
                  <a:pt x="200" y="46"/>
                  <a:pt x="200" y="46"/>
                  <a:pt x="200" y="46"/>
                </a:cubicBezTo>
                <a:cubicBezTo>
                  <a:pt x="201" y="46"/>
                  <a:pt x="201" y="46"/>
                  <a:pt x="201" y="46"/>
                </a:cubicBezTo>
                <a:cubicBezTo>
                  <a:pt x="201" y="44"/>
                  <a:pt x="202" y="43"/>
                  <a:pt x="203" y="42"/>
                </a:cubicBezTo>
                <a:cubicBezTo>
                  <a:pt x="204" y="41"/>
                  <a:pt x="205" y="41"/>
                  <a:pt x="207" y="41"/>
                </a:cubicBezTo>
                <a:cubicBezTo>
                  <a:pt x="208" y="41"/>
                  <a:pt x="209" y="41"/>
                  <a:pt x="209" y="41"/>
                </a:cubicBezTo>
                <a:lnTo>
                  <a:pt x="209" y="45"/>
                </a:lnTo>
                <a:close/>
                <a:moveTo>
                  <a:pt x="232" y="65"/>
                </a:moveTo>
                <a:cubicBezTo>
                  <a:pt x="228" y="65"/>
                  <a:pt x="228" y="65"/>
                  <a:pt x="228" y="65"/>
                </a:cubicBezTo>
                <a:cubicBezTo>
                  <a:pt x="228" y="61"/>
                  <a:pt x="228" y="61"/>
                  <a:pt x="228" y="61"/>
                </a:cubicBezTo>
                <a:cubicBezTo>
                  <a:pt x="228" y="61"/>
                  <a:pt x="228" y="61"/>
                  <a:pt x="228" y="61"/>
                </a:cubicBezTo>
                <a:cubicBezTo>
                  <a:pt x="226" y="64"/>
                  <a:pt x="223" y="66"/>
                  <a:pt x="219" y="66"/>
                </a:cubicBezTo>
                <a:cubicBezTo>
                  <a:pt x="216" y="66"/>
                  <a:pt x="214" y="65"/>
                  <a:pt x="212" y="62"/>
                </a:cubicBezTo>
                <a:cubicBezTo>
                  <a:pt x="210" y="60"/>
                  <a:pt x="210" y="57"/>
                  <a:pt x="210" y="54"/>
                </a:cubicBezTo>
                <a:cubicBezTo>
                  <a:pt x="210" y="50"/>
                  <a:pt x="211" y="46"/>
                  <a:pt x="213" y="44"/>
                </a:cubicBezTo>
                <a:cubicBezTo>
                  <a:pt x="215" y="42"/>
                  <a:pt x="217" y="40"/>
                  <a:pt x="221" y="40"/>
                </a:cubicBezTo>
                <a:cubicBezTo>
                  <a:pt x="224" y="40"/>
                  <a:pt x="226" y="42"/>
                  <a:pt x="228" y="44"/>
                </a:cubicBezTo>
                <a:cubicBezTo>
                  <a:pt x="228" y="44"/>
                  <a:pt x="228" y="44"/>
                  <a:pt x="228" y="44"/>
                </a:cubicBezTo>
                <a:cubicBezTo>
                  <a:pt x="228" y="29"/>
                  <a:pt x="228" y="29"/>
                  <a:pt x="228" y="29"/>
                </a:cubicBezTo>
                <a:cubicBezTo>
                  <a:pt x="232" y="29"/>
                  <a:pt x="232" y="29"/>
                  <a:pt x="232" y="29"/>
                </a:cubicBezTo>
                <a:lnTo>
                  <a:pt x="232" y="65"/>
                </a:lnTo>
                <a:close/>
                <a:moveTo>
                  <a:pt x="228" y="54"/>
                </a:moveTo>
                <a:cubicBezTo>
                  <a:pt x="228" y="51"/>
                  <a:pt x="228" y="51"/>
                  <a:pt x="228" y="51"/>
                </a:cubicBezTo>
                <a:cubicBezTo>
                  <a:pt x="228" y="49"/>
                  <a:pt x="227" y="47"/>
                  <a:pt x="226" y="46"/>
                </a:cubicBezTo>
                <a:cubicBezTo>
                  <a:pt x="225" y="44"/>
                  <a:pt x="223" y="44"/>
                  <a:pt x="221" y="44"/>
                </a:cubicBezTo>
                <a:cubicBezTo>
                  <a:pt x="219" y="44"/>
                  <a:pt x="217" y="45"/>
                  <a:pt x="216" y="46"/>
                </a:cubicBezTo>
                <a:cubicBezTo>
                  <a:pt x="214" y="48"/>
                  <a:pt x="213" y="50"/>
                  <a:pt x="213" y="53"/>
                </a:cubicBezTo>
                <a:cubicBezTo>
                  <a:pt x="213" y="56"/>
                  <a:pt x="214" y="58"/>
                  <a:pt x="215" y="60"/>
                </a:cubicBezTo>
                <a:cubicBezTo>
                  <a:pt x="217" y="62"/>
                  <a:pt x="218" y="62"/>
                  <a:pt x="221" y="62"/>
                </a:cubicBezTo>
                <a:cubicBezTo>
                  <a:pt x="223" y="62"/>
                  <a:pt x="224" y="62"/>
                  <a:pt x="226" y="60"/>
                </a:cubicBezTo>
                <a:cubicBezTo>
                  <a:pt x="227" y="59"/>
                  <a:pt x="228" y="57"/>
                  <a:pt x="228"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nvGrpSpPr>
          <p:cNvPr id="895" name="Group 53"/>
          <p:cNvGrpSpPr>
            <a:grpSpLocks noChangeAspect="1"/>
          </p:cNvGrpSpPr>
          <p:nvPr/>
        </p:nvGrpSpPr>
        <p:grpSpPr bwMode="auto">
          <a:xfrm>
            <a:off x="2313561" y="4156585"/>
            <a:ext cx="1094204" cy="418456"/>
            <a:chOff x="3453" y="2013"/>
            <a:chExt cx="774" cy="296"/>
          </a:xfrm>
        </p:grpSpPr>
        <p:sp>
          <p:nvSpPr>
            <p:cNvPr id="914" name="Freeform 54"/>
            <p:cNvSpPr>
              <a:spLocks noEditPoints="1"/>
            </p:cNvSpPr>
            <p:nvPr/>
          </p:nvSpPr>
          <p:spPr bwMode="auto">
            <a:xfrm>
              <a:off x="3834" y="2108"/>
              <a:ext cx="60" cy="102"/>
            </a:xfrm>
            <a:custGeom>
              <a:avLst/>
              <a:gdLst>
                <a:gd name="T0" fmla="*/ 25 w 25"/>
                <a:gd name="T1" fmla="*/ 13 h 42"/>
                <a:gd name="T2" fmla="*/ 21 w 25"/>
                <a:gd name="T3" fmla="*/ 22 h 42"/>
                <a:gd name="T4" fmla="*/ 10 w 25"/>
                <a:gd name="T5" fmla="*/ 26 h 42"/>
                <a:gd name="T6" fmla="*/ 5 w 25"/>
                <a:gd name="T7" fmla="*/ 26 h 42"/>
                <a:gd name="T8" fmla="*/ 5 w 25"/>
                <a:gd name="T9" fmla="*/ 42 h 42"/>
                <a:gd name="T10" fmla="*/ 0 w 25"/>
                <a:gd name="T11" fmla="*/ 42 h 42"/>
                <a:gd name="T12" fmla="*/ 0 w 25"/>
                <a:gd name="T13" fmla="*/ 0 h 42"/>
                <a:gd name="T14" fmla="*/ 11 w 25"/>
                <a:gd name="T15" fmla="*/ 0 h 42"/>
                <a:gd name="T16" fmla="*/ 22 w 25"/>
                <a:gd name="T17" fmla="*/ 3 h 42"/>
                <a:gd name="T18" fmla="*/ 25 w 25"/>
                <a:gd name="T19" fmla="*/ 13 h 42"/>
                <a:gd name="T20" fmla="*/ 20 w 25"/>
                <a:gd name="T21" fmla="*/ 13 h 42"/>
                <a:gd name="T22" fmla="*/ 10 w 25"/>
                <a:gd name="T23" fmla="*/ 5 h 42"/>
                <a:gd name="T24" fmla="*/ 5 w 25"/>
                <a:gd name="T25" fmla="*/ 5 h 42"/>
                <a:gd name="T26" fmla="*/ 5 w 25"/>
                <a:gd name="T27" fmla="*/ 22 h 42"/>
                <a:gd name="T28" fmla="*/ 10 w 25"/>
                <a:gd name="T29" fmla="*/ 22 h 42"/>
                <a:gd name="T30" fmla="*/ 18 w 25"/>
                <a:gd name="T31" fmla="*/ 19 h 42"/>
                <a:gd name="T32" fmla="*/ 20 w 25"/>
                <a:gd name="T33" fmla="*/ 1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42">
                  <a:moveTo>
                    <a:pt x="25" y="13"/>
                  </a:moveTo>
                  <a:cubicBezTo>
                    <a:pt x="25" y="17"/>
                    <a:pt x="24" y="20"/>
                    <a:pt x="21" y="22"/>
                  </a:cubicBezTo>
                  <a:cubicBezTo>
                    <a:pt x="18" y="25"/>
                    <a:pt x="15" y="26"/>
                    <a:pt x="10" y="26"/>
                  </a:cubicBezTo>
                  <a:cubicBezTo>
                    <a:pt x="5" y="26"/>
                    <a:pt x="5" y="26"/>
                    <a:pt x="5" y="26"/>
                  </a:cubicBezTo>
                  <a:cubicBezTo>
                    <a:pt x="5" y="42"/>
                    <a:pt x="5" y="42"/>
                    <a:pt x="5" y="42"/>
                  </a:cubicBezTo>
                  <a:cubicBezTo>
                    <a:pt x="0" y="42"/>
                    <a:pt x="0" y="42"/>
                    <a:pt x="0" y="42"/>
                  </a:cubicBezTo>
                  <a:cubicBezTo>
                    <a:pt x="0" y="0"/>
                    <a:pt x="0" y="0"/>
                    <a:pt x="0" y="0"/>
                  </a:cubicBezTo>
                  <a:cubicBezTo>
                    <a:pt x="11" y="0"/>
                    <a:pt x="11" y="0"/>
                    <a:pt x="11" y="0"/>
                  </a:cubicBezTo>
                  <a:cubicBezTo>
                    <a:pt x="16" y="0"/>
                    <a:pt x="19" y="1"/>
                    <a:pt x="22" y="3"/>
                  </a:cubicBezTo>
                  <a:cubicBezTo>
                    <a:pt x="24" y="6"/>
                    <a:pt x="25" y="9"/>
                    <a:pt x="25" y="13"/>
                  </a:cubicBezTo>
                  <a:close/>
                  <a:moveTo>
                    <a:pt x="20" y="13"/>
                  </a:moveTo>
                  <a:cubicBezTo>
                    <a:pt x="20" y="7"/>
                    <a:pt x="17" y="5"/>
                    <a:pt x="10" y="5"/>
                  </a:cubicBezTo>
                  <a:cubicBezTo>
                    <a:pt x="5" y="5"/>
                    <a:pt x="5" y="5"/>
                    <a:pt x="5" y="5"/>
                  </a:cubicBezTo>
                  <a:cubicBezTo>
                    <a:pt x="5" y="22"/>
                    <a:pt x="5" y="22"/>
                    <a:pt x="5" y="22"/>
                  </a:cubicBezTo>
                  <a:cubicBezTo>
                    <a:pt x="10" y="22"/>
                    <a:pt x="10" y="22"/>
                    <a:pt x="10" y="22"/>
                  </a:cubicBezTo>
                  <a:cubicBezTo>
                    <a:pt x="13" y="22"/>
                    <a:pt x="16" y="21"/>
                    <a:pt x="18" y="19"/>
                  </a:cubicBezTo>
                  <a:cubicBezTo>
                    <a:pt x="19" y="18"/>
                    <a:pt x="20" y="16"/>
                    <a:pt x="20"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15" name="Freeform 55"/>
            <p:cNvSpPr>
              <a:spLocks/>
            </p:cNvSpPr>
            <p:nvPr/>
          </p:nvSpPr>
          <p:spPr bwMode="auto">
            <a:xfrm>
              <a:off x="3908" y="2137"/>
              <a:ext cx="38" cy="73"/>
            </a:xfrm>
            <a:custGeom>
              <a:avLst/>
              <a:gdLst>
                <a:gd name="T0" fmla="*/ 16 w 16"/>
                <a:gd name="T1" fmla="*/ 5 h 30"/>
                <a:gd name="T2" fmla="*/ 12 w 16"/>
                <a:gd name="T3" fmla="*/ 4 h 30"/>
                <a:gd name="T4" fmla="*/ 7 w 16"/>
                <a:gd name="T5" fmla="*/ 7 h 30"/>
                <a:gd name="T6" fmla="*/ 5 w 16"/>
                <a:gd name="T7" fmla="*/ 15 h 30"/>
                <a:gd name="T8" fmla="*/ 5 w 16"/>
                <a:gd name="T9" fmla="*/ 30 h 30"/>
                <a:gd name="T10" fmla="*/ 0 w 16"/>
                <a:gd name="T11" fmla="*/ 30 h 30"/>
                <a:gd name="T12" fmla="*/ 0 w 16"/>
                <a:gd name="T13" fmla="*/ 0 h 30"/>
                <a:gd name="T14" fmla="*/ 5 w 16"/>
                <a:gd name="T15" fmla="*/ 0 h 30"/>
                <a:gd name="T16" fmla="*/ 5 w 16"/>
                <a:gd name="T17" fmla="*/ 6 h 30"/>
                <a:gd name="T18" fmla="*/ 5 w 16"/>
                <a:gd name="T19" fmla="*/ 6 h 30"/>
                <a:gd name="T20" fmla="*/ 8 w 16"/>
                <a:gd name="T21" fmla="*/ 1 h 30"/>
                <a:gd name="T22" fmla="*/ 13 w 16"/>
                <a:gd name="T23" fmla="*/ 0 h 30"/>
                <a:gd name="T24" fmla="*/ 16 w 16"/>
                <a:gd name="T25" fmla="*/ 0 h 30"/>
                <a:gd name="T26" fmla="*/ 16 w 16"/>
                <a:gd name="T27"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30">
                  <a:moveTo>
                    <a:pt x="16" y="5"/>
                  </a:moveTo>
                  <a:cubicBezTo>
                    <a:pt x="15" y="4"/>
                    <a:pt x="14" y="4"/>
                    <a:pt x="12" y="4"/>
                  </a:cubicBezTo>
                  <a:cubicBezTo>
                    <a:pt x="10" y="4"/>
                    <a:pt x="8" y="5"/>
                    <a:pt x="7" y="7"/>
                  </a:cubicBezTo>
                  <a:cubicBezTo>
                    <a:pt x="5" y="9"/>
                    <a:pt x="5" y="12"/>
                    <a:pt x="5" y="15"/>
                  </a:cubicBezTo>
                  <a:cubicBezTo>
                    <a:pt x="5" y="30"/>
                    <a:pt x="5" y="30"/>
                    <a:pt x="5" y="30"/>
                  </a:cubicBezTo>
                  <a:cubicBezTo>
                    <a:pt x="0" y="30"/>
                    <a:pt x="0" y="30"/>
                    <a:pt x="0" y="30"/>
                  </a:cubicBezTo>
                  <a:cubicBezTo>
                    <a:pt x="0" y="0"/>
                    <a:pt x="0" y="0"/>
                    <a:pt x="0" y="0"/>
                  </a:cubicBezTo>
                  <a:cubicBezTo>
                    <a:pt x="5" y="0"/>
                    <a:pt x="5" y="0"/>
                    <a:pt x="5" y="0"/>
                  </a:cubicBezTo>
                  <a:cubicBezTo>
                    <a:pt x="5" y="6"/>
                    <a:pt x="5" y="6"/>
                    <a:pt x="5" y="6"/>
                  </a:cubicBezTo>
                  <a:cubicBezTo>
                    <a:pt x="5" y="6"/>
                    <a:pt x="5" y="6"/>
                    <a:pt x="5" y="6"/>
                  </a:cubicBezTo>
                  <a:cubicBezTo>
                    <a:pt x="6" y="4"/>
                    <a:pt x="7" y="3"/>
                    <a:pt x="8" y="1"/>
                  </a:cubicBezTo>
                  <a:cubicBezTo>
                    <a:pt x="9" y="0"/>
                    <a:pt x="11" y="0"/>
                    <a:pt x="13" y="0"/>
                  </a:cubicBezTo>
                  <a:cubicBezTo>
                    <a:pt x="14" y="0"/>
                    <a:pt x="15" y="0"/>
                    <a:pt x="16" y="0"/>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16" name="Freeform 56"/>
            <p:cNvSpPr>
              <a:spLocks noEditPoints="1"/>
            </p:cNvSpPr>
            <p:nvPr/>
          </p:nvSpPr>
          <p:spPr bwMode="auto">
            <a:xfrm>
              <a:off x="3946" y="2134"/>
              <a:ext cx="72" cy="78"/>
            </a:xfrm>
            <a:custGeom>
              <a:avLst/>
              <a:gdLst>
                <a:gd name="T0" fmla="*/ 30 w 30"/>
                <a:gd name="T1" fmla="*/ 16 h 32"/>
                <a:gd name="T2" fmla="*/ 26 w 30"/>
                <a:gd name="T3" fmla="*/ 27 h 32"/>
                <a:gd name="T4" fmla="*/ 15 w 30"/>
                <a:gd name="T5" fmla="*/ 32 h 32"/>
                <a:gd name="T6" fmla="*/ 4 w 30"/>
                <a:gd name="T7" fmla="*/ 28 h 32"/>
                <a:gd name="T8" fmla="*/ 0 w 30"/>
                <a:gd name="T9" fmla="*/ 16 h 32"/>
                <a:gd name="T10" fmla="*/ 4 w 30"/>
                <a:gd name="T11" fmla="*/ 5 h 32"/>
                <a:gd name="T12" fmla="*/ 15 w 30"/>
                <a:gd name="T13" fmla="*/ 0 h 32"/>
                <a:gd name="T14" fmla="*/ 26 w 30"/>
                <a:gd name="T15" fmla="*/ 5 h 32"/>
                <a:gd name="T16" fmla="*/ 30 w 30"/>
                <a:gd name="T17" fmla="*/ 16 h 32"/>
                <a:gd name="T18" fmla="*/ 25 w 30"/>
                <a:gd name="T19" fmla="*/ 16 h 32"/>
                <a:gd name="T20" fmla="*/ 22 w 30"/>
                <a:gd name="T21" fmla="*/ 7 h 32"/>
                <a:gd name="T22" fmla="*/ 15 w 30"/>
                <a:gd name="T23" fmla="*/ 4 h 32"/>
                <a:gd name="T24" fmla="*/ 8 w 30"/>
                <a:gd name="T25" fmla="*/ 8 h 32"/>
                <a:gd name="T26" fmla="*/ 5 w 30"/>
                <a:gd name="T27" fmla="*/ 16 h 32"/>
                <a:gd name="T28" fmla="*/ 8 w 30"/>
                <a:gd name="T29" fmla="*/ 25 h 32"/>
                <a:gd name="T30" fmla="*/ 15 w 30"/>
                <a:gd name="T31" fmla="*/ 28 h 32"/>
                <a:gd name="T32" fmla="*/ 22 w 30"/>
                <a:gd name="T33" fmla="*/ 25 h 32"/>
                <a:gd name="T34" fmla="*/ 25 w 30"/>
                <a:gd name="T35"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32">
                  <a:moveTo>
                    <a:pt x="30" y="16"/>
                  </a:moveTo>
                  <a:cubicBezTo>
                    <a:pt x="30" y="21"/>
                    <a:pt x="28" y="25"/>
                    <a:pt x="26" y="27"/>
                  </a:cubicBezTo>
                  <a:cubicBezTo>
                    <a:pt x="23" y="30"/>
                    <a:pt x="19" y="32"/>
                    <a:pt x="15" y="32"/>
                  </a:cubicBezTo>
                  <a:cubicBezTo>
                    <a:pt x="10" y="32"/>
                    <a:pt x="7" y="30"/>
                    <a:pt x="4" y="28"/>
                  </a:cubicBezTo>
                  <a:cubicBezTo>
                    <a:pt x="2" y="25"/>
                    <a:pt x="0" y="21"/>
                    <a:pt x="0" y="16"/>
                  </a:cubicBezTo>
                  <a:cubicBezTo>
                    <a:pt x="0" y="11"/>
                    <a:pt x="2" y="8"/>
                    <a:pt x="4" y="5"/>
                  </a:cubicBezTo>
                  <a:cubicBezTo>
                    <a:pt x="7" y="2"/>
                    <a:pt x="11" y="0"/>
                    <a:pt x="15" y="0"/>
                  </a:cubicBezTo>
                  <a:cubicBezTo>
                    <a:pt x="20" y="0"/>
                    <a:pt x="23" y="2"/>
                    <a:pt x="26" y="5"/>
                  </a:cubicBezTo>
                  <a:cubicBezTo>
                    <a:pt x="28" y="7"/>
                    <a:pt x="30" y="11"/>
                    <a:pt x="30" y="16"/>
                  </a:cubicBezTo>
                  <a:close/>
                  <a:moveTo>
                    <a:pt x="25" y="16"/>
                  </a:moveTo>
                  <a:cubicBezTo>
                    <a:pt x="25" y="12"/>
                    <a:pt x="24" y="9"/>
                    <a:pt x="22" y="7"/>
                  </a:cubicBezTo>
                  <a:cubicBezTo>
                    <a:pt x="21" y="5"/>
                    <a:pt x="18" y="4"/>
                    <a:pt x="15" y="4"/>
                  </a:cubicBezTo>
                  <a:cubicBezTo>
                    <a:pt x="12" y="4"/>
                    <a:pt x="10" y="5"/>
                    <a:pt x="8" y="8"/>
                  </a:cubicBezTo>
                  <a:cubicBezTo>
                    <a:pt x="6" y="10"/>
                    <a:pt x="5" y="12"/>
                    <a:pt x="5" y="16"/>
                  </a:cubicBezTo>
                  <a:cubicBezTo>
                    <a:pt x="5" y="20"/>
                    <a:pt x="6" y="23"/>
                    <a:pt x="8" y="25"/>
                  </a:cubicBezTo>
                  <a:cubicBezTo>
                    <a:pt x="10" y="27"/>
                    <a:pt x="12" y="28"/>
                    <a:pt x="15" y="28"/>
                  </a:cubicBezTo>
                  <a:cubicBezTo>
                    <a:pt x="18" y="28"/>
                    <a:pt x="21" y="27"/>
                    <a:pt x="22" y="25"/>
                  </a:cubicBezTo>
                  <a:cubicBezTo>
                    <a:pt x="24" y="23"/>
                    <a:pt x="25" y="20"/>
                    <a:pt x="25"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20" name="Freeform 57"/>
            <p:cNvSpPr>
              <a:spLocks noEditPoints="1"/>
            </p:cNvSpPr>
            <p:nvPr/>
          </p:nvSpPr>
          <p:spPr bwMode="auto">
            <a:xfrm>
              <a:off x="4006" y="2103"/>
              <a:ext cx="38" cy="141"/>
            </a:xfrm>
            <a:custGeom>
              <a:avLst/>
              <a:gdLst>
                <a:gd name="T0" fmla="*/ 15 w 16"/>
                <a:gd name="T1" fmla="*/ 43 h 58"/>
                <a:gd name="T2" fmla="*/ 12 w 16"/>
                <a:gd name="T3" fmla="*/ 54 h 58"/>
                <a:gd name="T4" fmla="*/ 4 w 16"/>
                <a:gd name="T5" fmla="*/ 58 h 58"/>
                <a:gd name="T6" fmla="*/ 0 w 16"/>
                <a:gd name="T7" fmla="*/ 57 h 58"/>
                <a:gd name="T8" fmla="*/ 0 w 16"/>
                <a:gd name="T9" fmla="*/ 53 h 58"/>
                <a:gd name="T10" fmla="*/ 4 w 16"/>
                <a:gd name="T11" fmla="*/ 54 h 58"/>
                <a:gd name="T12" fmla="*/ 11 w 16"/>
                <a:gd name="T13" fmla="*/ 44 h 58"/>
                <a:gd name="T14" fmla="*/ 11 w 16"/>
                <a:gd name="T15" fmla="*/ 14 h 58"/>
                <a:gd name="T16" fmla="*/ 15 w 16"/>
                <a:gd name="T17" fmla="*/ 14 h 58"/>
                <a:gd name="T18" fmla="*/ 15 w 16"/>
                <a:gd name="T19" fmla="*/ 43 h 58"/>
                <a:gd name="T20" fmla="*/ 16 w 16"/>
                <a:gd name="T21" fmla="*/ 3 h 58"/>
                <a:gd name="T22" fmla="*/ 15 w 16"/>
                <a:gd name="T23" fmla="*/ 6 h 58"/>
                <a:gd name="T24" fmla="*/ 13 w 16"/>
                <a:gd name="T25" fmla="*/ 6 h 58"/>
                <a:gd name="T26" fmla="*/ 11 w 16"/>
                <a:gd name="T27" fmla="*/ 6 h 58"/>
                <a:gd name="T28" fmla="*/ 10 w 16"/>
                <a:gd name="T29" fmla="*/ 3 h 58"/>
                <a:gd name="T30" fmla="*/ 11 w 16"/>
                <a:gd name="T31" fmla="*/ 1 h 58"/>
                <a:gd name="T32" fmla="*/ 13 w 16"/>
                <a:gd name="T33" fmla="*/ 0 h 58"/>
                <a:gd name="T34" fmla="*/ 15 w 16"/>
                <a:gd name="T35" fmla="*/ 1 h 58"/>
                <a:gd name="T36" fmla="*/ 16 w 16"/>
                <a:gd name="T37" fmla="*/ 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58">
                  <a:moveTo>
                    <a:pt x="15" y="43"/>
                  </a:moveTo>
                  <a:cubicBezTo>
                    <a:pt x="15" y="48"/>
                    <a:pt x="14" y="52"/>
                    <a:pt x="12" y="54"/>
                  </a:cubicBezTo>
                  <a:cubicBezTo>
                    <a:pt x="10" y="57"/>
                    <a:pt x="8" y="58"/>
                    <a:pt x="4" y="58"/>
                  </a:cubicBezTo>
                  <a:cubicBezTo>
                    <a:pt x="2" y="58"/>
                    <a:pt x="1" y="58"/>
                    <a:pt x="0" y="57"/>
                  </a:cubicBezTo>
                  <a:cubicBezTo>
                    <a:pt x="0" y="53"/>
                    <a:pt x="0" y="53"/>
                    <a:pt x="0" y="53"/>
                  </a:cubicBezTo>
                  <a:cubicBezTo>
                    <a:pt x="1" y="54"/>
                    <a:pt x="3" y="54"/>
                    <a:pt x="4" y="54"/>
                  </a:cubicBezTo>
                  <a:cubicBezTo>
                    <a:pt x="8" y="54"/>
                    <a:pt x="11" y="51"/>
                    <a:pt x="11" y="44"/>
                  </a:cubicBezTo>
                  <a:cubicBezTo>
                    <a:pt x="11" y="14"/>
                    <a:pt x="11" y="14"/>
                    <a:pt x="11" y="14"/>
                  </a:cubicBezTo>
                  <a:cubicBezTo>
                    <a:pt x="15" y="14"/>
                    <a:pt x="15" y="14"/>
                    <a:pt x="15" y="14"/>
                  </a:cubicBezTo>
                  <a:lnTo>
                    <a:pt x="15" y="43"/>
                  </a:lnTo>
                  <a:close/>
                  <a:moveTo>
                    <a:pt x="16" y="3"/>
                  </a:moveTo>
                  <a:cubicBezTo>
                    <a:pt x="16" y="4"/>
                    <a:pt x="16" y="5"/>
                    <a:pt x="15" y="6"/>
                  </a:cubicBezTo>
                  <a:cubicBezTo>
                    <a:pt x="15" y="6"/>
                    <a:pt x="14" y="6"/>
                    <a:pt x="13" y="6"/>
                  </a:cubicBezTo>
                  <a:cubicBezTo>
                    <a:pt x="12" y="6"/>
                    <a:pt x="11" y="6"/>
                    <a:pt x="11" y="6"/>
                  </a:cubicBezTo>
                  <a:cubicBezTo>
                    <a:pt x="10" y="5"/>
                    <a:pt x="10" y="4"/>
                    <a:pt x="10" y="3"/>
                  </a:cubicBezTo>
                  <a:cubicBezTo>
                    <a:pt x="10" y="2"/>
                    <a:pt x="10" y="2"/>
                    <a:pt x="11" y="1"/>
                  </a:cubicBezTo>
                  <a:cubicBezTo>
                    <a:pt x="11" y="1"/>
                    <a:pt x="12" y="0"/>
                    <a:pt x="13" y="0"/>
                  </a:cubicBezTo>
                  <a:cubicBezTo>
                    <a:pt x="14" y="0"/>
                    <a:pt x="15" y="1"/>
                    <a:pt x="15" y="1"/>
                  </a:cubicBezTo>
                  <a:cubicBezTo>
                    <a:pt x="16" y="2"/>
                    <a:pt x="16" y="2"/>
                    <a:pt x="16"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34" name="Freeform 58"/>
            <p:cNvSpPr>
              <a:spLocks noEditPoints="1"/>
            </p:cNvSpPr>
            <p:nvPr/>
          </p:nvSpPr>
          <p:spPr bwMode="auto">
            <a:xfrm>
              <a:off x="4056" y="2134"/>
              <a:ext cx="62" cy="78"/>
            </a:xfrm>
            <a:custGeom>
              <a:avLst/>
              <a:gdLst>
                <a:gd name="T0" fmla="*/ 26 w 26"/>
                <a:gd name="T1" fmla="*/ 17 h 32"/>
                <a:gd name="T2" fmla="*/ 5 w 26"/>
                <a:gd name="T3" fmla="*/ 17 h 32"/>
                <a:gd name="T4" fmla="*/ 8 w 26"/>
                <a:gd name="T5" fmla="*/ 25 h 32"/>
                <a:gd name="T6" fmla="*/ 15 w 26"/>
                <a:gd name="T7" fmla="*/ 28 h 32"/>
                <a:gd name="T8" fmla="*/ 24 w 26"/>
                <a:gd name="T9" fmla="*/ 24 h 32"/>
                <a:gd name="T10" fmla="*/ 24 w 26"/>
                <a:gd name="T11" fmla="*/ 29 h 32"/>
                <a:gd name="T12" fmla="*/ 14 w 26"/>
                <a:gd name="T13" fmla="*/ 32 h 32"/>
                <a:gd name="T14" fmla="*/ 4 w 26"/>
                <a:gd name="T15" fmla="*/ 28 h 32"/>
                <a:gd name="T16" fmla="*/ 0 w 26"/>
                <a:gd name="T17" fmla="*/ 16 h 32"/>
                <a:gd name="T18" fmla="*/ 2 w 26"/>
                <a:gd name="T19" fmla="*/ 8 h 32"/>
                <a:gd name="T20" fmla="*/ 7 w 26"/>
                <a:gd name="T21" fmla="*/ 2 h 32"/>
                <a:gd name="T22" fmla="*/ 14 w 26"/>
                <a:gd name="T23" fmla="*/ 0 h 32"/>
                <a:gd name="T24" fmla="*/ 23 w 26"/>
                <a:gd name="T25" fmla="*/ 4 h 32"/>
                <a:gd name="T26" fmla="*/ 26 w 26"/>
                <a:gd name="T27" fmla="*/ 15 h 32"/>
                <a:gd name="T28" fmla="*/ 26 w 26"/>
                <a:gd name="T29" fmla="*/ 17 h 32"/>
                <a:gd name="T30" fmla="*/ 21 w 26"/>
                <a:gd name="T31" fmla="*/ 13 h 32"/>
                <a:gd name="T32" fmla="*/ 19 w 26"/>
                <a:gd name="T33" fmla="*/ 7 h 32"/>
                <a:gd name="T34" fmla="*/ 14 w 26"/>
                <a:gd name="T35" fmla="*/ 4 h 32"/>
                <a:gd name="T36" fmla="*/ 8 w 26"/>
                <a:gd name="T37" fmla="*/ 7 h 32"/>
                <a:gd name="T38" fmla="*/ 5 w 26"/>
                <a:gd name="T39" fmla="*/ 13 h 32"/>
                <a:gd name="T40" fmla="*/ 21 w 26"/>
                <a:gd name="T41" fmla="*/ 1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2">
                  <a:moveTo>
                    <a:pt x="26" y="17"/>
                  </a:moveTo>
                  <a:cubicBezTo>
                    <a:pt x="5" y="17"/>
                    <a:pt x="5" y="17"/>
                    <a:pt x="5" y="17"/>
                  </a:cubicBezTo>
                  <a:cubicBezTo>
                    <a:pt x="5" y="21"/>
                    <a:pt x="6" y="23"/>
                    <a:pt x="8" y="25"/>
                  </a:cubicBezTo>
                  <a:cubicBezTo>
                    <a:pt x="10" y="27"/>
                    <a:pt x="12" y="28"/>
                    <a:pt x="15" y="28"/>
                  </a:cubicBezTo>
                  <a:cubicBezTo>
                    <a:pt x="18" y="28"/>
                    <a:pt x="21" y="27"/>
                    <a:pt x="24" y="24"/>
                  </a:cubicBezTo>
                  <a:cubicBezTo>
                    <a:pt x="24" y="29"/>
                    <a:pt x="24" y="29"/>
                    <a:pt x="24" y="29"/>
                  </a:cubicBezTo>
                  <a:cubicBezTo>
                    <a:pt x="22" y="31"/>
                    <a:pt x="18" y="32"/>
                    <a:pt x="14" y="32"/>
                  </a:cubicBezTo>
                  <a:cubicBezTo>
                    <a:pt x="10" y="32"/>
                    <a:pt x="6" y="30"/>
                    <a:pt x="4" y="28"/>
                  </a:cubicBezTo>
                  <a:cubicBezTo>
                    <a:pt x="1" y="25"/>
                    <a:pt x="0" y="21"/>
                    <a:pt x="0" y="16"/>
                  </a:cubicBezTo>
                  <a:cubicBezTo>
                    <a:pt x="0" y="13"/>
                    <a:pt x="1" y="11"/>
                    <a:pt x="2" y="8"/>
                  </a:cubicBezTo>
                  <a:cubicBezTo>
                    <a:pt x="3" y="6"/>
                    <a:pt x="5" y="4"/>
                    <a:pt x="7" y="2"/>
                  </a:cubicBezTo>
                  <a:cubicBezTo>
                    <a:pt x="9" y="1"/>
                    <a:pt x="11" y="0"/>
                    <a:pt x="14" y="0"/>
                  </a:cubicBezTo>
                  <a:cubicBezTo>
                    <a:pt x="18" y="0"/>
                    <a:pt x="21" y="2"/>
                    <a:pt x="23" y="4"/>
                  </a:cubicBezTo>
                  <a:cubicBezTo>
                    <a:pt x="25" y="7"/>
                    <a:pt x="26" y="10"/>
                    <a:pt x="26" y="15"/>
                  </a:cubicBezTo>
                  <a:lnTo>
                    <a:pt x="26" y="17"/>
                  </a:lnTo>
                  <a:close/>
                  <a:moveTo>
                    <a:pt x="21" y="13"/>
                  </a:moveTo>
                  <a:cubicBezTo>
                    <a:pt x="21" y="10"/>
                    <a:pt x="21" y="8"/>
                    <a:pt x="19" y="7"/>
                  </a:cubicBezTo>
                  <a:cubicBezTo>
                    <a:pt x="18" y="5"/>
                    <a:pt x="16" y="4"/>
                    <a:pt x="14" y="4"/>
                  </a:cubicBezTo>
                  <a:cubicBezTo>
                    <a:pt x="12" y="4"/>
                    <a:pt x="10" y="5"/>
                    <a:pt x="8" y="7"/>
                  </a:cubicBezTo>
                  <a:cubicBezTo>
                    <a:pt x="7" y="8"/>
                    <a:pt x="6" y="11"/>
                    <a:pt x="5" y="13"/>
                  </a:cubicBezTo>
                  <a:lnTo>
                    <a:pt x="21"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35" name="Freeform 59"/>
            <p:cNvSpPr>
              <a:spLocks/>
            </p:cNvSpPr>
            <p:nvPr/>
          </p:nvSpPr>
          <p:spPr bwMode="auto">
            <a:xfrm>
              <a:off x="4125" y="2134"/>
              <a:ext cx="55" cy="78"/>
            </a:xfrm>
            <a:custGeom>
              <a:avLst/>
              <a:gdLst>
                <a:gd name="T0" fmla="*/ 23 w 23"/>
                <a:gd name="T1" fmla="*/ 30 h 32"/>
                <a:gd name="T2" fmla="*/ 15 w 23"/>
                <a:gd name="T3" fmla="*/ 32 h 32"/>
                <a:gd name="T4" fmla="*/ 7 w 23"/>
                <a:gd name="T5" fmla="*/ 30 h 32"/>
                <a:gd name="T6" fmla="*/ 2 w 23"/>
                <a:gd name="T7" fmla="*/ 25 h 32"/>
                <a:gd name="T8" fmla="*/ 0 w 23"/>
                <a:gd name="T9" fmla="*/ 17 h 32"/>
                <a:gd name="T10" fmla="*/ 5 w 23"/>
                <a:gd name="T11" fmla="*/ 5 h 32"/>
                <a:gd name="T12" fmla="*/ 16 w 23"/>
                <a:gd name="T13" fmla="*/ 0 h 32"/>
                <a:gd name="T14" fmla="*/ 23 w 23"/>
                <a:gd name="T15" fmla="*/ 2 h 32"/>
                <a:gd name="T16" fmla="*/ 23 w 23"/>
                <a:gd name="T17" fmla="*/ 7 h 32"/>
                <a:gd name="T18" fmla="*/ 16 w 23"/>
                <a:gd name="T19" fmla="*/ 4 h 32"/>
                <a:gd name="T20" fmla="*/ 8 w 23"/>
                <a:gd name="T21" fmla="*/ 8 h 32"/>
                <a:gd name="T22" fmla="*/ 5 w 23"/>
                <a:gd name="T23" fmla="*/ 16 h 32"/>
                <a:gd name="T24" fmla="*/ 8 w 23"/>
                <a:gd name="T25" fmla="*/ 25 h 32"/>
                <a:gd name="T26" fmla="*/ 16 w 23"/>
                <a:gd name="T27" fmla="*/ 28 h 32"/>
                <a:gd name="T28" fmla="*/ 23 w 23"/>
                <a:gd name="T29" fmla="*/ 25 h 32"/>
                <a:gd name="T30" fmla="*/ 23 w 23"/>
                <a:gd name="T31"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32">
                  <a:moveTo>
                    <a:pt x="23" y="30"/>
                  </a:moveTo>
                  <a:cubicBezTo>
                    <a:pt x="21" y="31"/>
                    <a:pt x="18" y="32"/>
                    <a:pt x="15" y="32"/>
                  </a:cubicBezTo>
                  <a:cubicBezTo>
                    <a:pt x="12" y="32"/>
                    <a:pt x="10" y="31"/>
                    <a:pt x="7" y="30"/>
                  </a:cubicBezTo>
                  <a:cubicBezTo>
                    <a:pt x="5" y="29"/>
                    <a:pt x="3" y="27"/>
                    <a:pt x="2" y="25"/>
                  </a:cubicBezTo>
                  <a:cubicBezTo>
                    <a:pt x="1" y="22"/>
                    <a:pt x="0" y="20"/>
                    <a:pt x="0" y="17"/>
                  </a:cubicBezTo>
                  <a:cubicBezTo>
                    <a:pt x="0" y="12"/>
                    <a:pt x="2" y="8"/>
                    <a:pt x="5" y="5"/>
                  </a:cubicBezTo>
                  <a:cubicBezTo>
                    <a:pt x="8" y="2"/>
                    <a:pt x="11" y="0"/>
                    <a:pt x="16" y="0"/>
                  </a:cubicBezTo>
                  <a:cubicBezTo>
                    <a:pt x="19" y="0"/>
                    <a:pt x="21" y="1"/>
                    <a:pt x="23" y="2"/>
                  </a:cubicBezTo>
                  <a:cubicBezTo>
                    <a:pt x="23" y="7"/>
                    <a:pt x="23" y="7"/>
                    <a:pt x="23" y="7"/>
                  </a:cubicBezTo>
                  <a:cubicBezTo>
                    <a:pt x="21" y="5"/>
                    <a:pt x="18" y="4"/>
                    <a:pt x="16" y="4"/>
                  </a:cubicBezTo>
                  <a:cubicBezTo>
                    <a:pt x="13" y="4"/>
                    <a:pt x="10" y="6"/>
                    <a:pt x="8" y="8"/>
                  </a:cubicBezTo>
                  <a:cubicBezTo>
                    <a:pt x="6" y="10"/>
                    <a:pt x="5" y="13"/>
                    <a:pt x="5" y="16"/>
                  </a:cubicBezTo>
                  <a:cubicBezTo>
                    <a:pt x="5" y="20"/>
                    <a:pt x="6" y="23"/>
                    <a:pt x="8" y="25"/>
                  </a:cubicBezTo>
                  <a:cubicBezTo>
                    <a:pt x="10" y="27"/>
                    <a:pt x="12" y="28"/>
                    <a:pt x="16" y="28"/>
                  </a:cubicBezTo>
                  <a:cubicBezTo>
                    <a:pt x="18" y="28"/>
                    <a:pt x="21" y="27"/>
                    <a:pt x="23" y="25"/>
                  </a:cubicBezTo>
                  <a:lnTo>
                    <a:pt x="23"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36" name="Freeform 60"/>
            <p:cNvSpPr>
              <a:spLocks/>
            </p:cNvSpPr>
            <p:nvPr/>
          </p:nvSpPr>
          <p:spPr bwMode="auto">
            <a:xfrm>
              <a:off x="4185" y="2115"/>
              <a:ext cx="42" cy="97"/>
            </a:xfrm>
            <a:custGeom>
              <a:avLst/>
              <a:gdLst>
                <a:gd name="T0" fmla="*/ 18 w 18"/>
                <a:gd name="T1" fmla="*/ 39 h 40"/>
                <a:gd name="T2" fmla="*/ 13 w 18"/>
                <a:gd name="T3" fmla="*/ 40 h 40"/>
                <a:gd name="T4" fmla="*/ 5 w 18"/>
                <a:gd name="T5" fmla="*/ 31 h 40"/>
                <a:gd name="T6" fmla="*/ 5 w 18"/>
                <a:gd name="T7" fmla="*/ 13 h 40"/>
                <a:gd name="T8" fmla="*/ 0 w 18"/>
                <a:gd name="T9" fmla="*/ 13 h 40"/>
                <a:gd name="T10" fmla="*/ 0 w 18"/>
                <a:gd name="T11" fmla="*/ 9 h 40"/>
                <a:gd name="T12" fmla="*/ 5 w 18"/>
                <a:gd name="T13" fmla="*/ 9 h 40"/>
                <a:gd name="T14" fmla="*/ 5 w 18"/>
                <a:gd name="T15" fmla="*/ 2 h 40"/>
                <a:gd name="T16" fmla="*/ 10 w 18"/>
                <a:gd name="T17" fmla="*/ 0 h 40"/>
                <a:gd name="T18" fmla="*/ 10 w 18"/>
                <a:gd name="T19" fmla="*/ 9 h 40"/>
                <a:gd name="T20" fmla="*/ 18 w 18"/>
                <a:gd name="T21" fmla="*/ 9 h 40"/>
                <a:gd name="T22" fmla="*/ 18 w 18"/>
                <a:gd name="T23" fmla="*/ 13 h 40"/>
                <a:gd name="T24" fmla="*/ 10 w 18"/>
                <a:gd name="T25" fmla="*/ 13 h 40"/>
                <a:gd name="T26" fmla="*/ 10 w 18"/>
                <a:gd name="T27" fmla="*/ 30 h 40"/>
                <a:gd name="T28" fmla="*/ 11 w 18"/>
                <a:gd name="T29" fmla="*/ 34 h 40"/>
                <a:gd name="T30" fmla="*/ 14 w 18"/>
                <a:gd name="T31" fmla="*/ 36 h 40"/>
                <a:gd name="T32" fmla="*/ 18 w 18"/>
                <a:gd name="T33" fmla="*/ 35 h 40"/>
                <a:gd name="T34" fmla="*/ 18 w 18"/>
                <a:gd name="T35"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40">
                  <a:moveTo>
                    <a:pt x="18" y="39"/>
                  </a:moveTo>
                  <a:cubicBezTo>
                    <a:pt x="16" y="39"/>
                    <a:pt x="15" y="40"/>
                    <a:pt x="13" y="40"/>
                  </a:cubicBezTo>
                  <a:cubicBezTo>
                    <a:pt x="8" y="40"/>
                    <a:pt x="5" y="37"/>
                    <a:pt x="5" y="31"/>
                  </a:cubicBezTo>
                  <a:cubicBezTo>
                    <a:pt x="5" y="13"/>
                    <a:pt x="5" y="13"/>
                    <a:pt x="5" y="13"/>
                  </a:cubicBezTo>
                  <a:cubicBezTo>
                    <a:pt x="0" y="13"/>
                    <a:pt x="0" y="13"/>
                    <a:pt x="0" y="13"/>
                  </a:cubicBezTo>
                  <a:cubicBezTo>
                    <a:pt x="0" y="9"/>
                    <a:pt x="0" y="9"/>
                    <a:pt x="0" y="9"/>
                  </a:cubicBezTo>
                  <a:cubicBezTo>
                    <a:pt x="5" y="9"/>
                    <a:pt x="5" y="9"/>
                    <a:pt x="5" y="9"/>
                  </a:cubicBezTo>
                  <a:cubicBezTo>
                    <a:pt x="5" y="2"/>
                    <a:pt x="5" y="2"/>
                    <a:pt x="5" y="2"/>
                  </a:cubicBezTo>
                  <a:cubicBezTo>
                    <a:pt x="10" y="0"/>
                    <a:pt x="10" y="0"/>
                    <a:pt x="10" y="0"/>
                  </a:cubicBezTo>
                  <a:cubicBezTo>
                    <a:pt x="10" y="9"/>
                    <a:pt x="10" y="9"/>
                    <a:pt x="10" y="9"/>
                  </a:cubicBezTo>
                  <a:cubicBezTo>
                    <a:pt x="18" y="9"/>
                    <a:pt x="18" y="9"/>
                    <a:pt x="18" y="9"/>
                  </a:cubicBezTo>
                  <a:cubicBezTo>
                    <a:pt x="18" y="13"/>
                    <a:pt x="18" y="13"/>
                    <a:pt x="18" y="13"/>
                  </a:cubicBezTo>
                  <a:cubicBezTo>
                    <a:pt x="10" y="13"/>
                    <a:pt x="10" y="13"/>
                    <a:pt x="10" y="13"/>
                  </a:cubicBezTo>
                  <a:cubicBezTo>
                    <a:pt x="10" y="30"/>
                    <a:pt x="10" y="30"/>
                    <a:pt x="10" y="30"/>
                  </a:cubicBezTo>
                  <a:cubicBezTo>
                    <a:pt x="10" y="32"/>
                    <a:pt x="10" y="34"/>
                    <a:pt x="11" y="34"/>
                  </a:cubicBezTo>
                  <a:cubicBezTo>
                    <a:pt x="12" y="35"/>
                    <a:pt x="13" y="36"/>
                    <a:pt x="14" y="36"/>
                  </a:cubicBezTo>
                  <a:cubicBezTo>
                    <a:pt x="16" y="36"/>
                    <a:pt x="17" y="35"/>
                    <a:pt x="18" y="35"/>
                  </a:cubicBezTo>
                  <a:lnTo>
                    <a:pt x="18" y="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37" name="Freeform 61"/>
            <p:cNvSpPr>
              <a:spLocks noEditPoints="1"/>
            </p:cNvSpPr>
            <p:nvPr/>
          </p:nvSpPr>
          <p:spPr bwMode="auto">
            <a:xfrm>
              <a:off x="3834" y="2108"/>
              <a:ext cx="60" cy="102"/>
            </a:xfrm>
            <a:custGeom>
              <a:avLst/>
              <a:gdLst>
                <a:gd name="T0" fmla="*/ 25 w 25"/>
                <a:gd name="T1" fmla="*/ 13 h 42"/>
                <a:gd name="T2" fmla="*/ 21 w 25"/>
                <a:gd name="T3" fmla="*/ 22 h 42"/>
                <a:gd name="T4" fmla="*/ 10 w 25"/>
                <a:gd name="T5" fmla="*/ 26 h 42"/>
                <a:gd name="T6" fmla="*/ 5 w 25"/>
                <a:gd name="T7" fmla="*/ 26 h 42"/>
                <a:gd name="T8" fmla="*/ 5 w 25"/>
                <a:gd name="T9" fmla="*/ 42 h 42"/>
                <a:gd name="T10" fmla="*/ 0 w 25"/>
                <a:gd name="T11" fmla="*/ 42 h 42"/>
                <a:gd name="T12" fmla="*/ 0 w 25"/>
                <a:gd name="T13" fmla="*/ 0 h 42"/>
                <a:gd name="T14" fmla="*/ 11 w 25"/>
                <a:gd name="T15" fmla="*/ 0 h 42"/>
                <a:gd name="T16" fmla="*/ 22 w 25"/>
                <a:gd name="T17" fmla="*/ 3 h 42"/>
                <a:gd name="T18" fmla="*/ 25 w 25"/>
                <a:gd name="T19" fmla="*/ 13 h 42"/>
                <a:gd name="T20" fmla="*/ 20 w 25"/>
                <a:gd name="T21" fmla="*/ 13 h 42"/>
                <a:gd name="T22" fmla="*/ 10 w 25"/>
                <a:gd name="T23" fmla="*/ 5 h 42"/>
                <a:gd name="T24" fmla="*/ 5 w 25"/>
                <a:gd name="T25" fmla="*/ 5 h 42"/>
                <a:gd name="T26" fmla="*/ 5 w 25"/>
                <a:gd name="T27" fmla="*/ 22 h 42"/>
                <a:gd name="T28" fmla="*/ 10 w 25"/>
                <a:gd name="T29" fmla="*/ 22 h 42"/>
                <a:gd name="T30" fmla="*/ 18 w 25"/>
                <a:gd name="T31" fmla="*/ 19 h 42"/>
                <a:gd name="T32" fmla="*/ 20 w 25"/>
                <a:gd name="T33" fmla="*/ 1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42">
                  <a:moveTo>
                    <a:pt x="25" y="13"/>
                  </a:moveTo>
                  <a:cubicBezTo>
                    <a:pt x="25" y="17"/>
                    <a:pt x="24" y="20"/>
                    <a:pt x="21" y="22"/>
                  </a:cubicBezTo>
                  <a:cubicBezTo>
                    <a:pt x="18" y="25"/>
                    <a:pt x="15" y="26"/>
                    <a:pt x="10" y="26"/>
                  </a:cubicBezTo>
                  <a:cubicBezTo>
                    <a:pt x="5" y="26"/>
                    <a:pt x="5" y="26"/>
                    <a:pt x="5" y="26"/>
                  </a:cubicBezTo>
                  <a:cubicBezTo>
                    <a:pt x="5" y="42"/>
                    <a:pt x="5" y="42"/>
                    <a:pt x="5" y="42"/>
                  </a:cubicBezTo>
                  <a:cubicBezTo>
                    <a:pt x="0" y="42"/>
                    <a:pt x="0" y="42"/>
                    <a:pt x="0" y="42"/>
                  </a:cubicBezTo>
                  <a:cubicBezTo>
                    <a:pt x="0" y="0"/>
                    <a:pt x="0" y="0"/>
                    <a:pt x="0" y="0"/>
                  </a:cubicBezTo>
                  <a:cubicBezTo>
                    <a:pt x="11" y="0"/>
                    <a:pt x="11" y="0"/>
                    <a:pt x="11" y="0"/>
                  </a:cubicBezTo>
                  <a:cubicBezTo>
                    <a:pt x="16" y="0"/>
                    <a:pt x="19" y="1"/>
                    <a:pt x="22" y="3"/>
                  </a:cubicBezTo>
                  <a:cubicBezTo>
                    <a:pt x="24" y="6"/>
                    <a:pt x="25" y="9"/>
                    <a:pt x="25" y="13"/>
                  </a:cubicBezTo>
                  <a:close/>
                  <a:moveTo>
                    <a:pt x="20" y="13"/>
                  </a:moveTo>
                  <a:cubicBezTo>
                    <a:pt x="20" y="7"/>
                    <a:pt x="17" y="5"/>
                    <a:pt x="10" y="5"/>
                  </a:cubicBezTo>
                  <a:cubicBezTo>
                    <a:pt x="5" y="5"/>
                    <a:pt x="5" y="5"/>
                    <a:pt x="5" y="5"/>
                  </a:cubicBezTo>
                  <a:cubicBezTo>
                    <a:pt x="5" y="22"/>
                    <a:pt x="5" y="22"/>
                    <a:pt x="5" y="22"/>
                  </a:cubicBezTo>
                  <a:cubicBezTo>
                    <a:pt x="10" y="22"/>
                    <a:pt x="10" y="22"/>
                    <a:pt x="10" y="22"/>
                  </a:cubicBezTo>
                  <a:cubicBezTo>
                    <a:pt x="13" y="22"/>
                    <a:pt x="16" y="21"/>
                    <a:pt x="18" y="19"/>
                  </a:cubicBezTo>
                  <a:cubicBezTo>
                    <a:pt x="19" y="18"/>
                    <a:pt x="20" y="16"/>
                    <a:pt x="20"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38" name="Freeform 62"/>
            <p:cNvSpPr>
              <a:spLocks/>
            </p:cNvSpPr>
            <p:nvPr/>
          </p:nvSpPr>
          <p:spPr bwMode="auto">
            <a:xfrm>
              <a:off x="3908" y="2137"/>
              <a:ext cx="38" cy="73"/>
            </a:xfrm>
            <a:custGeom>
              <a:avLst/>
              <a:gdLst>
                <a:gd name="T0" fmla="*/ 16 w 16"/>
                <a:gd name="T1" fmla="*/ 5 h 30"/>
                <a:gd name="T2" fmla="*/ 12 w 16"/>
                <a:gd name="T3" fmla="*/ 4 h 30"/>
                <a:gd name="T4" fmla="*/ 7 w 16"/>
                <a:gd name="T5" fmla="*/ 7 h 30"/>
                <a:gd name="T6" fmla="*/ 5 w 16"/>
                <a:gd name="T7" fmla="*/ 15 h 30"/>
                <a:gd name="T8" fmla="*/ 5 w 16"/>
                <a:gd name="T9" fmla="*/ 30 h 30"/>
                <a:gd name="T10" fmla="*/ 0 w 16"/>
                <a:gd name="T11" fmla="*/ 30 h 30"/>
                <a:gd name="T12" fmla="*/ 0 w 16"/>
                <a:gd name="T13" fmla="*/ 0 h 30"/>
                <a:gd name="T14" fmla="*/ 5 w 16"/>
                <a:gd name="T15" fmla="*/ 0 h 30"/>
                <a:gd name="T16" fmla="*/ 5 w 16"/>
                <a:gd name="T17" fmla="*/ 6 h 30"/>
                <a:gd name="T18" fmla="*/ 5 w 16"/>
                <a:gd name="T19" fmla="*/ 6 h 30"/>
                <a:gd name="T20" fmla="*/ 8 w 16"/>
                <a:gd name="T21" fmla="*/ 1 h 30"/>
                <a:gd name="T22" fmla="*/ 13 w 16"/>
                <a:gd name="T23" fmla="*/ 0 h 30"/>
                <a:gd name="T24" fmla="*/ 16 w 16"/>
                <a:gd name="T25" fmla="*/ 0 h 30"/>
                <a:gd name="T26" fmla="*/ 16 w 16"/>
                <a:gd name="T27"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30">
                  <a:moveTo>
                    <a:pt x="16" y="5"/>
                  </a:moveTo>
                  <a:cubicBezTo>
                    <a:pt x="15" y="4"/>
                    <a:pt x="14" y="4"/>
                    <a:pt x="12" y="4"/>
                  </a:cubicBezTo>
                  <a:cubicBezTo>
                    <a:pt x="10" y="4"/>
                    <a:pt x="8" y="5"/>
                    <a:pt x="7" y="7"/>
                  </a:cubicBezTo>
                  <a:cubicBezTo>
                    <a:pt x="5" y="9"/>
                    <a:pt x="5" y="12"/>
                    <a:pt x="5" y="15"/>
                  </a:cubicBezTo>
                  <a:cubicBezTo>
                    <a:pt x="5" y="30"/>
                    <a:pt x="5" y="30"/>
                    <a:pt x="5" y="30"/>
                  </a:cubicBezTo>
                  <a:cubicBezTo>
                    <a:pt x="0" y="30"/>
                    <a:pt x="0" y="30"/>
                    <a:pt x="0" y="30"/>
                  </a:cubicBezTo>
                  <a:cubicBezTo>
                    <a:pt x="0" y="0"/>
                    <a:pt x="0" y="0"/>
                    <a:pt x="0" y="0"/>
                  </a:cubicBezTo>
                  <a:cubicBezTo>
                    <a:pt x="5" y="0"/>
                    <a:pt x="5" y="0"/>
                    <a:pt x="5" y="0"/>
                  </a:cubicBezTo>
                  <a:cubicBezTo>
                    <a:pt x="5" y="6"/>
                    <a:pt x="5" y="6"/>
                    <a:pt x="5" y="6"/>
                  </a:cubicBezTo>
                  <a:cubicBezTo>
                    <a:pt x="5" y="6"/>
                    <a:pt x="5" y="6"/>
                    <a:pt x="5" y="6"/>
                  </a:cubicBezTo>
                  <a:cubicBezTo>
                    <a:pt x="6" y="4"/>
                    <a:pt x="7" y="3"/>
                    <a:pt x="8" y="1"/>
                  </a:cubicBezTo>
                  <a:cubicBezTo>
                    <a:pt x="9" y="0"/>
                    <a:pt x="11" y="0"/>
                    <a:pt x="13" y="0"/>
                  </a:cubicBezTo>
                  <a:cubicBezTo>
                    <a:pt x="14" y="0"/>
                    <a:pt x="15" y="0"/>
                    <a:pt x="16" y="0"/>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39" name="Freeform 63"/>
            <p:cNvSpPr>
              <a:spLocks noEditPoints="1"/>
            </p:cNvSpPr>
            <p:nvPr/>
          </p:nvSpPr>
          <p:spPr bwMode="auto">
            <a:xfrm>
              <a:off x="3946" y="2134"/>
              <a:ext cx="72" cy="78"/>
            </a:xfrm>
            <a:custGeom>
              <a:avLst/>
              <a:gdLst>
                <a:gd name="T0" fmla="*/ 30 w 30"/>
                <a:gd name="T1" fmla="*/ 16 h 32"/>
                <a:gd name="T2" fmla="*/ 26 w 30"/>
                <a:gd name="T3" fmla="*/ 27 h 32"/>
                <a:gd name="T4" fmla="*/ 15 w 30"/>
                <a:gd name="T5" fmla="*/ 32 h 32"/>
                <a:gd name="T6" fmla="*/ 4 w 30"/>
                <a:gd name="T7" fmla="*/ 28 h 32"/>
                <a:gd name="T8" fmla="*/ 0 w 30"/>
                <a:gd name="T9" fmla="*/ 16 h 32"/>
                <a:gd name="T10" fmla="*/ 4 w 30"/>
                <a:gd name="T11" fmla="*/ 5 h 32"/>
                <a:gd name="T12" fmla="*/ 15 w 30"/>
                <a:gd name="T13" fmla="*/ 0 h 32"/>
                <a:gd name="T14" fmla="*/ 26 w 30"/>
                <a:gd name="T15" fmla="*/ 5 h 32"/>
                <a:gd name="T16" fmla="*/ 30 w 30"/>
                <a:gd name="T17" fmla="*/ 16 h 32"/>
                <a:gd name="T18" fmla="*/ 25 w 30"/>
                <a:gd name="T19" fmla="*/ 16 h 32"/>
                <a:gd name="T20" fmla="*/ 22 w 30"/>
                <a:gd name="T21" fmla="*/ 7 h 32"/>
                <a:gd name="T22" fmla="*/ 15 w 30"/>
                <a:gd name="T23" fmla="*/ 4 h 32"/>
                <a:gd name="T24" fmla="*/ 8 w 30"/>
                <a:gd name="T25" fmla="*/ 8 h 32"/>
                <a:gd name="T26" fmla="*/ 5 w 30"/>
                <a:gd name="T27" fmla="*/ 16 h 32"/>
                <a:gd name="T28" fmla="*/ 8 w 30"/>
                <a:gd name="T29" fmla="*/ 25 h 32"/>
                <a:gd name="T30" fmla="*/ 15 w 30"/>
                <a:gd name="T31" fmla="*/ 28 h 32"/>
                <a:gd name="T32" fmla="*/ 22 w 30"/>
                <a:gd name="T33" fmla="*/ 25 h 32"/>
                <a:gd name="T34" fmla="*/ 25 w 30"/>
                <a:gd name="T35"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32">
                  <a:moveTo>
                    <a:pt x="30" y="16"/>
                  </a:moveTo>
                  <a:cubicBezTo>
                    <a:pt x="30" y="21"/>
                    <a:pt x="28" y="25"/>
                    <a:pt x="26" y="27"/>
                  </a:cubicBezTo>
                  <a:cubicBezTo>
                    <a:pt x="23" y="30"/>
                    <a:pt x="19" y="32"/>
                    <a:pt x="15" y="32"/>
                  </a:cubicBezTo>
                  <a:cubicBezTo>
                    <a:pt x="10" y="32"/>
                    <a:pt x="7" y="30"/>
                    <a:pt x="4" y="28"/>
                  </a:cubicBezTo>
                  <a:cubicBezTo>
                    <a:pt x="2" y="25"/>
                    <a:pt x="0" y="21"/>
                    <a:pt x="0" y="16"/>
                  </a:cubicBezTo>
                  <a:cubicBezTo>
                    <a:pt x="0" y="11"/>
                    <a:pt x="2" y="8"/>
                    <a:pt x="4" y="5"/>
                  </a:cubicBezTo>
                  <a:cubicBezTo>
                    <a:pt x="7" y="2"/>
                    <a:pt x="11" y="0"/>
                    <a:pt x="15" y="0"/>
                  </a:cubicBezTo>
                  <a:cubicBezTo>
                    <a:pt x="20" y="0"/>
                    <a:pt x="23" y="2"/>
                    <a:pt x="26" y="5"/>
                  </a:cubicBezTo>
                  <a:cubicBezTo>
                    <a:pt x="28" y="7"/>
                    <a:pt x="30" y="11"/>
                    <a:pt x="30" y="16"/>
                  </a:cubicBezTo>
                  <a:close/>
                  <a:moveTo>
                    <a:pt x="25" y="16"/>
                  </a:moveTo>
                  <a:cubicBezTo>
                    <a:pt x="25" y="12"/>
                    <a:pt x="24" y="9"/>
                    <a:pt x="22" y="7"/>
                  </a:cubicBezTo>
                  <a:cubicBezTo>
                    <a:pt x="21" y="5"/>
                    <a:pt x="18" y="4"/>
                    <a:pt x="15" y="4"/>
                  </a:cubicBezTo>
                  <a:cubicBezTo>
                    <a:pt x="12" y="4"/>
                    <a:pt x="10" y="5"/>
                    <a:pt x="8" y="8"/>
                  </a:cubicBezTo>
                  <a:cubicBezTo>
                    <a:pt x="6" y="10"/>
                    <a:pt x="5" y="12"/>
                    <a:pt x="5" y="16"/>
                  </a:cubicBezTo>
                  <a:cubicBezTo>
                    <a:pt x="5" y="20"/>
                    <a:pt x="6" y="23"/>
                    <a:pt x="8" y="25"/>
                  </a:cubicBezTo>
                  <a:cubicBezTo>
                    <a:pt x="10" y="27"/>
                    <a:pt x="12" y="28"/>
                    <a:pt x="15" y="28"/>
                  </a:cubicBezTo>
                  <a:cubicBezTo>
                    <a:pt x="18" y="28"/>
                    <a:pt x="21" y="27"/>
                    <a:pt x="22" y="25"/>
                  </a:cubicBezTo>
                  <a:cubicBezTo>
                    <a:pt x="24" y="23"/>
                    <a:pt x="25" y="20"/>
                    <a:pt x="25"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40" name="Freeform 64"/>
            <p:cNvSpPr>
              <a:spLocks noEditPoints="1"/>
            </p:cNvSpPr>
            <p:nvPr/>
          </p:nvSpPr>
          <p:spPr bwMode="auto">
            <a:xfrm>
              <a:off x="4006" y="2103"/>
              <a:ext cx="38" cy="141"/>
            </a:xfrm>
            <a:custGeom>
              <a:avLst/>
              <a:gdLst>
                <a:gd name="T0" fmla="*/ 15 w 16"/>
                <a:gd name="T1" fmla="*/ 43 h 58"/>
                <a:gd name="T2" fmla="*/ 12 w 16"/>
                <a:gd name="T3" fmla="*/ 54 h 58"/>
                <a:gd name="T4" fmla="*/ 4 w 16"/>
                <a:gd name="T5" fmla="*/ 58 h 58"/>
                <a:gd name="T6" fmla="*/ 0 w 16"/>
                <a:gd name="T7" fmla="*/ 57 h 58"/>
                <a:gd name="T8" fmla="*/ 0 w 16"/>
                <a:gd name="T9" fmla="*/ 53 h 58"/>
                <a:gd name="T10" fmla="*/ 4 w 16"/>
                <a:gd name="T11" fmla="*/ 54 h 58"/>
                <a:gd name="T12" fmla="*/ 11 w 16"/>
                <a:gd name="T13" fmla="*/ 44 h 58"/>
                <a:gd name="T14" fmla="*/ 11 w 16"/>
                <a:gd name="T15" fmla="*/ 14 h 58"/>
                <a:gd name="T16" fmla="*/ 15 w 16"/>
                <a:gd name="T17" fmla="*/ 14 h 58"/>
                <a:gd name="T18" fmla="*/ 15 w 16"/>
                <a:gd name="T19" fmla="*/ 43 h 58"/>
                <a:gd name="T20" fmla="*/ 16 w 16"/>
                <a:gd name="T21" fmla="*/ 3 h 58"/>
                <a:gd name="T22" fmla="*/ 15 w 16"/>
                <a:gd name="T23" fmla="*/ 6 h 58"/>
                <a:gd name="T24" fmla="*/ 13 w 16"/>
                <a:gd name="T25" fmla="*/ 6 h 58"/>
                <a:gd name="T26" fmla="*/ 11 w 16"/>
                <a:gd name="T27" fmla="*/ 6 h 58"/>
                <a:gd name="T28" fmla="*/ 10 w 16"/>
                <a:gd name="T29" fmla="*/ 3 h 58"/>
                <a:gd name="T30" fmla="*/ 11 w 16"/>
                <a:gd name="T31" fmla="*/ 1 h 58"/>
                <a:gd name="T32" fmla="*/ 13 w 16"/>
                <a:gd name="T33" fmla="*/ 0 h 58"/>
                <a:gd name="T34" fmla="*/ 15 w 16"/>
                <a:gd name="T35" fmla="*/ 1 h 58"/>
                <a:gd name="T36" fmla="*/ 16 w 16"/>
                <a:gd name="T37" fmla="*/ 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58">
                  <a:moveTo>
                    <a:pt x="15" y="43"/>
                  </a:moveTo>
                  <a:cubicBezTo>
                    <a:pt x="15" y="48"/>
                    <a:pt x="14" y="52"/>
                    <a:pt x="12" y="54"/>
                  </a:cubicBezTo>
                  <a:cubicBezTo>
                    <a:pt x="10" y="57"/>
                    <a:pt x="8" y="58"/>
                    <a:pt x="4" y="58"/>
                  </a:cubicBezTo>
                  <a:cubicBezTo>
                    <a:pt x="2" y="58"/>
                    <a:pt x="1" y="58"/>
                    <a:pt x="0" y="57"/>
                  </a:cubicBezTo>
                  <a:cubicBezTo>
                    <a:pt x="0" y="53"/>
                    <a:pt x="0" y="53"/>
                    <a:pt x="0" y="53"/>
                  </a:cubicBezTo>
                  <a:cubicBezTo>
                    <a:pt x="1" y="54"/>
                    <a:pt x="3" y="54"/>
                    <a:pt x="4" y="54"/>
                  </a:cubicBezTo>
                  <a:cubicBezTo>
                    <a:pt x="8" y="54"/>
                    <a:pt x="11" y="51"/>
                    <a:pt x="11" y="44"/>
                  </a:cubicBezTo>
                  <a:cubicBezTo>
                    <a:pt x="11" y="14"/>
                    <a:pt x="11" y="14"/>
                    <a:pt x="11" y="14"/>
                  </a:cubicBezTo>
                  <a:cubicBezTo>
                    <a:pt x="15" y="14"/>
                    <a:pt x="15" y="14"/>
                    <a:pt x="15" y="14"/>
                  </a:cubicBezTo>
                  <a:lnTo>
                    <a:pt x="15" y="43"/>
                  </a:lnTo>
                  <a:close/>
                  <a:moveTo>
                    <a:pt x="16" y="3"/>
                  </a:moveTo>
                  <a:cubicBezTo>
                    <a:pt x="16" y="4"/>
                    <a:pt x="16" y="5"/>
                    <a:pt x="15" y="6"/>
                  </a:cubicBezTo>
                  <a:cubicBezTo>
                    <a:pt x="15" y="6"/>
                    <a:pt x="14" y="6"/>
                    <a:pt x="13" y="6"/>
                  </a:cubicBezTo>
                  <a:cubicBezTo>
                    <a:pt x="12" y="6"/>
                    <a:pt x="11" y="6"/>
                    <a:pt x="11" y="6"/>
                  </a:cubicBezTo>
                  <a:cubicBezTo>
                    <a:pt x="10" y="5"/>
                    <a:pt x="10" y="4"/>
                    <a:pt x="10" y="3"/>
                  </a:cubicBezTo>
                  <a:cubicBezTo>
                    <a:pt x="10" y="2"/>
                    <a:pt x="10" y="2"/>
                    <a:pt x="11" y="1"/>
                  </a:cubicBezTo>
                  <a:cubicBezTo>
                    <a:pt x="11" y="1"/>
                    <a:pt x="12" y="0"/>
                    <a:pt x="13" y="0"/>
                  </a:cubicBezTo>
                  <a:cubicBezTo>
                    <a:pt x="14" y="0"/>
                    <a:pt x="15" y="1"/>
                    <a:pt x="15" y="1"/>
                  </a:cubicBezTo>
                  <a:cubicBezTo>
                    <a:pt x="16" y="2"/>
                    <a:pt x="16" y="2"/>
                    <a:pt x="16"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41" name="Freeform 65"/>
            <p:cNvSpPr>
              <a:spLocks noEditPoints="1"/>
            </p:cNvSpPr>
            <p:nvPr/>
          </p:nvSpPr>
          <p:spPr bwMode="auto">
            <a:xfrm>
              <a:off x="4056" y="2134"/>
              <a:ext cx="62" cy="78"/>
            </a:xfrm>
            <a:custGeom>
              <a:avLst/>
              <a:gdLst>
                <a:gd name="T0" fmla="*/ 26 w 26"/>
                <a:gd name="T1" fmla="*/ 17 h 32"/>
                <a:gd name="T2" fmla="*/ 5 w 26"/>
                <a:gd name="T3" fmla="*/ 17 h 32"/>
                <a:gd name="T4" fmla="*/ 8 w 26"/>
                <a:gd name="T5" fmla="*/ 25 h 32"/>
                <a:gd name="T6" fmla="*/ 15 w 26"/>
                <a:gd name="T7" fmla="*/ 28 h 32"/>
                <a:gd name="T8" fmla="*/ 24 w 26"/>
                <a:gd name="T9" fmla="*/ 24 h 32"/>
                <a:gd name="T10" fmla="*/ 24 w 26"/>
                <a:gd name="T11" fmla="*/ 29 h 32"/>
                <a:gd name="T12" fmla="*/ 14 w 26"/>
                <a:gd name="T13" fmla="*/ 32 h 32"/>
                <a:gd name="T14" fmla="*/ 4 w 26"/>
                <a:gd name="T15" fmla="*/ 28 h 32"/>
                <a:gd name="T16" fmla="*/ 0 w 26"/>
                <a:gd name="T17" fmla="*/ 16 h 32"/>
                <a:gd name="T18" fmla="*/ 2 w 26"/>
                <a:gd name="T19" fmla="*/ 8 h 32"/>
                <a:gd name="T20" fmla="*/ 7 w 26"/>
                <a:gd name="T21" fmla="*/ 2 h 32"/>
                <a:gd name="T22" fmla="*/ 14 w 26"/>
                <a:gd name="T23" fmla="*/ 0 h 32"/>
                <a:gd name="T24" fmla="*/ 23 w 26"/>
                <a:gd name="T25" fmla="*/ 4 h 32"/>
                <a:gd name="T26" fmla="*/ 26 w 26"/>
                <a:gd name="T27" fmla="*/ 15 h 32"/>
                <a:gd name="T28" fmla="*/ 26 w 26"/>
                <a:gd name="T29" fmla="*/ 17 h 32"/>
                <a:gd name="T30" fmla="*/ 21 w 26"/>
                <a:gd name="T31" fmla="*/ 13 h 32"/>
                <a:gd name="T32" fmla="*/ 19 w 26"/>
                <a:gd name="T33" fmla="*/ 7 h 32"/>
                <a:gd name="T34" fmla="*/ 14 w 26"/>
                <a:gd name="T35" fmla="*/ 4 h 32"/>
                <a:gd name="T36" fmla="*/ 8 w 26"/>
                <a:gd name="T37" fmla="*/ 7 h 32"/>
                <a:gd name="T38" fmla="*/ 5 w 26"/>
                <a:gd name="T39" fmla="*/ 13 h 32"/>
                <a:gd name="T40" fmla="*/ 21 w 26"/>
                <a:gd name="T41" fmla="*/ 1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2">
                  <a:moveTo>
                    <a:pt x="26" y="17"/>
                  </a:moveTo>
                  <a:cubicBezTo>
                    <a:pt x="5" y="17"/>
                    <a:pt x="5" y="17"/>
                    <a:pt x="5" y="17"/>
                  </a:cubicBezTo>
                  <a:cubicBezTo>
                    <a:pt x="5" y="21"/>
                    <a:pt x="6" y="23"/>
                    <a:pt x="8" y="25"/>
                  </a:cubicBezTo>
                  <a:cubicBezTo>
                    <a:pt x="10" y="27"/>
                    <a:pt x="12" y="28"/>
                    <a:pt x="15" y="28"/>
                  </a:cubicBezTo>
                  <a:cubicBezTo>
                    <a:pt x="18" y="28"/>
                    <a:pt x="21" y="27"/>
                    <a:pt x="24" y="24"/>
                  </a:cubicBezTo>
                  <a:cubicBezTo>
                    <a:pt x="24" y="29"/>
                    <a:pt x="24" y="29"/>
                    <a:pt x="24" y="29"/>
                  </a:cubicBezTo>
                  <a:cubicBezTo>
                    <a:pt x="22" y="31"/>
                    <a:pt x="18" y="32"/>
                    <a:pt x="14" y="32"/>
                  </a:cubicBezTo>
                  <a:cubicBezTo>
                    <a:pt x="10" y="32"/>
                    <a:pt x="6" y="30"/>
                    <a:pt x="4" y="28"/>
                  </a:cubicBezTo>
                  <a:cubicBezTo>
                    <a:pt x="1" y="25"/>
                    <a:pt x="0" y="21"/>
                    <a:pt x="0" y="16"/>
                  </a:cubicBezTo>
                  <a:cubicBezTo>
                    <a:pt x="0" y="13"/>
                    <a:pt x="1" y="11"/>
                    <a:pt x="2" y="8"/>
                  </a:cubicBezTo>
                  <a:cubicBezTo>
                    <a:pt x="3" y="6"/>
                    <a:pt x="5" y="4"/>
                    <a:pt x="7" y="2"/>
                  </a:cubicBezTo>
                  <a:cubicBezTo>
                    <a:pt x="9" y="1"/>
                    <a:pt x="11" y="0"/>
                    <a:pt x="14" y="0"/>
                  </a:cubicBezTo>
                  <a:cubicBezTo>
                    <a:pt x="18" y="0"/>
                    <a:pt x="21" y="2"/>
                    <a:pt x="23" y="4"/>
                  </a:cubicBezTo>
                  <a:cubicBezTo>
                    <a:pt x="25" y="7"/>
                    <a:pt x="26" y="10"/>
                    <a:pt x="26" y="15"/>
                  </a:cubicBezTo>
                  <a:lnTo>
                    <a:pt x="26" y="17"/>
                  </a:lnTo>
                  <a:close/>
                  <a:moveTo>
                    <a:pt x="21" y="13"/>
                  </a:moveTo>
                  <a:cubicBezTo>
                    <a:pt x="21" y="10"/>
                    <a:pt x="21" y="8"/>
                    <a:pt x="19" y="7"/>
                  </a:cubicBezTo>
                  <a:cubicBezTo>
                    <a:pt x="18" y="5"/>
                    <a:pt x="16" y="4"/>
                    <a:pt x="14" y="4"/>
                  </a:cubicBezTo>
                  <a:cubicBezTo>
                    <a:pt x="12" y="4"/>
                    <a:pt x="10" y="5"/>
                    <a:pt x="8" y="7"/>
                  </a:cubicBezTo>
                  <a:cubicBezTo>
                    <a:pt x="7" y="8"/>
                    <a:pt x="6" y="11"/>
                    <a:pt x="5" y="13"/>
                  </a:cubicBezTo>
                  <a:lnTo>
                    <a:pt x="21"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42" name="Freeform 66"/>
            <p:cNvSpPr>
              <a:spLocks/>
            </p:cNvSpPr>
            <p:nvPr/>
          </p:nvSpPr>
          <p:spPr bwMode="auto">
            <a:xfrm>
              <a:off x="4125" y="2134"/>
              <a:ext cx="55" cy="78"/>
            </a:xfrm>
            <a:custGeom>
              <a:avLst/>
              <a:gdLst>
                <a:gd name="T0" fmla="*/ 23 w 23"/>
                <a:gd name="T1" fmla="*/ 30 h 32"/>
                <a:gd name="T2" fmla="*/ 15 w 23"/>
                <a:gd name="T3" fmla="*/ 32 h 32"/>
                <a:gd name="T4" fmla="*/ 7 w 23"/>
                <a:gd name="T5" fmla="*/ 30 h 32"/>
                <a:gd name="T6" fmla="*/ 2 w 23"/>
                <a:gd name="T7" fmla="*/ 25 h 32"/>
                <a:gd name="T8" fmla="*/ 0 w 23"/>
                <a:gd name="T9" fmla="*/ 17 h 32"/>
                <a:gd name="T10" fmla="*/ 5 w 23"/>
                <a:gd name="T11" fmla="*/ 5 h 32"/>
                <a:gd name="T12" fmla="*/ 16 w 23"/>
                <a:gd name="T13" fmla="*/ 0 h 32"/>
                <a:gd name="T14" fmla="*/ 23 w 23"/>
                <a:gd name="T15" fmla="*/ 2 h 32"/>
                <a:gd name="T16" fmla="*/ 23 w 23"/>
                <a:gd name="T17" fmla="*/ 7 h 32"/>
                <a:gd name="T18" fmla="*/ 16 w 23"/>
                <a:gd name="T19" fmla="*/ 4 h 32"/>
                <a:gd name="T20" fmla="*/ 8 w 23"/>
                <a:gd name="T21" fmla="*/ 8 h 32"/>
                <a:gd name="T22" fmla="*/ 5 w 23"/>
                <a:gd name="T23" fmla="*/ 16 h 32"/>
                <a:gd name="T24" fmla="*/ 8 w 23"/>
                <a:gd name="T25" fmla="*/ 25 h 32"/>
                <a:gd name="T26" fmla="*/ 16 w 23"/>
                <a:gd name="T27" fmla="*/ 28 h 32"/>
                <a:gd name="T28" fmla="*/ 23 w 23"/>
                <a:gd name="T29" fmla="*/ 25 h 32"/>
                <a:gd name="T30" fmla="*/ 23 w 23"/>
                <a:gd name="T31"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32">
                  <a:moveTo>
                    <a:pt x="23" y="30"/>
                  </a:moveTo>
                  <a:cubicBezTo>
                    <a:pt x="21" y="31"/>
                    <a:pt x="18" y="32"/>
                    <a:pt x="15" y="32"/>
                  </a:cubicBezTo>
                  <a:cubicBezTo>
                    <a:pt x="12" y="32"/>
                    <a:pt x="10" y="31"/>
                    <a:pt x="7" y="30"/>
                  </a:cubicBezTo>
                  <a:cubicBezTo>
                    <a:pt x="5" y="29"/>
                    <a:pt x="3" y="27"/>
                    <a:pt x="2" y="25"/>
                  </a:cubicBezTo>
                  <a:cubicBezTo>
                    <a:pt x="1" y="22"/>
                    <a:pt x="0" y="20"/>
                    <a:pt x="0" y="17"/>
                  </a:cubicBezTo>
                  <a:cubicBezTo>
                    <a:pt x="0" y="12"/>
                    <a:pt x="2" y="8"/>
                    <a:pt x="5" y="5"/>
                  </a:cubicBezTo>
                  <a:cubicBezTo>
                    <a:pt x="8" y="2"/>
                    <a:pt x="11" y="0"/>
                    <a:pt x="16" y="0"/>
                  </a:cubicBezTo>
                  <a:cubicBezTo>
                    <a:pt x="19" y="0"/>
                    <a:pt x="21" y="1"/>
                    <a:pt x="23" y="2"/>
                  </a:cubicBezTo>
                  <a:cubicBezTo>
                    <a:pt x="23" y="7"/>
                    <a:pt x="23" y="7"/>
                    <a:pt x="23" y="7"/>
                  </a:cubicBezTo>
                  <a:cubicBezTo>
                    <a:pt x="21" y="5"/>
                    <a:pt x="18" y="4"/>
                    <a:pt x="16" y="4"/>
                  </a:cubicBezTo>
                  <a:cubicBezTo>
                    <a:pt x="13" y="4"/>
                    <a:pt x="10" y="6"/>
                    <a:pt x="8" y="8"/>
                  </a:cubicBezTo>
                  <a:cubicBezTo>
                    <a:pt x="6" y="10"/>
                    <a:pt x="5" y="13"/>
                    <a:pt x="5" y="16"/>
                  </a:cubicBezTo>
                  <a:cubicBezTo>
                    <a:pt x="5" y="20"/>
                    <a:pt x="6" y="23"/>
                    <a:pt x="8" y="25"/>
                  </a:cubicBezTo>
                  <a:cubicBezTo>
                    <a:pt x="10" y="27"/>
                    <a:pt x="12" y="28"/>
                    <a:pt x="16" y="28"/>
                  </a:cubicBezTo>
                  <a:cubicBezTo>
                    <a:pt x="18" y="28"/>
                    <a:pt x="21" y="27"/>
                    <a:pt x="23" y="25"/>
                  </a:cubicBezTo>
                  <a:lnTo>
                    <a:pt x="23"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43" name="Freeform 67"/>
            <p:cNvSpPr>
              <a:spLocks/>
            </p:cNvSpPr>
            <p:nvPr/>
          </p:nvSpPr>
          <p:spPr bwMode="auto">
            <a:xfrm>
              <a:off x="4185" y="2115"/>
              <a:ext cx="42" cy="97"/>
            </a:xfrm>
            <a:custGeom>
              <a:avLst/>
              <a:gdLst>
                <a:gd name="T0" fmla="*/ 18 w 18"/>
                <a:gd name="T1" fmla="*/ 39 h 40"/>
                <a:gd name="T2" fmla="*/ 13 w 18"/>
                <a:gd name="T3" fmla="*/ 40 h 40"/>
                <a:gd name="T4" fmla="*/ 5 w 18"/>
                <a:gd name="T5" fmla="*/ 31 h 40"/>
                <a:gd name="T6" fmla="*/ 5 w 18"/>
                <a:gd name="T7" fmla="*/ 13 h 40"/>
                <a:gd name="T8" fmla="*/ 0 w 18"/>
                <a:gd name="T9" fmla="*/ 13 h 40"/>
                <a:gd name="T10" fmla="*/ 0 w 18"/>
                <a:gd name="T11" fmla="*/ 9 h 40"/>
                <a:gd name="T12" fmla="*/ 5 w 18"/>
                <a:gd name="T13" fmla="*/ 9 h 40"/>
                <a:gd name="T14" fmla="*/ 5 w 18"/>
                <a:gd name="T15" fmla="*/ 2 h 40"/>
                <a:gd name="T16" fmla="*/ 10 w 18"/>
                <a:gd name="T17" fmla="*/ 0 h 40"/>
                <a:gd name="T18" fmla="*/ 10 w 18"/>
                <a:gd name="T19" fmla="*/ 9 h 40"/>
                <a:gd name="T20" fmla="*/ 18 w 18"/>
                <a:gd name="T21" fmla="*/ 9 h 40"/>
                <a:gd name="T22" fmla="*/ 18 w 18"/>
                <a:gd name="T23" fmla="*/ 13 h 40"/>
                <a:gd name="T24" fmla="*/ 10 w 18"/>
                <a:gd name="T25" fmla="*/ 13 h 40"/>
                <a:gd name="T26" fmla="*/ 10 w 18"/>
                <a:gd name="T27" fmla="*/ 30 h 40"/>
                <a:gd name="T28" fmla="*/ 11 w 18"/>
                <a:gd name="T29" fmla="*/ 34 h 40"/>
                <a:gd name="T30" fmla="*/ 14 w 18"/>
                <a:gd name="T31" fmla="*/ 36 h 40"/>
                <a:gd name="T32" fmla="*/ 18 w 18"/>
                <a:gd name="T33" fmla="*/ 35 h 40"/>
                <a:gd name="T34" fmla="*/ 18 w 18"/>
                <a:gd name="T35"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40">
                  <a:moveTo>
                    <a:pt x="18" y="39"/>
                  </a:moveTo>
                  <a:cubicBezTo>
                    <a:pt x="16" y="39"/>
                    <a:pt x="15" y="40"/>
                    <a:pt x="13" y="40"/>
                  </a:cubicBezTo>
                  <a:cubicBezTo>
                    <a:pt x="8" y="40"/>
                    <a:pt x="5" y="37"/>
                    <a:pt x="5" y="31"/>
                  </a:cubicBezTo>
                  <a:cubicBezTo>
                    <a:pt x="5" y="13"/>
                    <a:pt x="5" y="13"/>
                    <a:pt x="5" y="13"/>
                  </a:cubicBezTo>
                  <a:cubicBezTo>
                    <a:pt x="0" y="13"/>
                    <a:pt x="0" y="13"/>
                    <a:pt x="0" y="13"/>
                  </a:cubicBezTo>
                  <a:cubicBezTo>
                    <a:pt x="0" y="9"/>
                    <a:pt x="0" y="9"/>
                    <a:pt x="0" y="9"/>
                  </a:cubicBezTo>
                  <a:cubicBezTo>
                    <a:pt x="5" y="9"/>
                    <a:pt x="5" y="9"/>
                    <a:pt x="5" y="9"/>
                  </a:cubicBezTo>
                  <a:cubicBezTo>
                    <a:pt x="5" y="2"/>
                    <a:pt x="5" y="2"/>
                    <a:pt x="5" y="2"/>
                  </a:cubicBezTo>
                  <a:cubicBezTo>
                    <a:pt x="10" y="0"/>
                    <a:pt x="10" y="0"/>
                    <a:pt x="10" y="0"/>
                  </a:cubicBezTo>
                  <a:cubicBezTo>
                    <a:pt x="10" y="9"/>
                    <a:pt x="10" y="9"/>
                    <a:pt x="10" y="9"/>
                  </a:cubicBezTo>
                  <a:cubicBezTo>
                    <a:pt x="18" y="9"/>
                    <a:pt x="18" y="9"/>
                    <a:pt x="18" y="9"/>
                  </a:cubicBezTo>
                  <a:cubicBezTo>
                    <a:pt x="18" y="13"/>
                    <a:pt x="18" y="13"/>
                    <a:pt x="18" y="13"/>
                  </a:cubicBezTo>
                  <a:cubicBezTo>
                    <a:pt x="10" y="13"/>
                    <a:pt x="10" y="13"/>
                    <a:pt x="10" y="13"/>
                  </a:cubicBezTo>
                  <a:cubicBezTo>
                    <a:pt x="10" y="30"/>
                    <a:pt x="10" y="30"/>
                    <a:pt x="10" y="30"/>
                  </a:cubicBezTo>
                  <a:cubicBezTo>
                    <a:pt x="10" y="32"/>
                    <a:pt x="10" y="34"/>
                    <a:pt x="11" y="34"/>
                  </a:cubicBezTo>
                  <a:cubicBezTo>
                    <a:pt x="12" y="35"/>
                    <a:pt x="13" y="36"/>
                    <a:pt x="14" y="36"/>
                  </a:cubicBezTo>
                  <a:cubicBezTo>
                    <a:pt x="16" y="36"/>
                    <a:pt x="17" y="35"/>
                    <a:pt x="18" y="35"/>
                  </a:cubicBezTo>
                  <a:lnTo>
                    <a:pt x="18" y="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44" name="Freeform 68"/>
            <p:cNvSpPr>
              <a:spLocks/>
            </p:cNvSpPr>
            <p:nvPr/>
          </p:nvSpPr>
          <p:spPr bwMode="auto">
            <a:xfrm>
              <a:off x="3634" y="2064"/>
              <a:ext cx="105" cy="194"/>
            </a:xfrm>
            <a:custGeom>
              <a:avLst/>
              <a:gdLst>
                <a:gd name="T0" fmla="*/ 40 w 44"/>
                <a:gd name="T1" fmla="*/ 0 h 80"/>
                <a:gd name="T2" fmla="*/ 0 w 44"/>
                <a:gd name="T3" fmla="*/ 0 h 80"/>
                <a:gd name="T4" fmla="*/ 0 w 44"/>
                <a:gd name="T5" fmla="*/ 12 h 80"/>
                <a:gd name="T6" fmla="*/ 24 w 44"/>
                <a:gd name="T7" fmla="*/ 12 h 80"/>
                <a:gd name="T8" fmla="*/ 32 w 44"/>
                <a:gd name="T9" fmla="*/ 12 h 80"/>
                <a:gd name="T10" fmla="*/ 32 w 44"/>
                <a:gd name="T11" fmla="*/ 20 h 80"/>
                <a:gd name="T12" fmla="*/ 32 w 44"/>
                <a:gd name="T13" fmla="*/ 32 h 80"/>
                <a:gd name="T14" fmla="*/ 36 w 44"/>
                <a:gd name="T15" fmla="*/ 32 h 80"/>
                <a:gd name="T16" fmla="*/ 40 w 44"/>
                <a:gd name="T17" fmla="*/ 34 h 80"/>
                <a:gd name="T18" fmla="*/ 28 w 44"/>
                <a:gd name="T19" fmla="*/ 48 h 80"/>
                <a:gd name="T20" fmla="*/ 16 w 44"/>
                <a:gd name="T21" fmla="*/ 34 h 80"/>
                <a:gd name="T22" fmla="*/ 20 w 44"/>
                <a:gd name="T23" fmla="*/ 32 h 80"/>
                <a:gd name="T24" fmla="*/ 24 w 44"/>
                <a:gd name="T25" fmla="*/ 32 h 80"/>
                <a:gd name="T26" fmla="*/ 24 w 44"/>
                <a:gd name="T27" fmla="*/ 20 h 80"/>
                <a:gd name="T28" fmla="*/ 0 w 44"/>
                <a:gd name="T29" fmla="*/ 20 h 80"/>
                <a:gd name="T30" fmla="*/ 0 w 44"/>
                <a:gd name="T31" fmla="*/ 56 h 80"/>
                <a:gd name="T32" fmla="*/ 12 w 44"/>
                <a:gd name="T33" fmla="*/ 44 h 80"/>
                <a:gd name="T34" fmla="*/ 26 w 44"/>
                <a:gd name="T35" fmla="*/ 58 h 80"/>
                <a:gd name="T36" fmla="*/ 12 w 44"/>
                <a:gd name="T37" fmla="*/ 72 h 80"/>
                <a:gd name="T38" fmla="*/ 0 w 44"/>
                <a:gd name="T39" fmla="*/ 60 h 80"/>
                <a:gd name="T40" fmla="*/ 0 w 44"/>
                <a:gd name="T41" fmla="*/ 80 h 80"/>
                <a:gd name="T42" fmla="*/ 40 w 44"/>
                <a:gd name="T43" fmla="*/ 80 h 80"/>
                <a:gd name="T44" fmla="*/ 44 w 44"/>
                <a:gd name="T45" fmla="*/ 76 h 80"/>
                <a:gd name="T46" fmla="*/ 44 w 44"/>
                <a:gd name="T47" fmla="*/ 4 h 80"/>
                <a:gd name="T48" fmla="*/ 40 w 44"/>
                <a:gd name="T4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 h="80">
                  <a:moveTo>
                    <a:pt x="40" y="0"/>
                  </a:moveTo>
                  <a:cubicBezTo>
                    <a:pt x="0" y="0"/>
                    <a:pt x="0" y="0"/>
                    <a:pt x="0" y="0"/>
                  </a:cubicBezTo>
                  <a:cubicBezTo>
                    <a:pt x="0" y="12"/>
                    <a:pt x="0" y="12"/>
                    <a:pt x="0" y="12"/>
                  </a:cubicBezTo>
                  <a:cubicBezTo>
                    <a:pt x="24" y="12"/>
                    <a:pt x="24" y="12"/>
                    <a:pt x="24" y="12"/>
                  </a:cubicBezTo>
                  <a:cubicBezTo>
                    <a:pt x="32" y="12"/>
                    <a:pt x="32" y="12"/>
                    <a:pt x="32" y="12"/>
                  </a:cubicBezTo>
                  <a:cubicBezTo>
                    <a:pt x="32" y="20"/>
                    <a:pt x="32" y="20"/>
                    <a:pt x="32" y="20"/>
                  </a:cubicBezTo>
                  <a:cubicBezTo>
                    <a:pt x="32" y="32"/>
                    <a:pt x="32" y="32"/>
                    <a:pt x="32" y="32"/>
                  </a:cubicBezTo>
                  <a:cubicBezTo>
                    <a:pt x="36" y="32"/>
                    <a:pt x="36" y="32"/>
                    <a:pt x="36" y="32"/>
                  </a:cubicBezTo>
                  <a:cubicBezTo>
                    <a:pt x="40" y="34"/>
                    <a:pt x="40" y="34"/>
                    <a:pt x="40" y="34"/>
                  </a:cubicBezTo>
                  <a:cubicBezTo>
                    <a:pt x="28" y="48"/>
                    <a:pt x="28" y="48"/>
                    <a:pt x="28" y="48"/>
                  </a:cubicBezTo>
                  <a:cubicBezTo>
                    <a:pt x="16" y="34"/>
                    <a:pt x="16" y="34"/>
                    <a:pt x="16" y="34"/>
                  </a:cubicBezTo>
                  <a:cubicBezTo>
                    <a:pt x="20" y="32"/>
                    <a:pt x="20" y="32"/>
                    <a:pt x="20" y="32"/>
                  </a:cubicBezTo>
                  <a:cubicBezTo>
                    <a:pt x="24" y="32"/>
                    <a:pt x="24" y="32"/>
                    <a:pt x="24" y="32"/>
                  </a:cubicBezTo>
                  <a:cubicBezTo>
                    <a:pt x="24" y="20"/>
                    <a:pt x="24" y="20"/>
                    <a:pt x="24" y="20"/>
                  </a:cubicBezTo>
                  <a:cubicBezTo>
                    <a:pt x="0" y="20"/>
                    <a:pt x="0" y="20"/>
                    <a:pt x="0" y="20"/>
                  </a:cubicBezTo>
                  <a:cubicBezTo>
                    <a:pt x="0" y="56"/>
                    <a:pt x="0" y="56"/>
                    <a:pt x="0" y="56"/>
                  </a:cubicBezTo>
                  <a:cubicBezTo>
                    <a:pt x="12" y="44"/>
                    <a:pt x="12" y="44"/>
                    <a:pt x="12" y="44"/>
                  </a:cubicBezTo>
                  <a:cubicBezTo>
                    <a:pt x="26" y="58"/>
                    <a:pt x="26" y="58"/>
                    <a:pt x="26" y="58"/>
                  </a:cubicBezTo>
                  <a:cubicBezTo>
                    <a:pt x="12" y="72"/>
                    <a:pt x="12" y="72"/>
                    <a:pt x="12" y="72"/>
                  </a:cubicBezTo>
                  <a:cubicBezTo>
                    <a:pt x="0" y="60"/>
                    <a:pt x="0" y="60"/>
                    <a:pt x="0" y="60"/>
                  </a:cubicBezTo>
                  <a:cubicBezTo>
                    <a:pt x="0" y="80"/>
                    <a:pt x="0" y="80"/>
                    <a:pt x="0" y="80"/>
                  </a:cubicBezTo>
                  <a:cubicBezTo>
                    <a:pt x="40" y="80"/>
                    <a:pt x="40" y="80"/>
                    <a:pt x="40" y="80"/>
                  </a:cubicBezTo>
                  <a:cubicBezTo>
                    <a:pt x="41" y="80"/>
                    <a:pt x="44" y="77"/>
                    <a:pt x="44" y="76"/>
                  </a:cubicBezTo>
                  <a:cubicBezTo>
                    <a:pt x="44" y="4"/>
                    <a:pt x="44" y="4"/>
                    <a:pt x="44" y="4"/>
                  </a:cubicBezTo>
                  <a:cubicBezTo>
                    <a:pt x="44" y="3"/>
                    <a:pt x="41" y="0"/>
                    <a:pt x="4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45" name="Freeform 69"/>
            <p:cNvSpPr>
              <a:spLocks noEditPoints="1"/>
            </p:cNvSpPr>
            <p:nvPr/>
          </p:nvSpPr>
          <p:spPr bwMode="auto">
            <a:xfrm>
              <a:off x="3453" y="2013"/>
              <a:ext cx="172" cy="296"/>
            </a:xfrm>
            <a:custGeom>
              <a:avLst/>
              <a:gdLst>
                <a:gd name="T0" fmla="*/ 0 w 72"/>
                <a:gd name="T1" fmla="*/ 17 h 122"/>
                <a:gd name="T2" fmla="*/ 0 w 72"/>
                <a:gd name="T3" fmla="*/ 105 h 122"/>
                <a:gd name="T4" fmla="*/ 72 w 72"/>
                <a:gd name="T5" fmla="*/ 122 h 122"/>
                <a:gd name="T6" fmla="*/ 72 w 72"/>
                <a:gd name="T7" fmla="*/ 0 h 122"/>
                <a:gd name="T8" fmla="*/ 0 w 72"/>
                <a:gd name="T9" fmla="*/ 17 h 122"/>
                <a:gd name="T10" fmla="*/ 52 w 72"/>
                <a:gd name="T11" fmla="*/ 55 h 122"/>
                <a:gd name="T12" fmla="*/ 51 w 72"/>
                <a:gd name="T13" fmla="*/ 58 h 122"/>
                <a:gd name="T14" fmla="*/ 49 w 72"/>
                <a:gd name="T15" fmla="*/ 61 h 122"/>
                <a:gd name="T16" fmla="*/ 47 w 72"/>
                <a:gd name="T17" fmla="*/ 64 h 122"/>
                <a:gd name="T18" fmla="*/ 44 w 72"/>
                <a:gd name="T19" fmla="*/ 66 h 122"/>
                <a:gd name="T20" fmla="*/ 41 w 72"/>
                <a:gd name="T21" fmla="*/ 68 h 122"/>
                <a:gd name="T22" fmla="*/ 38 w 72"/>
                <a:gd name="T23" fmla="*/ 68 h 122"/>
                <a:gd name="T24" fmla="*/ 34 w 72"/>
                <a:gd name="T25" fmla="*/ 69 h 122"/>
                <a:gd name="T26" fmla="*/ 29 w 72"/>
                <a:gd name="T27" fmla="*/ 69 h 122"/>
                <a:gd name="T28" fmla="*/ 29 w 72"/>
                <a:gd name="T29" fmla="*/ 86 h 122"/>
                <a:gd name="T30" fmla="*/ 20 w 72"/>
                <a:gd name="T31" fmla="*/ 85 h 122"/>
                <a:gd name="T32" fmla="*/ 20 w 72"/>
                <a:gd name="T33" fmla="*/ 37 h 122"/>
                <a:gd name="T34" fmla="*/ 35 w 72"/>
                <a:gd name="T35" fmla="*/ 36 h 122"/>
                <a:gd name="T36" fmla="*/ 42 w 72"/>
                <a:gd name="T37" fmla="*/ 36 h 122"/>
                <a:gd name="T38" fmla="*/ 47 w 72"/>
                <a:gd name="T39" fmla="*/ 39 h 122"/>
                <a:gd name="T40" fmla="*/ 51 w 72"/>
                <a:gd name="T41" fmla="*/ 44 h 122"/>
                <a:gd name="T42" fmla="*/ 52 w 72"/>
                <a:gd name="T43" fmla="*/ 51 h 122"/>
                <a:gd name="T44" fmla="*/ 52 w 72"/>
                <a:gd name="T45" fmla="*/ 5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2" h="122">
                  <a:moveTo>
                    <a:pt x="0" y="17"/>
                  </a:moveTo>
                  <a:cubicBezTo>
                    <a:pt x="0" y="105"/>
                    <a:pt x="0" y="105"/>
                    <a:pt x="0" y="105"/>
                  </a:cubicBezTo>
                  <a:cubicBezTo>
                    <a:pt x="72" y="122"/>
                    <a:pt x="72" y="122"/>
                    <a:pt x="72" y="122"/>
                  </a:cubicBezTo>
                  <a:cubicBezTo>
                    <a:pt x="72" y="0"/>
                    <a:pt x="72" y="0"/>
                    <a:pt x="72" y="0"/>
                  </a:cubicBezTo>
                  <a:lnTo>
                    <a:pt x="0" y="17"/>
                  </a:lnTo>
                  <a:close/>
                  <a:moveTo>
                    <a:pt x="52" y="55"/>
                  </a:moveTo>
                  <a:cubicBezTo>
                    <a:pt x="51" y="56"/>
                    <a:pt x="51" y="57"/>
                    <a:pt x="51" y="58"/>
                  </a:cubicBezTo>
                  <a:cubicBezTo>
                    <a:pt x="50" y="59"/>
                    <a:pt x="50" y="60"/>
                    <a:pt x="49" y="61"/>
                  </a:cubicBezTo>
                  <a:cubicBezTo>
                    <a:pt x="49" y="62"/>
                    <a:pt x="48" y="63"/>
                    <a:pt x="47" y="64"/>
                  </a:cubicBezTo>
                  <a:cubicBezTo>
                    <a:pt x="46" y="65"/>
                    <a:pt x="45" y="65"/>
                    <a:pt x="44" y="66"/>
                  </a:cubicBezTo>
                  <a:cubicBezTo>
                    <a:pt x="43" y="67"/>
                    <a:pt x="42" y="67"/>
                    <a:pt x="41" y="68"/>
                  </a:cubicBezTo>
                  <a:cubicBezTo>
                    <a:pt x="40" y="68"/>
                    <a:pt x="39" y="68"/>
                    <a:pt x="38" y="68"/>
                  </a:cubicBezTo>
                  <a:cubicBezTo>
                    <a:pt x="37" y="69"/>
                    <a:pt x="35" y="69"/>
                    <a:pt x="34" y="69"/>
                  </a:cubicBezTo>
                  <a:cubicBezTo>
                    <a:pt x="29" y="69"/>
                    <a:pt x="29" y="69"/>
                    <a:pt x="29" y="69"/>
                  </a:cubicBezTo>
                  <a:cubicBezTo>
                    <a:pt x="29" y="86"/>
                    <a:pt x="29" y="86"/>
                    <a:pt x="29" y="86"/>
                  </a:cubicBezTo>
                  <a:cubicBezTo>
                    <a:pt x="20" y="85"/>
                    <a:pt x="20" y="85"/>
                    <a:pt x="20" y="85"/>
                  </a:cubicBezTo>
                  <a:cubicBezTo>
                    <a:pt x="20" y="37"/>
                    <a:pt x="20" y="37"/>
                    <a:pt x="20" y="37"/>
                  </a:cubicBezTo>
                  <a:cubicBezTo>
                    <a:pt x="35" y="36"/>
                    <a:pt x="35" y="36"/>
                    <a:pt x="35" y="36"/>
                  </a:cubicBezTo>
                  <a:cubicBezTo>
                    <a:pt x="38" y="36"/>
                    <a:pt x="40" y="36"/>
                    <a:pt x="42" y="36"/>
                  </a:cubicBezTo>
                  <a:cubicBezTo>
                    <a:pt x="44" y="37"/>
                    <a:pt x="46" y="38"/>
                    <a:pt x="47" y="39"/>
                  </a:cubicBezTo>
                  <a:cubicBezTo>
                    <a:pt x="49" y="40"/>
                    <a:pt x="50" y="42"/>
                    <a:pt x="51" y="44"/>
                  </a:cubicBezTo>
                  <a:cubicBezTo>
                    <a:pt x="51" y="46"/>
                    <a:pt x="52" y="49"/>
                    <a:pt x="52" y="51"/>
                  </a:cubicBezTo>
                  <a:cubicBezTo>
                    <a:pt x="52" y="53"/>
                    <a:pt x="52" y="54"/>
                    <a:pt x="52" y="5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46" name="Freeform 70"/>
            <p:cNvSpPr>
              <a:spLocks/>
            </p:cNvSpPr>
            <p:nvPr/>
          </p:nvSpPr>
          <p:spPr bwMode="auto">
            <a:xfrm>
              <a:off x="3522" y="2120"/>
              <a:ext cx="29" cy="39"/>
            </a:xfrm>
            <a:custGeom>
              <a:avLst/>
              <a:gdLst>
                <a:gd name="T0" fmla="*/ 10 w 12"/>
                <a:gd name="T1" fmla="*/ 2 h 16"/>
                <a:gd name="T2" fmla="*/ 8 w 12"/>
                <a:gd name="T3" fmla="*/ 1 h 16"/>
                <a:gd name="T4" fmla="*/ 4 w 12"/>
                <a:gd name="T5" fmla="*/ 0 h 16"/>
                <a:gd name="T6" fmla="*/ 0 w 12"/>
                <a:gd name="T7" fmla="*/ 1 h 16"/>
                <a:gd name="T8" fmla="*/ 0 w 12"/>
                <a:gd name="T9" fmla="*/ 16 h 16"/>
                <a:gd name="T10" fmla="*/ 4 w 12"/>
                <a:gd name="T11" fmla="*/ 16 h 16"/>
                <a:gd name="T12" fmla="*/ 8 w 12"/>
                <a:gd name="T13" fmla="*/ 16 h 16"/>
                <a:gd name="T14" fmla="*/ 10 w 12"/>
                <a:gd name="T15" fmla="*/ 14 h 16"/>
                <a:gd name="T16" fmla="*/ 11 w 12"/>
                <a:gd name="T17" fmla="*/ 12 h 16"/>
                <a:gd name="T18" fmla="*/ 12 w 12"/>
                <a:gd name="T19" fmla="*/ 8 h 16"/>
                <a:gd name="T20" fmla="*/ 11 w 12"/>
                <a:gd name="T21" fmla="*/ 5 h 16"/>
                <a:gd name="T22" fmla="*/ 10 w 12"/>
                <a:gd name="T2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16">
                  <a:moveTo>
                    <a:pt x="10" y="2"/>
                  </a:moveTo>
                  <a:cubicBezTo>
                    <a:pt x="9" y="2"/>
                    <a:pt x="9" y="1"/>
                    <a:pt x="8" y="1"/>
                  </a:cubicBezTo>
                  <a:cubicBezTo>
                    <a:pt x="7" y="1"/>
                    <a:pt x="5" y="0"/>
                    <a:pt x="4" y="0"/>
                  </a:cubicBezTo>
                  <a:cubicBezTo>
                    <a:pt x="0" y="1"/>
                    <a:pt x="0" y="1"/>
                    <a:pt x="0" y="1"/>
                  </a:cubicBezTo>
                  <a:cubicBezTo>
                    <a:pt x="0" y="16"/>
                    <a:pt x="0" y="16"/>
                    <a:pt x="0" y="16"/>
                  </a:cubicBezTo>
                  <a:cubicBezTo>
                    <a:pt x="4" y="16"/>
                    <a:pt x="4" y="16"/>
                    <a:pt x="4" y="16"/>
                  </a:cubicBezTo>
                  <a:cubicBezTo>
                    <a:pt x="5" y="16"/>
                    <a:pt x="7" y="16"/>
                    <a:pt x="8" y="16"/>
                  </a:cubicBezTo>
                  <a:cubicBezTo>
                    <a:pt x="9" y="15"/>
                    <a:pt x="9" y="15"/>
                    <a:pt x="10" y="14"/>
                  </a:cubicBezTo>
                  <a:cubicBezTo>
                    <a:pt x="11" y="13"/>
                    <a:pt x="11" y="13"/>
                    <a:pt x="11" y="12"/>
                  </a:cubicBezTo>
                  <a:cubicBezTo>
                    <a:pt x="12" y="11"/>
                    <a:pt x="12" y="9"/>
                    <a:pt x="12" y="8"/>
                  </a:cubicBezTo>
                  <a:cubicBezTo>
                    <a:pt x="12" y="7"/>
                    <a:pt x="12" y="6"/>
                    <a:pt x="11" y="5"/>
                  </a:cubicBezTo>
                  <a:cubicBezTo>
                    <a:pt x="11" y="4"/>
                    <a:pt x="11" y="3"/>
                    <a:pt x="10"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sp>
        <p:nvSpPr>
          <p:cNvPr id="896" name="Freeform 30"/>
          <p:cNvSpPr>
            <a:spLocks noChangeAspect="1" noEditPoints="1"/>
          </p:cNvSpPr>
          <p:nvPr/>
        </p:nvSpPr>
        <p:spPr bwMode="auto">
          <a:xfrm>
            <a:off x="675063" y="4156585"/>
            <a:ext cx="927367" cy="412968"/>
          </a:xfrm>
          <a:custGeom>
            <a:avLst/>
            <a:gdLst>
              <a:gd name="T0" fmla="*/ 60 w 216"/>
              <a:gd name="T1" fmla="*/ 20 h 96"/>
              <a:gd name="T2" fmla="*/ 60 w 216"/>
              <a:gd name="T3" fmla="*/ 28 h 96"/>
              <a:gd name="T4" fmla="*/ 68 w 216"/>
              <a:gd name="T5" fmla="*/ 40 h 96"/>
              <a:gd name="T6" fmla="*/ 68 w 216"/>
              <a:gd name="T7" fmla="*/ 44 h 96"/>
              <a:gd name="T8" fmla="*/ 60 w 216"/>
              <a:gd name="T9" fmla="*/ 56 h 96"/>
              <a:gd name="T10" fmla="*/ 60 w 216"/>
              <a:gd name="T11" fmla="*/ 64 h 96"/>
              <a:gd name="T12" fmla="*/ 68 w 216"/>
              <a:gd name="T13" fmla="*/ 76 h 96"/>
              <a:gd name="T14" fmla="*/ 92 w 216"/>
              <a:gd name="T15" fmla="*/ 84 h 96"/>
              <a:gd name="T16" fmla="*/ 92 w 216"/>
              <a:gd name="T17" fmla="*/ 12 h 96"/>
              <a:gd name="T18" fmla="*/ 72 w 216"/>
              <a:gd name="T19" fmla="*/ 68 h 96"/>
              <a:gd name="T20" fmla="*/ 88 w 216"/>
              <a:gd name="T21" fmla="*/ 64 h 96"/>
              <a:gd name="T22" fmla="*/ 88 w 216"/>
              <a:gd name="T23" fmla="*/ 56 h 96"/>
              <a:gd name="T24" fmla="*/ 72 w 216"/>
              <a:gd name="T25" fmla="*/ 52 h 96"/>
              <a:gd name="T26" fmla="*/ 88 w 216"/>
              <a:gd name="T27" fmla="*/ 52 h 96"/>
              <a:gd name="T28" fmla="*/ 72 w 216"/>
              <a:gd name="T29" fmla="*/ 32 h 96"/>
              <a:gd name="T30" fmla="*/ 88 w 216"/>
              <a:gd name="T31" fmla="*/ 28 h 96"/>
              <a:gd name="T32" fmla="*/ 88 w 216"/>
              <a:gd name="T33" fmla="*/ 20 h 96"/>
              <a:gd name="T34" fmla="*/ 0 w 216"/>
              <a:gd name="T35" fmla="*/ 82 h 96"/>
              <a:gd name="T36" fmla="*/ 0 w 216"/>
              <a:gd name="T37" fmla="*/ 13 h 96"/>
              <a:gd name="T38" fmla="*/ 27 w 216"/>
              <a:gd name="T39" fmla="*/ 54 h 96"/>
              <a:gd name="T40" fmla="*/ 27 w 216"/>
              <a:gd name="T41" fmla="*/ 52 h 96"/>
              <a:gd name="T42" fmla="*/ 26 w 216"/>
              <a:gd name="T43" fmla="*/ 53 h 96"/>
              <a:gd name="T44" fmla="*/ 20 w 216"/>
              <a:gd name="T45" fmla="*/ 66 h 96"/>
              <a:gd name="T46" fmla="*/ 13 w 216"/>
              <a:gd name="T47" fmla="*/ 29 h 96"/>
              <a:gd name="T48" fmla="*/ 26 w 216"/>
              <a:gd name="T49" fmla="*/ 41 h 96"/>
              <a:gd name="T50" fmla="*/ 27 w 216"/>
              <a:gd name="T51" fmla="*/ 43 h 96"/>
              <a:gd name="T52" fmla="*/ 27 w 216"/>
              <a:gd name="T53" fmla="*/ 42 h 96"/>
              <a:gd name="T54" fmla="*/ 33 w 216"/>
              <a:gd name="T55" fmla="*/ 28 h 96"/>
              <a:gd name="T56" fmla="*/ 42 w 216"/>
              <a:gd name="T57" fmla="*/ 68 h 96"/>
              <a:gd name="T58" fmla="*/ 124 w 216"/>
              <a:gd name="T59" fmla="*/ 65 h 96"/>
              <a:gd name="T60" fmla="*/ 141 w 216"/>
              <a:gd name="T61" fmla="*/ 35 h 96"/>
              <a:gd name="T62" fmla="*/ 140 w 216"/>
              <a:gd name="T63" fmla="*/ 46 h 96"/>
              <a:gd name="T64" fmla="*/ 128 w 216"/>
              <a:gd name="T65" fmla="*/ 61 h 96"/>
              <a:gd name="T66" fmla="*/ 166 w 216"/>
              <a:gd name="T67" fmla="*/ 41 h 96"/>
              <a:gd name="T68" fmla="*/ 161 w 216"/>
              <a:gd name="T69" fmla="*/ 65 h 96"/>
              <a:gd name="T70" fmla="*/ 155 w 216"/>
              <a:gd name="T71" fmla="*/ 55 h 96"/>
              <a:gd name="T72" fmla="*/ 153 w 216"/>
              <a:gd name="T73" fmla="*/ 53 h 96"/>
              <a:gd name="T74" fmla="*/ 155 w 216"/>
              <a:gd name="T75" fmla="*/ 51 h 96"/>
              <a:gd name="T76" fmla="*/ 166 w 216"/>
              <a:gd name="T77" fmla="*/ 41 h 96"/>
              <a:gd name="T78" fmla="*/ 172 w 216"/>
              <a:gd name="T79" fmla="*/ 64 h 96"/>
              <a:gd name="T80" fmla="*/ 170 w 216"/>
              <a:gd name="T81" fmla="*/ 44 h 96"/>
              <a:gd name="T82" fmla="*/ 185 w 216"/>
              <a:gd name="T83" fmla="*/ 45 h 96"/>
              <a:gd name="T84" fmla="*/ 170 w 216"/>
              <a:gd name="T85" fmla="*/ 53 h 96"/>
              <a:gd name="T86" fmla="*/ 184 w 216"/>
              <a:gd name="T87" fmla="*/ 60 h 96"/>
              <a:gd name="T88" fmla="*/ 191 w 216"/>
              <a:gd name="T89" fmla="*/ 54 h 96"/>
              <a:gd name="T90" fmla="*/ 206 w 216"/>
              <a:gd name="T91" fmla="*/ 59 h 96"/>
              <a:gd name="T92" fmla="*/ 190 w 216"/>
              <a:gd name="T93" fmla="*/ 62 h 96"/>
              <a:gd name="T94" fmla="*/ 192 w 216"/>
              <a:gd name="T95" fmla="*/ 42 h 96"/>
              <a:gd name="T96" fmla="*/ 208 w 216"/>
              <a:gd name="T97" fmla="*/ 52 h 96"/>
              <a:gd name="T98" fmla="*/ 202 w 216"/>
              <a:gd name="T99" fmla="*/ 45 h 96"/>
              <a:gd name="T100" fmla="*/ 191 w 216"/>
              <a:gd name="T101" fmla="*/ 50 h 96"/>
              <a:gd name="T102" fmla="*/ 212 w 216"/>
              <a:gd name="T103" fmla="*/ 65 h 96"/>
              <a:gd name="T104" fmla="*/ 216 w 216"/>
              <a:gd name="T105"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6" h="96">
                <a:moveTo>
                  <a:pt x="92" y="12"/>
                </a:moveTo>
                <a:cubicBezTo>
                  <a:pt x="60" y="12"/>
                  <a:pt x="60" y="12"/>
                  <a:pt x="60" y="12"/>
                </a:cubicBezTo>
                <a:cubicBezTo>
                  <a:pt x="60" y="20"/>
                  <a:pt x="60" y="20"/>
                  <a:pt x="60" y="20"/>
                </a:cubicBezTo>
                <a:cubicBezTo>
                  <a:pt x="68" y="20"/>
                  <a:pt x="68" y="20"/>
                  <a:pt x="68" y="20"/>
                </a:cubicBezTo>
                <a:cubicBezTo>
                  <a:pt x="68" y="28"/>
                  <a:pt x="68" y="28"/>
                  <a:pt x="68" y="28"/>
                </a:cubicBezTo>
                <a:cubicBezTo>
                  <a:pt x="60" y="28"/>
                  <a:pt x="60" y="28"/>
                  <a:pt x="60" y="28"/>
                </a:cubicBezTo>
                <a:cubicBezTo>
                  <a:pt x="60" y="32"/>
                  <a:pt x="60" y="32"/>
                  <a:pt x="60" y="32"/>
                </a:cubicBezTo>
                <a:cubicBezTo>
                  <a:pt x="68" y="32"/>
                  <a:pt x="68" y="32"/>
                  <a:pt x="68" y="32"/>
                </a:cubicBezTo>
                <a:cubicBezTo>
                  <a:pt x="68" y="40"/>
                  <a:pt x="68" y="40"/>
                  <a:pt x="68" y="40"/>
                </a:cubicBezTo>
                <a:cubicBezTo>
                  <a:pt x="60" y="40"/>
                  <a:pt x="60" y="40"/>
                  <a:pt x="60" y="40"/>
                </a:cubicBezTo>
                <a:cubicBezTo>
                  <a:pt x="60" y="44"/>
                  <a:pt x="60" y="44"/>
                  <a:pt x="60" y="44"/>
                </a:cubicBezTo>
                <a:cubicBezTo>
                  <a:pt x="68" y="44"/>
                  <a:pt x="68" y="44"/>
                  <a:pt x="68" y="44"/>
                </a:cubicBezTo>
                <a:cubicBezTo>
                  <a:pt x="68" y="52"/>
                  <a:pt x="68" y="52"/>
                  <a:pt x="68" y="52"/>
                </a:cubicBezTo>
                <a:cubicBezTo>
                  <a:pt x="60" y="52"/>
                  <a:pt x="60" y="52"/>
                  <a:pt x="60" y="52"/>
                </a:cubicBezTo>
                <a:cubicBezTo>
                  <a:pt x="60" y="56"/>
                  <a:pt x="60" y="56"/>
                  <a:pt x="60" y="56"/>
                </a:cubicBezTo>
                <a:cubicBezTo>
                  <a:pt x="68" y="56"/>
                  <a:pt x="68" y="56"/>
                  <a:pt x="68" y="56"/>
                </a:cubicBezTo>
                <a:cubicBezTo>
                  <a:pt x="68" y="64"/>
                  <a:pt x="68" y="64"/>
                  <a:pt x="68" y="64"/>
                </a:cubicBezTo>
                <a:cubicBezTo>
                  <a:pt x="60" y="64"/>
                  <a:pt x="60" y="64"/>
                  <a:pt x="60" y="64"/>
                </a:cubicBezTo>
                <a:cubicBezTo>
                  <a:pt x="60" y="68"/>
                  <a:pt x="60" y="68"/>
                  <a:pt x="60" y="68"/>
                </a:cubicBezTo>
                <a:cubicBezTo>
                  <a:pt x="68" y="68"/>
                  <a:pt x="68" y="68"/>
                  <a:pt x="68" y="68"/>
                </a:cubicBezTo>
                <a:cubicBezTo>
                  <a:pt x="68" y="76"/>
                  <a:pt x="68" y="76"/>
                  <a:pt x="68" y="76"/>
                </a:cubicBezTo>
                <a:cubicBezTo>
                  <a:pt x="60" y="76"/>
                  <a:pt x="60" y="76"/>
                  <a:pt x="60" y="76"/>
                </a:cubicBezTo>
                <a:cubicBezTo>
                  <a:pt x="60" y="84"/>
                  <a:pt x="60" y="84"/>
                  <a:pt x="60" y="84"/>
                </a:cubicBezTo>
                <a:cubicBezTo>
                  <a:pt x="92" y="84"/>
                  <a:pt x="92" y="84"/>
                  <a:pt x="92" y="84"/>
                </a:cubicBezTo>
                <a:cubicBezTo>
                  <a:pt x="93" y="84"/>
                  <a:pt x="96" y="81"/>
                  <a:pt x="96" y="80"/>
                </a:cubicBezTo>
                <a:cubicBezTo>
                  <a:pt x="96" y="16"/>
                  <a:pt x="96" y="16"/>
                  <a:pt x="96" y="16"/>
                </a:cubicBezTo>
                <a:cubicBezTo>
                  <a:pt x="96" y="14"/>
                  <a:pt x="93" y="12"/>
                  <a:pt x="92" y="12"/>
                </a:cubicBezTo>
                <a:close/>
                <a:moveTo>
                  <a:pt x="88" y="76"/>
                </a:moveTo>
                <a:cubicBezTo>
                  <a:pt x="72" y="76"/>
                  <a:pt x="72" y="76"/>
                  <a:pt x="72" y="76"/>
                </a:cubicBezTo>
                <a:cubicBezTo>
                  <a:pt x="72" y="68"/>
                  <a:pt x="72" y="68"/>
                  <a:pt x="72" y="68"/>
                </a:cubicBezTo>
                <a:cubicBezTo>
                  <a:pt x="88" y="68"/>
                  <a:pt x="88" y="68"/>
                  <a:pt x="88" y="68"/>
                </a:cubicBezTo>
                <a:lnTo>
                  <a:pt x="88" y="76"/>
                </a:lnTo>
                <a:close/>
                <a:moveTo>
                  <a:pt x="88" y="64"/>
                </a:moveTo>
                <a:cubicBezTo>
                  <a:pt x="72" y="64"/>
                  <a:pt x="72" y="64"/>
                  <a:pt x="72" y="64"/>
                </a:cubicBezTo>
                <a:cubicBezTo>
                  <a:pt x="72" y="56"/>
                  <a:pt x="72" y="56"/>
                  <a:pt x="72" y="56"/>
                </a:cubicBezTo>
                <a:cubicBezTo>
                  <a:pt x="88" y="56"/>
                  <a:pt x="88" y="56"/>
                  <a:pt x="88" y="56"/>
                </a:cubicBezTo>
                <a:lnTo>
                  <a:pt x="88" y="64"/>
                </a:lnTo>
                <a:close/>
                <a:moveTo>
                  <a:pt x="88" y="52"/>
                </a:moveTo>
                <a:cubicBezTo>
                  <a:pt x="72" y="52"/>
                  <a:pt x="72" y="52"/>
                  <a:pt x="72" y="52"/>
                </a:cubicBezTo>
                <a:cubicBezTo>
                  <a:pt x="72" y="44"/>
                  <a:pt x="72" y="44"/>
                  <a:pt x="72" y="44"/>
                </a:cubicBezTo>
                <a:cubicBezTo>
                  <a:pt x="88" y="44"/>
                  <a:pt x="88" y="44"/>
                  <a:pt x="88" y="44"/>
                </a:cubicBezTo>
                <a:lnTo>
                  <a:pt x="88" y="52"/>
                </a:lnTo>
                <a:close/>
                <a:moveTo>
                  <a:pt x="88" y="40"/>
                </a:moveTo>
                <a:cubicBezTo>
                  <a:pt x="72" y="40"/>
                  <a:pt x="72" y="40"/>
                  <a:pt x="72" y="40"/>
                </a:cubicBezTo>
                <a:cubicBezTo>
                  <a:pt x="72" y="32"/>
                  <a:pt x="72" y="32"/>
                  <a:pt x="72" y="32"/>
                </a:cubicBezTo>
                <a:cubicBezTo>
                  <a:pt x="88" y="32"/>
                  <a:pt x="88" y="32"/>
                  <a:pt x="88" y="32"/>
                </a:cubicBezTo>
                <a:lnTo>
                  <a:pt x="88" y="40"/>
                </a:lnTo>
                <a:close/>
                <a:moveTo>
                  <a:pt x="88" y="28"/>
                </a:moveTo>
                <a:cubicBezTo>
                  <a:pt x="72" y="28"/>
                  <a:pt x="72" y="28"/>
                  <a:pt x="72" y="28"/>
                </a:cubicBezTo>
                <a:cubicBezTo>
                  <a:pt x="72" y="20"/>
                  <a:pt x="72" y="20"/>
                  <a:pt x="72" y="20"/>
                </a:cubicBezTo>
                <a:cubicBezTo>
                  <a:pt x="88" y="20"/>
                  <a:pt x="88" y="20"/>
                  <a:pt x="88" y="20"/>
                </a:cubicBezTo>
                <a:lnTo>
                  <a:pt x="88" y="28"/>
                </a:lnTo>
                <a:close/>
                <a:moveTo>
                  <a:pt x="0" y="13"/>
                </a:moveTo>
                <a:cubicBezTo>
                  <a:pt x="0" y="82"/>
                  <a:pt x="0" y="82"/>
                  <a:pt x="0" y="82"/>
                </a:cubicBezTo>
                <a:cubicBezTo>
                  <a:pt x="56" y="96"/>
                  <a:pt x="56" y="96"/>
                  <a:pt x="56" y="96"/>
                </a:cubicBezTo>
                <a:cubicBezTo>
                  <a:pt x="56" y="0"/>
                  <a:pt x="56" y="0"/>
                  <a:pt x="56" y="0"/>
                </a:cubicBezTo>
                <a:lnTo>
                  <a:pt x="0" y="13"/>
                </a:lnTo>
                <a:close/>
                <a:moveTo>
                  <a:pt x="33" y="67"/>
                </a:moveTo>
                <a:cubicBezTo>
                  <a:pt x="27" y="54"/>
                  <a:pt x="27" y="54"/>
                  <a:pt x="27" y="54"/>
                </a:cubicBezTo>
                <a:cubicBezTo>
                  <a:pt x="27" y="54"/>
                  <a:pt x="27" y="54"/>
                  <a:pt x="27" y="54"/>
                </a:cubicBezTo>
                <a:cubicBezTo>
                  <a:pt x="27" y="54"/>
                  <a:pt x="27" y="53"/>
                  <a:pt x="27" y="53"/>
                </a:cubicBezTo>
                <a:cubicBezTo>
                  <a:pt x="27" y="53"/>
                  <a:pt x="27" y="53"/>
                  <a:pt x="27" y="52"/>
                </a:cubicBezTo>
                <a:cubicBezTo>
                  <a:pt x="27" y="52"/>
                  <a:pt x="27" y="52"/>
                  <a:pt x="27" y="52"/>
                </a:cubicBezTo>
                <a:cubicBezTo>
                  <a:pt x="27" y="52"/>
                  <a:pt x="27" y="52"/>
                  <a:pt x="27" y="52"/>
                </a:cubicBezTo>
                <a:cubicBezTo>
                  <a:pt x="27" y="52"/>
                  <a:pt x="27" y="52"/>
                  <a:pt x="26" y="52"/>
                </a:cubicBezTo>
                <a:cubicBezTo>
                  <a:pt x="26" y="52"/>
                  <a:pt x="26" y="52"/>
                  <a:pt x="26" y="53"/>
                </a:cubicBezTo>
                <a:cubicBezTo>
                  <a:pt x="26" y="53"/>
                  <a:pt x="26" y="53"/>
                  <a:pt x="26" y="53"/>
                </a:cubicBezTo>
                <a:cubicBezTo>
                  <a:pt x="26" y="54"/>
                  <a:pt x="26" y="54"/>
                  <a:pt x="26" y="54"/>
                </a:cubicBezTo>
                <a:cubicBezTo>
                  <a:pt x="20" y="66"/>
                  <a:pt x="20" y="66"/>
                  <a:pt x="20" y="66"/>
                </a:cubicBezTo>
                <a:cubicBezTo>
                  <a:pt x="12" y="66"/>
                  <a:pt x="12" y="66"/>
                  <a:pt x="12" y="66"/>
                </a:cubicBezTo>
                <a:cubicBezTo>
                  <a:pt x="22" y="48"/>
                  <a:pt x="22" y="48"/>
                  <a:pt x="22" y="48"/>
                </a:cubicBezTo>
                <a:cubicBezTo>
                  <a:pt x="13" y="29"/>
                  <a:pt x="13" y="29"/>
                  <a:pt x="13" y="29"/>
                </a:cubicBezTo>
                <a:cubicBezTo>
                  <a:pt x="21" y="29"/>
                  <a:pt x="21" y="29"/>
                  <a:pt x="21" y="29"/>
                </a:cubicBezTo>
                <a:cubicBezTo>
                  <a:pt x="26" y="40"/>
                  <a:pt x="26" y="40"/>
                  <a:pt x="26" y="40"/>
                </a:cubicBezTo>
                <a:cubicBezTo>
                  <a:pt x="26" y="40"/>
                  <a:pt x="26" y="40"/>
                  <a:pt x="26" y="41"/>
                </a:cubicBezTo>
                <a:cubicBezTo>
                  <a:pt x="26" y="41"/>
                  <a:pt x="26" y="41"/>
                  <a:pt x="26" y="41"/>
                </a:cubicBezTo>
                <a:cubicBezTo>
                  <a:pt x="27" y="42"/>
                  <a:pt x="27" y="42"/>
                  <a:pt x="27" y="42"/>
                </a:cubicBezTo>
                <a:cubicBezTo>
                  <a:pt x="27" y="42"/>
                  <a:pt x="27" y="43"/>
                  <a:pt x="27" y="43"/>
                </a:cubicBezTo>
                <a:cubicBezTo>
                  <a:pt x="27" y="43"/>
                  <a:pt x="27" y="43"/>
                  <a:pt x="27" y="43"/>
                </a:cubicBezTo>
                <a:cubicBezTo>
                  <a:pt x="27" y="43"/>
                  <a:pt x="27" y="43"/>
                  <a:pt x="27" y="42"/>
                </a:cubicBezTo>
                <a:cubicBezTo>
                  <a:pt x="27" y="42"/>
                  <a:pt x="27" y="42"/>
                  <a:pt x="27" y="42"/>
                </a:cubicBezTo>
                <a:cubicBezTo>
                  <a:pt x="27" y="41"/>
                  <a:pt x="28" y="41"/>
                  <a:pt x="28" y="41"/>
                </a:cubicBezTo>
                <a:cubicBezTo>
                  <a:pt x="28" y="40"/>
                  <a:pt x="28" y="40"/>
                  <a:pt x="28" y="40"/>
                </a:cubicBezTo>
                <a:cubicBezTo>
                  <a:pt x="33" y="28"/>
                  <a:pt x="33" y="28"/>
                  <a:pt x="33" y="28"/>
                </a:cubicBezTo>
                <a:cubicBezTo>
                  <a:pt x="42" y="28"/>
                  <a:pt x="42" y="28"/>
                  <a:pt x="42" y="28"/>
                </a:cubicBezTo>
                <a:cubicBezTo>
                  <a:pt x="32" y="47"/>
                  <a:pt x="32" y="47"/>
                  <a:pt x="32" y="47"/>
                </a:cubicBezTo>
                <a:cubicBezTo>
                  <a:pt x="42" y="68"/>
                  <a:pt x="42" y="68"/>
                  <a:pt x="42" y="68"/>
                </a:cubicBezTo>
                <a:lnTo>
                  <a:pt x="33" y="67"/>
                </a:lnTo>
                <a:close/>
                <a:moveTo>
                  <a:pt x="142" y="65"/>
                </a:moveTo>
                <a:cubicBezTo>
                  <a:pt x="124" y="65"/>
                  <a:pt x="124" y="65"/>
                  <a:pt x="124" y="65"/>
                </a:cubicBezTo>
                <a:cubicBezTo>
                  <a:pt x="124" y="31"/>
                  <a:pt x="124" y="31"/>
                  <a:pt x="124" y="31"/>
                </a:cubicBezTo>
                <a:cubicBezTo>
                  <a:pt x="141" y="31"/>
                  <a:pt x="141" y="31"/>
                  <a:pt x="141" y="31"/>
                </a:cubicBezTo>
                <a:cubicBezTo>
                  <a:pt x="141" y="35"/>
                  <a:pt x="141" y="35"/>
                  <a:pt x="141" y="35"/>
                </a:cubicBezTo>
                <a:cubicBezTo>
                  <a:pt x="128" y="35"/>
                  <a:pt x="128" y="35"/>
                  <a:pt x="128" y="35"/>
                </a:cubicBezTo>
                <a:cubicBezTo>
                  <a:pt x="128" y="46"/>
                  <a:pt x="128" y="46"/>
                  <a:pt x="128" y="46"/>
                </a:cubicBezTo>
                <a:cubicBezTo>
                  <a:pt x="140" y="46"/>
                  <a:pt x="140" y="46"/>
                  <a:pt x="140" y="46"/>
                </a:cubicBezTo>
                <a:cubicBezTo>
                  <a:pt x="140" y="49"/>
                  <a:pt x="140" y="49"/>
                  <a:pt x="140" y="49"/>
                </a:cubicBezTo>
                <a:cubicBezTo>
                  <a:pt x="128" y="49"/>
                  <a:pt x="128" y="49"/>
                  <a:pt x="128" y="49"/>
                </a:cubicBezTo>
                <a:cubicBezTo>
                  <a:pt x="128" y="61"/>
                  <a:pt x="128" y="61"/>
                  <a:pt x="128" y="61"/>
                </a:cubicBezTo>
                <a:cubicBezTo>
                  <a:pt x="142" y="61"/>
                  <a:pt x="142" y="61"/>
                  <a:pt x="142" y="61"/>
                </a:cubicBezTo>
                <a:lnTo>
                  <a:pt x="142" y="65"/>
                </a:lnTo>
                <a:close/>
                <a:moveTo>
                  <a:pt x="166" y="41"/>
                </a:moveTo>
                <a:cubicBezTo>
                  <a:pt x="157" y="53"/>
                  <a:pt x="157" y="53"/>
                  <a:pt x="157" y="53"/>
                </a:cubicBezTo>
                <a:cubicBezTo>
                  <a:pt x="165" y="65"/>
                  <a:pt x="165" y="65"/>
                  <a:pt x="165" y="65"/>
                </a:cubicBezTo>
                <a:cubicBezTo>
                  <a:pt x="161" y="65"/>
                  <a:pt x="161" y="65"/>
                  <a:pt x="161" y="65"/>
                </a:cubicBezTo>
                <a:cubicBezTo>
                  <a:pt x="156" y="57"/>
                  <a:pt x="156" y="57"/>
                  <a:pt x="156" y="57"/>
                </a:cubicBezTo>
                <a:cubicBezTo>
                  <a:pt x="155" y="55"/>
                  <a:pt x="155" y="55"/>
                  <a:pt x="155" y="55"/>
                </a:cubicBezTo>
                <a:cubicBezTo>
                  <a:pt x="155" y="55"/>
                  <a:pt x="155" y="55"/>
                  <a:pt x="155" y="55"/>
                </a:cubicBezTo>
                <a:cubicBezTo>
                  <a:pt x="149" y="65"/>
                  <a:pt x="149" y="65"/>
                  <a:pt x="149" y="65"/>
                </a:cubicBezTo>
                <a:cubicBezTo>
                  <a:pt x="145" y="65"/>
                  <a:pt x="145" y="65"/>
                  <a:pt x="145" y="65"/>
                </a:cubicBezTo>
                <a:cubicBezTo>
                  <a:pt x="153" y="53"/>
                  <a:pt x="153" y="53"/>
                  <a:pt x="153" y="53"/>
                </a:cubicBezTo>
                <a:cubicBezTo>
                  <a:pt x="145" y="41"/>
                  <a:pt x="145" y="41"/>
                  <a:pt x="145" y="41"/>
                </a:cubicBezTo>
                <a:cubicBezTo>
                  <a:pt x="150" y="41"/>
                  <a:pt x="150" y="41"/>
                  <a:pt x="150" y="41"/>
                </a:cubicBezTo>
                <a:cubicBezTo>
                  <a:pt x="153" y="47"/>
                  <a:pt x="155" y="50"/>
                  <a:pt x="155" y="51"/>
                </a:cubicBezTo>
                <a:cubicBezTo>
                  <a:pt x="155" y="51"/>
                  <a:pt x="155" y="51"/>
                  <a:pt x="155" y="51"/>
                </a:cubicBezTo>
                <a:cubicBezTo>
                  <a:pt x="161" y="41"/>
                  <a:pt x="161" y="41"/>
                  <a:pt x="161" y="41"/>
                </a:cubicBezTo>
                <a:lnTo>
                  <a:pt x="166" y="41"/>
                </a:lnTo>
                <a:close/>
                <a:moveTo>
                  <a:pt x="184" y="64"/>
                </a:moveTo>
                <a:cubicBezTo>
                  <a:pt x="183" y="65"/>
                  <a:pt x="180" y="65"/>
                  <a:pt x="178" y="65"/>
                </a:cubicBezTo>
                <a:cubicBezTo>
                  <a:pt x="176" y="65"/>
                  <a:pt x="174" y="65"/>
                  <a:pt x="172" y="64"/>
                </a:cubicBezTo>
                <a:cubicBezTo>
                  <a:pt x="170" y="63"/>
                  <a:pt x="169" y="61"/>
                  <a:pt x="168" y="59"/>
                </a:cubicBezTo>
                <a:cubicBezTo>
                  <a:pt x="167" y="58"/>
                  <a:pt x="166" y="56"/>
                  <a:pt x="166" y="53"/>
                </a:cubicBezTo>
                <a:cubicBezTo>
                  <a:pt x="166" y="49"/>
                  <a:pt x="168" y="46"/>
                  <a:pt x="170" y="44"/>
                </a:cubicBezTo>
                <a:cubicBezTo>
                  <a:pt x="172" y="41"/>
                  <a:pt x="175" y="40"/>
                  <a:pt x="179" y="40"/>
                </a:cubicBezTo>
                <a:cubicBezTo>
                  <a:pt x="181" y="40"/>
                  <a:pt x="183" y="40"/>
                  <a:pt x="185" y="41"/>
                </a:cubicBezTo>
                <a:cubicBezTo>
                  <a:pt x="185" y="45"/>
                  <a:pt x="185" y="45"/>
                  <a:pt x="185" y="45"/>
                </a:cubicBezTo>
                <a:cubicBezTo>
                  <a:pt x="183" y="44"/>
                  <a:pt x="181" y="43"/>
                  <a:pt x="179" y="43"/>
                </a:cubicBezTo>
                <a:cubicBezTo>
                  <a:pt x="176" y="43"/>
                  <a:pt x="174" y="44"/>
                  <a:pt x="173" y="46"/>
                </a:cubicBezTo>
                <a:cubicBezTo>
                  <a:pt x="171" y="48"/>
                  <a:pt x="170" y="50"/>
                  <a:pt x="170" y="53"/>
                </a:cubicBezTo>
                <a:cubicBezTo>
                  <a:pt x="170" y="56"/>
                  <a:pt x="171" y="58"/>
                  <a:pt x="173" y="59"/>
                </a:cubicBezTo>
                <a:cubicBezTo>
                  <a:pt x="174" y="61"/>
                  <a:pt x="176" y="62"/>
                  <a:pt x="179" y="62"/>
                </a:cubicBezTo>
                <a:cubicBezTo>
                  <a:pt x="181" y="62"/>
                  <a:pt x="183" y="61"/>
                  <a:pt x="184" y="60"/>
                </a:cubicBezTo>
                <a:lnTo>
                  <a:pt x="184" y="64"/>
                </a:lnTo>
                <a:close/>
                <a:moveTo>
                  <a:pt x="208" y="54"/>
                </a:moveTo>
                <a:cubicBezTo>
                  <a:pt x="191" y="54"/>
                  <a:pt x="191" y="54"/>
                  <a:pt x="191" y="54"/>
                </a:cubicBezTo>
                <a:cubicBezTo>
                  <a:pt x="191" y="56"/>
                  <a:pt x="192" y="58"/>
                  <a:pt x="193" y="60"/>
                </a:cubicBezTo>
                <a:cubicBezTo>
                  <a:pt x="194" y="61"/>
                  <a:pt x="196" y="62"/>
                  <a:pt x="199" y="62"/>
                </a:cubicBezTo>
                <a:cubicBezTo>
                  <a:pt x="201" y="62"/>
                  <a:pt x="204" y="61"/>
                  <a:pt x="206" y="59"/>
                </a:cubicBezTo>
                <a:cubicBezTo>
                  <a:pt x="206" y="63"/>
                  <a:pt x="206" y="63"/>
                  <a:pt x="206" y="63"/>
                </a:cubicBezTo>
                <a:cubicBezTo>
                  <a:pt x="204" y="64"/>
                  <a:pt x="201" y="65"/>
                  <a:pt x="198" y="65"/>
                </a:cubicBezTo>
                <a:cubicBezTo>
                  <a:pt x="194" y="65"/>
                  <a:pt x="192" y="64"/>
                  <a:pt x="190" y="62"/>
                </a:cubicBezTo>
                <a:cubicBezTo>
                  <a:pt x="188" y="60"/>
                  <a:pt x="187" y="57"/>
                  <a:pt x="187" y="53"/>
                </a:cubicBezTo>
                <a:cubicBezTo>
                  <a:pt x="187" y="50"/>
                  <a:pt x="187" y="48"/>
                  <a:pt x="188" y="46"/>
                </a:cubicBezTo>
                <a:cubicBezTo>
                  <a:pt x="189" y="44"/>
                  <a:pt x="191" y="43"/>
                  <a:pt x="192" y="42"/>
                </a:cubicBezTo>
                <a:cubicBezTo>
                  <a:pt x="194" y="41"/>
                  <a:pt x="196" y="40"/>
                  <a:pt x="198" y="40"/>
                </a:cubicBezTo>
                <a:cubicBezTo>
                  <a:pt x="201" y="40"/>
                  <a:pt x="203" y="41"/>
                  <a:pt x="205" y="43"/>
                </a:cubicBezTo>
                <a:cubicBezTo>
                  <a:pt x="207" y="45"/>
                  <a:pt x="208" y="48"/>
                  <a:pt x="208" y="52"/>
                </a:cubicBezTo>
                <a:lnTo>
                  <a:pt x="208" y="54"/>
                </a:lnTo>
                <a:close/>
                <a:moveTo>
                  <a:pt x="204" y="50"/>
                </a:moveTo>
                <a:cubicBezTo>
                  <a:pt x="204" y="48"/>
                  <a:pt x="203" y="46"/>
                  <a:pt x="202" y="45"/>
                </a:cubicBezTo>
                <a:cubicBezTo>
                  <a:pt x="201" y="44"/>
                  <a:pt x="200" y="43"/>
                  <a:pt x="198" y="43"/>
                </a:cubicBezTo>
                <a:cubicBezTo>
                  <a:pt x="196" y="43"/>
                  <a:pt x="195" y="44"/>
                  <a:pt x="193" y="45"/>
                </a:cubicBezTo>
                <a:cubicBezTo>
                  <a:pt x="192" y="47"/>
                  <a:pt x="191" y="48"/>
                  <a:pt x="191" y="50"/>
                </a:cubicBezTo>
                <a:lnTo>
                  <a:pt x="204" y="50"/>
                </a:lnTo>
                <a:close/>
                <a:moveTo>
                  <a:pt x="216" y="65"/>
                </a:moveTo>
                <a:cubicBezTo>
                  <a:pt x="212" y="65"/>
                  <a:pt x="212" y="65"/>
                  <a:pt x="212" y="65"/>
                </a:cubicBezTo>
                <a:cubicBezTo>
                  <a:pt x="212" y="29"/>
                  <a:pt x="212" y="29"/>
                  <a:pt x="212" y="29"/>
                </a:cubicBezTo>
                <a:cubicBezTo>
                  <a:pt x="216" y="29"/>
                  <a:pt x="216" y="29"/>
                  <a:pt x="216" y="29"/>
                </a:cubicBezTo>
                <a:lnTo>
                  <a:pt x="216" y="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97" name="Freeform 39"/>
          <p:cNvSpPr>
            <a:spLocks noChangeAspect="1" noEditPoints="1"/>
          </p:cNvSpPr>
          <p:nvPr/>
        </p:nvSpPr>
        <p:spPr bwMode="auto">
          <a:xfrm>
            <a:off x="675061" y="4769139"/>
            <a:ext cx="1218229" cy="417373"/>
          </a:xfrm>
          <a:custGeom>
            <a:avLst/>
            <a:gdLst>
              <a:gd name="T0" fmla="*/ 96 w 286"/>
              <a:gd name="T1" fmla="*/ 27 h 96"/>
              <a:gd name="T2" fmla="*/ 72 w 286"/>
              <a:gd name="T3" fmla="*/ 57 h 96"/>
              <a:gd name="T4" fmla="*/ 92 w 286"/>
              <a:gd name="T5" fmla="*/ 76 h 96"/>
              <a:gd name="T6" fmla="*/ 35 w 286"/>
              <a:gd name="T7" fmla="*/ 43 h 96"/>
              <a:gd name="T8" fmla="*/ 31 w 286"/>
              <a:gd name="T9" fmla="*/ 37 h 96"/>
              <a:gd name="T10" fmla="*/ 24 w 286"/>
              <a:gd name="T11" fmla="*/ 37 h 96"/>
              <a:gd name="T12" fmla="*/ 20 w 286"/>
              <a:gd name="T13" fmla="*/ 43 h 96"/>
              <a:gd name="T14" fmla="*/ 20 w 286"/>
              <a:gd name="T15" fmla="*/ 53 h 96"/>
              <a:gd name="T16" fmla="*/ 25 w 286"/>
              <a:gd name="T17" fmla="*/ 59 h 96"/>
              <a:gd name="T18" fmla="*/ 31 w 286"/>
              <a:gd name="T19" fmla="*/ 59 h 96"/>
              <a:gd name="T20" fmla="*/ 35 w 286"/>
              <a:gd name="T21" fmla="*/ 53 h 96"/>
              <a:gd name="T22" fmla="*/ 35 w 286"/>
              <a:gd name="T23" fmla="*/ 43 h 96"/>
              <a:gd name="T24" fmla="*/ 0 w 286"/>
              <a:gd name="T25" fmla="*/ 13 h 96"/>
              <a:gd name="T26" fmla="*/ 43 w 286"/>
              <a:gd name="T27" fmla="*/ 39 h 96"/>
              <a:gd name="T28" fmla="*/ 34 w 286"/>
              <a:gd name="T29" fmla="*/ 29 h 96"/>
              <a:gd name="T30" fmla="*/ 21 w 286"/>
              <a:gd name="T31" fmla="*/ 30 h 96"/>
              <a:gd name="T32" fmla="*/ 13 w 286"/>
              <a:gd name="T33" fmla="*/ 41 h 96"/>
              <a:gd name="T34" fmla="*/ 13 w 286"/>
              <a:gd name="T35" fmla="*/ 56 h 96"/>
              <a:gd name="T36" fmla="*/ 21 w 286"/>
              <a:gd name="T37" fmla="*/ 66 h 96"/>
              <a:gd name="T38" fmla="*/ 34 w 286"/>
              <a:gd name="T39" fmla="*/ 67 h 96"/>
              <a:gd name="T40" fmla="*/ 43 w 286"/>
              <a:gd name="T41" fmla="*/ 56 h 96"/>
              <a:gd name="T42" fmla="*/ 155 w 286"/>
              <a:gd name="T43" fmla="*/ 57 h 96"/>
              <a:gd name="T44" fmla="*/ 127 w 286"/>
              <a:gd name="T45" fmla="*/ 57 h 96"/>
              <a:gd name="T46" fmla="*/ 141 w 286"/>
              <a:gd name="T47" fmla="*/ 31 h 96"/>
              <a:gd name="T48" fmla="*/ 153 w 286"/>
              <a:gd name="T49" fmla="*/ 48 h 96"/>
              <a:gd name="T50" fmla="*/ 131 w 286"/>
              <a:gd name="T51" fmla="*/ 41 h 96"/>
              <a:gd name="T52" fmla="*/ 141 w 286"/>
              <a:gd name="T53" fmla="*/ 62 h 96"/>
              <a:gd name="T54" fmla="*/ 177 w 286"/>
              <a:gd name="T55" fmla="*/ 65 h 96"/>
              <a:gd name="T56" fmla="*/ 161 w 286"/>
              <a:gd name="T57" fmla="*/ 55 h 96"/>
              <a:gd name="T58" fmla="*/ 171 w 286"/>
              <a:gd name="T59" fmla="*/ 62 h 96"/>
              <a:gd name="T60" fmla="*/ 181 w 286"/>
              <a:gd name="T61" fmla="*/ 41 h 96"/>
              <a:gd name="T62" fmla="*/ 189 w 286"/>
              <a:gd name="T63" fmla="*/ 58 h 96"/>
              <a:gd name="T64" fmla="*/ 189 w 286"/>
              <a:gd name="T65" fmla="*/ 41 h 96"/>
              <a:gd name="T66" fmla="*/ 199 w 286"/>
              <a:gd name="T67" fmla="*/ 41 h 96"/>
              <a:gd name="T68" fmla="*/ 193 w 286"/>
              <a:gd name="T69" fmla="*/ 61 h 96"/>
              <a:gd name="T70" fmla="*/ 206 w 286"/>
              <a:gd name="T71" fmla="*/ 65 h 96"/>
              <a:gd name="T72" fmla="*/ 206 w 286"/>
              <a:gd name="T73" fmla="*/ 65 h 96"/>
              <a:gd name="T74" fmla="*/ 214 w 286"/>
              <a:gd name="T75" fmla="*/ 62 h 96"/>
              <a:gd name="T76" fmla="*/ 232 w 286"/>
              <a:gd name="T77" fmla="*/ 44 h 96"/>
              <a:gd name="T78" fmla="*/ 223 w 286"/>
              <a:gd name="T79" fmla="*/ 44 h 96"/>
              <a:gd name="T80" fmla="*/ 223 w 286"/>
              <a:gd name="T81" fmla="*/ 62 h 96"/>
              <a:gd name="T82" fmla="*/ 258 w 286"/>
              <a:gd name="T83" fmla="*/ 62 h 96"/>
              <a:gd name="T84" fmla="*/ 241 w 286"/>
              <a:gd name="T85" fmla="*/ 44 h 96"/>
              <a:gd name="T86" fmla="*/ 257 w 286"/>
              <a:gd name="T87" fmla="*/ 53 h 96"/>
              <a:gd name="T88" fmla="*/ 241 w 286"/>
              <a:gd name="T89" fmla="*/ 53 h 96"/>
              <a:gd name="T90" fmla="*/ 257 w 286"/>
              <a:gd name="T91" fmla="*/ 53 h 96"/>
              <a:gd name="T92" fmla="*/ 270 w 286"/>
              <a:gd name="T93" fmla="*/ 53 h 96"/>
              <a:gd name="T94" fmla="*/ 270 w 286"/>
              <a:gd name="T95" fmla="*/ 29 h 96"/>
              <a:gd name="T96" fmla="*/ 285 w 286"/>
              <a:gd name="T97" fmla="*/ 4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86" h="96">
                <a:moveTo>
                  <a:pt x="60" y="40"/>
                </a:moveTo>
                <a:cubicBezTo>
                  <a:pt x="60" y="24"/>
                  <a:pt x="60" y="24"/>
                  <a:pt x="60" y="24"/>
                </a:cubicBezTo>
                <a:cubicBezTo>
                  <a:pt x="92" y="24"/>
                  <a:pt x="92" y="24"/>
                  <a:pt x="92" y="24"/>
                </a:cubicBezTo>
                <a:cubicBezTo>
                  <a:pt x="94" y="24"/>
                  <a:pt x="96" y="26"/>
                  <a:pt x="96" y="27"/>
                </a:cubicBezTo>
                <a:cubicBezTo>
                  <a:pt x="72" y="50"/>
                  <a:pt x="72" y="50"/>
                  <a:pt x="72" y="50"/>
                </a:cubicBezTo>
                <a:lnTo>
                  <a:pt x="60" y="40"/>
                </a:lnTo>
                <a:close/>
                <a:moveTo>
                  <a:pt x="74" y="56"/>
                </a:moveTo>
                <a:cubicBezTo>
                  <a:pt x="74" y="57"/>
                  <a:pt x="73" y="57"/>
                  <a:pt x="72" y="57"/>
                </a:cubicBezTo>
                <a:cubicBezTo>
                  <a:pt x="72" y="57"/>
                  <a:pt x="71" y="57"/>
                  <a:pt x="70" y="56"/>
                </a:cubicBezTo>
                <a:cubicBezTo>
                  <a:pt x="60" y="48"/>
                  <a:pt x="60" y="48"/>
                  <a:pt x="60" y="48"/>
                </a:cubicBezTo>
                <a:cubicBezTo>
                  <a:pt x="60" y="76"/>
                  <a:pt x="60" y="76"/>
                  <a:pt x="60" y="76"/>
                </a:cubicBezTo>
                <a:cubicBezTo>
                  <a:pt x="92" y="76"/>
                  <a:pt x="92" y="76"/>
                  <a:pt x="92" y="76"/>
                </a:cubicBezTo>
                <a:cubicBezTo>
                  <a:pt x="95" y="76"/>
                  <a:pt x="96" y="74"/>
                  <a:pt x="96" y="72"/>
                </a:cubicBezTo>
                <a:cubicBezTo>
                  <a:pt x="96" y="36"/>
                  <a:pt x="96" y="36"/>
                  <a:pt x="96" y="36"/>
                </a:cubicBezTo>
                <a:lnTo>
                  <a:pt x="74" y="56"/>
                </a:lnTo>
                <a:close/>
                <a:moveTo>
                  <a:pt x="35" y="43"/>
                </a:moveTo>
                <a:cubicBezTo>
                  <a:pt x="35" y="42"/>
                  <a:pt x="35" y="41"/>
                  <a:pt x="34" y="41"/>
                </a:cubicBezTo>
                <a:cubicBezTo>
                  <a:pt x="34" y="40"/>
                  <a:pt x="34" y="39"/>
                  <a:pt x="34" y="39"/>
                </a:cubicBezTo>
                <a:cubicBezTo>
                  <a:pt x="33" y="38"/>
                  <a:pt x="33" y="38"/>
                  <a:pt x="32" y="38"/>
                </a:cubicBezTo>
                <a:cubicBezTo>
                  <a:pt x="32" y="37"/>
                  <a:pt x="31" y="37"/>
                  <a:pt x="31" y="37"/>
                </a:cubicBezTo>
                <a:cubicBezTo>
                  <a:pt x="31" y="36"/>
                  <a:pt x="30" y="36"/>
                  <a:pt x="29" y="36"/>
                </a:cubicBezTo>
                <a:cubicBezTo>
                  <a:pt x="29" y="36"/>
                  <a:pt x="28" y="36"/>
                  <a:pt x="28" y="36"/>
                </a:cubicBezTo>
                <a:cubicBezTo>
                  <a:pt x="27" y="36"/>
                  <a:pt x="27" y="36"/>
                  <a:pt x="26" y="36"/>
                </a:cubicBezTo>
                <a:cubicBezTo>
                  <a:pt x="25" y="36"/>
                  <a:pt x="25" y="37"/>
                  <a:pt x="24" y="37"/>
                </a:cubicBezTo>
                <a:cubicBezTo>
                  <a:pt x="24" y="37"/>
                  <a:pt x="23" y="38"/>
                  <a:pt x="23" y="38"/>
                </a:cubicBezTo>
                <a:cubicBezTo>
                  <a:pt x="23" y="38"/>
                  <a:pt x="22" y="39"/>
                  <a:pt x="22" y="40"/>
                </a:cubicBezTo>
                <a:cubicBezTo>
                  <a:pt x="22" y="40"/>
                  <a:pt x="21" y="41"/>
                  <a:pt x="21" y="41"/>
                </a:cubicBezTo>
                <a:cubicBezTo>
                  <a:pt x="21" y="42"/>
                  <a:pt x="21" y="43"/>
                  <a:pt x="20" y="43"/>
                </a:cubicBezTo>
                <a:cubicBezTo>
                  <a:pt x="20" y="44"/>
                  <a:pt x="20" y="45"/>
                  <a:pt x="20" y="46"/>
                </a:cubicBezTo>
                <a:cubicBezTo>
                  <a:pt x="20" y="46"/>
                  <a:pt x="20" y="47"/>
                  <a:pt x="20" y="48"/>
                </a:cubicBezTo>
                <a:cubicBezTo>
                  <a:pt x="20" y="49"/>
                  <a:pt x="20" y="50"/>
                  <a:pt x="20" y="51"/>
                </a:cubicBezTo>
                <a:cubicBezTo>
                  <a:pt x="20" y="51"/>
                  <a:pt x="20" y="52"/>
                  <a:pt x="20" y="53"/>
                </a:cubicBezTo>
                <a:cubicBezTo>
                  <a:pt x="21" y="54"/>
                  <a:pt x="21" y="54"/>
                  <a:pt x="21" y="55"/>
                </a:cubicBezTo>
                <a:cubicBezTo>
                  <a:pt x="21" y="56"/>
                  <a:pt x="22" y="56"/>
                  <a:pt x="22" y="57"/>
                </a:cubicBezTo>
                <a:cubicBezTo>
                  <a:pt x="22" y="57"/>
                  <a:pt x="23" y="58"/>
                  <a:pt x="23" y="58"/>
                </a:cubicBezTo>
                <a:cubicBezTo>
                  <a:pt x="24" y="59"/>
                  <a:pt x="24" y="59"/>
                  <a:pt x="25" y="59"/>
                </a:cubicBezTo>
                <a:cubicBezTo>
                  <a:pt x="25" y="59"/>
                  <a:pt x="25" y="60"/>
                  <a:pt x="26" y="60"/>
                </a:cubicBezTo>
                <a:cubicBezTo>
                  <a:pt x="26" y="60"/>
                  <a:pt x="27" y="60"/>
                  <a:pt x="28" y="60"/>
                </a:cubicBezTo>
                <a:cubicBezTo>
                  <a:pt x="28" y="60"/>
                  <a:pt x="29" y="60"/>
                  <a:pt x="29" y="60"/>
                </a:cubicBezTo>
                <a:cubicBezTo>
                  <a:pt x="30" y="60"/>
                  <a:pt x="30" y="60"/>
                  <a:pt x="31" y="59"/>
                </a:cubicBezTo>
                <a:cubicBezTo>
                  <a:pt x="31" y="59"/>
                  <a:pt x="32" y="59"/>
                  <a:pt x="32" y="58"/>
                </a:cubicBezTo>
                <a:cubicBezTo>
                  <a:pt x="33" y="58"/>
                  <a:pt x="33" y="58"/>
                  <a:pt x="33" y="57"/>
                </a:cubicBezTo>
                <a:cubicBezTo>
                  <a:pt x="34" y="57"/>
                  <a:pt x="34" y="56"/>
                  <a:pt x="34" y="55"/>
                </a:cubicBezTo>
                <a:cubicBezTo>
                  <a:pt x="35" y="55"/>
                  <a:pt x="35" y="54"/>
                  <a:pt x="35" y="53"/>
                </a:cubicBezTo>
                <a:cubicBezTo>
                  <a:pt x="35" y="53"/>
                  <a:pt x="35" y="52"/>
                  <a:pt x="36" y="51"/>
                </a:cubicBezTo>
                <a:cubicBezTo>
                  <a:pt x="36" y="50"/>
                  <a:pt x="36" y="49"/>
                  <a:pt x="36" y="48"/>
                </a:cubicBezTo>
                <a:cubicBezTo>
                  <a:pt x="36" y="47"/>
                  <a:pt x="36" y="46"/>
                  <a:pt x="36" y="45"/>
                </a:cubicBezTo>
                <a:cubicBezTo>
                  <a:pt x="36" y="44"/>
                  <a:pt x="35" y="44"/>
                  <a:pt x="35" y="43"/>
                </a:cubicBezTo>
                <a:close/>
                <a:moveTo>
                  <a:pt x="56" y="0"/>
                </a:moveTo>
                <a:cubicBezTo>
                  <a:pt x="56" y="96"/>
                  <a:pt x="56" y="96"/>
                  <a:pt x="56" y="96"/>
                </a:cubicBezTo>
                <a:cubicBezTo>
                  <a:pt x="0" y="83"/>
                  <a:pt x="0" y="83"/>
                  <a:pt x="0" y="83"/>
                </a:cubicBezTo>
                <a:cubicBezTo>
                  <a:pt x="0" y="13"/>
                  <a:pt x="0" y="13"/>
                  <a:pt x="0" y="13"/>
                </a:cubicBezTo>
                <a:lnTo>
                  <a:pt x="56" y="0"/>
                </a:lnTo>
                <a:close/>
                <a:moveTo>
                  <a:pt x="44" y="48"/>
                </a:moveTo>
                <a:cubicBezTo>
                  <a:pt x="44" y="46"/>
                  <a:pt x="44" y="45"/>
                  <a:pt x="44" y="43"/>
                </a:cubicBezTo>
                <a:cubicBezTo>
                  <a:pt x="44" y="42"/>
                  <a:pt x="44" y="41"/>
                  <a:pt x="43" y="39"/>
                </a:cubicBezTo>
                <a:cubicBezTo>
                  <a:pt x="43" y="38"/>
                  <a:pt x="42" y="37"/>
                  <a:pt x="42" y="36"/>
                </a:cubicBezTo>
                <a:cubicBezTo>
                  <a:pt x="41" y="35"/>
                  <a:pt x="40" y="34"/>
                  <a:pt x="40" y="33"/>
                </a:cubicBezTo>
                <a:cubicBezTo>
                  <a:pt x="39" y="32"/>
                  <a:pt x="38" y="31"/>
                  <a:pt x="37" y="31"/>
                </a:cubicBezTo>
                <a:cubicBezTo>
                  <a:pt x="36" y="30"/>
                  <a:pt x="35" y="29"/>
                  <a:pt x="34" y="29"/>
                </a:cubicBezTo>
                <a:cubicBezTo>
                  <a:pt x="33" y="29"/>
                  <a:pt x="32" y="28"/>
                  <a:pt x="31" y="28"/>
                </a:cubicBezTo>
                <a:cubicBezTo>
                  <a:pt x="30" y="28"/>
                  <a:pt x="29" y="28"/>
                  <a:pt x="28" y="28"/>
                </a:cubicBezTo>
                <a:cubicBezTo>
                  <a:pt x="27" y="28"/>
                  <a:pt x="26" y="28"/>
                  <a:pt x="24" y="29"/>
                </a:cubicBezTo>
                <a:cubicBezTo>
                  <a:pt x="23" y="29"/>
                  <a:pt x="22" y="29"/>
                  <a:pt x="21" y="30"/>
                </a:cubicBezTo>
                <a:cubicBezTo>
                  <a:pt x="20" y="30"/>
                  <a:pt x="20" y="31"/>
                  <a:pt x="19" y="32"/>
                </a:cubicBezTo>
                <a:cubicBezTo>
                  <a:pt x="18" y="32"/>
                  <a:pt x="17" y="33"/>
                  <a:pt x="16" y="34"/>
                </a:cubicBezTo>
                <a:cubicBezTo>
                  <a:pt x="16" y="35"/>
                  <a:pt x="15" y="36"/>
                  <a:pt x="15" y="37"/>
                </a:cubicBezTo>
                <a:cubicBezTo>
                  <a:pt x="14" y="38"/>
                  <a:pt x="14" y="39"/>
                  <a:pt x="13" y="41"/>
                </a:cubicBezTo>
                <a:cubicBezTo>
                  <a:pt x="13" y="42"/>
                  <a:pt x="13" y="43"/>
                  <a:pt x="13" y="44"/>
                </a:cubicBezTo>
                <a:cubicBezTo>
                  <a:pt x="12" y="46"/>
                  <a:pt x="12" y="47"/>
                  <a:pt x="12" y="48"/>
                </a:cubicBezTo>
                <a:cubicBezTo>
                  <a:pt x="12" y="50"/>
                  <a:pt x="12" y="51"/>
                  <a:pt x="13" y="52"/>
                </a:cubicBezTo>
                <a:cubicBezTo>
                  <a:pt x="13" y="54"/>
                  <a:pt x="13" y="55"/>
                  <a:pt x="13" y="56"/>
                </a:cubicBezTo>
                <a:cubicBezTo>
                  <a:pt x="14" y="57"/>
                  <a:pt x="14" y="58"/>
                  <a:pt x="15" y="59"/>
                </a:cubicBezTo>
                <a:cubicBezTo>
                  <a:pt x="15" y="60"/>
                  <a:pt x="16" y="61"/>
                  <a:pt x="17" y="62"/>
                </a:cubicBezTo>
                <a:cubicBezTo>
                  <a:pt x="17" y="63"/>
                  <a:pt x="18" y="64"/>
                  <a:pt x="19" y="64"/>
                </a:cubicBezTo>
                <a:cubicBezTo>
                  <a:pt x="20" y="65"/>
                  <a:pt x="20" y="66"/>
                  <a:pt x="21" y="66"/>
                </a:cubicBezTo>
                <a:cubicBezTo>
                  <a:pt x="22" y="67"/>
                  <a:pt x="23" y="67"/>
                  <a:pt x="24" y="67"/>
                </a:cubicBezTo>
                <a:cubicBezTo>
                  <a:pt x="25" y="68"/>
                  <a:pt x="26" y="68"/>
                  <a:pt x="27" y="68"/>
                </a:cubicBezTo>
                <a:cubicBezTo>
                  <a:pt x="29" y="68"/>
                  <a:pt x="30" y="68"/>
                  <a:pt x="31" y="68"/>
                </a:cubicBezTo>
                <a:cubicBezTo>
                  <a:pt x="32" y="68"/>
                  <a:pt x="33" y="67"/>
                  <a:pt x="34" y="67"/>
                </a:cubicBezTo>
                <a:cubicBezTo>
                  <a:pt x="35" y="66"/>
                  <a:pt x="36" y="66"/>
                  <a:pt x="37" y="65"/>
                </a:cubicBezTo>
                <a:cubicBezTo>
                  <a:pt x="38" y="65"/>
                  <a:pt x="39" y="64"/>
                  <a:pt x="39" y="63"/>
                </a:cubicBezTo>
                <a:cubicBezTo>
                  <a:pt x="40" y="62"/>
                  <a:pt x="41" y="61"/>
                  <a:pt x="42" y="60"/>
                </a:cubicBezTo>
                <a:cubicBezTo>
                  <a:pt x="42" y="59"/>
                  <a:pt x="43" y="58"/>
                  <a:pt x="43" y="56"/>
                </a:cubicBezTo>
                <a:cubicBezTo>
                  <a:pt x="44" y="55"/>
                  <a:pt x="44" y="54"/>
                  <a:pt x="44" y="52"/>
                </a:cubicBezTo>
                <a:cubicBezTo>
                  <a:pt x="44" y="51"/>
                  <a:pt x="44" y="49"/>
                  <a:pt x="44" y="48"/>
                </a:cubicBezTo>
                <a:close/>
                <a:moveTo>
                  <a:pt x="157" y="48"/>
                </a:moveTo>
                <a:cubicBezTo>
                  <a:pt x="157" y="51"/>
                  <a:pt x="156" y="54"/>
                  <a:pt x="155" y="57"/>
                </a:cubicBezTo>
                <a:cubicBezTo>
                  <a:pt x="154" y="60"/>
                  <a:pt x="152" y="62"/>
                  <a:pt x="149" y="63"/>
                </a:cubicBezTo>
                <a:cubicBezTo>
                  <a:pt x="147" y="65"/>
                  <a:pt x="144" y="65"/>
                  <a:pt x="141" y="65"/>
                </a:cubicBezTo>
                <a:cubicBezTo>
                  <a:pt x="138" y="65"/>
                  <a:pt x="135" y="65"/>
                  <a:pt x="133" y="63"/>
                </a:cubicBezTo>
                <a:cubicBezTo>
                  <a:pt x="130" y="62"/>
                  <a:pt x="128" y="60"/>
                  <a:pt x="127" y="57"/>
                </a:cubicBezTo>
                <a:cubicBezTo>
                  <a:pt x="126" y="55"/>
                  <a:pt x="125" y="52"/>
                  <a:pt x="125" y="48"/>
                </a:cubicBezTo>
                <a:cubicBezTo>
                  <a:pt x="125" y="45"/>
                  <a:pt x="126" y="42"/>
                  <a:pt x="127" y="39"/>
                </a:cubicBezTo>
                <a:cubicBezTo>
                  <a:pt x="128" y="36"/>
                  <a:pt x="130" y="34"/>
                  <a:pt x="133" y="33"/>
                </a:cubicBezTo>
                <a:cubicBezTo>
                  <a:pt x="135" y="31"/>
                  <a:pt x="138" y="31"/>
                  <a:pt x="141" y="31"/>
                </a:cubicBezTo>
                <a:cubicBezTo>
                  <a:pt x="144" y="31"/>
                  <a:pt x="147" y="31"/>
                  <a:pt x="149" y="33"/>
                </a:cubicBezTo>
                <a:cubicBezTo>
                  <a:pt x="152" y="34"/>
                  <a:pt x="154" y="36"/>
                  <a:pt x="155" y="39"/>
                </a:cubicBezTo>
                <a:cubicBezTo>
                  <a:pt x="156" y="41"/>
                  <a:pt x="157" y="44"/>
                  <a:pt x="157" y="48"/>
                </a:cubicBezTo>
                <a:close/>
                <a:moveTo>
                  <a:pt x="153" y="48"/>
                </a:moveTo>
                <a:cubicBezTo>
                  <a:pt x="153" y="44"/>
                  <a:pt x="152" y="40"/>
                  <a:pt x="150" y="38"/>
                </a:cubicBezTo>
                <a:cubicBezTo>
                  <a:pt x="148" y="35"/>
                  <a:pt x="145" y="34"/>
                  <a:pt x="141" y="34"/>
                </a:cubicBezTo>
                <a:cubicBezTo>
                  <a:pt x="139" y="34"/>
                  <a:pt x="137" y="35"/>
                  <a:pt x="135" y="36"/>
                </a:cubicBezTo>
                <a:cubicBezTo>
                  <a:pt x="133" y="37"/>
                  <a:pt x="132" y="39"/>
                  <a:pt x="131" y="41"/>
                </a:cubicBezTo>
                <a:cubicBezTo>
                  <a:pt x="130" y="43"/>
                  <a:pt x="129" y="45"/>
                  <a:pt x="129" y="48"/>
                </a:cubicBezTo>
                <a:cubicBezTo>
                  <a:pt x="129" y="51"/>
                  <a:pt x="130" y="53"/>
                  <a:pt x="131" y="55"/>
                </a:cubicBezTo>
                <a:cubicBezTo>
                  <a:pt x="132" y="57"/>
                  <a:pt x="133" y="59"/>
                  <a:pt x="135" y="60"/>
                </a:cubicBezTo>
                <a:cubicBezTo>
                  <a:pt x="137" y="61"/>
                  <a:pt x="139" y="62"/>
                  <a:pt x="141" y="62"/>
                </a:cubicBezTo>
                <a:cubicBezTo>
                  <a:pt x="145" y="62"/>
                  <a:pt x="147" y="61"/>
                  <a:pt x="150" y="58"/>
                </a:cubicBezTo>
                <a:cubicBezTo>
                  <a:pt x="152" y="56"/>
                  <a:pt x="153" y="52"/>
                  <a:pt x="153" y="48"/>
                </a:cubicBezTo>
                <a:close/>
                <a:moveTo>
                  <a:pt x="181" y="65"/>
                </a:moveTo>
                <a:cubicBezTo>
                  <a:pt x="177" y="65"/>
                  <a:pt x="177" y="65"/>
                  <a:pt x="177" y="65"/>
                </a:cubicBezTo>
                <a:cubicBezTo>
                  <a:pt x="177" y="61"/>
                  <a:pt x="177" y="61"/>
                  <a:pt x="177" y="61"/>
                </a:cubicBezTo>
                <a:cubicBezTo>
                  <a:pt x="177" y="61"/>
                  <a:pt x="177" y="61"/>
                  <a:pt x="177" y="61"/>
                </a:cubicBezTo>
                <a:cubicBezTo>
                  <a:pt x="175" y="64"/>
                  <a:pt x="173" y="65"/>
                  <a:pt x="170" y="65"/>
                </a:cubicBezTo>
                <a:cubicBezTo>
                  <a:pt x="164" y="65"/>
                  <a:pt x="161" y="62"/>
                  <a:pt x="161" y="55"/>
                </a:cubicBezTo>
                <a:cubicBezTo>
                  <a:pt x="161" y="41"/>
                  <a:pt x="161" y="41"/>
                  <a:pt x="161" y="41"/>
                </a:cubicBezTo>
                <a:cubicBezTo>
                  <a:pt x="165" y="41"/>
                  <a:pt x="165" y="41"/>
                  <a:pt x="165" y="41"/>
                </a:cubicBezTo>
                <a:cubicBezTo>
                  <a:pt x="165" y="55"/>
                  <a:pt x="165" y="55"/>
                  <a:pt x="165" y="55"/>
                </a:cubicBezTo>
                <a:cubicBezTo>
                  <a:pt x="165" y="60"/>
                  <a:pt x="167" y="62"/>
                  <a:pt x="171" y="62"/>
                </a:cubicBezTo>
                <a:cubicBezTo>
                  <a:pt x="173" y="62"/>
                  <a:pt x="174" y="61"/>
                  <a:pt x="175" y="60"/>
                </a:cubicBezTo>
                <a:cubicBezTo>
                  <a:pt x="177" y="59"/>
                  <a:pt x="177" y="57"/>
                  <a:pt x="177" y="55"/>
                </a:cubicBezTo>
                <a:cubicBezTo>
                  <a:pt x="177" y="41"/>
                  <a:pt x="177" y="41"/>
                  <a:pt x="177" y="41"/>
                </a:cubicBezTo>
                <a:cubicBezTo>
                  <a:pt x="181" y="41"/>
                  <a:pt x="181" y="41"/>
                  <a:pt x="181" y="41"/>
                </a:cubicBezTo>
                <a:lnTo>
                  <a:pt x="181" y="65"/>
                </a:lnTo>
                <a:close/>
                <a:moveTo>
                  <a:pt x="199" y="65"/>
                </a:moveTo>
                <a:cubicBezTo>
                  <a:pt x="198" y="65"/>
                  <a:pt x="196" y="65"/>
                  <a:pt x="195" y="65"/>
                </a:cubicBezTo>
                <a:cubicBezTo>
                  <a:pt x="191" y="65"/>
                  <a:pt x="189" y="63"/>
                  <a:pt x="189" y="58"/>
                </a:cubicBezTo>
                <a:cubicBezTo>
                  <a:pt x="189" y="44"/>
                  <a:pt x="189" y="44"/>
                  <a:pt x="189" y="44"/>
                </a:cubicBezTo>
                <a:cubicBezTo>
                  <a:pt x="185" y="44"/>
                  <a:pt x="185" y="44"/>
                  <a:pt x="185" y="44"/>
                </a:cubicBezTo>
                <a:cubicBezTo>
                  <a:pt x="185" y="41"/>
                  <a:pt x="185" y="41"/>
                  <a:pt x="185" y="41"/>
                </a:cubicBezTo>
                <a:cubicBezTo>
                  <a:pt x="189" y="41"/>
                  <a:pt x="189" y="41"/>
                  <a:pt x="189" y="41"/>
                </a:cubicBezTo>
                <a:cubicBezTo>
                  <a:pt x="189" y="35"/>
                  <a:pt x="189" y="35"/>
                  <a:pt x="189" y="35"/>
                </a:cubicBezTo>
                <a:cubicBezTo>
                  <a:pt x="193" y="34"/>
                  <a:pt x="193" y="34"/>
                  <a:pt x="193" y="34"/>
                </a:cubicBezTo>
                <a:cubicBezTo>
                  <a:pt x="193" y="41"/>
                  <a:pt x="193" y="41"/>
                  <a:pt x="193" y="41"/>
                </a:cubicBezTo>
                <a:cubicBezTo>
                  <a:pt x="199" y="41"/>
                  <a:pt x="199" y="41"/>
                  <a:pt x="199" y="41"/>
                </a:cubicBezTo>
                <a:cubicBezTo>
                  <a:pt x="199" y="44"/>
                  <a:pt x="199" y="44"/>
                  <a:pt x="199" y="44"/>
                </a:cubicBezTo>
                <a:cubicBezTo>
                  <a:pt x="193" y="44"/>
                  <a:pt x="193" y="44"/>
                  <a:pt x="193" y="44"/>
                </a:cubicBezTo>
                <a:cubicBezTo>
                  <a:pt x="193" y="58"/>
                  <a:pt x="193" y="58"/>
                  <a:pt x="193" y="58"/>
                </a:cubicBezTo>
                <a:cubicBezTo>
                  <a:pt x="193" y="59"/>
                  <a:pt x="193" y="60"/>
                  <a:pt x="193" y="61"/>
                </a:cubicBezTo>
                <a:cubicBezTo>
                  <a:pt x="194" y="62"/>
                  <a:pt x="195" y="62"/>
                  <a:pt x="196" y="62"/>
                </a:cubicBezTo>
                <a:cubicBezTo>
                  <a:pt x="197" y="62"/>
                  <a:pt x="198" y="62"/>
                  <a:pt x="199" y="61"/>
                </a:cubicBezTo>
                <a:lnTo>
                  <a:pt x="199" y="65"/>
                </a:lnTo>
                <a:close/>
                <a:moveTo>
                  <a:pt x="206" y="65"/>
                </a:moveTo>
                <a:cubicBezTo>
                  <a:pt x="202" y="65"/>
                  <a:pt x="202" y="65"/>
                  <a:pt x="202" y="65"/>
                </a:cubicBezTo>
                <a:cubicBezTo>
                  <a:pt x="202" y="29"/>
                  <a:pt x="202" y="29"/>
                  <a:pt x="202" y="29"/>
                </a:cubicBezTo>
                <a:cubicBezTo>
                  <a:pt x="206" y="29"/>
                  <a:pt x="206" y="29"/>
                  <a:pt x="206" y="29"/>
                </a:cubicBezTo>
                <a:lnTo>
                  <a:pt x="206" y="65"/>
                </a:lnTo>
                <a:close/>
                <a:moveTo>
                  <a:pt x="235" y="53"/>
                </a:moveTo>
                <a:cubicBezTo>
                  <a:pt x="235" y="57"/>
                  <a:pt x="234" y="60"/>
                  <a:pt x="231" y="62"/>
                </a:cubicBezTo>
                <a:cubicBezTo>
                  <a:pt x="229" y="64"/>
                  <a:pt x="226" y="65"/>
                  <a:pt x="223" y="65"/>
                </a:cubicBezTo>
                <a:cubicBezTo>
                  <a:pt x="219" y="65"/>
                  <a:pt x="216" y="64"/>
                  <a:pt x="214" y="62"/>
                </a:cubicBezTo>
                <a:cubicBezTo>
                  <a:pt x="212" y="60"/>
                  <a:pt x="211" y="57"/>
                  <a:pt x="211" y="53"/>
                </a:cubicBezTo>
                <a:cubicBezTo>
                  <a:pt x="211" y="49"/>
                  <a:pt x="212" y="46"/>
                  <a:pt x="214" y="44"/>
                </a:cubicBezTo>
                <a:cubicBezTo>
                  <a:pt x="216" y="41"/>
                  <a:pt x="219" y="40"/>
                  <a:pt x="223" y="40"/>
                </a:cubicBezTo>
                <a:cubicBezTo>
                  <a:pt x="227" y="40"/>
                  <a:pt x="230" y="41"/>
                  <a:pt x="232" y="44"/>
                </a:cubicBezTo>
                <a:cubicBezTo>
                  <a:pt x="234" y="46"/>
                  <a:pt x="235" y="49"/>
                  <a:pt x="235" y="53"/>
                </a:cubicBezTo>
                <a:close/>
                <a:moveTo>
                  <a:pt x="231" y="53"/>
                </a:moveTo>
                <a:cubicBezTo>
                  <a:pt x="231" y="50"/>
                  <a:pt x="230" y="48"/>
                  <a:pt x="229" y="46"/>
                </a:cubicBezTo>
                <a:cubicBezTo>
                  <a:pt x="227" y="44"/>
                  <a:pt x="225" y="44"/>
                  <a:pt x="223" y="44"/>
                </a:cubicBezTo>
                <a:cubicBezTo>
                  <a:pt x="220" y="44"/>
                  <a:pt x="218" y="44"/>
                  <a:pt x="217" y="46"/>
                </a:cubicBezTo>
                <a:cubicBezTo>
                  <a:pt x="216" y="48"/>
                  <a:pt x="215" y="50"/>
                  <a:pt x="215" y="53"/>
                </a:cubicBezTo>
                <a:cubicBezTo>
                  <a:pt x="215" y="56"/>
                  <a:pt x="216" y="58"/>
                  <a:pt x="217" y="60"/>
                </a:cubicBezTo>
                <a:cubicBezTo>
                  <a:pt x="219" y="61"/>
                  <a:pt x="220" y="62"/>
                  <a:pt x="223" y="62"/>
                </a:cubicBezTo>
                <a:cubicBezTo>
                  <a:pt x="225" y="62"/>
                  <a:pt x="227" y="61"/>
                  <a:pt x="229" y="60"/>
                </a:cubicBezTo>
                <a:cubicBezTo>
                  <a:pt x="230" y="58"/>
                  <a:pt x="231" y="56"/>
                  <a:pt x="231" y="53"/>
                </a:cubicBezTo>
                <a:close/>
                <a:moveTo>
                  <a:pt x="261" y="53"/>
                </a:moveTo>
                <a:cubicBezTo>
                  <a:pt x="261" y="57"/>
                  <a:pt x="260" y="60"/>
                  <a:pt x="258" y="62"/>
                </a:cubicBezTo>
                <a:cubicBezTo>
                  <a:pt x="256" y="64"/>
                  <a:pt x="253" y="65"/>
                  <a:pt x="249" y="65"/>
                </a:cubicBezTo>
                <a:cubicBezTo>
                  <a:pt x="246" y="65"/>
                  <a:pt x="243" y="64"/>
                  <a:pt x="241" y="62"/>
                </a:cubicBezTo>
                <a:cubicBezTo>
                  <a:pt x="238" y="60"/>
                  <a:pt x="237" y="57"/>
                  <a:pt x="237" y="53"/>
                </a:cubicBezTo>
                <a:cubicBezTo>
                  <a:pt x="237" y="49"/>
                  <a:pt x="238" y="46"/>
                  <a:pt x="241" y="44"/>
                </a:cubicBezTo>
                <a:cubicBezTo>
                  <a:pt x="243" y="41"/>
                  <a:pt x="246" y="40"/>
                  <a:pt x="250" y="40"/>
                </a:cubicBezTo>
                <a:cubicBezTo>
                  <a:pt x="253" y="40"/>
                  <a:pt x="256" y="41"/>
                  <a:pt x="258" y="44"/>
                </a:cubicBezTo>
                <a:cubicBezTo>
                  <a:pt x="260" y="46"/>
                  <a:pt x="261" y="49"/>
                  <a:pt x="261" y="53"/>
                </a:cubicBezTo>
                <a:close/>
                <a:moveTo>
                  <a:pt x="257" y="53"/>
                </a:moveTo>
                <a:cubicBezTo>
                  <a:pt x="257" y="50"/>
                  <a:pt x="256" y="48"/>
                  <a:pt x="255" y="46"/>
                </a:cubicBezTo>
                <a:cubicBezTo>
                  <a:pt x="254" y="44"/>
                  <a:pt x="252" y="44"/>
                  <a:pt x="249" y="44"/>
                </a:cubicBezTo>
                <a:cubicBezTo>
                  <a:pt x="247" y="44"/>
                  <a:pt x="245" y="44"/>
                  <a:pt x="244" y="46"/>
                </a:cubicBezTo>
                <a:cubicBezTo>
                  <a:pt x="242" y="48"/>
                  <a:pt x="241" y="50"/>
                  <a:pt x="241" y="53"/>
                </a:cubicBezTo>
                <a:cubicBezTo>
                  <a:pt x="241" y="56"/>
                  <a:pt x="242" y="58"/>
                  <a:pt x="244" y="60"/>
                </a:cubicBezTo>
                <a:cubicBezTo>
                  <a:pt x="245" y="61"/>
                  <a:pt x="247" y="62"/>
                  <a:pt x="249" y="62"/>
                </a:cubicBezTo>
                <a:cubicBezTo>
                  <a:pt x="252" y="62"/>
                  <a:pt x="254" y="61"/>
                  <a:pt x="255" y="60"/>
                </a:cubicBezTo>
                <a:cubicBezTo>
                  <a:pt x="256" y="58"/>
                  <a:pt x="257" y="56"/>
                  <a:pt x="257" y="53"/>
                </a:cubicBezTo>
                <a:close/>
                <a:moveTo>
                  <a:pt x="286" y="65"/>
                </a:moveTo>
                <a:cubicBezTo>
                  <a:pt x="280" y="65"/>
                  <a:pt x="280" y="65"/>
                  <a:pt x="280" y="65"/>
                </a:cubicBezTo>
                <a:cubicBezTo>
                  <a:pt x="270" y="53"/>
                  <a:pt x="270" y="53"/>
                  <a:pt x="270" y="53"/>
                </a:cubicBezTo>
                <a:cubicBezTo>
                  <a:pt x="270" y="53"/>
                  <a:pt x="270" y="53"/>
                  <a:pt x="270" y="53"/>
                </a:cubicBezTo>
                <a:cubicBezTo>
                  <a:pt x="270" y="65"/>
                  <a:pt x="270" y="65"/>
                  <a:pt x="270" y="65"/>
                </a:cubicBezTo>
                <a:cubicBezTo>
                  <a:pt x="266" y="65"/>
                  <a:pt x="266" y="65"/>
                  <a:pt x="266" y="65"/>
                </a:cubicBezTo>
                <a:cubicBezTo>
                  <a:pt x="266" y="29"/>
                  <a:pt x="266" y="29"/>
                  <a:pt x="266" y="29"/>
                </a:cubicBezTo>
                <a:cubicBezTo>
                  <a:pt x="270" y="29"/>
                  <a:pt x="270" y="29"/>
                  <a:pt x="270" y="29"/>
                </a:cubicBezTo>
                <a:cubicBezTo>
                  <a:pt x="270" y="52"/>
                  <a:pt x="270" y="52"/>
                  <a:pt x="270" y="52"/>
                </a:cubicBezTo>
                <a:cubicBezTo>
                  <a:pt x="270" y="52"/>
                  <a:pt x="270" y="52"/>
                  <a:pt x="270" y="52"/>
                </a:cubicBezTo>
                <a:cubicBezTo>
                  <a:pt x="280" y="41"/>
                  <a:pt x="280" y="41"/>
                  <a:pt x="280" y="41"/>
                </a:cubicBezTo>
                <a:cubicBezTo>
                  <a:pt x="285" y="41"/>
                  <a:pt x="285" y="41"/>
                  <a:pt x="285" y="41"/>
                </a:cubicBezTo>
                <a:cubicBezTo>
                  <a:pt x="274" y="52"/>
                  <a:pt x="274" y="52"/>
                  <a:pt x="274" y="52"/>
                </a:cubicBezTo>
                <a:lnTo>
                  <a:pt x="286" y="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nvGrpSpPr>
          <p:cNvPr id="898" name="Group 140"/>
          <p:cNvGrpSpPr>
            <a:grpSpLocks noChangeAspect="1"/>
          </p:cNvGrpSpPr>
          <p:nvPr/>
        </p:nvGrpSpPr>
        <p:grpSpPr bwMode="auto">
          <a:xfrm>
            <a:off x="2313561" y="4769138"/>
            <a:ext cx="1454505" cy="430284"/>
            <a:chOff x="562" y="2539"/>
            <a:chExt cx="791" cy="234"/>
          </a:xfrm>
        </p:grpSpPr>
        <p:sp>
          <p:nvSpPr>
            <p:cNvPr id="899" name="Freeform 141"/>
            <p:cNvSpPr>
              <a:spLocks/>
            </p:cNvSpPr>
            <p:nvPr/>
          </p:nvSpPr>
          <p:spPr bwMode="auto">
            <a:xfrm>
              <a:off x="705" y="2595"/>
              <a:ext cx="67" cy="120"/>
            </a:xfrm>
            <a:custGeom>
              <a:avLst/>
              <a:gdLst>
                <a:gd name="T0" fmla="*/ 4 w 28"/>
                <a:gd name="T1" fmla="*/ 0 h 49"/>
                <a:gd name="T2" fmla="*/ 0 w 28"/>
                <a:gd name="T3" fmla="*/ 1 h 49"/>
                <a:gd name="T4" fmla="*/ 0 w 28"/>
                <a:gd name="T5" fmla="*/ 5 h 49"/>
                <a:gd name="T6" fmla="*/ 4 w 28"/>
                <a:gd name="T7" fmla="*/ 5 h 49"/>
                <a:gd name="T8" fmla="*/ 24 w 28"/>
                <a:gd name="T9" fmla="*/ 25 h 49"/>
                <a:gd name="T10" fmla="*/ 4 w 28"/>
                <a:gd name="T11" fmla="*/ 45 h 49"/>
                <a:gd name="T12" fmla="*/ 0 w 28"/>
                <a:gd name="T13" fmla="*/ 44 h 49"/>
                <a:gd name="T14" fmla="*/ 0 w 28"/>
                <a:gd name="T15" fmla="*/ 49 h 49"/>
                <a:gd name="T16" fmla="*/ 4 w 28"/>
                <a:gd name="T17" fmla="*/ 49 h 49"/>
                <a:gd name="T18" fmla="*/ 28 w 28"/>
                <a:gd name="T19" fmla="*/ 25 h 49"/>
                <a:gd name="T20" fmla="*/ 4 w 28"/>
                <a:gd name="T21"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49">
                  <a:moveTo>
                    <a:pt x="4" y="0"/>
                  </a:moveTo>
                  <a:cubicBezTo>
                    <a:pt x="3" y="0"/>
                    <a:pt x="1" y="0"/>
                    <a:pt x="0" y="1"/>
                  </a:cubicBezTo>
                  <a:cubicBezTo>
                    <a:pt x="0" y="5"/>
                    <a:pt x="0" y="5"/>
                    <a:pt x="0" y="5"/>
                  </a:cubicBezTo>
                  <a:cubicBezTo>
                    <a:pt x="1" y="5"/>
                    <a:pt x="3" y="5"/>
                    <a:pt x="4" y="5"/>
                  </a:cubicBezTo>
                  <a:cubicBezTo>
                    <a:pt x="15" y="5"/>
                    <a:pt x="24" y="14"/>
                    <a:pt x="24" y="25"/>
                  </a:cubicBezTo>
                  <a:cubicBezTo>
                    <a:pt x="24" y="36"/>
                    <a:pt x="15" y="45"/>
                    <a:pt x="4" y="45"/>
                  </a:cubicBezTo>
                  <a:cubicBezTo>
                    <a:pt x="3" y="45"/>
                    <a:pt x="1" y="45"/>
                    <a:pt x="0" y="44"/>
                  </a:cubicBezTo>
                  <a:cubicBezTo>
                    <a:pt x="0" y="49"/>
                    <a:pt x="0" y="49"/>
                    <a:pt x="0" y="49"/>
                  </a:cubicBezTo>
                  <a:cubicBezTo>
                    <a:pt x="1" y="49"/>
                    <a:pt x="3" y="49"/>
                    <a:pt x="4" y="49"/>
                  </a:cubicBezTo>
                  <a:cubicBezTo>
                    <a:pt x="18" y="49"/>
                    <a:pt x="28" y="38"/>
                    <a:pt x="28" y="25"/>
                  </a:cubicBezTo>
                  <a:cubicBezTo>
                    <a:pt x="28" y="11"/>
                    <a:pt x="18" y="0"/>
                    <a:pt x="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00" name="Freeform 142"/>
            <p:cNvSpPr>
              <a:spLocks/>
            </p:cNvSpPr>
            <p:nvPr/>
          </p:nvSpPr>
          <p:spPr bwMode="auto">
            <a:xfrm>
              <a:off x="705" y="2685"/>
              <a:ext cx="33" cy="47"/>
            </a:xfrm>
            <a:custGeom>
              <a:avLst/>
              <a:gdLst>
                <a:gd name="T0" fmla="*/ 5 w 14"/>
                <a:gd name="T1" fmla="*/ 0 h 19"/>
                <a:gd name="T2" fmla="*/ 0 w 14"/>
                <a:gd name="T3" fmla="*/ 2 h 19"/>
                <a:gd name="T4" fmla="*/ 0 w 14"/>
                <a:gd name="T5" fmla="*/ 18 h 19"/>
                <a:gd name="T6" fmla="*/ 5 w 14"/>
                <a:gd name="T7" fmla="*/ 19 h 19"/>
                <a:gd name="T8" fmla="*/ 14 w 14"/>
                <a:gd name="T9" fmla="*/ 10 h 19"/>
                <a:gd name="T10" fmla="*/ 5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5" y="0"/>
                  </a:moveTo>
                  <a:cubicBezTo>
                    <a:pt x="3" y="0"/>
                    <a:pt x="1" y="1"/>
                    <a:pt x="0" y="2"/>
                  </a:cubicBezTo>
                  <a:cubicBezTo>
                    <a:pt x="0" y="18"/>
                    <a:pt x="0" y="18"/>
                    <a:pt x="0" y="18"/>
                  </a:cubicBezTo>
                  <a:cubicBezTo>
                    <a:pt x="1" y="19"/>
                    <a:pt x="3" y="19"/>
                    <a:pt x="5" y="19"/>
                  </a:cubicBezTo>
                  <a:cubicBezTo>
                    <a:pt x="10" y="19"/>
                    <a:pt x="14" y="15"/>
                    <a:pt x="14" y="10"/>
                  </a:cubicBezTo>
                  <a:cubicBezTo>
                    <a:pt x="14" y="5"/>
                    <a:pt x="10" y="0"/>
                    <a:pt x="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01" name="Freeform 143"/>
            <p:cNvSpPr>
              <a:spLocks/>
            </p:cNvSpPr>
            <p:nvPr/>
          </p:nvSpPr>
          <p:spPr bwMode="auto">
            <a:xfrm>
              <a:off x="705" y="2578"/>
              <a:ext cx="33" cy="49"/>
            </a:xfrm>
            <a:custGeom>
              <a:avLst/>
              <a:gdLst>
                <a:gd name="T0" fmla="*/ 4 w 14"/>
                <a:gd name="T1" fmla="*/ 0 h 20"/>
                <a:gd name="T2" fmla="*/ 0 w 14"/>
                <a:gd name="T3" fmla="*/ 2 h 20"/>
                <a:gd name="T4" fmla="*/ 0 w 14"/>
                <a:gd name="T5" fmla="*/ 18 h 20"/>
                <a:gd name="T6" fmla="*/ 4 w 14"/>
                <a:gd name="T7" fmla="*/ 20 h 20"/>
                <a:gd name="T8" fmla="*/ 14 w 14"/>
                <a:gd name="T9" fmla="*/ 10 h 20"/>
                <a:gd name="T10" fmla="*/ 4 w 14"/>
                <a:gd name="T11" fmla="*/ 0 h 20"/>
              </a:gdLst>
              <a:ahLst/>
              <a:cxnLst>
                <a:cxn ang="0">
                  <a:pos x="T0" y="T1"/>
                </a:cxn>
                <a:cxn ang="0">
                  <a:pos x="T2" y="T3"/>
                </a:cxn>
                <a:cxn ang="0">
                  <a:pos x="T4" y="T5"/>
                </a:cxn>
                <a:cxn ang="0">
                  <a:pos x="T6" y="T7"/>
                </a:cxn>
                <a:cxn ang="0">
                  <a:pos x="T8" y="T9"/>
                </a:cxn>
                <a:cxn ang="0">
                  <a:pos x="T10" y="T11"/>
                </a:cxn>
              </a:cxnLst>
              <a:rect l="0" t="0" r="r" b="b"/>
              <a:pathLst>
                <a:path w="14" h="20">
                  <a:moveTo>
                    <a:pt x="4" y="0"/>
                  </a:moveTo>
                  <a:cubicBezTo>
                    <a:pt x="3" y="0"/>
                    <a:pt x="1" y="1"/>
                    <a:pt x="0" y="2"/>
                  </a:cubicBezTo>
                  <a:cubicBezTo>
                    <a:pt x="0" y="18"/>
                    <a:pt x="0" y="18"/>
                    <a:pt x="0" y="18"/>
                  </a:cubicBezTo>
                  <a:cubicBezTo>
                    <a:pt x="1" y="19"/>
                    <a:pt x="3" y="20"/>
                    <a:pt x="4" y="20"/>
                  </a:cubicBezTo>
                  <a:cubicBezTo>
                    <a:pt x="10" y="20"/>
                    <a:pt x="14" y="15"/>
                    <a:pt x="14" y="10"/>
                  </a:cubicBezTo>
                  <a:cubicBezTo>
                    <a:pt x="14" y="5"/>
                    <a:pt x="10" y="0"/>
                    <a:pt x="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02" name="Oval 144"/>
            <p:cNvSpPr>
              <a:spLocks noChangeArrowheads="1"/>
            </p:cNvSpPr>
            <p:nvPr/>
          </p:nvSpPr>
          <p:spPr bwMode="auto">
            <a:xfrm>
              <a:off x="743" y="2629"/>
              <a:ext cx="45" cy="4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03" name="Freeform 145"/>
            <p:cNvSpPr>
              <a:spLocks noEditPoints="1"/>
            </p:cNvSpPr>
            <p:nvPr/>
          </p:nvSpPr>
          <p:spPr bwMode="auto">
            <a:xfrm>
              <a:off x="562" y="2539"/>
              <a:ext cx="133" cy="234"/>
            </a:xfrm>
            <a:custGeom>
              <a:avLst/>
              <a:gdLst>
                <a:gd name="T0" fmla="*/ 0 w 56"/>
                <a:gd name="T1" fmla="*/ 83 h 96"/>
                <a:gd name="T2" fmla="*/ 56 w 56"/>
                <a:gd name="T3" fmla="*/ 0 h 96"/>
                <a:gd name="T4" fmla="*/ 35 w 56"/>
                <a:gd name="T5" fmla="*/ 59 h 96"/>
                <a:gd name="T6" fmla="*/ 34 w 56"/>
                <a:gd name="T7" fmla="*/ 63 h 96"/>
                <a:gd name="T8" fmla="*/ 31 w 56"/>
                <a:gd name="T9" fmla="*/ 66 h 96"/>
                <a:gd name="T10" fmla="*/ 26 w 56"/>
                <a:gd name="T11" fmla="*/ 68 h 96"/>
                <a:gd name="T12" fmla="*/ 21 w 56"/>
                <a:gd name="T13" fmla="*/ 68 h 96"/>
                <a:gd name="T14" fmla="*/ 17 w 56"/>
                <a:gd name="T15" fmla="*/ 66 h 96"/>
                <a:gd name="T16" fmla="*/ 16 w 56"/>
                <a:gd name="T17" fmla="*/ 57 h 96"/>
                <a:gd name="T18" fmla="*/ 20 w 56"/>
                <a:gd name="T19" fmla="*/ 60 h 96"/>
                <a:gd name="T20" fmla="*/ 24 w 56"/>
                <a:gd name="T21" fmla="*/ 61 h 96"/>
                <a:gd name="T22" fmla="*/ 26 w 56"/>
                <a:gd name="T23" fmla="*/ 61 h 96"/>
                <a:gd name="T24" fmla="*/ 27 w 56"/>
                <a:gd name="T25" fmla="*/ 60 h 96"/>
                <a:gd name="T26" fmla="*/ 28 w 56"/>
                <a:gd name="T27" fmla="*/ 59 h 96"/>
                <a:gd name="T28" fmla="*/ 28 w 56"/>
                <a:gd name="T29" fmla="*/ 57 h 96"/>
                <a:gd name="T30" fmla="*/ 28 w 56"/>
                <a:gd name="T31" fmla="*/ 56 h 96"/>
                <a:gd name="T32" fmla="*/ 27 w 56"/>
                <a:gd name="T33" fmla="*/ 54 h 96"/>
                <a:gd name="T34" fmla="*/ 25 w 56"/>
                <a:gd name="T35" fmla="*/ 53 h 96"/>
                <a:gd name="T36" fmla="*/ 22 w 56"/>
                <a:gd name="T37" fmla="*/ 51 h 96"/>
                <a:gd name="T38" fmla="*/ 17 w 56"/>
                <a:gd name="T39" fmla="*/ 46 h 96"/>
                <a:gd name="T40" fmla="*/ 16 w 56"/>
                <a:gd name="T41" fmla="*/ 40 h 96"/>
                <a:gd name="T42" fmla="*/ 16 w 56"/>
                <a:gd name="T43" fmla="*/ 35 h 96"/>
                <a:gd name="T44" fmla="*/ 19 w 56"/>
                <a:gd name="T45" fmla="*/ 32 h 96"/>
                <a:gd name="T46" fmla="*/ 22 w 56"/>
                <a:gd name="T47" fmla="*/ 29 h 96"/>
                <a:gd name="T48" fmla="*/ 27 w 56"/>
                <a:gd name="T49" fmla="*/ 28 h 96"/>
                <a:gd name="T50" fmla="*/ 31 w 56"/>
                <a:gd name="T51" fmla="*/ 28 h 96"/>
                <a:gd name="T52" fmla="*/ 34 w 56"/>
                <a:gd name="T53" fmla="*/ 29 h 96"/>
                <a:gd name="T54" fmla="*/ 32 w 56"/>
                <a:gd name="T55" fmla="*/ 36 h 96"/>
                <a:gd name="T56" fmla="*/ 29 w 56"/>
                <a:gd name="T57" fmla="*/ 35 h 96"/>
                <a:gd name="T58" fmla="*/ 26 w 56"/>
                <a:gd name="T59" fmla="*/ 35 h 96"/>
                <a:gd name="T60" fmla="*/ 24 w 56"/>
                <a:gd name="T61" fmla="*/ 36 h 96"/>
                <a:gd name="T62" fmla="*/ 23 w 56"/>
                <a:gd name="T63" fmla="*/ 37 h 96"/>
                <a:gd name="T64" fmla="*/ 23 w 56"/>
                <a:gd name="T65" fmla="*/ 38 h 96"/>
                <a:gd name="T66" fmla="*/ 23 w 56"/>
                <a:gd name="T67" fmla="*/ 40 h 96"/>
                <a:gd name="T68" fmla="*/ 23 w 56"/>
                <a:gd name="T69" fmla="*/ 41 h 96"/>
                <a:gd name="T70" fmla="*/ 24 w 56"/>
                <a:gd name="T71" fmla="*/ 43 h 96"/>
                <a:gd name="T72" fmla="*/ 26 w 56"/>
                <a:gd name="T73" fmla="*/ 44 h 96"/>
                <a:gd name="T74" fmla="*/ 29 w 56"/>
                <a:gd name="T75" fmla="*/ 46 h 96"/>
                <a:gd name="T76" fmla="*/ 32 w 56"/>
                <a:gd name="T77" fmla="*/ 48 h 96"/>
                <a:gd name="T78" fmla="*/ 34 w 56"/>
                <a:gd name="T79" fmla="*/ 51 h 96"/>
                <a:gd name="T80" fmla="*/ 35 w 56"/>
                <a:gd name="T81" fmla="*/ 55 h 96"/>
                <a:gd name="T82" fmla="*/ 35 w 56"/>
                <a:gd name="T83" fmla="*/ 5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6" h="96">
                  <a:moveTo>
                    <a:pt x="0" y="13"/>
                  </a:moveTo>
                  <a:cubicBezTo>
                    <a:pt x="0" y="83"/>
                    <a:pt x="0" y="83"/>
                    <a:pt x="0" y="83"/>
                  </a:cubicBezTo>
                  <a:cubicBezTo>
                    <a:pt x="56" y="96"/>
                    <a:pt x="56" y="96"/>
                    <a:pt x="56" y="96"/>
                  </a:cubicBezTo>
                  <a:cubicBezTo>
                    <a:pt x="56" y="0"/>
                    <a:pt x="56" y="0"/>
                    <a:pt x="56" y="0"/>
                  </a:cubicBezTo>
                  <a:lnTo>
                    <a:pt x="0" y="13"/>
                  </a:lnTo>
                  <a:close/>
                  <a:moveTo>
                    <a:pt x="35" y="59"/>
                  </a:moveTo>
                  <a:cubicBezTo>
                    <a:pt x="35" y="60"/>
                    <a:pt x="35" y="61"/>
                    <a:pt x="35" y="61"/>
                  </a:cubicBezTo>
                  <a:cubicBezTo>
                    <a:pt x="35" y="62"/>
                    <a:pt x="34" y="63"/>
                    <a:pt x="34" y="63"/>
                  </a:cubicBezTo>
                  <a:cubicBezTo>
                    <a:pt x="34" y="64"/>
                    <a:pt x="33" y="64"/>
                    <a:pt x="33" y="65"/>
                  </a:cubicBezTo>
                  <a:cubicBezTo>
                    <a:pt x="32" y="65"/>
                    <a:pt x="32" y="66"/>
                    <a:pt x="31" y="66"/>
                  </a:cubicBezTo>
                  <a:cubicBezTo>
                    <a:pt x="30" y="67"/>
                    <a:pt x="30" y="67"/>
                    <a:pt x="29" y="67"/>
                  </a:cubicBezTo>
                  <a:cubicBezTo>
                    <a:pt x="28" y="68"/>
                    <a:pt x="27" y="68"/>
                    <a:pt x="26" y="68"/>
                  </a:cubicBezTo>
                  <a:cubicBezTo>
                    <a:pt x="25" y="68"/>
                    <a:pt x="24" y="68"/>
                    <a:pt x="23" y="68"/>
                  </a:cubicBezTo>
                  <a:cubicBezTo>
                    <a:pt x="23" y="68"/>
                    <a:pt x="22" y="68"/>
                    <a:pt x="21" y="68"/>
                  </a:cubicBezTo>
                  <a:cubicBezTo>
                    <a:pt x="21" y="68"/>
                    <a:pt x="20" y="67"/>
                    <a:pt x="19" y="67"/>
                  </a:cubicBezTo>
                  <a:cubicBezTo>
                    <a:pt x="19" y="67"/>
                    <a:pt x="18" y="67"/>
                    <a:pt x="17" y="66"/>
                  </a:cubicBezTo>
                  <a:cubicBezTo>
                    <a:pt x="17" y="66"/>
                    <a:pt x="16" y="66"/>
                    <a:pt x="16" y="65"/>
                  </a:cubicBezTo>
                  <a:cubicBezTo>
                    <a:pt x="16" y="57"/>
                    <a:pt x="16" y="57"/>
                    <a:pt x="16" y="57"/>
                  </a:cubicBezTo>
                  <a:cubicBezTo>
                    <a:pt x="16" y="58"/>
                    <a:pt x="17" y="58"/>
                    <a:pt x="18" y="59"/>
                  </a:cubicBezTo>
                  <a:cubicBezTo>
                    <a:pt x="18" y="59"/>
                    <a:pt x="19" y="60"/>
                    <a:pt x="20" y="60"/>
                  </a:cubicBezTo>
                  <a:cubicBezTo>
                    <a:pt x="20" y="60"/>
                    <a:pt x="21" y="61"/>
                    <a:pt x="21" y="61"/>
                  </a:cubicBezTo>
                  <a:cubicBezTo>
                    <a:pt x="22" y="61"/>
                    <a:pt x="23" y="61"/>
                    <a:pt x="24" y="61"/>
                  </a:cubicBezTo>
                  <a:cubicBezTo>
                    <a:pt x="24" y="61"/>
                    <a:pt x="24" y="61"/>
                    <a:pt x="25" y="61"/>
                  </a:cubicBezTo>
                  <a:cubicBezTo>
                    <a:pt x="25" y="61"/>
                    <a:pt x="25" y="61"/>
                    <a:pt x="26" y="61"/>
                  </a:cubicBezTo>
                  <a:cubicBezTo>
                    <a:pt x="26" y="61"/>
                    <a:pt x="26" y="61"/>
                    <a:pt x="26" y="61"/>
                  </a:cubicBezTo>
                  <a:cubicBezTo>
                    <a:pt x="27" y="60"/>
                    <a:pt x="27" y="60"/>
                    <a:pt x="27" y="60"/>
                  </a:cubicBezTo>
                  <a:cubicBezTo>
                    <a:pt x="27" y="60"/>
                    <a:pt x="27" y="60"/>
                    <a:pt x="27" y="59"/>
                  </a:cubicBezTo>
                  <a:cubicBezTo>
                    <a:pt x="28" y="59"/>
                    <a:pt x="28" y="59"/>
                    <a:pt x="28" y="59"/>
                  </a:cubicBezTo>
                  <a:cubicBezTo>
                    <a:pt x="28" y="59"/>
                    <a:pt x="28" y="58"/>
                    <a:pt x="28" y="58"/>
                  </a:cubicBezTo>
                  <a:cubicBezTo>
                    <a:pt x="28" y="58"/>
                    <a:pt x="28" y="58"/>
                    <a:pt x="28" y="57"/>
                  </a:cubicBezTo>
                  <a:cubicBezTo>
                    <a:pt x="28" y="57"/>
                    <a:pt x="28" y="57"/>
                    <a:pt x="28" y="56"/>
                  </a:cubicBezTo>
                  <a:cubicBezTo>
                    <a:pt x="28" y="56"/>
                    <a:pt x="28" y="56"/>
                    <a:pt x="28" y="56"/>
                  </a:cubicBezTo>
                  <a:cubicBezTo>
                    <a:pt x="28" y="55"/>
                    <a:pt x="27" y="55"/>
                    <a:pt x="27" y="55"/>
                  </a:cubicBezTo>
                  <a:cubicBezTo>
                    <a:pt x="27" y="54"/>
                    <a:pt x="27" y="54"/>
                    <a:pt x="27" y="54"/>
                  </a:cubicBezTo>
                  <a:cubicBezTo>
                    <a:pt x="26" y="54"/>
                    <a:pt x="26" y="53"/>
                    <a:pt x="26" y="53"/>
                  </a:cubicBezTo>
                  <a:cubicBezTo>
                    <a:pt x="26" y="53"/>
                    <a:pt x="25" y="53"/>
                    <a:pt x="25" y="53"/>
                  </a:cubicBezTo>
                  <a:cubicBezTo>
                    <a:pt x="25" y="52"/>
                    <a:pt x="24" y="52"/>
                    <a:pt x="24" y="52"/>
                  </a:cubicBezTo>
                  <a:cubicBezTo>
                    <a:pt x="23" y="51"/>
                    <a:pt x="23" y="51"/>
                    <a:pt x="22" y="51"/>
                  </a:cubicBezTo>
                  <a:cubicBezTo>
                    <a:pt x="21" y="50"/>
                    <a:pt x="20" y="49"/>
                    <a:pt x="19" y="49"/>
                  </a:cubicBezTo>
                  <a:cubicBezTo>
                    <a:pt x="19" y="48"/>
                    <a:pt x="18" y="47"/>
                    <a:pt x="17" y="46"/>
                  </a:cubicBezTo>
                  <a:cubicBezTo>
                    <a:pt x="17" y="45"/>
                    <a:pt x="16" y="44"/>
                    <a:pt x="16" y="43"/>
                  </a:cubicBezTo>
                  <a:cubicBezTo>
                    <a:pt x="16" y="42"/>
                    <a:pt x="16" y="41"/>
                    <a:pt x="16" y="40"/>
                  </a:cubicBezTo>
                  <a:cubicBezTo>
                    <a:pt x="16" y="39"/>
                    <a:pt x="16" y="38"/>
                    <a:pt x="16" y="37"/>
                  </a:cubicBezTo>
                  <a:cubicBezTo>
                    <a:pt x="16" y="37"/>
                    <a:pt x="16" y="36"/>
                    <a:pt x="16" y="35"/>
                  </a:cubicBezTo>
                  <a:cubicBezTo>
                    <a:pt x="17" y="35"/>
                    <a:pt x="17" y="34"/>
                    <a:pt x="17" y="33"/>
                  </a:cubicBezTo>
                  <a:cubicBezTo>
                    <a:pt x="18" y="33"/>
                    <a:pt x="18" y="32"/>
                    <a:pt x="19" y="32"/>
                  </a:cubicBezTo>
                  <a:cubicBezTo>
                    <a:pt x="19" y="31"/>
                    <a:pt x="20" y="31"/>
                    <a:pt x="20" y="30"/>
                  </a:cubicBezTo>
                  <a:cubicBezTo>
                    <a:pt x="21" y="30"/>
                    <a:pt x="21" y="29"/>
                    <a:pt x="22" y="29"/>
                  </a:cubicBezTo>
                  <a:cubicBezTo>
                    <a:pt x="23" y="29"/>
                    <a:pt x="23" y="29"/>
                    <a:pt x="24" y="28"/>
                  </a:cubicBezTo>
                  <a:cubicBezTo>
                    <a:pt x="25" y="28"/>
                    <a:pt x="26" y="28"/>
                    <a:pt x="27" y="28"/>
                  </a:cubicBezTo>
                  <a:cubicBezTo>
                    <a:pt x="27" y="28"/>
                    <a:pt x="28" y="28"/>
                    <a:pt x="29" y="28"/>
                  </a:cubicBezTo>
                  <a:cubicBezTo>
                    <a:pt x="29" y="28"/>
                    <a:pt x="30" y="28"/>
                    <a:pt x="31" y="28"/>
                  </a:cubicBezTo>
                  <a:cubicBezTo>
                    <a:pt x="31" y="28"/>
                    <a:pt x="32" y="28"/>
                    <a:pt x="32" y="28"/>
                  </a:cubicBezTo>
                  <a:cubicBezTo>
                    <a:pt x="33" y="29"/>
                    <a:pt x="34" y="29"/>
                    <a:pt x="34" y="29"/>
                  </a:cubicBezTo>
                  <a:cubicBezTo>
                    <a:pt x="34" y="37"/>
                    <a:pt x="34" y="37"/>
                    <a:pt x="34" y="37"/>
                  </a:cubicBezTo>
                  <a:cubicBezTo>
                    <a:pt x="34" y="37"/>
                    <a:pt x="33" y="36"/>
                    <a:pt x="32" y="36"/>
                  </a:cubicBezTo>
                  <a:cubicBezTo>
                    <a:pt x="32" y="36"/>
                    <a:pt x="31" y="36"/>
                    <a:pt x="31" y="35"/>
                  </a:cubicBezTo>
                  <a:cubicBezTo>
                    <a:pt x="30" y="35"/>
                    <a:pt x="29" y="35"/>
                    <a:pt x="29" y="35"/>
                  </a:cubicBezTo>
                  <a:cubicBezTo>
                    <a:pt x="28" y="35"/>
                    <a:pt x="28" y="35"/>
                    <a:pt x="27" y="35"/>
                  </a:cubicBezTo>
                  <a:cubicBezTo>
                    <a:pt x="27" y="35"/>
                    <a:pt x="26" y="35"/>
                    <a:pt x="26" y="35"/>
                  </a:cubicBezTo>
                  <a:cubicBezTo>
                    <a:pt x="26" y="35"/>
                    <a:pt x="25" y="35"/>
                    <a:pt x="25" y="35"/>
                  </a:cubicBezTo>
                  <a:cubicBezTo>
                    <a:pt x="25" y="35"/>
                    <a:pt x="25" y="35"/>
                    <a:pt x="24" y="36"/>
                  </a:cubicBezTo>
                  <a:cubicBezTo>
                    <a:pt x="24" y="36"/>
                    <a:pt x="24" y="36"/>
                    <a:pt x="24" y="36"/>
                  </a:cubicBezTo>
                  <a:cubicBezTo>
                    <a:pt x="24" y="36"/>
                    <a:pt x="23" y="36"/>
                    <a:pt x="23" y="37"/>
                  </a:cubicBezTo>
                  <a:cubicBezTo>
                    <a:pt x="23" y="37"/>
                    <a:pt x="23" y="37"/>
                    <a:pt x="23" y="37"/>
                  </a:cubicBezTo>
                  <a:cubicBezTo>
                    <a:pt x="23" y="38"/>
                    <a:pt x="23" y="38"/>
                    <a:pt x="23" y="38"/>
                  </a:cubicBezTo>
                  <a:cubicBezTo>
                    <a:pt x="23" y="38"/>
                    <a:pt x="23" y="39"/>
                    <a:pt x="23" y="39"/>
                  </a:cubicBezTo>
                  <a:cubicBezTo>
                    <a:pt x="23" y="39"/>
                    <a:pt x="23" y="40"/>
                    <a:pt x="23" y="40"/>
                  </a:cubicBezTo>
                  <a:cubicBezTo>
                    <a:pt x="23" y="40"/>
                    <a:pt x="23" y="40"/>
                    <a:pt x="23" y="41"/>
                  </a:cubicBezTo>
                  <a:cubicBezTo>
                    <a:pt x="23" y="41"/>
                    <a:pt x="23" y="41"/>
                    <a:pt x="23" y="41"/>
                  </a:cubicBezTo>
                  <a:cubicBezTo>
                    <a:pt x="23" y="42"/>
                    <a:pt x="23" y="42"/>
                    <a:pt x="24" y="42"/>
                  </a:cubicBezTo>
                  <a:cubicBezTo>
                    <a:pt x="24" y="42"/>
                    <a:pt x="24" y="42"/>
                    <a:pt x="24" y="43"/>
                  </a:cubicBezTo>
                  <a:cubicBezTo>
                    <a:pt x="24" y="43"/>
                    <a:pt x="25" y="43"/>
                    <a:pt x="25" y="43"/>
                  </a:cubicBezTo>
                  <a:cubicBezTo>
                    <a:pt x="25" y="43"/>
                    <a:pt x="26" y="44"/>
                    <a:pt x="26" y="44"/>
                  </a:cubicBezTo>
                  <a:cubicBezTo>
                    <a:pt x="26" y="44"/>
                    <a:pt x="27" y="44"/>
                    <a:pt x="27" y="45"/>
                  </a:cubicBezTo>
                  <a:cubicBezTo>
                    <a:pt x="28" y="45"/>
                    <a:pt x="29" y="46"/>
                    <a:pt x="29" y="46"/>
                  </a:cubicBezTo>
                  <a:cubicBezTo>
                    <a:pt x="30" y="46"/>
                    <a:pt x="30" y="47"/>
                    <a:pt x="31" y="47"/>
                  </a:cubicBezTo>
                  <a:cubicBezTo>
                    <a:pt x="31" y="48"/>
                    <a:pt x="32" y="48"/>
                    <a:pt x="32" y="48"/>
                  </a:cubicBezTo>
                  <a:cubicBezTo>
                    <a:pt x="33" y="49"/>
                    <a:pt x="33" y="49"/>
                    <a:pt x="33" y="50"/>
                  </a:cubicBezTo>
                  <a:cubicBezTo>
                    <a:pt x="34" y="50"/>
                    <a:pt x="34" y="51"/>
                    <a:pt x="34" y="51"/>
                  </a:cubicBezTo>
                  <a:cubicBezTo>
                    <a:pt x="35" y="52"/>
                    <a:pt x="35" y="52"/>
                    <a:pt x="35" y="53"/>
                  </a:cubicBezTo>
                  <a:cubicBezTo>
                    <a:pt x="35" y="53"/>
                    <a:pt x="35" y="54"/>
                    <a:pt x="35" y="55"/>
                  </a:cubicBezTo>
                  <a:cubicBezTo>
                    <a:pt x="35" y="55"/>
                    <a:pt x="36" y="56"/>
                    <a:pt x="36" y="57"/>
                  </a:cubicBezTo>
                  <a:cubicBezTo>
                    <a:pt x="36" y="58"/>
                    <a:pt x="35" y="58"/>
                    <a:pt x="35" y="5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04" name="Freeform 146"/>
            <p:cNvSpPr>
              <a:spLocks/>
            </p:cNvSpPr>
            <p:nvPr/>
          </p:nvSpPr>
          <p:spPr bwMode="auto">
            <a:xfrm>
              <a:off x="858" y="2615"/>
              <a:ext cx="45" cy="85"/>
            </a:xfrm>
            <a:custGeom>
              <a:avLst/>
              <a:gdLst>
                <a:gd name="T0" fmla="*/ 19 w 19"/>
                <a:gd name="T1" fmla="*/ 26 h 35"/>
                <a:gd name="T2" fmla="*/ 16 w 19"/>
                <a:gd name="T3" fmla="*/ 32 h 35"/>
                <a:gd name="T4" fmla="*/ 8 w 19"/>
                <a:gd name="T5" fmla="*/ 35 h 35"/>
                <a:gd name="T6" fmla="*/ 3 w 19"/>
                <a:gd name="T7" fmla="*/ 34 h 35"/>
                <a:gd name="T8" fmla="*/ 0 w 19"/>
                <a:gd name="T9" fmla="*/ 33 h 35"/>
                <a:gd name="T10" fmla="*/ 0 w 19"/>
                <a:gd name="T11" fmla="*/ 28 h 35"/>
                <a:gd name="T12" fmla="*/ 4 w 19"/>
                <a:gd name="T13" fmla="*/ 30 h 35"/>
                <a:gd name="T14" fmla="*/ 8 w 19"/>
                <a:gd name="T15" fmla="*/ 31 h 35"/>
                <a:gd name="T16" fmla="*/ 15 w 19"/>
                <a:gd name="T17" fmla="*/ 26 h 35"/>
                <a:gd name="T18" fmla="*/ 13 w 19"/>
                <a:gd name="T19" fmla="*/ 22 h 35"/>
                <a:gd name="T20" fmla="*/ 8 w 19"/>
                <a:gd name="T21" fmla="*/ 18 h 35"/>
                <a:gd name="T22" fmla="*/ 2 w 19"/>
                <a:gd name="T23" fmla="*/ 14 h 35"/>
                <a:gd name="T24" fmla="*/ 0 w 19"/>
                <a:gd name="T25" fmla="*/ 9 h 35"/>
                <a:gd name="T26" fmla="*/ 3 w 19"/>
                <a:gd name="T27" fmla="*/ 2 h 35"/>
                <a:gd name="T28" fmla="*/ 11 w 19"/>
                <a:gd name="T29" fmla="*/ 0 h 35"/>
                <a:gd name="T30" fmla="*/ 17 w 19"/>
                <a:gd name="T31" fmla="*/ 1 h 35"/>
                <a:gd name="T32" fmla="*/ 17 w 19"/>
                <a:gd name="T33" fmla="*/ 5 h 35"/>
                <a:gd name="T34" fmla="*/ 11 w 19"/>
                <a:gd name="T35" fmla="*/ 3 h 35"/>
                <a:gd name="T36" fmla="*/ 6 w 19"/>
                <a:gd name="T37" fmla="*/ 5 h 35"/>
                <a:gd name="T38" fmla="*/ 4 w 19"/>
                <a:gd name="T39" fmla="*/ 8 h 35"/>
                <a:gd name="T40" fmla="*/ 5 w 19"/>
                <a:gd name="T41" fmla="*/ 11 h 35"/>
                <a:gd name="T42" fmla="*/ 7 w 19"/>
                <a:gd name="T43" fmla="*/ 13 h 35"/>
                <a:gd name="T44" fmla="*/ 11 w 19"/>
                <a:gd name="T45" fmla="*/ 16 h 35"/>
                <a:gd name="T46" fmla="*/ 17 w 19"/>
                <a:gd name="T47" fmla="*/ 20 h 35"/>
                <a:gd name="T48" fmla="*/ 19 w 19"/>
                <a:gd name="T49" fmla="*/ 2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35">
                  <a:moveTo>
                    <a:pt x="19" y="26"/>
                  </a:moveTo>
                  <a:cubicBezTo>
                    <a:pt x="19" y="28"/>
                    <a:pt x="18" y="31"/>
                    <a:pt x="16" y="32"/>
                  </a:cubicBezTo>
                  <a:cubicBezTo>
                    <a:pt x="14" y="34"/>
                    <a:pt x="11" y="35"/>
                    <a:pt x="8" y="35"/>
                  </a:cubicBezTo>
                  <a:cubicBezTo>
                    <a:pt x="6" y="35"/>
                    <a:pt x="5" y="34"/>
                    <a:pt x="3" y="34"/>
                  </a:cubicBezTo>
                  <a:cubicBezTo>
                    <a:pt x="2" y="34"/>
                    <a:pt x="1" y="33"/>
                    <a:pt x="0" y="33"/>
                  </a:cubicBezTo>
                  <a:cubicBezTo>
                    <a:pt x="0" y="28"/>
                    <a:pt x="0" y="28"/>
                    <a:pt x="0" y="28"/>
                  </a:cubicBezTo>
                  <a:cubicBezTo>
                    <a:pt x="1" y="29"/>
                    <a:pt x="2" y="30"/>
                    <a:pt x="4" y="30"/>
                  </a:cubicBezTo>
                  <a:cubicBezTo>
                    <a:pt x="5" y="31"/>
                    <a:pt x="7" y="31"/>
                    <a:pt x="8" y="31"/>
                  </a:cubicBezTo>
                  <a:cubicBezTo>
                    <a:pt x="12" y="31"/>
                    <a:pt x="15" y="29"/>
                    <a:pt x="15" y="26"/>
                  </a:cubicBezTo>
                  <a:cubicBezTo>
                    <a:pt x="15" y="25"/>
                    <a:pt x="14" y="23"/>
                    <a:pt x="13" y="22"/>
                  </a:cubicBezTo>
                  <a:cubicBezTo>
                    <a:pt x="12" y="21"/>
                    <a:pt x="10" y="20"/>
                    <a:pt x="8" y="18"/>
                  </a:cubicBezTo>
                  <a:cubicBezTo>
                    <a:pt x="5" y="17"/>
                    <a:pt x="3" y="15"/>
                    <a:pt x="2" y="14"/>
                  </a:cubicBezTo>
                  <a:cubicBezTo>
                    <a:pt x="1" y="13"/>
                    <a:pt x="0" y="11"/>
                    <a:pt x="0" y="9"/>
                  </a:cubicBezTo>
                  <a:cubicBezTo>
                    <a:pt x="0" y="6"/>
                    <a:pt x="1" y="4"/>
                    <a:pt x="3" y="2"/>
                  </a:cubicBezTo>
                  <a:cubicBezTo>
                    <a:pt x="5" y="1"/>
                    <a:pt x="8" y="0"/>
                    <a:pt x="11" y="0"/>
                  </a:cubicBezTo>
                  <a:cubicBezTo>
                    <a:pt x="14" y="0"/>
                    <a:pt x="16" y="0"/>
                    <a:pt x="17" y="1"/>
                  </a:cubicBezTo>
                  <a:cubicBezTo>
                    <a:pt x="17" y="5"/>
                    <a:pt x="17" y="5"/>
                    <a:pt x="17" y="5"/>
                  </a:cubicBezTo>
                  <a:cubicBezTo>
                    <a:pt x="16" y="4"/>
                    <a:pt x="13" y="3"/>
                    <a:pt x="11" y="3"/>
                  </a:cubicBezTo>
                  <a:cubicBezTo>
                    <a:pt x="9" y="3"/>
                    <a:pt x="7" y="4"/>
                    <a:pt x="6" y="5"/>
                  </a:cubicBezTo>
                  <a:cubicBezTo>
                    <a:pt x="5" y="6"/>
                    <a:pt x="4" y="7"/>
                    <a:pt x="4" y="8"/>
                  </a:cubicBezTo>
                  <a:cubicBezTo>
                    <a:pt x="4" y="10"/>
                    <a:pt x="4" y="10"/>
                    <a:pt x="5" y="11"/>
                  </a:cubicBezTo>
                  <a:cubicBezTo>
                    <a:pt x="5" y="12"/>
                    <a:pt x="6" y="12"/>
                    <a:pt x="7" y="13"/>
                  </a:cubicBezTo>
                  <a:cubicBezTo>
                    <a:pt x="7" y="14"/>
                    <a:pt x="9" y="15"/>
                    <a:pt x="11" y="16"/>
                  </a:cubicBezTo>
                  <a:cubicBezTo>
                    <a:pt x="14" y="17"/>
                    <a:pt x="16" y="19"/>
                    <a:pt x="17" y="20"/>
                  </a:cubicBezTo>
                  <a:cubicBezTo>
                    <a:pt x="18" y="22"/>
                    <a:pt x="19" y="24"/>
                    <a:pt x="19"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05" name="Freeform 147"/>
            <p:cNvSpPr>
              <a:spLocks/>
            </p:cNvSpPr>
            <p:nvPr/>
          </p:nvSpPr>
          <p:spPr bwMode="auto">
            <a:xfrm>
              <a:off x="915" y="2612"/>
              <a:ext cx="47" cy="85"/>
            </a:xfrm>
            <a:custGeom>
              <a:avLst/>
              <a:gdLst>
                <a:gd name="T0" fmla="*/ 20 w 20"/>
                <a:gd name="T1" fmla="*/ 35 h 35"/>
                <a:gd name="T2" fmla="*/ 16 w 20"/>
                <a:gd name="T3" fmla="*/ 35 h 35"/>
                <a:gd name="T4" fmla="*/ 16 w 20"/>
                <a:gd name="T5" fmla="*/ 21 h 35"/>
                <a:gd name="T6" fmla="*/ 10 w 20"/>
                <a:gd name="T7" fmla="*/ 14 h 35"/>
                <a:gd name="T8" fmla="*/ 5 w 20"/>
                <a:gd name="T9" fmla="*/ 16 h 35"/>
                <a:gd name="T10" fmla="*/ 4 w 20"/>
                <a:gd name="T11" fmla="*/ 21 h 35"/>
                <a:gd name="T12" fmla="*/ 4 w 20"/>
                <a:gd name="T13" fmla="*/ 35 h 35"/>
                <a:gd name="T14" fmla="*/ 0 w 20"/>
                <a:gd name="T15" fmla="*/ 35 h 35"/>
                <a:gd name="T16" fmla="*/ 0 w 20"/>
                <a:gd name="T17" fmla="*/ 0 h 35"/>
                <a:gd name="T18" fmla="*/ 4 w 20"/>
                <a:gd name="T19" fmla="*/ 0 h 35"/>
                <a:gd name="T20" fmla="*/ 4 w 20"/>
                <a:gd name="T21" fmla="*/ 15 h 35"/>
                <a:gd name="T22" fmla="*/ 4 w 20"/>
                <a:gd name="T23" fmla="*/ 15 h 35"/>
                <a:gd name="T24" fmla="*/ 11 w 20"/>
                <a:gd name="T25" fmla="*/ 10 h 35"/>
                <a:gd name="T26" fmla="*/ 20 w 20"/>
                <a:gd name="T27" fmla="*/ 20 h 35"/>
                <a:gd name="T28" fmla="*/ 20 w 20"/>
                <a:gd name="T2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35">
                  <a:moveTo>
                    <a:pt x="20" y="35"/>
                  </a:moveTo>
                  <a:cubicBezTo>
                    <a:pt x="16" y="35"/>
                    <a:pt x="16" y="35"/>
                    <a:pt x="16" y="35"/>
                  </a:cubicBezTo>
                  <a:cubicBezTo>
                    <a:pt x="16" y="21"/>
                    <a:pt x="16" y="21"/>
                    <a:pt x="16" y="21"/>
                  </a:cubicBezTo>
                  <a:cubicBezTo>
                    <a:pt x="16" y="16"/>
                    <a:pt x="14" y="14"/>
                    <a:pt x="10" y="14"/>
                  </a:cubicBezTo>
                  <a:cubicBezTo>
                    <a:pt x="8" y="14"/>
                    <a:pt x="7" y="14"/>
                    <a:pt x="5" y="16"/>
                  </a:cubicBezTo>
                  <a:cubicBezTo>
                    <a:pt x="4" y="17"/>
                    <a:pt x="4" y="19"/>
                    <a:pt x="4" y="21"/>
                  </a:cubicBezTo>
                  <a:cubicBezTo>
                    <a:pt x="4" y="35"/>
                    <a:pt x="4" y="35"/>
                    <a:pt x="4" y="35"/>
                  </a:cubicBezTo>
                  <a:cubicBezTo>
                    <a:pt x="0" y="35"/>
                    <a:pt x="0" y="35"/>
                    <a:pt x="0" y="35"/>
                  </a:cubicBezTo>
                  <a:cubicBezTo>
                    <a:pt x="0" y="0"/>
                    <a:pt x="0" y="0"/>
                    <a:pt x="0" y="0"/>
                  </a:cubicBezTo>
                  <a:cubicBezTo>
                    <a:pt x="4" y="0"/>
                    <a:pt x="4" y="0"/>
                    <a:pt x="4" y="0"/>
                  </a:cubicBezTo>
                  <a:cubicBezTo>
                    <a:pt x="4" y="15"/>
                    <a:pt x="4" y="15"/>
                    <a:pt x="4" y="15"/>
                  </a:cubicBezTo>
                  <a:cubicBezTo>
                    <a:pt x="4" y="15"/>
                    <a:pt x="4" y="15"/>
                    <a:pt x="4" y="15"/>
                  </a:cubicBezTo>
                  <a:cubicBezTo>
                    <a:pt x="5" y="12"/>
                    <a:pt x="8" y="10"/>
                    <a:pt x="11" y="10"/>
                  </a:cubicBezTo>
                  <a:cubicBezTo>
                    <a:pt x="17" y="10"/>
                    <a:pt x="20" y="14"/>
                    <a:pt x="20" y="20"/>
                  </a:cubicBezTo>
                  <a:lnTo>
                    <a:pt x="20"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06" name="Freeform 148"/>
            <p:cNvSpPr>
              <a:spLocks noEditPoints="1"/>
            </p:cNvSpPr>
            <p:nvPr/>
          </p:nvSpPr>
          <p:spPr bwMode="auto">
            <a:xfrm>
              <a:off x="972" y="2637"/>
              <a:ext cx="45" cy="63"/>
            </a:xfrm>
            <a:custGeom>
              <a:avLst/>
              <a:gdLst>
                <a:gd name="T0" fmla="*/ 19 w 19"/>
                <a:gd name="T1" fmla="*/ 25 h 26"/>
                <a:gd name="T2" fmla="*/ 15 w 19"/>
                <a:gd name="T3" fmla="*/ 25 h 26"/>
                <a:gd name="T4" fmla="*/ 15 w 19"/>
                <a:gd name="T5" fmla="*/ 21 h 26"/>
                <a:gd name="T6" fmla="*/ 15 w 19"/>
                <a:gd name="T7" fmla="*/ 21 h 26"/>
                <a:gd name="T8" fmla="*/ 7 w 19"/>
                <a:gd name="T9" fmla="*/ 26 h 26"/>
                <a:gd name="T10" fmla="*/ 2 w 19"/>
                <a:gd name="T11" fmla="*/ 24 h 26"/>
                <a:gd name="T12" fmla="*/ 0 w 19"/>
                <a:gd name="T13" fmla="*/ 19 h 26"/>
                <a:gd name="T14" fmla="*/ 8 w 19"/>
                <a:gd name="T15" fmla="*/ 11 h 26"/>
                <a:gd name="T16" fmla="*/ 15 w 19"/>
                <a:gd name="T17" fmla="*/ 10 h 26"/>
                <a:gd name="T18" fmla="*/ 10 w 19"/>
                <a:gd name="T19" fmla="*/ 4 h 26"/>
                <a:gd name="T20" fmla="*/ 2 w 19"/>
                <a:gd name="T21" fmla="*/ 7 h 26"/>
                <a:gd name="T22" fmla="*/ 2 w 19"/>
                <a:gd name="T23" fmla="*/ 3 h 26"/>
                <a:gd name="T24" fmla="*/ 6 w 19"/>
                <a:gd name="T25" fmla="*/ 1 h 26"/>
                <a:gd name="T26" fmla="*/ 10 w 19"/>
                <a:gd name="T27" fmla="*/ 0 h 26"/>
                <a:gd name="T28" fmla="*/ 19 w 19"/>
                <a:gd name="T29" fmla="*/ 9 h 26"/>
                <a:gd name="T30" fmla="*/ 19 w 19"/>
                <a:gd name="T31" fmla="*/ 25 h 26"/>
                <a:gd name="T32" fmla="*/ 15 w 19"/>
                <a:gd name="T33" fmla="*/ 13 h 26"/>
                <a:gd name="T34" fmla="*/ 9 w 19"/>
                <a:gd name="T35" fmla="*/ 14 h 26"/>
                <a:gd name="T36" fmla="*/ 5 w 19"/>
                <a:gd name="T37" fmla="*/ 15 h 26"/>
                <a:gd name="T38" fmla="*/ 4 w 19"/>
                <a:gd name="T39" fmla="*/ 18 h 26"/>
                <a:gd name="T40" fmla="*/ 5 w 19"/>
                <a:gd name="T41" fmla="*/ 21 h 26"/>
                <a:gd name="T42" fmla="*/ 8 w 19"/>
                <a:gd name="T43" fmla="*/ 22 h 26"/>
                <a:gd name="T44" fmla="*/ 13 w 19"/>
                <a:gd name="T45" fmla="*/ 20 h 26"/>
                <a:gd name="T46" fmla="*/ 15 w 19"/>
                <a:gd name="T47" fmla="*/ 15 h 26"/>
                <a:gd name="T48" fmla="*/ 15 w 19"/>
                <a:gd name="T49" fmla="*/ 1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26">
                  <a:moveTo>
                    <a:pt x="19" y="25"/>
                  </a:moveTo>
                  <a:cubicBezTo>
                    <a:pt x="15" y="25"/>
                    <a:pt x="15" y="25"/>
                    <a:pt x="15" y="25"/>
                  </a:cubicBezTo>
                  <a:cubicBezTo>
                    <a:pt x="15" y="21"/>
                    <a:pt x="15" y="21"/>
                    <a:pt x="15" y="21"/>
                  </a:cubicBezTo>
                  <a:cubicBezTo>
                    <a:pt x="15" y="21"/>
                    <a:pt x="15" y="21"/>
                    <a:pt x="15" y="21"/>
                  </a:cubicBezTo>
                  <a:cubicBezTo>
                    <a:pt x="13" y="24"/>
                    <a:pt x="10" y="26"/>
                    <a:pt x="7" y="26"/>
                  </a:cubicBezTo>
                  <a:cubicBezTo>
                    <a:pt x="5" y="26"/>
                    <a:pt x="3" y="25"/>
                    <a:pt x="2" y="24"/>
                  </a:cubicBezTo>
                  <a:cubicBezTo>
                    <a:pt x="0" y="22"/>
                    <a:pt x="0" y="21"/>
                    <a:pt x="0" y="19"/>
                  </a:cubicBezTo>
                  <a:cubicBezTo>
                    <a:pt x="0" y="14"/>
                    <a:pt x="2" y="12"/>
                    <a:pt x="8" y="11"/>
                  </a:cubicBezTo>
                  <a:cubicBezTo>
                    <a:pt x="15" y="10"/>
                    <a:pt x="15" y="10"/>
                    <a:pt x="15" y="10"/>
                  </a:cubicBezTo>
                  <a:cubicBezTo>
                    <a:pt x="15" y="6"/>
                    <a:pt x="13" y="4"/>
                    <a:pt x="10" y="4"/>
                  </a:cubicBezTo>
                  <a:cubicBezTo>
                    <a:pt x="7" y="4"/>
                    <a:pt x="4" y="5"/>
                    <a:pt x="2" y="7"/>
                  </a:cubicBezTo>
                  <a:cubicBezTo>
                    <a:pt x="2" y="3"/>
                    <a:pt x="2" y="3"/>
                    <a:pt x="2" y="3"/>
                  </a:cubicBezTo>
                  <a:cubicBezTo>
                    <a:pt x="3" y="2"/>
                    <a:pt x="4" y="2"/>
                    <a:pt x="6" y="1"/>
                  </a:cubicBezTo>
                  <a:cubicBezTo>
                    <a:pt x="7" y="1"/>
                    <a:pt x="9" y="0"/>
                    <a:pt x="10" y="0"/>
                  </a:cubicBezTo>
                  <a:cubicBezTo>
                    <a:pt x="16" y="0"/>
                    <a:pt x="19" y="3"/>
                    <a:pt x="19" y="9"/>
                  </a:cubicBezTo>
                  <a:lnTo>
                    <a:pt x="19" y="25"/>
                  </a:lnTo>
                  <a:close/>
                  <a:moveTo>
                    <a:pt x="15" y="13"/>
                  </a:moveTo>
                  <a:cubicBezTo>
                    <a:pt x="9" y="14"/>
                    <a:pt x="9" y="14"/>
                    <a:pt x="9" y="14"/>
                  </a:cubicBezTo>
                  <a:cubicBezTo>
                    <a:pt x="7" y="14"/>
                    <a:pt x="6" y="14"/>
                    <a:pt x="5" y="15"/>
                  </a:cubicBezTo>
                  <a:cubicBezTo>
                    <a:pt x="4" y="16"/>
                    <a:pt x="4" y="17"/>
                    <a:pt x="4" y="18"/>
                  </a:cubicBezTo>
                  <a:cubicBezTo>
                    <a:pt x="4" y="20"/>
                    <a:pt x="4" y="21"/>
                    <a:pt x="5" y="21"/>
                  </a:cubicBezTo>
                  <a:cubicBezTo>
                    <a:pt x="6" y="22"/>
                    <a:pt x="7" y="22"/>
                    <a:pt x="8" y="22"/>
                  </a:cubicBezTo>
                  <a:cubicBezTo>
                    <a:pt x="10" y="22"/>
                    <a:pt x="12" y="22"/>
                    <a:pt x="13" y="20"/>
                  </a:cubicBezTo>
                  <a:cubicBezTo>
                    <a:pt x="14" y="19"/>
                    <a:pt x="15" y="17"/>
                    <a:pt x="15" y="15"/>
                  </a:cubicBezTo>
                  <a:lnTo>
                    <a:pt x="15"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07" name="Freeform 149"/>
            <p:cNvSpPr>
              <a:spLocks/>
            </p:cNvSpPr>
            <p:nvPr/>
          </p:nvSpPr>
          <p:spPr bwMode="auto">
            <a:xfrm>
              <a:off x="1029" y="2639"/>
              <a:ext cx="31" cy="58"/>
            </a:xfrm>
            <a:custGeom>
              <a:avLst/>
              <a:gdLst>
                <a:gd name="T0" fmla="*/ 13 w 13"/>
                <a:gd name="T1" fmla="*/ 4 h 24"/>
                <a:gd name="T2" fmla="*/ 10 w 13"/>
                <a:gd name="T3" fmla="*/ 3 h 24"/>
                <a:gd name="T4" fmla="*/ 6 w 13"/>
                <a:gd name="T5" fmla="*/ 6 h 24"/>
                <a:gd name="T6" fmla="*/ 4 w 13"/>
                <a:gd name="T7" fmla="*/ 12 h 24"/>
                <a:gd name="T8" fmla="*/ 4 w 13"/>
                <a:gd name="T9" fmla="*/ 24 h 24"/>
                <a:gd name="T10" fmla="*/ 0 w 13"/>
                <a:gd name="T11" fmla="*/ 24 h 24"/>
                <a:gd name="T12" fmla="*/ 0 w 13"/>
                <a:gd name="T13" fmla="*/ 0 h 24"/>
                <a:gd name="T14" fmla="*/ 4 w 13"/>
                <a:gd name="T15" fmla="*/ 0 h 24"/>
                <a:gd name="T16" fmla="*/ 4 w 13"/>
                <a:gd name="T17" fmla="*/ 5 h 24"/>
                <a:gd name="T18" fmla="*/ 4 w 13"/>
                <a:gd name="T19" fmla="*/ 5 h 24"/>
                <a:gd name="T20" fmla="*/ 7 w 13"/>
                <a:gd name="T21" fmla="*/ 1 h 24"/>
                <a:gd name="T22" fmla="*/ 11 w 13"/>
                <a:gd name="T23" fmla="*/ 0 h 24"/>
                <a:gd name="T24" fmla="*/ 13 w 13"/>
                <a:gd name="T25" fmla="*/ 0 h 24"/>
                <a:gd name="T26" fmla="*/ 13 w 13"/>
                <a:gd name="T27"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24">
                  <a:moveTo>
                    <a:pt x="13" y="4"/>
                  </a:moveTo>
                  <a:cubicBezTo>
                    <a:pt x="12" y="3"/>
                    <a:pt x="11" y="3"/>
                    <a:pt x="10" y="3"/>
                  </a:cubicBezTo>
                  <a:cubicBezTo>
                    <a:pt x="8" y="3"/>
                    <a:pt x="7" y="4"/>
                    <a:pt x="6" y="6"/>
                  </a:cubicBezTo>
                  <a:cubicBezTo>
                    <a:pt x="5" y="7"/>
                    <a:pt x="4" y="9"/>
                    <a:pt x="4" y="12"/>
                  </a:cubicBezTo>
                  <a:cubicBezTo>
                    <a:pt x="4" y="24"/>
                    <a:pt x="4" y="24"/>
                    <a:pt x="4" y="24"/>
                  </a:cubicBezTo>
                  <a:cubicBezTo>
                    <a:pt x="0" y="24"/>
                    <a:pt x="0" y="24"/>
                    <a:pt x="0" y="24"/>
                  </a:cubicBezTo>
                  <a:cubicBezTo>
                    <a:pt x="0" y="0"/>
                    <a:pt x="0" y="0"/>
                    <a:pt x="0" y="0"/>
                  </a:cubicBezTo>
                  <a:cubicBezTo>
                    <a:pt x="4" y="0"/>
                    <a:pt x="4" y="0"/>
                    <a:pt x="4" y="0"/>
                  </a:cubicBezTo>
                  <a:cubicBezTo>
                    <a:pt x="4" y="5"/>
                    <a:pt x="4" y="5"/>
                    <a:pt x="4" y="5"/>
                  </a:cubicBezTo>
                  <a:cubicBezTo>
                    <a:pt x="4" y="5"/>
                    <a:pt x="4" y="5"/>
                    <a:pt x="4" y="5"/>
                  </a:cubicBezTo>
                  <a:cubicBezTo>
                    <a:pt x="5" y="3"/>
                    <a:pt x="6" y="2"/>
                    <a:pt x="7" y="1"/>
                  </a:cubicBezTo>
                  <a:cubicBezTo>
                    <a:pt x="8" y="0"/>
                    <a:pt x="9" y="0"/>
                    <a:pt x="11" y="0"/>
                  </a:cubicBezTo>
                  <a:cubicBezTo>
                    <a:pt x="12" y="0"/>
                    <a:pt x="12" y="0"/>
                    <a:pt x="13" y="0"/>
                  </a:cubicBezTo>
                  <a:lnTo>
                    <a:pt x="13"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08" name="Freeform 150"/>
            <p:cNvSpPr>
              <a:spLocks noEditPoints="1"/>
            </p:cNvSpPr>
            <p:nvPr/>
          </p:nvSpPr>
          <p:spPr bwMode="auto">
            <a:xfrm>
              <a:off x="1060" y="2637"/>
              <a:ext cx="50" cy="63"/>
            </a:xfrm>
            <a:custGeom>
              <a:avLst/>
              <a:gdLst>
                <a:gd name="T0" fmla="*/ 21 w 21"/>
                <a:gd name="T1" fmla="*/ 14 h 26"/>
                <a:gd name="T2" fmla="*/ 4 w 21"/>
                <a:gd name="T3" fmla="*/ 14 h 26"/>
                <a:gd name="T4" fmla="*/ 7 w 21"/>
                <a:gd name="T5" fmla="*/ 20 h 26"/>
                <a:gd name="T6" fmla="*/ 12 w 21"/>
                <a:gd name="T7" fmla="*/ 22 h 26"/>
                <a:gd name="T8" fmla="*/ 20 w 21"/>
                <a:gd name="T9" fmla="*/ 20 h 26"/>
                <a:gd name="T10" fmla="*/ 20 w 21"/>
                <a:gd name="T11" fmla="*/ 23 h 26"/>
                <a:gd name="T12" fmla="*/ 11 w 21"/>
                <a:gd name="T13" fmla="*/ 26 h 26"/>
                <a:gd name="T14" fmla="*/ 3 w 21"/>
                <a:gd name="T15" fmla="*/ 22 h 26"/>
                <a:gd name="T16" fmla="*/ 0 w 21"/>
                <a:gd name="T17" fmla="*/ 13 h 26"/>
                <a:gd name="T18" fmla="*/ 2 w 21"/>
                <a:gd name="T19" fmla="*/ 7 h 26"/>
                <a:gd name="T20" fmla="*/ 6 w 21"/>
                <a:gd name="T21" fmla="*/ 2 h 26"/>
                <a:gd name="T22" fmla="*/ 11 w 21"/>
                <a:gd name="T23" fmla="*/ 0 h 26"/>
                <a:gd name="T24" fmla="*/ 19 w 21"/>
                <a:gd name="T25" fmla="*/ 3 h 26"/>
                <a:gd name="T26" fmla="*/ 21 w 21"/>
                <a:gd name="T27" fmla="*/ 12 h 26"/>
                <a:gd name="T28" fmla="*/ 21 w 21"/>
                <a:gd name="T29" fmla="*/ 14 h 26"/>
                <a:gd name="T30" fmla="*/ 17 w 21"/>
                <a:gd name="T31" fmla="*/ 11 h 26"/>
                <a:gd name="T32" fmla="*/ 16 w 21"/>
                <a:gd name="T33" fmla="*/ 6 h 26"/>
                <a:gd name="T34" fmla="*/ 11 w 21"/>
                <a:gd name="T35" fmla="*/ 4 h 26"/>
                <a:gd name="T36" fmla="*/ 7 w 21"/>
                <a:gd name="T37" fmla="*/ 6 h 26"/>
                <a:gd name="T38" fmla="*/ 4 w 21"/>
                <a:gd name="T39" fmla="*/ 11 h 26"/>
                <a:gd name="T40" fmla="*/ 17 w 21"/>
                <a:gd name="T41" fmla="*/ 1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 h="26">
                  <a:moveTo>
                    <a:pt x="21" y="14"/>
                  </a:moveTo>
                  <a:cubicBezTo>
                    <a:pt x="4" y="14"/>
                    <a:pt x="4" y="14"/>
                    <a:pt x="4" y="14"/>
                  </a:cubicBezTo>
                  <a:cubicBezTo>
                    <a:pt x="4" y="17"/>
                    <a:pt x="5" y="19"/>
                    <a:pt x="7" y="20"/>
                  </a:cubicBezTo>
                  <a:cubicBezTo>
                    <a:pt x="8" y="22"/>
                    <a:pt x="10" y="22"/>
                    <a:pt x="12" y="22"/>
                  </a:cubicBezTo>
                  <a:cubicBezTo>
                    <a:pt x="15" y="22"/>
                    <a:pt x="17" y="21"/>
                    <a:pt x="20" y="20"/>
                  </a:cubicBezTo>
                  <a:cubicBezTo>
                    <a:pt x="20" y="23"/>
                    <a:pt x="20" y="23"/>
                    <a:pt x="20" y="23"/>
                  </a:cubicBezTo>
                  <a:cubicBezTo>
                    <a:pt x="18" y="25"/>
                    <a:pt x="15" y="26"/>
                    <a:pt x="11" y="26"/>
                  </a:cubicBezTo>
                  <a:cubicBezTo>
                    <a:pt x="8" y="26"/>
                    <a:pt x="5" y="25"/>
                    <a:pt x="3" y="22"/>
                  </a:cubicBezTo>
                  <a:cubicBezTo>
                    <a:pt x="1" y="20"/>
                    <a:pt x="0" y="17"/>
                    <a:pt x="0" y="13"/>
                  </a:cubicBezTo>
                  <a:cubicBezTo>
                    <a:pt x="0" y="11"/>
                    <a:pt x="1" y="9"/>
                    <a:pt x="2" y="7"/>
                  </a:cubicBezTo>
                  <a:cubicBezTo>
                    <a:pt x="3" y="5"/>
                    <a:pt x="4" y="3"/>
                    <a:pt x="6" y="2"/>
                  </a:cubicBezTo>
                  <a:cubicBezTo>
                    <a:pt x="8" y="1"/>
                    <a:pt x="9" y="0"/>
                    <a:pt x="11" y="0"/>
                  </a:cubicBezTo>
                  <a:cubicBezTo>
                    <a:pt x="15" y="0"/>
                    <a:pt x="17" y="1"/>
                    <a:pt x="19" y="3"/>
                  </a:cubicBezTo>
                  <a:cubicBezTo>
                    <a:pt x="21" y="6"/>
                    <a:pt x="21" y="8"/>
                    <a:pt x="21" y="12"/>
                  </a:cubicBezTo>
                  <a:lnTo>
                    <a:pt x="21" y="14"/>
                  </a:lnTo>
                  <a:close/>
                  <a:moveTo>
                    <a:pt x="17" y="11"/>
                  </a:moveTo>
                  <a:cubicBezTo>
                    <a:pt x="17" y="9"/>
                    <a:pt x="17" y="7"/>
                    <a:pt x="16" y="6"/>
                  </a:cubicBezTo>
                  <a:cubicBezTo>
                    <a:pt x="15" y="4"/>
                    <a:pt x="13" y="4"/>
                    <a:pt x="11" y="4"/>
                  </a:cubicBezTo>
                  <a:cubicBezTo>
                    <a:pt x="10" y="4"/>
                    <a:pt x="8" y="4"/>
                    <a:pt x="7" y="6"/>
                  </a:cubicBezTo>
                  <a:cubicBezTo>
                    <a:pt x="6" y="7"/>
                    <a:pt x="5" y="9"/>
                    <a:pt x="4" y="11"/>
                  </a:cubicBezTo>
                  <a:lnTo>
                    <a:pt x="17"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09" name="Freeform 151"/>
            <p:cNvSpPr>
              <a:spLocks noEditPoints="1"/>
            </p:cNvSpPr>
            <p:nvPr/>
          </p:nvSpPr>
          <p:spPr bwMode="auto">
            <a:xfrm>
              <a:off x="1122" y="2615"/>
              <a:ext cx="50" cy="82"/>
            </a:xfrm>
            <a:custGeom>
              <a:avLst/>
              <a:gdLst>
                <a:gd name="T0" fmla="*/ 21 w 21"/>
                <a:gd name="T1" fmla="*/ 10 h 34"/>
                <a:gd name="T2" fmla="*/ 17 w 21"/>
                <a:gd name="T3" fmla="*/ 18 h 34"/>
                <a:gd name="T4" fmla="*/ 9 w 21"/>
                <a:gd name="T5" fmla="*/ 21 h 34"/>
                <a:gd name="T6" fmla="*/ 4 w 21"/>
                <a:gd name="T7" fmla="*/ 21 h 34"/>
                <a:gd name="T8" fmla="*/ 4 w 21"/>
                <a:gd name="T9" fmla="*/ 34 h 34"/>
                <a:gd name="T10" fmla="*/ 0 w 21"/>
                <a:gd name="T11" fmla="*/ 34 h 34"/>
                <a:gd name="T12" fmla="*/ 0 w 21"/>
                <a:gd name="T13" fmla="*/ 0 h 34"/>
                <a:gd name="T14" fmla="*/ 9 w 21"/>
                <a:gd name="T15" fmla="*/ 0 h 34"/>
                <a:gd name="T16" fmla="*/ 18 w 21"/>
                <a:gd name="T17" fmla="*/ 3 h 34"/>
                <a:gd name="T18" fmla="*/ 21 w 21"/>
                <a:gd name="T19" fmla="*/ 10 h 34"/>
                <a:gd name="T20" fmla="*/ 17 w 21"/>
                <a:gd name="T21" fmla="*/ 11 h 34"/>
                <a:gd name="T22" fmla="*/ 9 w 21"/>
                <a:gd name="T23" fmla="*/ 4 h 34"/>
                <a:gd name="T24" fmla="*/ 4 w 21"/>
                <a:gd name="T25" fmla="*/ 4 h 34"/>
                <a:gd name="T26" fmla="*/ 4 w 21"/>
                <a:gd name="T27" fmla="*/ 18 h 34"/>
                <a:gd name="T28" fmla="*/ 8 w 21"/>
                <a:gd name="T29" fmla="*/ 18 h 34"/>
                <a:gd name="T30" fmla="*/ 14 w 21"/>
                <a:gd name="T31" fmla="*/ 16 h 34"/>
                <a:gd name="T32" fmla="*/ 17 w 21"/>
                <a:gd name="T33" fmla="*/ 1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 h="34">
                  <a:moveTo>
                    <a:pt x="21" y="10"/>
                  </a:moveTo>
                  <a:cubicBezTo>
                    <a:pt x="21" y="14"/>
                    <a:pt x="20" y="16"/>
                    <a:pt x="17" y="18"/>
                  </a:cubicBezTo>
                  <a:cubicBezTo>
                    <a:pt x="15" y="20"/>
                    <a:pt x="12" y="21"/>
                    <a:pt x="9" y="21"/>
                  </a:cubicBezTo>
                  <a:cubicBezTo>
                    <a:pt x="4" y="21"/>
                    <a:pt x="4" y="21"/>
                    <a:pt x="4" y="21"/>
                  </a:cubicBezTo>
                  <a:cubicBezTo>
                    <a:pt x="4" y="34"/>
                    <a:pt x="4" y="34"/>
                    <a:pt x="4" y="34"/>
                  </a:cubicBezTo>
                  <a:cubicBezTo>
                    <a:pt x="0" y="34"/>
                    <a:pt x="0" y="34"/>
                    <a:pt x="0" y="34"/>
                  </a:cubicBezTo>
                  <a:cubicBezTo>
                    <a:pt x="0" y="0"/>
                    <a:pt x="0" y="0"/>
                    <a:pt x="0" y="0"/>
                  </a:cubicBezTo>
                  <a:cubicBezTo>
                    <a:pt x="9" y="0"/>
                    <a:pt x="9" y="0"/>
                    <a:pt x="9" y="0"/>
                  </a:cubicBezTo>
                  <a:cubicBezTo>
                    <a:pt x="13" y="0"/>
                    <a:pt x="16" y="1"/>
                    <a:pt x="18" y="3"/>
                  </a:cubicBezTo>
                  <a:cubicBezTo>
                    <a:pt x="20" y="5"/>
                    <a:pt x="21" y="7"/>
                    <a:pt x="21" y="10"/>
                  </a:cubicBezTo>
                  <a:close/>
                  <a:moveTo>
                    <a:pt x="17" y="11"/>
                  </a:moveTo>
                  <a:cubicBezTo>
                    <a:pt x="17" y="6"/>
                    <a:pt x="14" y="4"/>
                    <a:pt x="9" y="4"/>
                  </a:cubicBezTo>
                  <a:cubicBezTo>
                    <a:pt x="4" y="4"/>
                    <a:pt x="4" y="4"/>
                    <a:pt x="4" y="4"/>
                  </a:cubicBezTo>
                  <a:cubicBezTo>
                    <a:pt x="4" y="18"/>
                    <a:pt x="4" y="18"/>
                    <a:pt x="4" y="18"/>
                  </a:cubicBezTo>
                  <a:cubicBezTo>
                    <a:pt x="8" y="18"/>
                    <a:pt x="8" y="18"/>
                    <a:pt x="8" y="18"/>
                  </a:cubicBezTo>
                  <a:cubicBezTo>
                    <a:pt x="11" y="18"/>
                    <a:pt x="13" y="17"/>
                    <a:pt x="14" y="16"/>
                  </a:cubicBezTo>
                  <a:cubicBezTo>
                    <a:pt x="16" y="15"/>
                    <a:pt x="17" y="13"/>
                    <a:pt x="17"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10" name="Freeform 152"/>
            <p:cNvSpPr>
              <a:spLocks noEditPoints="1"/>
            </p:cNvSpPr>
            <p:nvPr/>
          </p:nvSpPr>
          <p:spPr bwMode="auto">
            <a:xfrm>
              <a:off x="1175" y="2637"/>
              <a:ext cx="54" cy="63"/>
            </a:xfrm>
            <a:custGeom>
              <a:avLst/>
              <a:gdLst>
                <a:gd name="T0" fmla="*/ 23 w 23"/>
                <a:gd name="T1" fmla="*/ 13 h 26"/>
                <a:gd name="T2" fmla="*/ 20 w 23"/>
                <a:gd name="T3" fmla="*/ 22 h 26"/>
                <a:gd name="T4" fmla="*/ 11 w 23"/>
                <a:gd name="T5" fmla="*/ 26 h 26"/>
                <a:gd name="T6" fmla="*/ 3 w 23"/>
                <a:gd name="T7" fmla="*/ 22 h 26"/>
                <a:gd name="T8" fmla="*/ 0 w 23"/>
                <a:gd name="T9" fmla="*/ 13 h 26"/>
                <a:gd name="T10" fmla="*/ 3 w 23"/>
                <a:gd name="T11" fmla="*/ 4 h 26"/>
                <a:gd name="T12" fmla="*/ 12 w 23"/>
                <a:gd name="T13" fmla="*/ 0 h 26"/>
                <a:gd name="T14" fmla="*/ 20 w 23"/>
                <a:gd name="T15" fmla="*/ 4 h 26"/>
                <a:gd name="T16" fmla="*/ 23 w 23"/>
                <a:gd name="T17" fmla="*/ 13 h 26"/>
                <a:gd name="T18" fmla="*/ 19 w 23"/>
                <a:gd name="T19" fmla="*/ 13 h 26"/>
                <a:gd name="T20" fmla="*/ 17 w 23"/>
                <a:gd name="T21" fmla="*/ 6 h 26"/>
                <a:gd name="T22" fmla="*/ 12 w 23"/>
                <a:gd name="T23" fmla="*/ 4 h 26"/>
                <a:gd name="T24" fmla="*/ 6 w 23"/>
                <a:gd name="T25" fmla="*/ 6 h 26"/>
                <a:gd name="T26" fmla="*/ 4 w 23"/>
                <a:gd name="T27" fmla="*/ 13 h 26"/>
                <a:gd name="T28" fmla="*/ 6 w 23"/>
                <a:gd name="T29" fmla="*/ 20 h 26"/>
                <a:gd name="T30" fmla="*/ 12 w 23"/>
                <a:gd name="T31" fmla="*/ 22 h 26"/>
                <a:gd name="T32" fmla="*/ 17 w 23"/>
                <a:gd name="T33" fmla="*/ 20 h 26"/>
                <a:gd name="T34" fmla="*/ 19 w 23"/>
                <a:gd name="T35" fmla="*/ 1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 h="26">
                  <a:moveTo>
                    <a:pt x="23" y="13"/>
                  </a:moveTo>
                  <a:cubicBezTo>
                    <a:pt x="23" y="17"/>
                    <a:pt x="22" y="20"/>
                    <a:pt x="20" y="22"/>
                  </a:cubicBezTo>
                  <a:cubicBezTo>
                    <a:pt x="18" y="24"/>
                    <a:pt x="15" y="26"/>
                    <a:pt x="11" y="26"/>
                  </a:cubicBezTo>
                  <a:cubicBezTo>
                    <a:pt x="8" y="26"/>
                    <a:pt x="5" y="24"/>
                    <a:pt x="3" y="22"/>
                  </a:cubicBezTo>
                  <a:cubicBezTo>
                    <a:pt x="1" y="20"/>
                    <a:pt x="0" y="17"/>
                    <a:pt x="0" y="13"/>
                  </a:cubicBezTo>
                  <a:cubicBezTo>
                    <a:pt x="0" y="9"/>
                    <a:pt x="1" y="6"/>
                    <a:pt x="3" y="4"/>
                  </a:cubicBezTo>
                  <a:cubicBezTo>
                    <a:pt x="5" y="2"/>
                    <a:pt x="8" y="0"/>
                    <a:pt x="12" y="0"/>
                  </a:cubicBezTo>
                  <a:cubicBezTo>
                    <a:pt x="15" y="0"/>
                    <a:pt x="18" y="2"/>
                    <a:pt x="20" y="4"/>
                  </a:cubicBezTo>
                  <a:cubicBezTo>
                    <a:pt x="22" y="6"/>
                    <a:pt x="23" y="9"/>
                    <a:pt x="23" y="13"/>
                  </a:cubicBezTo>
                  <a:close/>
                  <a:moveTo>
                    <a:pt x="19" y="13"/>
                  </a:moveTo>
                  <a:cubicBezTo>
                    <a:pt x="19" y="10"/>
                    <a:pt x="19" y="8"/>
                    <a:pt x="17" y="6"/>
                  </a:cubicBezTo>
                  <a:cubicBezTo>
                    <a:pt x="16" y="5"/>
                    <a:pt x="14" y="4"/>
                    <a:pt x="12" y="4"/>
                  </a:cubicBezTo>
                  <a:cubicBezTo>
                    <a:pt x="9" y="4"/>
                    <a:pt x="7" y="5"/>
                    <a:pt x="6" y="6"/>
                  </a:cubicBezTo>
                  <a:cubicBezTo>
                    <a:pt x="4" y="8"/>
                    <a:pt x="4" y="10"/>
                    <a:pt x="4" y="13"/>
                  </a:cubicBezTo>
                  <a:cubicBezTo>
                    <a:pt x="4" y="16"/>
                    <a:pt x="4" y="18"/>
                    <a:pt x="6" y="20"/>
                  </a:cubicBezTo>
                  <a:cubicBezTo>
                    <a:pt x="7" y="22"/>
                    <a:pt x="9" y="22"/>
                    <a:pt x="12" y="22"/>
                  </a:cubicBezTo>
                  <a:cubicBezTo>
                    <a:pt x="14" y="22"/>
                    <a:pt x="16" y="22"/>
                    <a:pt x="17" y="20"/>
                  </a:cubicBezTo>
                  <a:cubicBezTo>
                    <a:pt x="19" y="18"/>
                    <a:pt x="19" y="16"/>
                    <a:pt x="19"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11" name="Freeform 153"/>
            <p:cNvSpPr>
              <a:spLocks noEditPoints="1"/>
            </p:cNvSpPr>
            <p:nvPr/>
          </p:nvSpPr>
          <p:spPr bwMode="auto">
            <a:xfrm>
              <a:off x="1239" y="2612"/>
              <a:ext cx="12" cy="85"/>
            </a:xfrm>
            <a:custGeom>
              <a:avLst/>
              <a:gdLst>
                <a:gd name="T0" fmla="*/ 5 w 5"/>
                <a:gd name="T1" fmla="*/ 2 h 35"/>
                <a:gd name="T2" fmla="*/ 5 w 5"/>
                <a:gd name="T3" fmla="*/ 4 h 35"/>
                <a:gd name="T4" fmla="*/ 3 w 5"/>
                <a:gd name="T5" fmla="*/ 5 h 35"/>
                <a:gd name="T6" fmla="*/ 1 w 5"/>
                <a:gd name="T7" fmla="*/ 4 h 35"/>
                <a:gd name="T8" fmla="*/ 0 w 5"/>
                <a:gd name="T9" fmla="*/ 2 h 35"/>
                <a:gd name="T10" fmla="*/ 1 w 5"/>
                <a:gd name="T11" fmla="*/ 1 h 35"/>
                <a:gd name="T12" fmla="*/ 3 w 5"/>
                <a:gd name="T13" fmla="*/ 0 h 35"/>
                <a:gd name="T14" fmla="*/ 5 w 5"/>
                <a:gd name="T15" fmla="*/ 1 h 35"/>
                <a:gd name="T16" fmla="*/ 5 w 5"/>
                <a:gd name="T17" fmla="*/ 2 h 35"/>
                <a:gd name="T18" fmla="*/ 5 w 5"/>
                <a:gd name="T19" fmla="*/ 35 h 35"/>
                <a:gd name="T20" fmla="*/ 1 w 5"/>
                <a:gd name="T21" fmla="*/ 35 h 35"/>
                <a:gd name="T22" fmla="*/ 1 w 5"/>
                <a:gd name="T23" fmla="*/ 11 h 35"/>
                <a:gd name="T24" fmla="*/ 5 w 5"/>
                <a:gd name="T25" fmla="*/ 11 h 35"/>
                <a:gd name="T26" fmla="*/ 5 w 5"/>
                <a:gd name="T27"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35">
                  <a:moveTo>
                    <a:pt x="5" y="2"/>
                  </a:moveTo>
                  <a:cubicBezTo>
                    <a:pt x="5" y="3"/>
                    <a:pt x="5" y="4"/>
                    <a:pt x="5" y="4"/>
                  </a:cubicBezTo>
                  <a:cubicBezTo>
                    <a:pt x="4" y="5"/>
                    <a:pt x="4" y="5"/>
                    <a:pt x="3" y="5"/>
                  </a:cubicBezTo>
                  <a:cubicBezTo>
                    <a:pt x="2" y="5"/>
                    <a:pt x="2" y="5"/>
                    <a:pt x="1" y="4"/>
                  </a:cubicBezTo>
                  <a:cubicBezTo>
                    <a:pt x="1" y="4"/>
                    <a:pt x="0" y="3"/>
                    <a:pt x="0" y="2"/>
                  </a:cubicBezTo>
                  <a:cubicBezTo>
                    <a:pt x="0" y="2"/>
                    <a:pt x="1" y="1"/>
                    <a:pt x="1" y="1"/>
                  </a:cubicBezTo>
                  <a:cubicBezTo>
                    <a:pt x="2" y="0"/>
                    <a:pt x="2" y="0"/>
                    <a:pt x="3" y="0"/>
                  </a:cubicBezTo>
                  <a:cubicBezTo>
                    <a:pt x="4" y="0"/>
                    <a:pt x="4" y="0"/>
                    <a:pt x="5" y="1"/>
                  </a:cubicBezTo>
                  <a:cubicBezTo>
                    <a:pt x="5" y="1"/>
                    <a:pt x="5" y="2"/>
                    <a:pt x="5" y="2"/>
                  </a:cubicBezTo>
                  <a:close/>
                  <a:moveTo>
                    <a:pt x="5" y="35"/>
                  </a:moveTo>
                  <a:cubicBezTo>
                    <a:pt x="1" y="35"/>
                    <a:pt x="1" y="35"/>
                    <a:pt x="1" y="35"/>
                  </a:cubicBezTo>
                  <a:cubicBezTo>
                    <a:pt x="1" y="11"/>
                    <a:pt x="1" y="11"/>
                    <a:pt x="1" y="11"/>
                  </a:cubicBezTo>
                  <a:cubicBezTo>
                    <a:pt x="5" y="11"/>
                    <a:pt x="5" y="11"/>
                    <a:pt x="5" y="11"/>
                  </a:cubicBezTo>
                  <a:lnTo>
                    <a:pt x="5"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12" name="Freeform 154"/>
            <p:cNvSpPr>
              <a:spLocks/>
            </p:cNvSpPr>
            <p:nvPr/>
          </p:nvSpPr>
          <p:spPr bwMode="auto">
            <a:xfrm>
              <a:off x="1265" y="2637"/>
              <a:ext cx="48" cy="60"/>
            </a:xfrm>
            <a:custGeom>
              <a:avLst/>
              <a:gdLst>
                <a:gd name="T0" fmla="*/ 20 w 20"/>
                <a:gd name="T1" fmla="*/ 25 h 25"/>
                <a:gd name="T2" fmla="*/ 16 w 20"/>
                <a:gd name="T3" fmla="*/ 25 h 25"/>
                <a:gd name="T4" fmla="*/ 16 w 20"/>
                <a:gd name="T5" fmla="*/ 11 h 25"/>
                <a:gd name="T6" fmla="*/ 11 w 20"/>
                <a:gd name="T7" fmla="*/ 4 h 25"/>
                <a:gd name="T8" fmla="*/ 6 w 20"/>
                <a:gd name="T9" fmla="*/ 6 h 25"/>
                <a:gd name="T10" fmla="*/ 4 w 20"/>
                <a:gd name="T11" fmla="*/ 11 h 25"/>
                <a:gd name="T12" fmla="*/ 4 w 20"/>
                <a:gd name="T13" fmla="*/ 25 h 25"/>
                <a:gd name="T14" fmla="*/ 0 w 20"/>
                <a:gd name="T15" fmla="*/ 25 h 25"/>
                <a:gd name="T16" fmla="*/ 0 w 20"/>
                <a:gd name="T17" fmla="*/ 1 h 25"/>
                <a:gd name="T18" fmla="*/ 4 w 20"/>
                <a:gd name="T19" fmla="*/ 1 h 25"/>
                <a:gd name="T20" fmla="*/ 4 w 20"/>
                <a:gd name="T21" fmla="*/ 5 h 25"/>
                <a:gd name="T22" fmla="*/ 4 w 20"/>
                <a:gd name="T23" fmla="*/ 5 h 25"/>
                <a:gd name="T24" fmla="*/ 12 w 20"/>
                <a:gd name="T25" fmla="*/ 0 h 25"/>
                <a:gd name="T26" fmla="*/ 18 w 20"/>
                <a:gd name="T27" fmla="*/ 3 h 25"/>
                <a:gd name="T28" fmla="*/ 20 w 20"/>
                <a:gd name="T29" fmla="*/ 10 h 25"/>
                <a:gd name="T30" fmla="*/ 20 w 20"/>
                <a:gd name="T31"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 h="25">
                  <a:moveTo>
                    <a:pt x="20" y="25"/>
                  </a:moveTo>
                  <a:cubicBezTo>
                    <a:pt x="16" y="25"/>
                    <a:pt x="16" y="25"/>
                    <a:pt x="16" y="25"/>
                  </a:cubicBezTo>
                  <a:cubicBezTo>
                    <a:pt x="16" y="11"/>
                    <a:pt x="16" y="11"/>
                    <a:pt x="16" y="11"/>
                  </a:cubicBezTo>
                  <a:cubicBezTo>
                    <a:pt x="16" y="6"/>
                    <a:pt x="15" y="4"/>
                    <a:pt x="11" y="4"/>
                  </a:cubicBezTo>
                  <a:cubicBezTo>
                    <a:pt x="9" y="4"/>
                    <a:pt x="7" y="4"/>
                    <a:pt x="6" y="6"/>
                  </a:cubicBezTo>
                  <a:cubicBezTo>
                    <a:pt x="5" y="7"/>
                    <a:pt x="4" y="9"/>
                    <a:pt x="4" y="11"/>
                  </a:cubicBezTo>
                  <a:cubicBezTo>
                    <a:pt x="4" y="25"/>
                    <a:pt x="4" y="25"/>
                    <a:pt x="4" y="25"/>
                  </a:cubicBezTo>
                  <a:cubicBezTo>
                    <a:pt x="0" y="25"/>
                    <a:pt x="0" y="25"/>
                    <a:pt x="0" y="25"/>
                  </a:cubicBezTo>
                  <a:cubicBezTo>
                    <a:pt x="0" y="1"/>
                    <a:pt x="0" y="1"/>
                    <a:pt x="0" y="1"/>
                  </a:cubicBezTo>
                  <a:cubicBezTo>
                    <a:pt x="4" y="1"/>
                    <a:pt x="4" y="1"/>
                    <a:pt x="4" y="1"/>
                  </a:cubicBezTo>
                  <a:cubicBezTo>
                    <a:pt x="4" y="5"/>
                    <a:pt x="4" y="5"/>
                    <a:pt x="4" y="5"/>
                  </a:cubicBezTo>
                  <a:cubicBezTo>
                    <a:pt x="4" y="5"/>
                    <a:pt x="4" y="5"/>
                    <a:pt x="4" y="5"/>
                  </a:cubicBezTo>
                  <a:cubicBezTo>
                    <a:pt x="6" y="2"/>
                    <a:pt x="9" y="0"/>
                    <a:pt x="12" y="0"/>
                  </a:cubicBezTo>
                  <a:cubicBezTo>
                    <a:pt x="15" y="0"/>
                    <a:pt x="17" y="1"/>
                    <a:pt x="18" y="3"/>
                  </a:cubicBezTo>
                  <a:cubicBezTo>
                    <a:pt x="20" y="5"/>
                    <a:pt x="20" y="7"/>
                    <a:pt x="20" y="10"/>
                  </a:cubicBezTo>
                  <a:lnTo>
                    <a:pt x="2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13" name="Freeform 155"/>
            <p:cNvSpPr>
              <a:spLocks/>
            </p:cNvSpPr>
            <p:nvPr/>
          </p:nvSpPr>
          <p:spPr bwMode="auto">
            <a:xfrm>
              <a:off x="1320" y="2622"/>
              <a:ext cx="33" cy="78"/>
            </a:xfrm>
            <a:custGeom>
              <a:avLst/>
              <a:gdLst>
                <a:gd name="T0" fmla="*/ 14 w 14"/>
                <a:gd name="T1" fmla="*/ 31 h 32"/>
                <a:gd name="T2" fmla="*/ 11 w 14"/>
                <a:gd name="T3" fmla="*/ 32 h 32"/>
                <a:gd name="T4" fmla="*/ 4 w 14"/>
                <a:gd name="T5" fmla="*/ 25 h 32"/>
                <a:gd name="T6" fmla="*/ 4 w 14"/>
                <a:gd name="T7" fmla="*/ 10 h 32"/>
                <a:gd name="T8" fmla="*/ 0 w 14"/>
                <a:gd name="T9" fmla="*/ 10 h 32"/>
                <a:gd name="T10" fmla="*/ 0 w 14"/>
                <a:gd name="T11" fmla="*/ 7 h 32"/>
                <a:gd name="T12" fmla="*/ 4 w 14"/>
                <a:gd name="T13" fmla="*/ 7 h 32"/>
                <a:gd name="T14" fmla="*/ 4 w 14"/>
                <a:gd name="T15" fmla="*/ 1 h 32"/>
                <a:gd name="T16" fmla="*/ 8 w 14"/>
                <a:gd name="T17" fmla="*/ 0 h 32"/>
                <a:gd name="T18" fmla="*/ 8 w 14"/>
                <a:gd name="T19" fmla="*/ 7 h 32"/>
                <a:gd name="T20" fmla="*/ 14 w 14"/>
                <a:gd name="T21" fmla="*/ 7 h 32"/>
                <a:gd name="T22" fmla="*/ 14 w 14"/>
                <a:gd name="T23" fmla="*/ 10 h 32"/>
                <a:gd name="T24" fmla="*/ 8 w 14"/>
                <a:gd name="T25" fmla="*/ 10 h 32"/>
                <a:gd name="T26" fmla="*/ 8 w 14"/>
                <a:gd name="T27" fmla="*/ 24 h 32"/>
                <a:gd name="T28" fmla="*/ 9 w 14"/>
                <a:gd name="T29" fmla="*/ 27 h 32"/>
                <a:gd name="T30" fmla="*/ 12 w 14"/>
                <a:gd name="T31" fmla="*/ 28 h 32"/>
                <a:gd name="T32" fmla="*/ 14 w 14"/>
                <a:gd name="T33" fmla="*/ 28 h 32"/>
                <a:gd name="T34" fmla="*/ 14 w 14"/>
                <a:gd name="T35" fmla="*/ 3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 h="32">
                  <a:moveTo>
                    <a:pt x="14" y="31"/>
                  </a:moveTo>
                  <a:cubicBezTo>
                    <a:pt x="13" y="31"/>
                    <a:pt x="12" y="32"/>
                    <a:pt x="11" y="32"/>
                  </a:cubicBezTo>
                  <a:cubicBezTo>
                    <a:pt x="6" y="32"/>
                    <a:pt x="4" y="29"/>
                    <a:pt x="4" y="25"/>
                  </a:cubicBezTo>
                  <a:cubicBezTo>
                    <a:pt x="4" y="10"/>
                    <a:pt x="4" y="10"/>
                    <a:pt x="4" y="10"/>
                  </a:cubicBezTo>
                  <a:cubicBezTo>
                    <a:pt x="0" y="10"/>
                    <a:pt x="0" y="10"/>
                    <a:pt x="0" y="10"/>
                  </a:cubicBezTo>
                  <a:cubicBezTo>
                    <a:pt x="0" y="7"/>
                    <a:pt x="0" y="7"/>
                    <a:pt x="0" y="7"/>
                  </a:cubicBezTo>
                  <a:cubicBezTo>
                    <a:pt x="4" y="7"/>
                    <a:pt x="4" y="7"/>
                    <a:pt x="4" y="7"/>
                  </a:cubicBezTo>
                  <a:cubicBezTo>
                    <a:pt x="4" y="1"/>
                    <a:pt x="4" y="1"/>
                    <a:pt x="4" y="1"/>
                  </a:cubicBezTo>
                  <a:cubicBezTo>
                    <a:pt x="8" y="0"/>
                    <a:pt x="8" y="0"/>
                    <a:pt x="8" y="0"/>
                  </a:cubicBezTo>
                  <a:cubicBezTo>
                    <a:pt x="8" y="7"/>
                    <a:pt x="8" y="7"/>
                    <a:pt x="8" y="7"/>
                  </a:cubicBezTo>
                  <a:cubicBezTo>
                    <a:pt x="14" y="7"/>
                    <a:pt x="14" y="7"/>
                    <a:pt x="14" y="7"/>
                  </a:cubicBezTo>
                  <a:cubicBezTo>
                    <a:pt x="14" y="10"/>
                    <a:pt x="14" y="10"/>
                    <a:pt x="14" y="10"/>
                  </a:cubicBezTo>
                  <a:cubicBezTo>
                    <a:pt x="8" y="10"/>
                    <a:pt x="8" y="10"/>
                    <a:pt x="8" y="10"/>
                  </a:cubicBezTo>
                  <a:cubicBezTo>
                    <a:pt x="8" y="24"/>
                    <a:pt x="8" y="24"/>
                    <a:pt x="8" y="24"/>
                  </a:cubicBezTo>
                  <a:cubicBezTo>
                    <a:pt x="8" y="25"/>
                    <a:pt x="9" y="27"/>
                    <a:pt x="9" y="27"/>
                  </a:cubicBezTo>
                  <a:cubicBezTo>
                    <a:pt x="10" y="28"/>
                    <a:pt x="11" y="28"/>
                    <a:pt x="12" y="28"/>
                  </a:cubicBezTo>
                  <a:cubicBezTo>
                    <a:pt x="13" y="28"/>
                    <a:pt x="14" y="28"/>
                    <a:pt x="14" y="28"/>
                  </a:cubicBezTo>
                  <a:lnTo>
                    <a:pt x="14" y="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sp>
        <p:nvSpPr>
          <p:cNvPr id="9" name="Title 8"/>
          <p:cNvSpPr>
            <a:spLocks noGrp="1"/>
          </p:cNvSpPr>
          <p:nvPr>
            <p:ph type="title"/>
          </p:nvPr>
        </p:nvSpPr>
        <p:spPr>
          <a:xfrm>
            <a:off x="239614" y="73244"/>
            <a:ext cx="11652805" cy="899431"/>
          </a:xfrm>
        </p:spPr>
        <p:txBody>
          <a:bodyPr/>
          <a:lstStyle/>
          <a:p>
            <a:r>
              <a:rPr lang="en-US" dirty="0"/>
              <a:t>What’s New</a:t>
            </a:r>
          </a:p>
        </p:txBody>
      </p:sp>
      <p:grpSp>
        <p:nvGrpSpPr>
          <p:cNvPr id="357" name="Group 356"/>
          <p:cNvGrpSpPr/>
          <p:nvPr/>
        </p:nvGrpSpPr>
        <p:grpSpPr>
          <a:xfrm>
            <a:off x="286285" y="1172695"/>
            <a:ext cx="3695234" cy="1487429"/>
            <a:chOff x="292100" y="1016000"/>
            <a:chExt cx="3770313" cy="1517650"/>
          </a:xfrm>
        </p:grpSpPr>
        <p:sp>
          <p:nvSpPr>
            <p:cNvPr id="363" name="Rectangle 362"/>
            <p:cNvSpPr/>
            <p:nvPr/>
          </p:nvSpPr>
          <p:spPr bwMode="auto">
            <a:xfrm>
              <a:off x="1203489" y="1050925"/>
              <a:ext cx="1896947" cy="111330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64" name="Group 363"/>
            <p:cNvGrpSpPr/>
            <p:nvPr/>
          </p:nvGrpSpPr>
          <p:grpSpPr>
            <a:xfrm>
              <a:off x="1160464" y="1016000"/>
              <a:ext cx="1978025" cy="1500188"/>
              <a:chOff x="1363663" y="914400"/>
              <a:chExt cx="1978025" cy="1500188"/>
            </a:xfrm>
          </p:grpSpPr>
          <p:sp>
            <p:nvSpPr>
              <p:cNvPr id="405" name="Rectangle 5"/>
              <p:cNvSpPr>
                <a:spLocks noChangeArrowheads="1"/>
              </p:cNvSpPr>
              <p:nvPr/>
            </p:nvSpPr>
            <p:spPr bwMode="auto">
              <a:xfrm>
                <a:off x="1858963" y="2382838"/>
                <a:ext cx="982663" cy="317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06" name="Freeform 405"/>
              <p:cNvSpPr>
                <a:spLocks/>
              </p:cNvSpPr>
              <p:nvPr/>
            </p:nvSpPr>
            <p:spPr bwMode="auto">
              <a:xfrm>
                <a:off x="1363663" y="914400"/>
                <a:ext cx="1978025" cy="1179513"/>
              </a:xfrm>
              <a:custGeom>
                <a:avLst/>
                <a:gdLst>
                  <a:gd name="connsiteX0" fmla="*/ 82097 w 1978025"/>
                  <a:gd name="connsiteY0" fmla="*/ 50800 h 1179513"/>
                  <a:gd name="connsiteX1" fmla="*/ 50800 w 1978025"/>
                  <a:gd name="connsiteY1" fmla="*/ 82163 h 1179513"/>
                  <a:gd name="connsiteX2" fmla="*/ 50800 w 1978025"/>
                  <a:gd name="connsiteY2" fmla="*/ 1054410 h 1179513"/>
                  <a:gd name="connsiteX3" fmla="*/ 82097 w 1978025"/>
                  <a:gd name="connsiteY3" fmla="*/ 1079500 h 1179513"/>
                  <a:gd name="connsiteX4" fmla="*/ 1891075 w 1978025"/>
                  <a:gd name="connsiteY4" fmla="*/ 1079500 h 1179513"/>
                  <a:gd name="connsiteX5" fmla="*/ 1916113 w 1978025"/>
                  <a:gd name="connsiteY5" fmla="*/ 1054410 h 1179513"/>
                  <a:gd name="connsiteX6" fmla="*/ 1916113 w 1978025"/>
                  <a:gd name="connsiteY6" fmla="*/ 82163 h 1179513"/>
                  <a:gd name="connsiteX7" fmla="*/ 1891075 w 1978025"/>
                  <a:gd name="connsiteY7" fmla="*/ 50800 h 1179513"/>
                  <a:gd name="connsiteX8" fmla="*/ 82097 w 1978025"/>
                  <a:gd name="connsiteY8" fmla="*/ 50800 h 1179513"/>
                  <a:gd name="connsiteX9" fmla="*/ 62596 w 1978025"/>
                  <a:gd name="connsiteY9" fmla="*/ 0 h 1179513"/>
                  <a:gd name="connsiteX10" fmla="*/ 1915429 w 1978025"/>
                  <a:gd name="connsiteY10" fmla="*/ 0 h 1179513"/>
                  <a:gd name="connsiteX11" fmla="*/ 1978025 w 1978025"/>
                  <a:gd name="connsiteY11" fmla="*/ 62740 h 1179513"/>
                  <a:gd name="connsiteX12" fmla="*/ 1978025 w 1978025"/>
                  <a:gd name="connsiteY12" fmla="*/ 1116773 h 1179513"/>
                  <a:gd name="connsiteX13" fmla="*/ 1915429 w 1978025"/>
                  <a:gd name="connsiteY13" fmla="*/ 1179513 h 1179513"/>
                  <a:gd name="connsiteX14" fmla="*/ 62596 w 1978025"/>
                  <a:gd name="connsiteY14" fmla="*/ 1179513 h 1179513"/>
                  <a:gd name="connsiteX15" fmla="*/ 0 w 1978025"/>
                  <a:gd name="connsiteY15" fmla="*/ 1116773 h 1179513"/>
                  <a:gd name="connsiteX16" fmla="*/ 0 w 1978025"/>
                  <a:gd name="connsiteY16" fmla="*/ 62740 h 1179513"/>
                  <a:gd name="connsiteX17" fmla="*/ 62596 w 1978025"/>
                  <a:gd name="connsiteY17" fmla="*/ 0 h 1179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8025" h="1179513">
                    <a:moveTo>
                      <a:pt x="82097" y="50800"/>
                    </a:moveTo>
                    <a:cubicBezTo>
                      <a:pt x="63319" y="50800"/>
                      <a:pt x="50800" y="63345"/>
                      <a:pt x="50800" y="82163"/>
                    </a:cubicBezTo>
                    <a:cubicBezTo>
                      <a:pt x="50800" y="82163"/>
                      <a:pt x="50800" y="82163"/>
                      <a:pt x="50800" y="1054410"/>
                    </a:cubicBezTo>
                    <a:cubicBezTo>
                      <a:pt x="50800" y="1066955"/>
                      <a:pt x="63319" y="1079500"/>
                      <a:pt x="82097" y="1079500"/>
                    </a:cubicBezTo>
                    <a:cubicBezTo>
                      <a:pt x="82097" y="1079500"/>
                      <a:pt x="82097" y="1079500"/>
                      <a:pt x="1891075" y="1079500"/>
                    </a:cubicBezTo>
                    <a:cubicBezTo>
                      <a:pt x="1903594" y="1079500"/>
                      <a:pt x="1916113" y="1066955"/>
                      <a:pt x="1916113" y="1054410"/>
                    </a:cubicBezTo>
                    <a:lnTo>
                      <a:pt x="1916113" y="82163"/>
                    </a:lnTo>
                    <a:cubicBezTo>
                      <a:pt x="1916113" y="63345"/>
                      <a:pt x="1903594" y="50800"/>
                      <a:pt x="1891075" y="50800"/>
                    </a:cubicBezTo>
                    <a:cubicBezTo>
                      <a:pt x="1891075" y="50800"/>
                      <a:pt x="1891075" y="50800"/>
                      <a:pt x="82097" y="50800"/>
                    </a:cubicBezTo>
                    <a:close/>
                    <a:moveTo>
                      <a:pt x="62596" y="0"/>
                    </a:moveTo>
                    <a:cubicBezTo>
                      <a:pt x="1915429" y="0"/>
                      <a:pt x="1915429" y="0"/>
                      <a:pt x="1915429" y="0"/>
                    </a:cubicBezTo>
                    <a:cubicBezTo>
                      <a:pt x="1946727" y="0"/>
                      <a:pt x="1978025" y="25096"/>
                      <a:pt x="1978025" y="62740"/>
                    </a:cubicBezTo>
                    <a:lnTo>
                      <a:pt x="1978025" y="1116773"/>
                    </a:lnTo>
                    <a:cubicBezTo>
                      <a:pt x="1978025" y="1154417"/>
                      <a:pt x="1946727" y="1179513"/>
                      <a:pt x="1915429" y="1179513"/>
                    </a:cubicBezTo>
                    <a:cubicBezTo>
                      <a:pt x="62596" y="1179513"/>
                      <a:pt x="62596" y="1179513"/>
                      <a:pt x="62596" y="1179513"/>
                    </a:cubicBezTo>
                    <a:cubicBezTo>
                      <a:pt x="25038" y="1179513"/>
                      <a:pt x="0" y="1154417"/>
                      <a:pt x="0" y="1116773"/>
                    </a:cubicBezTo>
                    <a:cubicBezTo>
                      <a:pt x="0" y="62740"/>
                      <a:pt x="0" y="62740"/>
                      <a:pt x="0" y="62740"/>
                    </a:cubicBezTo>
                    <a:cubicBezTo>
                      <a:pt x="0" y="25096"/>
                      <a:pt x="25038" y="0"/>
                      <a:pt x="62596" y="0"/>
                    </a:cubicBezTo>
                    <a:close/>
                  </a:path>
                </a:pathLst>
              </a:custGeom>
              <a:solidFill>
                <a:srgbClr val="000000"/>
              </a:solidFill>
              <a:ln>
                <a:noFill/>
              </a:ln>
              <a:extLst/>
            </p:spPr>
            <p:txBody>
              <a:bodyPr vert="horz" wrap="square" lIns="89619" tIns="44809" rIns="89619" bIns="44809" numCol="1" anchor="t" anchorCtr="0" compatLnSpc="1">
                <a:prstTxWarp prst="textNoShape">
                  <a:avLst/>
                </a:prstTxWarp>
                <a:noAutofit/>
              </a:bodyPr>
              <a:lstStyle/>
              <a:p>
                <a:pPr defTabSz="914093"/>
                <a:endParaRPr lang="en-US" sz="1764">
                  <a:solidFill>
                    <a:srgbClr val="FFFFFF"/>
                  </a:solidFill>
                </a:endParaRPr>
              </a:p>
            </p:txBody>
          </p:sp>
          <p:sp>
            <p:nvSpPr>
              <p:cNvPr id="407" name="Rectangle 33"/>
              <p:cNvSpPr>
                <a:spLocks noChangeArrowheads="1"/>
              </p:cNvSpPr>
              <p:nvPr/>
            </p:nvSpPr>
            <p:spPr bwMode="auto">
              <a:xfrm>
                <a:off x="2309813" y="2081213"/>
                <a:ext cx="80963" cy="3206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sp>
          <p:nvSpPr>
            <p:cNvPr id="365" name="Oval 115"/>
            <p:cNvSpPr>
              <a:spLocks noChangeArrowheads="1"/>
            </p:cNvSpPr>
            <p:nvPr/>
          </p:nvSpPr>
          <p:spPr bwMode="auto">
            <a:xfrm>
              <a:off x="1422401" y="1611312"/>
              <a:ext cx="20638" cy="190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nvGrpSpPr>
            <p:cNvPr id="366" name="Group 365"/>
            <p:cNvGrpSpPr/>
            <p:nvPr/>
          </p:nvGrpSpPr>
          <p:grpSpPr>
            <a:xfrm>
              <a:off x="1264391" y="1121515"/>
              <a:ext cx="1751120" cy="977160"/>
              <a:chOff x="3305410" y="464807"/>
              <a:chExt cx="993287" cy="554274"/>
            </a:xfrm>
          </p:grpSpPr>
          <p:sp>
            <p:nvSpPr>
              <p:cNvPr id="393" name="Rectangle 392"/>
              <p:cNvSpPr/>
              <p:nvPr/>
            </p:nvSpPr>
            <p:spPr bwMode="auto">
              <a:xfrm>
                <a:off x="3305410" y="464807"/>
                <a:ext cx="74317" cy="743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94" name="Rectangle 393"/>
              <p:cNvSpPr/>
              <p:nvPr/>
            </p:nvSpPr>
            <p:spPr bwMode="auto">
              <a:xfrm>
                <a:off x="3392488" y="464807"/>
                <a:ext cx="906209" cy="74317"/>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95" name="Rectangle 394"/>
              <p:cNvSpPr/>
              <p:nvPr/>
            </p:nvSpPr>
            <p:spPr bwMode="auto">
              <a:xfrm>
                <a:off x="3305410" y="558053"/>
                <a:ext cx="993287" cy="461028"/>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96" name="Freeform 303"/>
              <p:cNvSpPr>
                <a:spLocks noEditPoints="1"/>
              </p:cNvSpPr>
              <p:nvPr/>
            </p:nvSpPr>
            <p:spPr bwMode="auto">
              <a:xfrm>
                <a:off x="3315378" y="477061"/>
                <a:ext cx="51918" cy="49841"/>
              </a:xfrm>
              <a:custGeom>
                <a:avLst/>
                <a:gdLst>
                  <a:gd name="T0" fmla="*/ 528 w 1440"/>
                  <a:gd name="T1" fmla="*/ 191 h 1371"/>
                  <a:gd name="T2" fmla="*/ 864 w 1440"/>
                  <a:gd name="T3" fmla="*/ 526 h 1371"/>
                  <a:gd name="T4" fmla="*/ 528 w 1440"/>
                  <a:gd name="T5" fmla="*/ 861 h 1371"/>
                  <a:gd name="T6" fmla="*/ 208 w 1440"/>
                  <a:gd name="T7" fmla="*/ 526 h 1371"/>
                  <a:gd name="T8" fmla="*/ 528 w 1440"/>
                  <a:gd name="T9" fmla="*/ 191 h 1371"/>
                  <a:gd name="T10" fmla="*/ 528 w 1440"/>
                  <a:gd name="T11" fmla="*/ 0 h 1371"/>
                  <a:gd name="T12" fmla="*/ 0 w 1440"/>
                  <a:gd name="T13" fmla="*/ 526 h 1371"/>
                  <a:gd name="T14" fmla="*/ 528 w 1440"/>
                  <a:gd name="T15" fmla="*/ 1052 h 1371"/>
                  <a:gd name="T16" fmla="*/ 880 w 1440"/>
                  <a:gd name="T17" fmla="*/ 924 h 1371"/>
                  <a:gd name="T18" fmla="*/ 1280 w 1440"/>
                  <a:gd name="T19" fmla="*/ 1339 h 1371"/>
                  <a:gd name="T20" fmla="*/ 1408 w 1440"/>
                  <a:gd name="T21" fmla="*/ 1339 h 1371"/>
                  <a:gd name="T22" fmla="*/ 1408 w 1440"/>
                  <a:gd name="T23" fmla="*/ 1339 h 1371"/>
                  <a:gd name="T24" fmla="*/ 1408 w 1440"/>
                  <a:gd name="T25" fmla="*/ 1211 h 1371"/>
                  <a:gd name="T26" fmla="*/ 976 w 1440"/>
                  <a:gd name="T27" fmla="*/ 797 h 1371"/>
                  <a:gd name="T28" fmla="*/ 1056 w 1440"/>
                  <a:gd name="T29" fmla="*/ 526 h 1371"/>
                  <a:gd name="T30" fmla="*/ 528 w 1440"/>
                  <a:gd name="T31" fmla="*/ 0 h 1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40" h="1371">
                    <a:moveTo>
                      <a:pt x="528" y="191"/>
                    </a:moveTo>
                    <a:cubicBezTo>
                      <a:pt x="704" y="191"/>
                      <a:pt x="864" y="350"/>
                      <a:pt x="864" y="526"/>
                    </a:cubicBezTo>
                    <a:cubicBezTo>
                      <a:pt x="864" y="701"/>
                      <a:pt x="704" y="861"/>
                      <a:pt x="528" y="861"/>
                    </a:cubicBezTo>
                    <a:cubicBezTo>
                      <a:pt x="352" y="861"/>
                      <a:pt x="208" y="701"/>
                      <a:pt x="208" y="526"/>
                    </a:cubicBezTo>
                    <a:cubicBezTo>
                      <a:pt x="208" y="350"/>
                      <a:pt x="352" y="191"/>
                      <a:pt x="528" y="191"/>
                    </a:cubicBezTo>
                    <a:close/>
                    <a:moveTo>
                      <a:pt x="528" y="0"/>
                    </a:moveTo>
                    <a:cubicBezTo>
                      <a:pt x="240" y="0"/>
                      <a:pt x="0" y="239"/>
                      <a:pt x="0" y="526"/>
                    </a:cubicBezTo>
                    <a:cubicBezTo>
                      <a:pt x="0" y="813"/>
                      <a:pt x="240" y="1052"/>
                      <a:pt x="528" y="1052"/>
                    </a:cubicBezTo>
                    <a:cubicBezTo>
                      <a:pt x="656" y="1052"/>
                      <a:pt x="784" y="1004"/>
                      <a:pt x="880" y="924"/>
                    </a:cubicBezTo>
                    <a:cubicBezTo>
                      <a:pt x="1280" y="1339"/>
                      <a:pt x="1280" y="1339"/>
                      <a:pt x="1280" y="1339"/>
                    </a:cubicBezTo>
                    <a:cubicBezTo>
                      <a:pt x="1312" y="1371"/>
                      <a:pt x="1376" y="1371"/>
                      <a:pt x="1408" y="1339"/>
                    </a:cubicBezTo>
                    <a:cubicBezTo>
                      <a:pt x="1408" y="1339"/>
                      <a:pt x="1408" y="1339"/>
                      <a:pt x="1408" y="1339"/>
                    </a:cubicBezTo>
                    <a:cubicBezTo>
                      <a:pt x="1440" y="1307"/>
                      <a:pt x="1440" y="1243"/>
                      <a:pt x="1408" y="1211"/>
                    </a:cubicBezTo>
                    <a:cubicBezTo>
                      <a:pt x="976" y="797"/>
                      <a:pt x="976" y="797"/>
                      <a:pt x="976" y="797"/>
                    </a:cubicBezTo>
                    <a:cubicBezTo>
                      <a:pt x="1040" y="717"/>
                      <a:pt x="1056" y="621"/>
                      <a:pt x="1056" y="526"/>
                    </a:cubicBezTo>
                    <a:cubicBezTo>
                      <a:pt x="1056" y="239"/>
                      <a:pt x="816" y="0"/>
                      <a:pt x="528"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7" tIns="44802" rIns="89607" bIns="44802" numCol="1" anchor="t" anchorCtr="0" compatLnSpc="1">
                <a:prstTxWarp prst="textNoShape">
                  <a:avLst/>
                </a:prstTxWarp>
              </a:bodyPr>
              <a:lstStyle/>
              <a:p>
                <a:pPr defTabSz="913918"/>
                <a:endParaRPr lang="en-US" sz="1764">
                  <a:solidFill>
                    <a:srgbClr val="FFFFFF"/>
                  </a:solidFill>
                </a:endParaRPr>
              </a:p>
            </p:txBody>
          </p:sp>
          <p:cxnSp>
            <p:nvCxnSpPr>
              <p:cNvPr id="397" name="Straight Connector 396"/>
              <p:cNvCxnSpPr/>
              <p:nvPr/>
            </p:nvCxnSpPr>
            <p:spPr>
              <a:xfrm>
                <a:off x="3366983" y="625545"/>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8" name="Straight Connector 397"/>
              <p:cNvCxnSpPr/>
              <p:nvPr/>
            </p:nvCxnSpPr>
            <p:spPr>
              <a:xfrm>
                <a:off x="3366983" y="672832"/>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9" name="Straight Connector 398"/>
              <p:cNvCxnSpPr/>
              <p:nvPr/>
            </p:nvCxnSpPr>
            <p:spPr>
              <a:xfrm>
                <a:off x="3366983" y="720120"/>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0" name="Straight Connector 399"/>
              <p:cNvCxnSpPr/>
              <p:nvPr/>
            </p:nvCxnSpPr>
            <p:spPr>
              <a:xfrm>
                <a:off x="3366983" y="767407"/>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1" name="Straight Connector 400"/>
              <p:cNvCxnSpPr/>
              <p:nvPr/>
            </p:nvCxnSpPr>
            <p:spPr>
              <a:xfrm>
                <a:off x="3366983" y="814694"/>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2" name="Straight Connector 401"/>
              <p:cNvCxnSpPr/>
              <p:nvPr/>
            </p:nvCxnSpPr>
            <p:spPr>
              <a:xfrm>
                <a:off x="3366983" y="861982"/>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3" name="Straight Connector 402"/>
              <p:cNvCxnSpPr/>
              <p:nvPr/>
            </p:nvCxnSpPr>
            <p:spPr>
              <a:xfrm>
                <a:off x="3366983" y="909269"/>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4" name="Straight Connector 403"/>
              <p:cNvCxnSpPr/>
              <p:nvPr/>
            </p:nvCxnSpPr>
            <p:spPr>
              <a:xfrm>
                <a:off x="3366983" y="956558"/>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67" name="Group 366"/>
            <p:cNvGrpSpPr/>
            <p:nvPr/>
          </p:nvGrpSpPr>
          <p:grpSpPr>
            <a:xfrm>
              <a:off x="2838450" y="1767176"/>
              <a:ext cx="1223963" cy="766474"/>
              <a:chOff x="2838450" y="1767176"/>
              <a:chExt cx="1223963" cy="766474"/>
            </a:xfrm>
          </p:grpSpPr>
          <p:grpSp>
            <p:nvGrpSpPr>
              <p:cNvPr id="387" name="Group 386"/>
              <p:cNvGrpSpPr/>
              <p:nvPr/>
            </p:nvGrpSpPr>
            <p:grpSpPr>
              <a:xfrm>
                <a:off x="2838450" y="1767176"/>
                <a:ext cx="1223963" cy="766474"/>
                <a:chOff x="2439988" y="1517650"/>
                <a:chExt cx="1622425" cy="1016000"/>
              </a:xfrm>
            </p:grpSpPr>
            <p:sp>
              <p:nvSpPr>
                <p:cNvPr id="389" name="Rectangle 388"/>
                <p:cNvSpPr/>
                <p:nvPr/>
              </p:nvSpPr>
              <p:spPr bwMode="auto">
                <a:xfrm>
                  <a:off x="2501924" y="1605756"/>
                  <a:ext cx="1508101" cy="830475"/>
                </a:xfrm>
                <a:prstGeom prst="rect">
                  <a:avLst/>
                </a:prstGeom>
                <a:solidFill>
                  <a:srgbClr val="EB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90" name="Group 158"/>
                <p:cNvGrpSpPr>
                  <a:grpSpLocks noChangeAspect="1"/>
                </p:cNvGrpSpPr>
                <p:nvPr/>
              </p:nvGrpSpPr>
              <p:grpSpPr bwMode="auto">
                <a:xfrm>
                  <a:off x="2439988" y="1517650"/>
                  <a:ext cx="1622425" cy="1016000"/>
                  <a:chOff x="1537" y="956"/>
                  <a:chExt cx="1022" cy="640"/>
                </a:xfrm>
              </p:grpSpPr>
              <p:sp>
                <p:nvSpPr>
                  <p:cNvPr id="391" name="Freeform 159"/>
                  <p:cNvSpPr>
                    <a:spLocks noEditPoints="1"/>
                  </p:cNvSpPr>
                  <p:nvPr/>
                </p:nvSpPr>
                <p:spPr bwMode="auto">
                  <a:xfrm>
                    <a:off x="1537" y="956"/>
                    <a:ext cx="1022" cy="640"/>
                  </a:xfrm>
                  <a:custGeom>
                    <a:avLst/>
                    <a:gdLst>
                      <a:gd name="T0" fmla="*/ 284 w 289"/>
                      <a:gd name="T1" fmla="*/ 0 h 180"/>
                      <a:gd name="T2" fmla="*/ 4 w 289"/>
                      <a:gd name="T3" fmla="*/ 0 h 180"/>
                      <a:gd name="T4" fmla="*/ 0 w 289"/>
                      <a:gd name="T5" fmla="*/ 5 h 180"/>
                      <a:gd name="T6" fmla="*/ 0 w 289"/>
                      <a:gd name="T7" fmla="*/ 175 h 180"/>
                      <a:gd name="T8" fmla="*/ 4 w 289"/>
                      <a:gd name="T9" fmla="*/ 180 h 180"/>
                      <a:gd name="T10" fmla="*/ 284 w 289"/>
                      <a:gd name="T11" fmla="*/ 180 h 180"/>
                      <a:gd name="T12" fmla="*/ 289 w 289"/>
                      <a:gd name="T13" fmla="*/ 175 h 180"/>
                      <a:gd name="T14" fmla="*/ 289 w 289"/>
                      <a:gd name="T15" fmla="*/ 5 h 180"/>
                      <a:gd name="T16" fmla="*/ 284 w 289"/>
                      <a:gd name="T17" fmla="*/ 0 h 180"/>
                      <a:gd name="T18" fmla="*/ 275 w 289"/>
                      <a:gd name="T19" fmla="*/ 157 h 180"/>
                      <a:gd name="T20" fmla="*/ 271 w 289"/>
                      <a:gd name="T21" fmla="*/ 161 h 180"/>
                      <a:gd name="T22" fmla="*/ 18 w 289"/>
                      <a:gd name="T23" fmla="*/ 161 h 180"/>
                      <a:gd name="T24" fmla="*/ 14 w 289"/>
                      <a:gd name="T25" fmla="*/ 157 h 180"/>
                      <a:gd name="T26" fmla="*/ 14 w 289"/>
                      <a:gd name="T27" fmla="*/ 21 h 180"/>
                      <a:gd name="T28" fmla="*/ 18 w 289"/>
                      <a:gd name="T29" fmla="*/ 17 h 180"/>
                      <a:gd name="T30" fmla="*/ 271 w 289"/>
                      <a:gd name="T31" fmla="*/ 17 h 180"/>
                      <a:gd name="T32" fmla="*/ 275 w 289"/>
                      <a:gd name="T33" fmla="*/ 21 h 180"/>
                      <a:gd name="T34" fmla="*/ 275 w 289"/>
                      <a:gd name="T35" fmla="*/ 157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9" h="180">
                        <a:moveTo>
                          <a:pt x="284" y="0"/>
                        </a:moveTo>
                        <a:cubicBezTo>
                          <a:pt x="4" y="0"/>
                          <a:pt x="4" y="0"/>
                          <a:pt x="4" y="0"/>
                        </a:cubicBezTo>
                        <a:cubicBezTo>
                          <a:pt x="2" y="0"/>
                          <a:pt x="0" y="2"/>
                          <a:pt x="0" y="5"/>
                        </a:cubicBezTo>
                        <a:cubicBezTo>
                          <a:pt x="0" y="175"/>
                          <a:pt x="0" y="175"/>
                          <a:pt x="0" y="175"/>
                        </a:cubicBezTo>
                        <a:cubicBezTo>
                          <a:pt x="0" y="178"/>
                          <a:pt x="2" y="180"/>
                          <a:pt x="4" y="180"/>
                        </a:cubicBezTo>
                        <a:cubicBezTo>
                          <a:pt x="284" y="180"/>
                          <a:pt x="284" y="180"/>
                          <a:pt x="284" y="180"/>
                        </a:cubicBezTo>
                        <a:cubicBezTo>
                          <a:pt x="287" y="180"/>
                          <a:pt x="289" y="178"/>
                          <a:pt x="289" y="175"/>
                        </a:cubicBezTo>
                        <a:cubicBezTo>
                          <a:pt x="289" y="5"/>
                          <a:pt x="289" y="5"/>
                          <a:pt x="289" y="5"/>
                        </a:cubicBezTo>
                        <a:cubicBezTo>
                          <a:pt x="289" y="2"/>
                          <a:pt x="287" y="0"/>
                          <a:pt x="284" y="0"/>
                        </a:cubicBezTo>
                        <a:close/>
                        <a:moveTo>
                          <a:pt x="275" y="157"/>
                        </a:moveTo>
                        <a:cubicBezTo>
                          <a:pt x="275" y="160"/>
                          <a:pt x="273" y="161"/>
                          <a:pt x="271" y="161"/>
                        </a:cubicBezTo>
                        <a:cubicBezTo>
                          <a:pt x="18" y="161"/>
                          <a:pt x="18" y="161"/>
                          <a:pt x="18" y="161"/>
                        </a:cubicBezTo>
                        <a:cubicBezTo>
                          <a:pt x="16" y="161"/>
                          <a:pt x="14" y="160"/>
                          <a:pt x="14" y="157"/>
                        </a:cubicBezTo>
                        <a:cubicBezTo>
                          <a:pt x="14" y="21"/>
                          <a:pt x="14" y="21"/>
                          <a:pt x="14" y="21"/>
                        </a:cubicBezTo>
                        <a:cubicBezTo>
                          <a:pt x="14" y="19"/>
                          <a:pt x="16" y="17"/>
                          <a:pt x="18" y="17"/>
                        </a:cubicBezTo>
                        <a:cubicBezTo>
                          <a:pt x="271" y="17"/>
                          <a:pt x="271" y="17"/>
                          <a:pt x="271" y="17"/>
                        </a:cubicBezTo>
                        <a:cubicBezTo>
                          <a:pt x="273" y="17"/>
                          <a:pt x="275" y="19"/>
                          <a:pt x="275" y="21"/>
                        </a:cubicBezTo>
                        <a:lnTo>
                          <a:pt x="275"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92" name="Oval 160"/>
                  <p:cNvSpPr>
                    <a:spLocks noChangeArrowheads="1"/>
                  </p:cNvSpPr>
                  <p:nvPr/>
                </p:nvSpPr>
                <p:spPr bwMode="auto">
                  <a:xfrm>
                    <a:off x="2036" y="1550"/>
                    <a:ext cx="25" cy="2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sp>
            <p:nvSpPr>
              <p:cNvPr id="388" name="Freeform 23"/>
              <p:cNvSpPr>
                <a:spLocks noChangeAspect="1" noEditPoints="1"/>
              </p:cNvSpPr>
              <p:nvPr/>
            </p:nvSpPr>
            <p:spPr bwMode="auto">
              <a:xfrm>
                <a:off x="3098093" y="2038982"/>
                <a:ext cx="704677" cy="222862"/>
              </a:xfrm>
              <a:custGeom>
                <a:avLst/>
                <a:gdLst>
                  <a:gd name="T0" fmla="*/ 1442 w 2741"/>
                  <a:gd name="T1" fmla="*/ 572 h 865"/>
                  <a:gd name="T2" fmla="*/ 1224 w 2741"/>
                  <a:gd name="T3" fmla="*/ 701 h 865"/>
                  <a:gd name="T4" fmla="*/ 1012 w 2741"/>
                  <a:gd name="T5" fmla="*/ 576 h 865"/>
                  <a:gd name="T6" fmla="*/ 1012 w 2741"/>
                  <a:gd name="T7" fmla="*/ 295 h 865"/>
                  <a:gd name="T8" fmla="*/ 1233 w 2741"/>
                  <a:gd name="T9" fmla="*/ 165 h 865"/>
                  <a:gd name="T10" fmla="*/ 1442 w 2741"/>
                  <a:gd name="T11" fmla="*/ 291 h 865"/>
                  <a:gd name="T12" fmla="*/ 1408 w 2741"/>
                  <a:gd name="T13" fmla="*/ 435 h 865"/>
                  <a:gd name="T14" fmla="*/ 1229 w 2741"/>
                  <a:gd name="T15" fmla="*/ 220 h 865"/>
                  <a:gd name="T16" fmla="*/ 1068 w 2741"/>
                  <a:gd name="T17" fmla="*/ 323 h 865"/>
                  <a:gd name="T18" fmla="*/ 1067 w 2741"/>
                  <a:gd name="T19" fmla="*/ 545 h 865"/>
                  <a:gd name="T20" fmla="*/ 1224 w 2741"/>
                  <a:gd name="T21" fmla="*/ 646 h 865"/>
                  <a:gd name="T22" fmla="*/ 1408 w 2741"/>
                  <a:gd name="T23" fmla="*/ 435 h 865"/>
                  <a:gd name="T24" fmla="*/ 1695 w 2741"/>
                  <a:gd name="T25" fmla="*/ 186 h 865"/>
                  <a:gd name="T26" fmla="*/ 1632 w 2741"/>
                  <a:gd name="T27" fmla="*/ 322 h 865"/>
                  <a:gd name="T28" fmla="*/ 1719 w 2741"/>
                  <a:gd name="T29" fmla="*/ 372 h 865"/>
                  <a:gd name="T30" fmla="*/ 1632 w 2741"/>
                  <a:gd name="T31" fmla="*/ 692 h 865"/>
                  <a:gd name="T32" fmla="*/ 1573 w 2741"/>
                  <a:gd name="T33" fmla="*/ 372 h 865"/>
                  <a:gd name="T34" fmla="*/ 1510 w 2741"/>
                  <a:gd name="T35" fmla="*/ 322 h 865"/>
                  <a:gd name="T36" fmla="*/ 1573 w 2741"/>
                  <a:gd name="T37" fmla="*/ 262 h 865"/>
                  <a:gd name="T38" fmla="*/ 1691 w 2741"/>
                  <a:gd name="T39" fmla="*/ 136 h 865"/>
                  <a:gd name="T40" fmla="*/ 1734 w 2741"/>
                  <a:gd name="T41" fmla="*/ 196 h 865"/>
                  <a:gd name="T42" fmla="*/ 1898 w 2741"/>
                  <a:gd name="T43" fmla="*/ 186 h 865"/>
                  <a:gd name="T44" fmla="*/ 1836 w 2741"/>
                  <a:gd name="T45" fmla="*/ 322 h 865"/>
                  <a:gd name="T46" fmla="*/ 1923 w 2741"/>
                  <a:gd name="T47" fmla="*/ 372 h 865"/>
                  <a:gd name="T48" fmla="*/ 1836 w 2741"/>
                  <a:gd name="T49" fmla="*/ 692 h 865"/>
                  <a:gd name="T50" fmla="*/ 1777 w 2741"/>
                  <a:gd name="T51" fmla="*/ 372 h 865"/>
                  <a:gd name="T52" fmla="*/ 1714 w 2741"/>
                  <a:gd name="T53" fmla="*/ 322 h 865"/>
                  <a:gd name="T54" fmla="*/ 1777 w 2741"/>
                  <a:gd name="T55" fmla="*/ 262 h 865"/>
                  <a:gd name="T56" fmla="*/ 1895 w 2741"/>
                  <a:gd name="T57" fmla="*/ 136 h 865"/>
                  <a:gd name="T58" fmla="*/ 1938 w 2741"/>
                  <a:gd name="T59" fmla="*/ 196 h 865"/>
                  <a:gd name="T60" fmla="*/ 2036 w 2741"/>
                  <a:gd name="T61" fmla="*/ 217 h 865"/>
                  <a:gd name="T62" fmla="*/ 1981 w 2741"/>
                  <a:gd name="T63" fmla="*/ 217 h 865"/>
                  <a:gd name="T64" fmla="*/ 1981 w 2741"/>
                  <a:gd name="T65" fmla="*/ 162 h 865"/>
                  <a:gd name="T66" fmla="*/ 2036 w 2741"/>
                  <a:gd name="T67" fmla="*/ 162 h 865"/>
                  <a:gd name="T68" fmla="*/ 2037 w 2741"/>
                  <a:gd name="T69" fmla="*/ 692 h 865"/>
                  <a:gd name="T70" fmla="*/ 1978 w 2741"/>
                  <a:gd name="T71" fmla="*/ 322 h 865"/>
                  <a:gd name="T72" fmla="*/ 2037 w 2741"/>
                  <a:gd name="T73" fmla="*/ 692 h 865"/>
                  <a:gd name="T74" fmla="*/ 2274 w 2741"/>
                  <a:gd name="T75" fmla="*/ 701 h 865"/>
                  <a:gd name="T76" fmla="*/ 2120 w 2741"/>
                  <a:gd name="T77" fmla="*/ 612 h 865"/>
                  <a:gd name="T78" fmla="*/ 2151 w 2741"/>
                  <a:gd name="T79" fmla="*/ 369 h 865"/>
                  <a:gd name="T80" fmla="*/ 2376 w 2741"/>
                  <a:gd name="T81" fmla="*/ 332 h 865"/>
                  <a:gd name="T82" fmla="*/ 2288 w 2741"/>
                  <a:gd name="T83" fmla="*/ 364 h 865"/>
                  <a:gd name="T84" fmla="*/ 2159 w 2741"/>
                  <a:gd name="T85" fmla="*/ 511 h 865"/>
                  <a:gd name="T86" fmla="*/ 2285 w 2741"/>
                  <a:gd name="T87" fmla="*/ 651 h 865"/>
                  <a:gd name="T88" fmla="*/ 2376 w 2741"/>
                  <a:gd name="T89" fmla="*/ 675 h 865"/>
                  <a:gd name="T90" fmla="*/ 2480 w 2741"/>
                  <a:gd name="T91" fmla="*/ 522 h 865"/>
                  <a:gd name="T92" fmla="*/ 2600 w 2741"/>
                  <a:gd name="T93" fmla="*/ 651 h 865"/>
                  <a:gd name="T94" fmla="*/ 2715 w 2741"/>
                  <a:gd name="T95" fmla="*/ 666 h 865"/>
                  <a:gd name="T96" fmla="*/ 2463 w 2741"/>
                  <a:gd name="T97" fmla="*/ 650 h 865"/>
                  <a:gd name="T98" fmla="*/ 2440 w 2741"/>
                  <a:gd name="T99" fmla="*/ 408 h 865"/>
                  <a:gd name="T100" fmla="*/ 2588 w 2741"/>
                  <a:gd name="T101" fmla="*/ 313 h 865"/>
                  <a:gd name="T102" fmla="*/ 2741 w 2741"/>
                  <a:gd name="T103" fmla="*/ 491 h 865"/>
                  <a:gd name="T104" fmla="*/ 2680 w 2741"/>
                  <a:gd name="T105" fmla="*/ 472 h 865"/>
                  <a:gd name="T106" fmla="*/ 2588 w 2741"/>
                  <a:gd name="T107" fmla="*/ 364 h 865"/>
                  <a:gd name="T108" fmla="*/ 2480 w 2741"/>
                  <a:gd name="T109" fmla="*/ 472 h 865"/>
                  <a:gd name="T110" fmla="*/ 721 w 2741"/>
                  <a:gd name="T111" fmla="*/ 793 h 865"/>
                  <a:gd name="T112" fmla="*/ 721 w 2741"/>
                  <a:gd name="T113" fmla="*/ 74 h 865"/>
                  <a:gd name="T114" fmla="*/ 1 w 2741"/>
                  <a:gd name="T115" fmla="*/ 174 h 865"/>
                  <a:gd name="T116" fmla="*/ 0 w 2741"/>
                  <a:gd name="T117" fmla="*/ 694 h 865"/>
                  <a:gd name="T118" fmla="*/ 158 w 2741"/>
                  <a:gd name="T119" fmla="*/ 209 h 865"/>
                  <a:gd name="T120" fmla="*/ 464 w 2741"/>
                  <a:gd name="T121" fmla="*/ 758 h 865"/>
                  <a:gd name="T122" fmla="*/ 464 w 2741"/>
                  <a:gd name="T123" fmla="*/ 865 h 865"/>
                  <a:gd name="T124" fmla="*/ 721 w 2741"/>
                  <a:gd name="T125" fmla="*/ 794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41" h="865">
                    <a:moveTo>
                      <a:pt x="1472" y="427"/>
                    </a:moveTo>
                    <a:cubicBezTo>
                      <a:pt x="1472" y="482"/>
                      <a:pt x="1462" y="530"/>
                      <a:pt x="1442" y="572"/>
                    </a:cubicBezTo>
                    <a:cubicBezTo>
                      <a:pt x="1421" y="613"/>
                      <a:pt x="1392" y="645"/>
                      <a:pt x="1355" y="668"/>
                    </a:cubicBezTo>
                    <a:cubicBezTo>
                      <a:pt x="1317" y="690"/>
                      <a:pt x="1274" y="701"/>
                      <a:pt x="1224" y="701"/>
                    </a:cubicBezTo>
                    <a:cubicBezTo>
                      <a:pt x="1177" y="701"/>
                      <a:pt x="1135" y="691"/>
                      <a:pt x="1098" y="669"/>
                    </a:cubicBezTo>
                    <a:cubicBezTo>
                      <a:pt x="1061" y="647"/>
                      <a:pt x="1032" y="616"/>
                      <a:pt x="1012" y="576"/>
                    </a:cubicBezTo>
                    <a:cubicBezTo>
                      <a:pt x="991" y="536"/>
                      <a:pt x="981" y="490"/>
                      <a:pt x="981" y="439"/>
                    </a:cubicBezTo>
                    <a:cubicBezTo>
                      <a:pt x="981" y="384"/>
                      <a:pt x="992" y="336"/>
                      <a:pt x="1012" y="295"/>
                    </a:cubicBezTo>
                    <a:cubicBezTo>
                      <a:pt x="1033" y="253"/>
                      <a:pt x="1062" y="221"/>
                      <a:pt x="1100" y="199"/>
                    </a:cubicBezTo>
                    <a:cubicBezTo>
                      <a:pt x="1139" y="176"/>
                      <a:pt x="1183" y="165"/>
                      <a:pt x="1233" y="165"/>
                    </a:cubicBezTo>
                    <a:cubicBezTo>
                      <a:pt x="1279" y="165"/>
                      <a:pt x="1321" y="176"/>
                      <a:pt x="1357" y="198"/>
                    </a:cubicBezTo>
                    <a:cubicBezTo>
                      <a:pt x="1394" y="220"/>
                      <a:pt x="1422" y="251"/>
                      <a:pt x="1442" y="291"/>
                    </a:cubicBezTo>
                    <a:cubicBezTo>
                      <a:pt x="1462" y="330"/>
                      <a:pt x="1472" y="376"/>
                      <a:pt x="1472" y="427"/>
                    </a:cubicBezTo>
                    <a:close/>
                    <a:moveTo>
                      <a:pt x="1408" y="435"/>
                    </a:moveTo>
                    <a:cubicBezTo>
                      <a:pt x="1408" y="367"/>
                      <a:pt x="1392" y="314"/>
                      <a:pt x="1361" y="276"/>
                    </a:cubicBezTo>
                    <a:cubicBezTo>
                      <a:pt x="1329" y="239"/>
                      <a:pt x="1285" y="220"/>
                      <a:pt x="1229" y="220"/>
                    </a:cubicBezTo>
                    <a:cubicBezTo>
                      <a:pt x="1193" y="220"/>
                      <a:pt x="1161" y="229"/>
                      <a:pt x="1133" y="247"/>
                    </a:cubicBezTo>
                    <a:cubicBezTo>
                      <a:pt x="1105" y="265"/>
                      <a:pt x="1084" y="290"/>
                      <a:pt x="1068" y="323"/>
                    </a:cubicBezTo>
                    <a:cubicBezTo>
                      <a:pt x="1053" y="356"/>
                      <a:pt x="1045" y="393"/>
                      <a:pt x="1045" y="434"/>
                    </a:cubicBezTo>
                    <a:cubicBezTo>
                      <a:pt x="1045" y="475"/>
                      <a:pt x="1052" y="512"/>
                      <a:pt x="1067" y="545"/>
                    </a:cubicBezTo>
                    <a:cubicBezTo>
                      <a:pt x="1082" y="577"/>
                      <a:pt x="1103" y="602"/>
                      <a:pt x="1131" y="620"/>
                    </a:cubicBezTo>
                    <a:cubicBezTo>
                      <a:pt x="1158" y="638"/>
                      <a:pt x="1189" y="646"/>
                      <a:pt x="1224" y="646"/>
                    </a:cubicBezTo>
                    <a:cubicBezTo>
                      <a:pt x="1282" y="646"/>
                      <a:pt x="1327" y="628"/>
                      <a:pt x="1359" y="590"/>
                    </a:cubicBezTo>
                    <a:cubicBezTo>
                      <a:pt x="1392" y="552"/>
                      <a:pt x="1408" y="501"/>
                      <a:pt x="1408" y="435"/>
                    </a:cubicBezTo>
                    <a:close/>
                    <a:moveTo>
                      <a:pt x="1734" y="196"/>
                    </a:moveTo>
                    <a:cubicBezTo>
                      <a:pt x="1722" y="190"/>
                      <a:pt x="1709" y="186"/>
                      <a:pt x="1695" y="186"/>
                    </a:cubicBezTo>
                    <a:cubicBezTo>
                      <a:pt x="1653" y="186"/>
                      <a:pt x="1632" y="213"/>
                      <a:pt x="1632" y="265"/>
                    </a:cubicBezTo>
                    <a:cubicBezTo>
                      <a:pt x="1632" y="322"/>
                      <a:pt x="1632" y="322"/>
                      <a:pt x="1632" y="322"/>
                    </a:cubicBezTo>
                    <a:cubicBezTo>
                      <a:pt x="1719" y="322"/>
                      <a:pt x="1719" y="322"/>
                      <a:pt x="1719" y="322"/>
                    </a:cubicBezTo>
                    <a:cubicBezTo>
                      <a:pt x="1719" y="372"/>
                      <a:pt x="1719" y="372"/>
                      <a:pt x="1719" y="372"/>
                    </a:cubicBezTo>
                    <a:cubicBezTo>
                      <a:pt x="1632" y="372"/>
                      <a:pt x="1632" y="372"/>
                      <a:pt x="1632" y="372"/>
                    </a:cubicBezTo>
                    <a:cubicBezTo>
                      <a:pt x="1632" y="692"/>
                      <a:pt x="1632" y="692"/>
                      <a:pt x="1632" y="692"/>
                    </a:cubicBezTo>
                    <a:cubicBezTo>
                      <a:pt x="1573" y="692"/>
                      <a:pt x="1573" y="692"/>
                      <a:pt x="1573" y="692"/>
                    </a:cubicBezTo>
                    <a:cubicBezTo>
                      <a:pt x="1573" y="372"/>
                      <a:pt x="1573" y="372"/>
                      <a:pt x="1573" y="372"/>
                    </a:cubicBezTo>
                    <a:cubicBezTo>
                      <a:pt x="1510" y="372"/>
                      <a:pt x="1510" y="372"/>
                      <a:pt x="1510" y="372"/>
                    </a:cubicBezTo>
                    <a:cubicBezTo>
                      <a:pt x="1510" y="322"/>
                      <a:pt x="1510" y="322"/>
                      <a:pt x="1510" y="322"/>
                    </a:cubicBezTo>
                    <a:cubicBezTo>
                      <a:pt x="1573" y="322"/>
                      <a:pt x="1573" y="322"/>
                      <a:pt x="1573" y="322"/>
                    </a:cubicBezTo>
                    <a:cubicBezTo>
                      <a:pt x="1573" y="262"/>
                      <a:pt x="1573" y="262"/>
                      <a:pt x="1573" y="262"/>
                    </a:cubicBezTo>
                    <a:cubicBezTo>
                      <a:pt x="1573" y="224"/>
                      <a:pt x="1584" y="194"/>
                      <a:pt x="1606" y="171"/>
                    </a:cubicBezTo>
                    <a:cubicBezTo>
                      <a:pt x="1629" y="148"/>
                      <a:pt x="1657" y="136"/>
                      <a:pt x="1691" y="136"/>
                    </a:cubicBezTo>
                    <a:cubicBezTo>
                      <a:pt x="1709" y="136"/>
                      <a:pt x="1723" y="138"/>
                      <a:pt x="1734" y="143"/>
                    </a:cubicBezTo>
                    <a:lnTo>
                      <a:pt x="1734" y="196"/>
                    </a:lnTo>
                    <a:close/>
                    <a:moveTo>
                      <a:pt x="1938" y="196"/>
                    </a:moveTo>
                    <a:cubicBezTo>
                      <a:pt x="1926" y="190"/>
                      <a:pt x="1913" y="186"/>
                      <a:pt x="1898" y="186"/>
                    </a:cubicBezTo>
                    <a:cubicBezTo>
                      <a:pt x="1857" y="186"/>
                      <a:pt x="1836" y="213"/>
                      <a:pt x="1836" y="265"/>
                    </a:cubicBezTo>
                    <a:cubicBezTo>
                      <a:pt x="1836" y="322"/>
                      <a:pt x="1836" y="322"/>
                      <a:pt x="1836" y="322"/>
                    </a:cubicBezTo>
                    <a:cubicBezTo>
                      <a:pt x="1923" y="322"/>
                      <a:pt x="1923" y="322"/>
                      <a:pt x="1923" y="322"/>
                    </a:cubicBezTo>
                    <a:cubicBezTo>
                      <a:pt x="1923" y="372"/>
                      <a:pt x="1923" y="372"/>
                      <a:pt x="1923" y="372"/>
                    </a:cubicBezTo>
                    <a:cubicBezTo>
                      <a:pt x="1836" y="372"/>
                      <a:pt x="1836" y="372"/>
                      <a:pt x="1836" y="372"/>
                    </a:cubicBezTo>
                    <a:cubicBezTo>
                      <a:pt x="1836" y="692"/>
                      <a:pt x="1836" y="692"/>
                      <a:pt x="1836" y="692"/>
                    </a:cubicBezTo>
                    <a:cubicBezTo>
                      <a:pt x="1777" y="692"/>
                      <a:pt x="1777" y="692"/>
                      <a:pt x="1777" y="692"/>
                    </a:cubicBezTo>
                    <a:cubicBezTo>
                      <a:pt x="1777" y="372"/>
                      <a:pt x="1777" y="372"/>
                      <a:pt x="1777" y="372"/>
                    </a:cubicBezTo>
                    <a:cubicBezTo>
                      <a:pt x="1714" y="372"/>
                      <a:pt x="1714" y="372"/>
                      <a:pt x="1714" y="372"/>
                    </a:cubicBezTo>
                    <a:cubicBezTo>
                      <a:pt x="1714" y="322"/>
                      <a:pt x="1714" y="322"/>
                      <a:pt x="1714" y="322"/>
                    </a:cubicBezTo>
                    <a:cubicBezTo>
                      <a:pt x="1777" y="322"/>
                      <a:pt x="1777" y="322"/>
                      <a:pt x="1777" y="322"/>
                    </a:cubicBezTo>
                    <a:cubicBezTo>
                      <a:pt x="1777" y="262"/>
                      <a:pt x="1777" y="262"/>
                      <a:pt x="1777" y="262"/>
                    </a:cubicBezTo>
                    <a:cubicBezTo>
                      <a:pt x="1777" y="224"/>
                      <a:pt x="1788" y="194"/>
                      <a:pt x="1810" y="171"/>
                    </a:cubicBezTo>
                    <a:cubicBezTo>
                      <a:pt x="1832" y="148"/>
                      <a:pt x="1861" y="136"/>
                      <a:pt x="1895" y="136"/>
                    </a:cubicBezTo>
                    <a:cubicBezTo>
                      <a:pt x="1913" y="136"/>
                      <a:pt x="1927" y="138"/>
                      <a:pt x="1938" y="143"/>
                    </a:cubicBezTo>
                    <a:lnTo>
                      <a:pt x="1938" y="196"/>
                    </a:lnTo>
                    <a:close/>
                    <a:moveTo>
                      <a:pt x="2047" y="189"/>
                    </a:moveTo>
                    <a:cubicBezTo>
                      <a:pt x="2047" y="200"/>
                      <a:pt x="2043" y="210"/>
                      <a:pt x="2036" y="217"/>
                    </a:cubicBezTo>
                    <a:cubicBezTo>
                      <a:pt x="2028" y="224"/>
                      <a:pt x="2019" y="228"/>
                      <a:pt x="2008" y="228"/>
                    </a:cubicBezTo>
                    <a:cubicBezTo>
                      <a:pt x="1997" y="228"/>
                      <a:pt x="1988" y="224"/>
                      <a:pt x="1981" y="217"/>
                    </a:cubicBezTo>
                    <a:cubicBezTo>
                      <a:pt x="1973" y="210"/>
                      <a:pt x="1970" y="201"/>
                      <a:pt x="1970" y="189"/>
                    </a:cubicBezTo>
                    <a:cubicBezTo>
                      <a:pt x="1970" y="179"/>
                      <a:pt x="1973" y="170"/>
                      <a:pt x="1981" y="162"/>
                    </a:cubicBezTo>
                    <a:cubicBezTo>
                      <a:pt x="1988" y="155"/>
                      <a:pt x="1997" y="151"/>
                      <a:pt x="2008" y="151"/>
                    </a:cubicBezTo>
                    <a:cubicBezTo>
                      <a:pt x="2019" y="151"/>
                      <a:pt x="2029" y="155"/>
                      <a:pt x="2036" y="162"/>
                    </a:cubicBezTo>
                    <a:cubicBezTo>
                      <a:pt x="2044" y="170"/>
                      <a:pt x="2047" y="179"/>
                      <a:pt x="2047" y="189"/>
                    </a:cubicBezTo>
                    <a:close/>
                    <a:moveTo>
                      <a:pt x="2037" y="692"/>
                    </a:moveTo>
                    <a:cubicBezTo>
                      <a:pt x="1978" y="692"/>
                      <a:pt x="1978" y="692"/>
                      <a:pt x="1978" y="692"/>
                    </a:cubicBezTo>
                    <a:cubicBezTo>
                      <a:pt x="1978" y="322"/>
                      <a:pt x="1978" y="322"/>
                      <a:pt x="1978" y="322"/>
                    </a:cubicBezTo>
                    <a:cubicBezTo>
                      <a:pt x="2037" y="322"/>
                      <a:pt x="2037" y="322"/>
                      <a:pt x="2037" y="322"/>
                    </a:cubicBezTo>
                    <a:lnTo>
                      <a:pt x="2037" y="692"/>
                    </a:lnTo>
                    <a:close/>
                    <a:moveTo>
                      <a:pt x="2376" y="675"/>
                    </a:moveTo>
                    <a:cubicBezTo>
                      <a:pt x="2347" y="693"/>
                      <a:pt x="2313" y="701"/>
                      <a:pt x="2274" y="701"/>
                    </a:cubicBezTo>
                    <a:cubicBezTo>
                      <a:pt x="2240" y="701"/>
                      <a:pt x="2210" y="694"/>
                      <a:pt x="2183" y="678"/>
                    </a:cubicBezTo>
                    <a:cubicBezTo>
                      <a:pt x="2156" y="663"/>
                      <a:pt x="2135" y="641"/>
                      <a:pt x="2120" y="612"/>
                    </a:cubicBezTo>
                    <a:cubicBezTo>
                      <a:pt x="2105" y="584"/>
                      <a:pt x="2098" y="552"/>
                      <a:pt x="2098" y="516"/>
                    </a:cubicBezTo>
                    <a:cubicBezTo>
                      <a:pt x="2098" y="455"/>
                      <a:pt x="2116" y="406"/>
                      <a:pt x="2151" y="369"/>
                    </a:cubicBezTo>
                    <a:cubicBezTo>
                      <a:pt x="2186" y="332"/>
                      <a:pt x="2232" y="313"/>
                      <a:pt x="2291" y="313"/>
                    </a:cubicBezTo>
                    <a:cubicBezTo>
                      <a:pt x="2323" y="313"/>
                      <a:pt x="2352" y="319"/>
                      <a:pt x="2376" y="332"/>
                    </a:cubicBezTo>
                    <a:cubicBezTo>
                      <a:pt x="2376" y="393"/>
                      <a:pt x="2376" y="393"/>
                      <a:pt x="2376" y="393"/>
                    </a:cubicBezTo>
                    <a:cubicBezTo>
                      <a:pt x="2349" y="373"/>
                      <a:pt x="2319" y="364"/>
                      <a:pt x="2288" y="364"/>
                    </a:cubicBezTo>
                    <a:cubicBezTo>
                      <a:pt x="2250" y="364"/>
                      <a:pt x="2219" y="377"/>
                      <a:pt x="2195" y="405"/>
                    </a:cubicBezTo>
                    <a:cubicBezTo>
                      <a:pt x="2171" y="432"/>
                      <a:pt x="2159" y="467"/>
                      <a:pt x="2159" y="511"/>
                    </a:cubicBezTo>
                    <a:cubicBezTo>
                      <a:pt x="2159" y="554"/>
                      <a:pt x="2170" y="588"/>
                      <a:pt x="2193" y="613"/>
                    </a:cubicBezTo>
                    <a:cubicBezTo>
                      <a:pt x="2216" y="638"/>
                      <a:pt x="2246" y="651"/>
                      <a:pt x="2285" y="651"/>
                    </a:cubicBezTo>
                    <a:cubicBezTo>
                      <a:pt x="2317" y="651"/>
                      <a:pt x="2347" y="640"/>
                      <a:pt x="2376" y="619"/>
                    </a:cubicBezTo>
                    <a:lnTo>
                      <a:pt x="2376" y="675"/>
                    </a:lnTo>
                    <a:close/>
                    <a:moveTo>
                      <a:pt x="2741" y="522"/>
                    </a:moveTo>
                    <a:cubicBezTo>
                      <a:pt x="2480" y="522"/>
                      <a:pt x="2480" y="522"/>
                      <a:pt x="2480" y="522"/>
                    </a:cubicBezTo>
                    <a:cubicBezTo>
                      <a:pt x="2480" y="564"/>
                      <a:pt x="2492" y="596"/>
                      <a:pt x="2513" y="618"/>
                    </a:cubicBezTo>
                    <a:cubicBezTo>
                      <a:pt x="2534" y="640"/>
                      <a:pt x="2563" y="651"/>
                      <a:pt x="2600" y="651"/>
                    </a:cubicBezTo>
                    <a:cubicBezTo>
                      <a:pt x="2642" y="651"/>
                      <a:pt x="2680" y="637"/>
                      <a:pt x="2715" y="610"/>
                    </a:cubicBezTo>
                    <a:cubicBezTo>
                      <a:pt x="2715" y="666"/>
                      <a:pt x="2715" y="666"/>
                      <a:pt x="2715" y="666"/>
                    </a:cubicBezTo>
                    <a:cubicBezTo>
                      <a:pt x="2683" y="689"/>
                      <a:pt x="2640" y="701"/>
                      <a:pt x="2586" y="701"/>
                    </a:cubicBezTo>
                    <a:cubicBezTo>
                      <a:pt x="2533" y="701"/>
                      <a:pt x="2492" y="684"/>
                      <a:pt x="2463" y="650"/>
                    </a:cubicBezTo>
                    <a:cubicBezTo>
                      <a:pt x="2433" y="616"/>
                      <a:pt x="2418" y="569"/>
                      <a:pt x="2418" y="509"/>
                    </a:cubicBezTo>
                    <a:cubicBezTo>
                      <a:pt x="2418" y="472"/>
                      <a:pt x="2425" y="439"/>
                      <a:pt x="2440" y="408"/>
                    </a:cubicBezTo>
                    <a:cubicBezTo>
                      <a:pt x="2455" y="378"/>
                      <a:pt x="2476" y="355"/>
                      <a:pt x="2502" y="338"/>
                    </a:cubicBezTo>
                    <a:cubicBezTo>
                      <a:pt x="2528" y="321"/>
                      <a:pt x="2557" y="313"/>
                      <a:pt x="2588" y="313"/>
                    </a:cubicBezTo>
                    <a:cubicBezTo>
                      <a:pt x="2636" y="313"/>
                      <a:pt x="2674" y="329"/>
                      <a:pt x="2701" y="360"/>
                    </a:cubicBezTo>
                    <a:cubicBezTo>
                      <a:pt x="2728" y="391"/>
                      <a:pt x="2741" y="435"/>
                      <a:pt x="2741" y="491"/>
                    </a:cubicBezTo>
                    <a:lnTo>
                      <a:pt x="2741" y="522"/>
                    </a:lnTo>
                    <a:close/>
                    <a:moveTo>
                      <a:pt x="2680" y="472"/>
                    </a:moveTo>
                    <a:cubicBezTo>
                      <a:pt x="2680" y="438"/>
                      <a:pt x="2672" y="411"/>
                      <a:pt x="2655" y="392"/>
                    </a:cubicBezTo>
                    <a:cubicBezTo>
                      <a:pt x="2639" y="373"/>
                      <a:pt x="2617" y="364"/>
                      <a:pt x="2588" y="364"/>
                    </a:cubicBezTo>
                    <a:cubicBezTo>
                      <a:pt x="2560" y="364"/>
                      <a:pt x="2537" y="374"/>
                      <a:pt x="2517" y="393"/>
                    </a:cubicBezTo>
                    <a:cubicBezTo>
                      <a:pt x="2498" y="413"/>
                      <a:pt x="2485" y="439"/>
                      <a:pt x="2480" y="472"/>
                    </a:cubicBezTo>
                    <a:lnTo>
                      <a:pt x="2680" y="472"/>
                    </a:lnTo>
                    <a:close/>
                    <a:moveTo>
                      <a:pt x="721" y="793"/>
                    </a:moveTo>
                    <a:cubicBezTo>
                      <a:pt x="721" y="793"/>
                      <a:pt x="721" y="793"/>
                      <a:pt x="721" y="793"/>
                    </a:cubicBezTo>
                    <a:cubicBezTo>
                      <a:pt x="721" y="74"/>
                      <a:pt x="721" y="74"/>
                      <a:pt x="721" y="74"/>
                    </a:cubicBezTo>
                    <a:cubicBezTo>
                      <a:pt x="464" y="0"/>
                      <a:pt x="464" y="0"/>
                      <a:pt x="464" y="0"/>
                    </a:cubicBezTo>
                    <a:cubicBezTo>
                      <a:pt x="1" y="174"/>
                      <a:pt x="1" y="174"/>
                      <a:pt x="1" y="174"/>
                    </a:cubicBezTo>
                    <a:cubicBezTo>
                      <a:pt x="0" y="174"/>
                      <a:pt x="0" y="174"/>
                      <a:pt x="0" y="174"/>
                    </a:cubicBezTo>
                    <a:cubicBezTo>
                      <a:pt x="0" y="694"/>
                      <a:pt x="0" y="694"/>
                      <a:pt x="0" y="694"/>
                    </a:cubicBezTo>
                    <a:cubicBezTo>
                      <a:pt x="158" y="632"/>
                      <a:pt x="158" y="632"/>
                      <a:pt x="158" y="632"/>
                    </a:cubicBezTo>
                    <a:cubicBezTo>
                      <a:pt x="158" y="209"/>
                      <a:pt x="158" y="209"/>
                      <a:pt x="158" y="209"/>
                    </a:cubicBezTo>
                    <a:cubicBezTo>
                      <a:pt x="464" y="136"/>
                      <a:pt x="464" y="136"/>
                      <a:pt x="464" y="136"/>
                    </a:cubicBezTo>
                    <a:cubicBezTo>
                      <a:pt x="464" y="758"/>
                      <a:pt x="464" y="758"/>
                      <a:pt x="464" y="758"/>
                    </a:cubicBezTo>
                    <a:cubicBezTo>
                      <a:pt x="0" y="694"/>
                      <a:pt x="0" y="694"/>
                      <a:pt x="0" y="694"/>
                    </a:cubicBezTo>
                    <a:cubicBezTo>
                      <a:pt x="464" y="865"/>
                      <a:pt x="464" y="865"/>
                      <a:pt x="464" y="865"/>
                    </a:cubicBezTo>
                    <a:cubicBezTo>
                      <a:pt x="464" y="865"/>
                      <a:pt x="464" y="865"/>
                      <a:pt x="464" y="865"/>
                    </a:cubicBezTo>
                    <a:cubicBezTo>
                      <a:pt x="721" y="794"/>
                      <a:pt x="721" y="794"/>
                      <a:pt x="721" y="794"/>
                    </a:cubicBezTo>
                    <a:cubicBezTo>
                      <a:pt x="721" y="793"/>
                      <a:pt x="721" y="793"/>
                      <a:pt x="721" y="793"/>
                    </a:cubicBezTo>
                    <a:close/>
                  </a:path>
                </a:pathLst>
              </a:custGeom>
              <a:solidFill>
                <a:schemeClr val="tx1"/>
              </a:solidFill>
              <a:ln>
                <a:noFill/>
              </a:ln>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nvGrpSpPr>
            <p:cNvPr id="368" name="Group 299"/>
            <p:cNvGrpSpPr>
              <a:grpSpLocks noChangeAspect="1"/>
            </p:cNvGrpSpPr>
            <p:nvPr/>
          </p:nvGrpSpPr>
          <p:grpSpPr bwMode="auto">
            <a:xfrm>
              <a:off x="292100" y="1517955"/>
              <a:ext cx="1885896" cy="1015695"/>
              <a:chOff x="-158" y="615"/>
              <a:chExt cx="2048" cy="1103"/>
            </a:xfrm>
          </p:grpSpPr>
          <p:sp>
            <p:nvSpPr>
              <p:cNvPr id="369" name="Freeform 300"/>
              <p:cNvSpPr>
                <a:spLocks/>
              </p:cNvSpPr>
              <p:nvPr/>
            </p:nvSpPr>
            <p:spPr bwMode="auto">
              <a:xfrm>
                <a:off x="102" y="615"/>
                <a:ext cx="1532" cy="984"/>
              </a:xfrm>
              <a:custGeom>
                <a:avLst/>
                <a:gdLst>
                  <a:gd name="T0" fmla="*/ 625 w 646"/>
                  <a:gd name="T1" fmla="*/ 0 h 414"/>
                  <a:gd name="T2" fmla="*/ 22 w 646"/>
                  <a:gd name="T3" fmla="*/ 0 h 414"/>
                  <a:gd name="T4" fmla="*/ 0 w 646"/>
                  <a:gd name="T5" fmla="*/ 22 h 414"/>
                  <a:gd name="T6" fmla="*/ 0 w 646"/>
                  <a:gd name="T7" fmla="*/ 393 h 414"/>
                  <a:gd name="T8" fmla="*/ 22 w 646"/>
                  <a:gd name="T9" fmla="*/ 414 h 414"/>
                  <a:gd name="T10" fmla="*/ 625 w 646"/>
                  <a:gd name="T11" fmla="*/ 414 h 414"/>
                  <a:gd name="T12" fmla="*/ 646 w 646"/>
                  <a:gd name="T13" fmla="*/ 393 h 414"/>
                  <a:gd name="T14" fmla="*/ 646 w 646"/>
                  <a:gd name="T15" fmla="*/ 22 h 414"/>
                  <a:gd name="T16" fmla="*/ 625 w 646"/>
                  <a:gd name="T17" fmla="*/ 0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6" h="414">
                    <a:moveTo>
                      <a:pt x="625" y="0"/>
                    </a:moveTo>
                    <a:cubicBezTo>
                      <a:pt x="22" y="0"/>
                      <a:pt x="22" y="0"/>
                      <a:pt x="22" y="0"/>
                    </a:cubicBezTo>
                    <a:cubicBezTo>
                      <a:pt x="11" y="0"/>
                      <a:pt x="0" y="9"/>
                      <a:pt x="0" y="22"/>
                    </a:cubicBezTo>
                    <a:cubicBezTo>
                      <a:pt x="0" y="393"/>
                      <a:pt x="0" y="393"/>
                      <a:pt x="0" y="393"/>
                    </a:cubicBezTo>
                    <a:cubicBezTo>
                      <a:pt x="0" y="406"/>
                      <a:pt x="11" y="414"/>
                      <a:pt x="22" y="414"/>
                    </a:cubicBezTo>
                    <a:cubicBezTo>
                      <a:pt x="625" y="414"/>
                      <a:pt x="625" y="414"/>
                      <a:pt x="625" y="414"/>
                    </a:cubicBezTo>
                    <a:cubicBezTo>
                      <a:pt x="638" y="414"/>
                      <a:pt x="646" y="406"/>
                      <a:pt x="646" y="393"/>
                    </a:cubicBezTo>
                    <a:cubicBezTo>
                      <a:pt x="646" y="22"/>
                      <a:pt x="646" y="22"/>
                      <a:pt x="646" y="22"/>
                    </a:cubicBezTo>
                    <a:cubicBezTo>
                      <a:pt x="646" y="9"/>
                      <a:pt x="638" y="0"/>
                      <a:pt x="625"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70" name="Freeform 301"/>
              <p:cNvSpPr>
                <a:spLocks/>
              </p:cNvSpPr>
              <p:nvPr/>
            </p:nvSpPr>
            <p:spPr bwMode="auto">
              <a:xfrm>
                <a:off x="169" y="672"/>
                <a:ext cx="1398" cy="865"/>
              </a:xfrm>
              <a:custGeom>
                <a:avLst/>
                <a:gdLst>
                  <a:gd name="T0" fmla="*/ 590 w 590"/>
                  <a:gd name="T1" fmla="*/ 364 h 364"/>
                  <a:gd name="T2" fmla="*/ 0 w 590"/>
                  <a:gd name="T3" fmla="*/ 364 h 364"/>
                  <a:gd name="T4" fmla="*/ 0 w 590"/>
                  <a:gd name="T5" fmla="*/ 0 h 364"/>
                  <a:gd name="T6" fmla="*/ 590 w 590"/>
                  <a:gd name="T7" fmla="*/ 0 h 364"/>
                  <a:gd name="T8" fmla="*/ 590 w 590"/>
                  <a:gd name="T9" fmla="*/ 364 h 364"/>
                </a:gdLst>
                <a:ahLst/>
                <a:cxnLst>
                  <a:cxn ang="0">
                    <a:pos x="T0" y="T1"/>
                  </a:cxn>
                  <a:cxn ang="0">
                    <a:pos x="T2" y="T3"/>
                  </a:cxn>
                  <a:cxn ang="0">
                    <a:pos x="T4" y="T5"/>
                  </a:cxn>
                  <a:cxn ang="0">
                    <a:pos x="T6" y="T7"/>
                  </a:cxn>
                  <a:cxn ang="0">
                    <a:pos x="T8" y="T9"/>
                  </a:cxn>
                </a:cxnLst>
                <a:rect l="0" t="0" r="r" b="b"/>
                <a:pathLst>
                  <a:path w="590" h="364">
                    <a:moveTo>
                      <a:pt x="590" y="364"/>
                    </a:moveTo>
                    <a:cubicBezTo>
                      <a:pt x="0" y="364"/>
                      <a:pt x="0" y="364"/>
                      <a:pt x="0" y="364"/>
                    </a:cubicBezTo>
                    <a:cubicBezTo>
                      <a:pt x="0" y="0"/>
                      <a:pt x="0" y="0"/>
                      <a:pt x="0" y="0"/>
                    </a:cubicBezTo>
                    <a:cubicBezTo>
                      <a:pt x="590" y="0"/>
                      <a:pt x="590" y="0"/>
                      <a:pt x="590" y="0"/>
                    </a:cubicBezTo>
                    <a:cubicBezTo>
                      <a:pt x="590" y="364"/>
                      <a:pt x="590" y="364"/>
                      <a:pt x="590" y="364"/>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71" name="Freeform 302"/>
              <p:cNvSpPr>
                <a:spLocks/>
              </p:cNvSpPr>
              <p:nvPr/>
            </p:nvSpPr>
            <p:spPr bwMode="auto">
              <a:xfrm>
                <a:off x="-158" y="1637"/>
                <a:ext cx="2048" cy="81"/>
              </a:xfrm>
              <a:custGeom>
                <a:avLst/>
                <a:gdLst>
                  <a:gd name="T0" fmla="*/ 493 w 864"/>
                  <a:gd name="T1" fmla="*/ 0 h 34"/>
                  <a:gd name="T2" fmla="*/ 493 w 864"/>
                  <a:gd name="T3" fmla="*/ 4 h 34"/>
                  <a:gd name="T4" fmla="*/ 484 w 864"/>
                  <a:gd name="T5" fmla="*/ 10 h 34"/>
                  <a:gd name="T6" fmla="*/ 383 w 864"/>
                  <a:gd name="T7" fmla="*/ 10 h 34"/>
                  <a:gd name="T8" fmla="*/ 374 w 864"/>
                  <a:gd name="T9" fmla="*/ 4 h 34"/>
                  <a:gd name="T10" fmla="*/ 374 w 864"/>
                  <a:gd name="T11" fmla="*/ 0 h 34"/>
                  <a:gd name="T12" fmla="*/ 0 w 864"/>
                  <a:gd name="T13" fmla="*/ 0 h 34"/>
                  <a:gd name="T14" fmla="*/ 0 w 864"/>
                  <a:gd name="T15" fmla="*/ 21 h 34"/>
                  <a:gd name="T16" fmla="*/ 28 w 864"/>
                  <a:gd name="T17" fmla="*/ 34 h 34"/>
                  <a:gd name="T18" fmla="*/ 836 w 864"/>
                  <a:gd name="T19" fmla="*/ 34 h 34"/>
                  <a:gd name="T20" fmla="*/ 864 w 864"/>
                  <a:gd name="T21" fmla="*/ 21 h 34"/>
                  <a:gd name="T22" fmla="*/ 864 w 864"/>
                  <a:gd name="T23" fmla="*/ 0 h 34"/>
                  <a:gd name="T24" fmla="*/ 493 w 864"/>
                  <a:gd name="T25"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4" h="34">
                    <a:moveTo>
                      <a:pt x="493" y="0"/>
                    </a:moveTo>
                    <a:cubicBezTo>
                      <a:pt x="493" y="4"/>
                      <a:pt x="493" y="4"/>
                      <a:pt x="493" y="4"/>
                    </a:cubicBezTo>
                    <a:cubicBezTo>
                      <a:pt x="493" y="8"/>
                      <a:pt x="488" y="10"/>
                      <a:pt x="484" y="10"/>
                    </a:cubicBezTo>
                    <a:cubicBezTo>
                      <a:pt x="383" y="10"/>
                      <a:pt x="383" y="10"/>
                      <a:pt x="383" y="10"/>
                    </a:cubicBezTo>
                    <a:cubicBezTo>
                      <a:pt x="378" y="10"/>
                      <a:pt x="374" y="8"/>
                      <a:pt x="374" y="4"/>
                    </a:cubicBezTo>
                    <a:cubicBezTo>
                      <a:pt x="374" y="0"/>
                      <a:pt x="374" y="0"/>
                      <a:pt x="374" y="0"/>
                    </a:cubicBezTo>
                    <a:cubicBezTo>
                      <a:pt x="0" y="0"/>
                      <a:pt x="0" y="0"/>
                      <a:pt x="0" y="0"/>
                    </a:cubicBezTo>
                    <a:cubicBezTo>
                      <a:pt x="0" y="21"/>
                      <a:pt x="0" y="21"/>
                      <a:pt x="0" y="21"/>
                    </a:cubicBezTo>
                    <a:cubicBezTo>
                      <a:pt x="0" y="21"/>
                      <a:pt x="20" y="34"/>
                      <a:pt x="28" y="34"/>
                    </a:cubicBezTo>
                    <a:cubicBezTo>
                      <a:pt x="836" y="34"/>
                      <a:pt x="836" y="34"/>
                      <a:pt x="836" y="34"/>
                    </a:cubicBezTo>
                    <a:cubicBezTo>
                      <a:pt x="845" y="34"/>
                      <a:pt x="864" y="21"/>
                      <a:pt x="864" y="21"/>
                    </a:cubicBezTo>
                    <a:cubicBezTo>
                      <a:pt x="864" y="0"/>
                      <a:pt x="864" y="0"/>
                      <a:pt x="864" y="0"/>
                    </a:cubicBezTo>
                    <a:lnTo>
                      <a:pt x="49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72" name="Rectangle 303"/>
              <p:cNvSpPr>
                <a:spLocks noChangeArrowheads="1"/>
              </p:cNvSpPr>
              <p:nvPr/>
            </p:nvSpPr>
            <p:spPr bwMode="auto">
              <a:xfrm>
                <a:off x="169" y="672"/>
                <a:ext cx="1398" cy="86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73" name="Rectangle 304"/>
              <p:cNvSpPr>
                <a:spLocks noChangeArrowheads="1"/>
              </p:cNvSpPr>
              <p:nvPr/>
            </p:nvSpPr>
            <p:spPr bwMode="auto">
              <a:xfrm>
                <a:off x="169" y="672"/>
                <a:ext cx="1398" cy="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74" name="Rectangle 305"/>
              <p:cNvSpPr>
                <a:spLocks noChangeArrowheads="1"/>
              </p:cNvSpPr>
              <p:nvPr/>
            </p:nvSpPr>
            <p:spPr bwMode="auto">
              <a:xfrm>
                <a:off x="240" y="753"/>
                <a:ext cx="1251" cy="15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75" name="Rectangle 306"/>
              <p:cNvSpPr>
                <a:spLocks noChangeArrowheads="1"/>
              </p:cNvSpPr>
              <p:nvPr/>
            </p:nvSpPr>
            <p:spPr bwMode="auto">
              <a:xfrm>
                <a:off x="287" y="793"/>
                <a:ext cx="621" cy="79"/>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76" name="Rectangle 307"/>
              <p:cNvSpPr>
                <a:spLocks noChangeArrowheads="1"/>
              </p:cNvSpPr>
              <p:nvPr/>
            </p:nvSpPr>
            <p:spPr bwMode="auto">
              <a:xfrm>
                <a:off x="1245" y="812"/>
                <a:ext cx="199" cy="4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77" name="Rectangle 308"/>
              <p:cNvSpPr>
                <a:spLocks noChangeArrowheads="1"/>
              </p:cNvSpPr>
              <p:nvPr/>
            </p:nvSpPr>
            <p:spPr bwMode="auto">
              <a:xfrm>
                <a:off x="240" y="995"/>
                <a:ext cx="1251" cy="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78" name="Rectangle 309"/>
              <p:cNvSpPr>
                <a:spLocks noChangeArrowheads="1"/>
              </p:cNvSpPr>
              <p:nvPr/>
            </p:nvSpPr>
            <p:spPr bwMode="auto">
              <a:xfrm>
                <a:off x="240" y="995"/>
                <a:ext cx="1251" cy="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79" name="Rectangle 310"/>
              <p:cNvSpPr>
                <a:spLocks noChangeArrowheads="1"/>
              </p:cNvSpPr>
              <p:nvPr/>
            </p:nvSpPr>
            <p:spPr bwMode="auto">
              <a:xfrm>
                <a:off x="240" y="1112"/>
                <a:ext cx="1251" cy="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80" name="Rectangle 311"/>
              <p:cNvSpPr>
                <a:spLocks noChangeArrowheads="1"/>
              </p:cNvSpPr>
              <p:nvPr/>
            </p:nvSpPr>
            <p:spPr bwMode="auto">
              <a:xfrm>
                <a:off x="240" y="1112"/>
                <a:ext cx="1251" cy="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81" name="Rectangle 312"/>
              <p:cNvSpPr>
                <a:spLocks noChangeArrowheads="1"/>
              </p:cNvSpPr>
              <p:nvPr/>
            </p:nvSpPr>
            <p:spPr bwMode="auto">
              <a:xfrm>
                <a:off x="240" y="1226"/>
                <a:ext cx="1251" cy="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82" name="Rectangle 313"/>
              <p:cNvSpPr>
                <a:spLocks noChangeArrowheads="1"/>
              </p:cNvSpPr>
              <p:nvPr/>
            </p:nvSpPr>
            <p:spPr bwMode="auto">
              <a:xfrm>
                <a:off x="240" y="1226"/>
                <a:ext cx="1251" cy="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83" name="Rectangle 314"/>
              <p:cNvSpPr>
                <a:spLocks noChangeArrowheads="1"/>
              </p:cNvSpPr>
              <p:nvPr/>
            </p:nvSpPr>
            <p:spPr bwMode="auto">
              <a:xfrm>
                <a:off x="240" y="1342"/>
                <a:ext cx="1251" cy="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84" name="Rectangle 315"/>
              <p:cNvSpPr>
                <a:spLocks noChangeArrowheads="1"/>
              </p:cNvSpPr>
              <p:nvPr/>
            </p:nvSpPr>
            <p:spPr bwMode="auto">
              <a:xfrm>
                <a:off x="240" y="1342"/>
                <a:ext cx="1251" cy="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85" name="Rectangle 316"/>
              <p:cNvSpPr>
                <a:spLocks noChangeArrowheads="1"/>
              </p:cNvSpPr>
              <p:nvPr/>
            </p:nvSpPr>
            <p:spPr bwMode="auto">
              <a:xfrm>
                <a:off x="240" y="1449"/>
                <a:ext cx="1251" cy="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86" name="Freeform 332"/>
              <p:cNvSpPr>
                <a:spLocks/>
              </p:cNvSpPr>
              <p:nvPr/>
            </p:nvSpPr>
            <p:spPr bwMode="auto">
              <a:xfrm>
                <a:off x="626" y="1000"/>
                <a:ext cx="5" cy="2"/>
              </a:xfrm>
              <a:custGeom>
                <a:avLst/>
                <a:gdLst>
                  <a:gd name="T0" fmla="*/ 1 w 2"/>
                  <a:gd name="T1" fmla="*/ 0 h 1"/>
                  <a:gd name="T2" fmla="*/ 0 w 2"/>
                  <a:gd name="T3" fmla="*/ 1 h 1"/>
                  <a:gd name="T4" fmla="*/ 2 w 2"/>
                  <a:gd name="T5" fmla="*/ 1 h 1"/>
                  <a:gd name="T6" fmla="*/ 1 w 2"/>
                  <a:gd name="T7" fmla="*/ 0 h 1"/>
                </a:gdLst>
                <a:ahLst/>
                <a:cxnLst>
                  <a:cxn ang="0">
                    <a:pos x="T0" y="T1"/>
                  </a:cxn>
                  <a:cxn ang="0">
                    <a:pos x="T2" y="T3"/>
                  </a:cxn>
                  <a:cxn ang="0">
                    <a:pos x="T4" y="T5"/>
                  </a:cxn>
                  <a:cxn ang="0">
                    <a:pos x="T6" y="T7"/>
                  </a:cxn>
                </a:cxnLst>
                <a:rect l="0" t="0" r="r" b="b"/>
                <a:pathLst>
                  <a:path w="2" h="1">
                    <a:moveTo>
                      <a:pt x="1" y="0"/>
                    </a:moveTo>
                    <a:cubicBezTo>
                      <a:pt x="1" y="1"/>
                      <a:pt x="1" y="1"/>
                      <a:pt x="0" y="1"/>
                    </a:cubicBezTo>
                    <a:cubicBezTo>
                      <a:pt x="2" y="1"/>
                      <a:pt x="2" y="1"/>
                      <a:pt x="2" y="1"/>
                    </a:cubicBezTo>
                    <a:cubicBezTo>
                      <a:pt x="2" y="1"/>
                      <a:pt x="1" y="1"/>
                      <a:pt x="1" y="0"/>
                    </a:cubicBezTo>
                  </a:path>
                </a:pathLst>
              </a:custGeom>
              <a:solidFill>
                <a:srgbClr val="F49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grpSp>
        <p:nvGrpSpPr>
          <p:cNvPr id="439" name="Group 438"/>
          <p:cNvGrpSpPr/>
          <p:nvPr/>
        </p:nvGrpSpPr>
        <p:grpSpPr>
          <a:xfrm>
            <a:off x="5274126" y="1289890"/>
            <a:ext cx="1790866" cy="1527380"/>
            <a:chOff x="5381285" y="1314690"/>
            <a:chExt cx="1827252" cy="1558413"/>
          </a:xfrm>
        </p:grpSpPr>
        <p:grpSp>
          <p:nvGrpSpPr>
            <p:cNvPr id="440" name="Group 439"/>
            <p:cNvGrpSpPr/>
            <p:nvPr/>
          </p:nvGrpSpPr>
          <p:grpSpPr>
            <a:xfrm>
              <a:off x="5381285" y="1533858"/>
              <a:ext cx="676616" cy="1284998"/>
              <a:chOff x="5651685" y="-476444"/>
              <a:chExt cx="1669255" cy="2809977"/>
            </a:xfrm>
          </p:grpSpPr>
          <p:sp>
            <p:nvSpPr>
              <p:cNvPr id="508" name="Rectangle 507"/>
              <p:cNvSpPr/>
              <p:nvPr/>
            </p:nvSpPr>
            <p:spPr bwMode="auto">
              <a:xfrm>
                <a:off x="6203006" y="-476444"/>
                <a:ext cx="566612" cy="17145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509" name="Freeform 508"/>
              <p:cNvSpPr/>
              <p:nvPr/>
            </p:nvSpPr>
            <p:spPr bwMode="auto">
              <a:xfrm>
                <a:off x="5651685" y="-476444"/>
                <a:ext cx="1669255" cy="2809977"/>
              </a:xfrm>
              <a:custGeom>
                <a:avLst/>
                <a:gdLst>
                  <a:gd name="connsiteX0" fmla="*/ 239948 w 1715629"/>
                  <a:gd name="connsiteY0" fmla="*/ 0 h 2809977"/>
                  <a:gd name="connsiteX1" fmla="*/ 622279 w 1715629"/>
                  <a:gd name="connsiteY1" fmla="*/ 0 h 2809977"/>
                  <a:gd name="connsiteX2" fmla="*/ 626704 w 1715629"/>
                  <a:gd name="connsiteY2" fmla="*/ 21916 h 2809977"/>
                  <a:gd name="connsiteX3" fmla="*/ 705692 w 1715629"/>
                  <a:gd name="connsiteY3" fmla="*/ 74273 h 2809977"/>
                  <a:gd name="connsiteX4" fmla="*/ 1009937 w 1715629"/>
                  <a:gd name="connsiteY4" fmla="*/ 74273 h 2809977"/>
                  <a:gd name="connsiteX5" fmla="*/ 1088926 w 1715629"/>
                  <a:gd name="connsiteY5" fmla="*/ 21916 h 2809977"/>
                  <a:gd name="connsiteX6" fmla="*/ 1093350 w 1715629"/>
                  <a:gd name="connsiteY6" fmla="*/ 0 h 2809977"/>
                  <a:gd name="connsiteX7" fmla="*/ 1475681 w 1715629"/>
                  <a:gd name="connsiteY7" fmla="*/ 0 h 2809977"/>
                  <a:gd name="connsiteX8" fmla="*/ 1715629 w 1715629"/>
                  <a:gd name="connsiteY8" fmla="*/ 239948 h 2809977"/>
                  <a:gd name="connsiteX9" fmla="*/ 1715629 w 1715629"/>
                  <a:gd name="connsiteY9" fmla="*/ 2570029 h 2809977"/>
                  <a:gd name="connsiteX10" fmla="*/ 1475681 w 1715629"/>
                  <a:gd name="connsiteY10" fmla="*/ 2809977 h 2809977"/>
                  <a:gd name="connsiteX11" fmla="*/ 239948 w 1715629"/>
                  <a:gd name="connsiteY11" fmla="*/ 2809977 h 2809977"/>
                  <a:gd name="connsiteX12" fmla="*/ 0 w 1715629"/>
                  <a:gd name="connsiteY12" fmla="*/ 2570029 h 2809977"/>
                  <a:gd name="connsiteX13" fmla="*/ 0 w 1715629"/>
                  <a:gd name="connsiteY13" fmla="*/ 239948 h 2809977"/>
                  <a:gd name="connsiteX14" fmla="*/ 239948 w 1715629"/>
                  <a:gd name="connsiteY14" fmla="*/ 0 h 2809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15629" h="2809977">
                    <a:moveTo>
                      <a:pt x="239948" y="0"/>
                    </a:moveTo>
                    <a:lnTo>
                      <a:pt x="622279" y="0"/>
                    </a:lnTo>
                    <a:lnTo>
                      <a:pt x="626704" y="21916"/>
                    </a:lnTo>
                    <a:cubicBezTo>
                      <a:pt x="639718" y="52684"/>
                      <a:pt x="670184" y="74273"/>
                      <a:pt x="705692" y="74273"/>
                    </a:cubicBezTo>
                    <a:lnTo>
                      <a:pt x="1009937" y="74273"/>
                    </a:lnTo>
                    <a:cubicBezTo>
                      <a:pt x="1045446" y="74273"/>
                      <a:pt x="1075912" y="52684"/>
                      <a:pt x="1088926" y="21916"/>
                    </a:cubicBezTo>
                    <a:lnTo>
                      <a:pt x="1093350" y="0"/>
                    </a:lnTo>
                    <a:lnTo>
                      <a:pt x="1475681" y="0"/>
                    </a:lnTo>
                    <a:cubicBezTo>
                      <a:pt x="1608201" y="0"/>
                      <a:pt x="1715629" y="107428"/>
                      <a:pt x="1715629" y="239948"/>
                    </a:cubicBezTo>
                    <a:lnTo>
                      <a:pt x="1715629" y="2570029"/>
                    </a:lnTo>
                    <a:cubicBezTo>
                      <a:pt x="1715629" y="2702549"/>
                      <a:pt x="1608201" y="2809977"/>
                      <a:pt x="1475681" y="2809977"/>
                    </a:cubicBezTo>
                    <a:lnTo>
                      <a:pt x="239948" y="2809977"/>
                    </a:lnTo>
                    <a:cubicBezTo>
                      <a:pt x="107428" y="2809977"/>
                      <a:pt x="0" y="2702549"/>
                      <a:pt x="0" y="2570029"/>
                    </a:cubicBezTo>
                    <a:lnTo>
                      <a:pt x="0" y="239948"/>
                    </a:lnTo>
                    <a:cubicBezTo>
                      <a:pt x="0" y="107428"/>
                      <a:pt x="107428" y="0"/>
                      <a:pt x="239948" y="0"/>
                    </a:cubicBezTo>
                    <a:close/>
                  </a:path>
                </a:pathLst>
              </a:cu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510" name="Rectangle 509"/>
              <p:cNvSpPr/>
              <p:nvPr/>
            </p:nvSpPr>
            <p:spPr bwMode="auto">
              <a:xfrm>
                <a:off x="5724555" y="-242769"/>
                <a:ext cx="1523513" cy="227830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511" name="Group 510"/>
              <p:cNvGrpSpPr/>
              <p:nvPr/>
            </p:nvGrpSpPr>
            <p:grpSpPr>
              <a:xfrm>
                <a:off x="6124436" y="2123612"/>
                <a:ext cx="723752" cy="98117"/>
                <a:chOff x="6147223" y="2123612"/>
                <a:chExt cx="723752" cy="98117"/>
              </a:xfrm>
            </p:grpSpPr>
            <p:sp>
              <p:nvSpPr>
                <p:cNvPr id="512" name="Rounded Rectangle 511"/>
                <p:cNvSpPr/>
                <p:nvPr/>
              </p:nvSpPr>
              <p:spPr bwMode="auto">
                <a:xfrm>
                  <a:off x="6366215" y="2123612"/>
                  <a:ext cx="285769" cy="98117"/>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513" name="Oval 512"/>
                <p:cNvSpPr/>
                <p:nvPr/>
              </p:nvSpPr>
              <p:spPr bwMode="auto">
                <a:xfrm>
                  <a:off x="6147223" y="2137745"/>
                  <a:ext cx="69850" cy="6985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514" name="Oval 513"/>
                <p:cNvSpPr/>
                <p:nvPr/>
              </p:nvSpPr>
              <p:spPr bwMode="auto">
                <a:xfrm>
                  <a:off x="6801125" y="2137745"/>
                  <a:ext cx="69850" cy="6985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441" name="Group 440"/>
            <p:cNvGrpSpPr/>
            <p:nvPr/>
          </p:nvGrpSpPr>
          <p:grpSpPr>
            <a:xfrm>
              <a:off x="6515042" y="1543701"/>
              <a:ext cx="693495" cy="1245756"/>
              <a:chOff x="6639402" y="-1425066"/>
              <a:chExt cx="675798" cy="1213966"/>
            </a:xfrm>
          </p:grpSpPr>
          <p:sp>
            <p:nvSpPr>
              <p:cNvPr id="491" name="Freeform 10"/>
              <p:cNvSpPr>
                <a:spLocks noChangeAspect="1" noEditPoints="1"/>
              </p:cNvSpPr>
              <p:nvPr/>
            </p:nvSpPr>
            <p:spPr bwMode="auto">
              <a:xfrm>
                <a:off x="6639402" y="-1425066"/>
                <a:ext cx="675798" cy="1213966"/>
              </a:xfrm>
              <a:custGeom>
                <a:avLst/>
                <a:gdLst>
                  <a:gd name="T0" fmla="*/ 148 w 159"/>
                  <a:gd name="T1" fmla="*/ 0 h 288"/>
                  <a:gd name="T2" fmla="*/ 11 w 159"/>
                  <a:gd name="T3" fmla="*/ 0 h 288"/>
                  <a:gd name="T4" fmla="*/ 0 w 159"/>
                  <a:gd name="T5" fmla="*/ 10 h 288"/>
                  <a:gd name="T6" fmla="*/ 0 w 159"/>
                  <a:gd name="T7" fmla="*/ 278 h 288"/>
                  <a:gd name="T8" fmla="*/ 11 w 159"/>
                  <a:gd name="T9" fmla="*/ 288 h 288"/>
                  <a:gd name="T10" fmla="*/ 148 w 159"/>
                  <a:gd name="T11" fmla="*/ 288 h 288"/>
                  <a:gd name="T12" fmla="*/ 159 w 159"/>
                  <a:gd name="T13" fmla="*/ 278 h 288"/>
                  <a:gd name="T14" fmla="*/ 159 w 159"/>
                  <a:gd name="T15" fmla="*/ 10 h 288"/>
                  <a:gd name="T16" fmla="*/ 148 w 159"/>
                  <a:gd name="T17" fmla="*/ 0 h 288"/>
                  <a:gd name="T18" fmla="*/ 36 w 159"/>
                  <a:gd name="T19" fmla="*/ 262 h 288"/>
                  <a:gd name="T20" fmla="*/ 30 w 159"/>
                  <a:gd name="T21" fmla="*/ 262 h 288"/>
                  <a:gd name="T22" fmla="*/ 33 w 159"/>
                  <a:gd name="T23" fmla="*/ 266 h 288"/>
                  <a:gd name="T24" fmla="*/ 32 w 159"/>
                  <a:gd name="T25" fmla="*/ 266 h 288"/>
                  <a:gd name="T26" fmla="*/ 27 w 159"/>
                  <a:gd name="T27" fmla="*/ 262 h 288"/>
                  <a:gd name="T28" fmla="*/ 32 w 159"/>
                  <a:gd name="T29" fmla="*/ 258 h 288"/>
                  <a:gd name="T30" fmla="*/ 33 w 159"/>
                  <a:gd name="T31" fmla="*/ 258 h 288"/>
                  <a:gd name="T32" fmla="*/ 30 w 159"/>
                  <a:gd name="T33" fmla="*/ 261 h 288"/>
                  <a:gd name="T34" fmla="*/ 36 w 159"/>
                  <a:gd name="T35" fmla="*/ 261 h 288"/>
                  <a:gd name="T36" fmla="*/ 36 w 159"/>
                  <a:gd name="T37" fmla="*/ 262 h 288"/>
                  <a:gd name="T38" fmla="*/ 77 w 159"/>
                  <a:gd name="T39" fmla="*/ 268 h 288"/>
                  <a:gd name="T40" fmla="*/ 72 w 159"/>
                  <a:gd name="T41" fmla="*/ 267 h 288"/>
                  <a:gd name="T42" fmla="*/ 72 w 159"/>
                  <a:gd name="T43" fmla="*/ 263 h 288"/>
                  <a:gd name="T44" fmla="*/ 77 w 159"/>
                  <a:gd name="T45" fmla="*/ 263 h 288"/>
                  <a:gd name="T46" fmla="*/ 77 w 159"/>
                  <a:gd name="T47" fmla="*/ 268 h 288"/>
                  <a:gd name="T48" fmla="*/ 77 w 159"/>
                  <a:gd name="T49" fmla="*/ 262 h 288"/>
                  <a:gd name="T50" fmla="*/ 72 w 159"/>
                  <a:gd name="T51" fmla="*/ 262 h 288"/>
                  <a:gd name="T52" fmla="*/ 72 w 159"/>
                  <a:gd name="T53" fmla="*/ 258 h 288"/>
                  <a:gd name="T54" fmla="*/ 77 w 159"/>
                  <a:gd name="T55" fmla="*/ 257 h 288"/>
                  <a:gd name="T56" fmla="*/ 77 w 159"/>
                  <a:gd name="T57" fmla="*/ 262 h 288"/>
                  <a:gd name="T58" fmla="*/ 85 w 159"/>
                  <a:gd name="T59" fmla="*/ 269 h 288"/>
                  <a:gd name="T60" fmla="*/ 78 w 159"/>
                  <a:gd name="T61" fmla="*/ 268 h 288"/>
                  <a:gd name="T62" fmla="*/ 78 w 159"/>
                  <a:gd name="T63" fmla="*/ 263 h 288"/>
                  <a:gd name="T64" fmla="*/ 85 w 159"/>
                  <a:gd name="T65" fmla="*/ 263 h 288"/>
                  <a:gd name="T66" fmla="*/ 85 w 159"/>
                  <a:gd name="T67" fmla="*/ 269 h 288"/>
                  <a:gd name="T68" fmla="*/ 85 w 159"/>
                  <a:gd name="T69" fmla="*/ 262 h 288"/>
                  <a:gd name="T70" fmla="*/ 78 w 159"/>
                  <a:gd name="T71" fmla="*/ 262 h 288"/>
                  <a:gd name="T72" fmla="*/ 78 w 159"/>
                  <a:gd name="T73" fmla="*/ 257 h 288"/>
                  <a:gd name="T74" fmla="*/ 85 w 159"/>
                  <a:gd name="T75" fmla="*/ 256 h 288"/>
                  <a:gd name="T76" fmla="*/ 85 w 159"/>
                  <a:gd name="T77" fmla="*/ 262 h 288"/>
                  <a:gd name="T78" fmla="*/ 126 w 159"/>
                  <a:gd name="T79" fmla="*/ 265 h 288"/>
                  <a:gd name="T80" fmla="*/ 124 w 159"/>
                  <a:gd name="T81" fmla="*/ 264 h 288"/>
                  <a:gd name="T82" fmla="*/ 122 w 159"/>
                  <a:gd name="T83" fmla="*/ 267 h 288"/>
                  <a:gd name="T84" fmla="*/ 121 w 159"/>
                  <a:gd name="T85" fmla="*/ 266 h 288"/>
                  <a:gd name="T86" fmla="*/ 123 w 159"/>
                  <a:gd name="T87" fmla="*/ 264 h 288"/>
                  <a:gd name="T88" fmla="*/ 122 w 159"/>
                  <a:gd name="T89" fmla="*/ 261 h 288"/>
                  <a:gd name="T90" fmla="*/ 126 w 159"/>
                  <a:gd name="T91" fmla="*/ 257 h 288"/>
                  <a:gd name="T92" fmla="*/ 130 w 159"/>
                  <a:gd name="T93" fmla="*/ 261 h 288"/>
                  <a:gd name="T94" fmla="*/ 126 w 159"/>
                  <a:gd name="T95" fmla="*/ 265 h 288"/>
                  <a:gd name="T96" fmla="*/ 143 w 159"/>
                  <a:gd name="T97" fmla="*/ 227 h 288"/>
                  <a:gd name="T98" fmla="*/ 14 w 159"/>
                  <a:gd name="T99" fmla="*/ 227 h 288"/>
                  <a:gd name="T100" fmla="*/ 14 w 159"/>
                  <a:gd name="T101" fmla="*/ 24 h 288"/>
                  <a:gd name="T102" fmla="*/ 143 w 159"/>
                  <a:gd name="T103" fmla="*/ 24 h 288"/>
                  <a:gd name="T104" fmla="*/ 143 w 159"/>
                  <a:gd name="T105" fmla="*/ 227 h 288"/>
                  <a:gd name="T106" fmla="*/ 129 w 159"/>
                  <a:gd name="T107" fmla="*/ 261 h 288"/>
                  <a:gd name="T108" fmla="*/ 126 w 159"/>
                  <a:gd name="T109" fmla="*/ 264 h 288"/>
                  <a:gd name="T110" fmla="*/ 123 w 159"/>
                  <a:gd name="T111" fmla="*/ 261 h 288"/>
                  <a:gd name="T112" fmla="*/ 126 w 159"/>
                  <a:gd name="T113" fmla="*/ 258 h 288"/>
                  <a:gd name="T114" fmla="*/ 129 w 159"/>
                  <a:gd name="T115" fmla="*/ 261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9" h="288">
                    <a:moveTo>
                      <a:pt x="148" y="0"/>
                    </a:moveTo>
                    <a:cubicBezTo>
                      <a:pt x="148" y="0"/>
                      <a:pt x="148" y="0"/>
                      <a:pt x="11" y="0"/>
                    </a:cubicBezTo>
                    <a:cubicBezTo>
                      <a:pt x="5" y="0"/>
                      <a:pt x="0" y="4"/>
                      <a:pt x="0" y="10"/>
                    </a:cubicBezTo>
                    <a:cubicBezTo>
                      <a:pt x="0" y="10"/>
                      <a:pt x="0" y="10"/>
                      <a:pt x="0" y="278"/>
                    </a:cubicBezTo>
                    <a:cubicBezTo>
                      <a:pt x="0" y="284"/>
                      <a:pt x="5" y="288"/>
                      <a:pt x="11" y="288"/>
                    </a:cubicBezTo>
                    <a:cubicBezTo>
                      <a:pt x="11" y="288"/>
                      <a:pt x="11" y="288"/>
                      <a:pt x="148" y="288"/>
                    </a:cubicBezTo>
                    <a:cubicBezTo>
                      <a:pt x="154" y="288"/>
                      <a:pt x="159" y="284"/>
                      <a:pt x="159" y="278"/>
                    </a:cubicBezTo>
                    <a:cubicBezTo>
                      <a:pt x="159" y="10"/>
                      <a:pt x="159" y="10"/>
                      <a:pt x="159" y="10"/>
                    </a:cubicBezTo>
                    <a:cubicBezTo>
                      <a:pt x="159" y="4"/>
                      <a:pt x="154" y="0"/>
                      <a:pt x="148" y="0"/>
                    </a:cubicBezTo>
                    <a:close/>
                    <a:moveTo>
                      <a:pt x="36" y="262"/>
                    </a:moveTo>
                    <a:cubicBezTo>
                      <a:pt x="30" y="262"/>
                      <a:pt x="30" y="262"/>
                      <a:pt x="30" y="262"/>
                    </a:cubicBezTo>
                    <a:cubicBezTo>
                      <a:pt x="33" y="266"/>
                      <a:pt x="33" y="266"/>
                      <a:pt x="33" y="266"/>
                    </a:cubicBezTo>
                    <a:cubicBezTo>
                      <a:pt x="32" y="266"/>
                      <a:pt x="32" y="266"/>
                      <a:pt x="32" y="266"/>
                    </a:cubicBezTo>
                    <a:cubicBezTo>
                      <a:pt x="27" y="262"/>
                      <a:pt x="27" y="262"/>
                      <a:pt x="27" y="262"/>
                    </a:cubicBezTo>
                    <a:cubicBezTo>
                      <a:pt x="32" y="258"/>
                      <a:pt x="32" y="258"/>
                      <a:pt x="32" y="258"/>
                    </a:cubicBezTo>
                    <a:cubicBezTo>
                      <a:pt x="33" y="258"/>
                      <a:pt x="33" y="258"/>
                      <a:pt x="33" y="258"/>
                    </a:cubicBezTo>
                    <a:cubicBezTo>
                      <a:pt x="30" y="261"/>
                      <a:pt x="30" y="261"/>
                      <a:pt x="30" y="261"/>
                    </a:cubicBezTo>
                    <a:cubicBezTo>
                      <a:pt x="36" y="261"/>
                      <a:pt x="36" y="261"/>
                      <a:pt x="36" y="261"/>
                    </a:cubicBezTo>
                    <a:cubicBezTo>
                      <a:pt x="36" y="262"/>
                      <a:pt x="36" y="262"/>
                      <a:pt x="36" y="262"/>
                    </a:cubicBezTo>
                    <a:close/>
                    <a:moveTo>
                      <a:pt x="77" y="268"/>
                    </a:moveTo>
                    <a:cubicBezTo>
                      <a:pt x="72" y="267"/>
                      <a:pt x="72" y="267"/>
                      <a:pt x="72" y="267"/>
                    </a:cubicBezTo>
                    <a:cubicBezTo>
                      <a:pt x="72" y="263"/>
                      <a:pt x="72" y="263"/>
                      <a:pt x="72" y="263"/>
                    </a:cubicBezTo>
                    <a:cubicBezTo>
                      <a:pt x="77" y="263"/>
                      <a:pt x="77" y="263"/>
                      <a:pt x="77" y="263"/>
                    </a:cubicBezTo>
                    <a:lnTo>
                      <a:pt x="77" y="268"/>
                    </a:lnTo>
                    <a:close/>
                    <a:moveTo>
                      <a:pt x="77" y="262"/>
                    </a:moveTo>
                    <a:cubicBezTo>
                      <a:pt x="72" y="262"/>
                      <a:pt x="72" y="262"/>
                      <a:pt x="72" y="262"/>
                    </a:cubicBezTo>
                    <a:cubicBezTo>
                      <a:pt x="72" y="258"/>
                      <a:pt x="72" y="258"/>
                      <a:pt x="72" y="258"/>
                    </a:cubicBezTo>
                    <a:cubicBezTo>
                      <a:pt x="77" y="257"/>
                      <a:pt x="77" y="257"/>
                      <a:pt x="77" y="257"/>
                    </a:cubicBezTo>
                    <a:lnTo>
                      <a:pt x="77" y="262"/>
                    </a:lnTo>
                    <a:close/>
                    <a:moveTo>
                      <a:pt x="85" y="269"/>
                    </a:moveTo>
                    <a:cubicBezTo>
                      <a:pt x="78" y="268"/>
                      <a:pt x="78" y="268"/>
                      <a:pt x="78" y="268"/>
                    </a:cubicBezTo>
                    <a:cubicBezTo>
                      <a:pt x="78" y="263"/>
                      <a:pt x="78" y="263"/>
                      <a:pt x="78" y="263"/>
                    </a:cubicBezTo>
                    <a:cubicBezTo>
                      <a:pt x="85" y="263"/>
                      <a:pt x="85" y="263"/>
                      <a:pt x="85" y="263"/>
                    </a:cubicBezTo>
                    <a:lnTo>
                      <a:pt x="85" y="269"/>
                    </a:lnTo>
                    <a:close/>
                    <a:moveTo>
                      <a:pt x="85" y="262"/>
                    </a:moveTo>
                    <a:cubicBezTo>
                      <a:pt x="78" y="262"/>
                      <a:pt x="78" y="262"/>
                      <a:pt x="78" y="262"/>
                    </a:cubicBezTo>
                    <a:cubicBezTo>
                      <a:pt x="78" y="257"/>
                      <a:pt x="78" y="257"/>
                      <a:pt x="78" y="257"/>
                    </a:cubicBezTo>
                    <a:cubicBezTo>
                      <a:pt x="85" y="256"/>
                      <a:pt x="85" y="256"/>
                      <a:pt x="85" y="256"/>
                    </a:cubicBezTo>
                    <a:lnTo>
                      <a:pt x="85" y="262"/>
                    </a:lnTo>
                    <a:close/>
                    <a:moveTo>
                      <a:pt x="126" y="265"/>
                    </a:moveTo>
                    <a:cubicBezTo>
                      <a:pt x="125" y="265"/>
                      <a:pt x="124" y="265"/>
                      <a:pt x="124" y="264"/>
                    </a:cubicBezTo>
                    <a:cubicBezTo>
                      <a:pt x="124" y="264"/>
                      <a:pt x="124" y="264"/>
                      <a:pt x="122" y="267"/>
                    </a:cubicBezTo>
                    <a:cubicBezTo>
                      <a:pt x="122" y="267"/>
                      <a:pt x="122" y="267"/>
                      <a:pt x="121" y="266"/>
                    </a:cubicBezTo>
                    <a:cubicBezTo>
                      <a:pt x="121" y="266"/>
                      <a:pt x="121" y="266"/>
                      <a:pt x="123" y="264"/>
                    </a:cubicBezTo>
                    <a:cubicBezTo>
                      <a:pt x="122" y="263"/>
                      <a:pt x="122" y="262"/>
                      <a:pt x="122" y="261"/>
                    </a:cubicBezTo>
                    <a:cubicBezTo>
                      <a:pt x="122" y="259"/>
                      <a:pt x="124" y="257"/>
                      <a:pt x="126" y="257"/>
                    </a:cubicBezTo>
                    <a:cubicBezTo>
                      <a:pt x="128" y="257"/>
                      <a:pt x="130" y="259"/>
                      <a:pt x="130" y="261"/>
                    </a:cubicBezTo>
                    <a:cubicBezTo>
                      <a:pt x="130" y="263"/>
                      <a:pt x="128" y="265"/>
                      <a:pt x="126" y="265"/>
                    </a:cubicBezTo>
                    <a:close/>
                    <a:moveTo>
                      <a:pt x="143" y="227"/>
                    </a:moveTo>
                    <a:cubicBezTo>
                      <a:pt x="101" y="227"/>
                      <a:pt x="57" y="227"/>
                      <a:pt x="14" y="227"/>
                    </a:cubicBezTo>
                    <a:cubicBezTo>
                      <a:pt x="14" y="159"/>
                      <a:pt x="14" y="91"/>
                      <a:pt x="14" y="24"/>
                    </a:cubicBezTo>
                    <a:cubicBezTo>
                      <a:pt x="57" y="24"/>
                      <a:pt x="101" y="24"/>
                      <a:pt x="143" y="24"/>
                    </a:cubicBezTo>
                    <a:cubicBezTo>
                      <a:pt x="143" y="91"/>
                      <a:pt x="143" y="159"/>
                      <a:pt x="143" y="227"/>
                    </a:cubicBezTo>
                    <a:close/>
                    <a:moveTo>
                      <a:pt x="129" y="261"/>
                    </a:moveTo>
                    <a:cubicBezTo>
                      <a:pt x="129" y="263"/>
                      <a:pt x="128" y="264"/>
                      <a:pt x="126" y="264"/>
                    </a:cubicBezTo>
                    <a:cubicBezTo>
                      <a:pt x="124" y="264"/>
                      <a:pt x="123" y="263"/>
                      <a:pt x="123" y="261"/>
                    </a:cubicBezTo>
                    <a:cubicBezTo>
                      <a:pt x="123" y="260"/>
                      <a:pt x="124" y="258"/>
                      <a:pt x="126" y="258"/>
                    </a:cubicBezTo>
                    <a:cubicBezTo>
                      <a:pt x="128" y="258"/>
                      <a:pt x="129" y="260"/>
                      <a:pt x="129" y="261"/>
                    </a:cubicBezTo>
                    <a:close/>
                  </a:path>
                </a:pathLst>
              </a:custGeom>
              <a:solidFill>
                <a:schemeClr val="tx1"/>
              </a:solidFill>
              <a:ln>
                <a:noFill/>
              </a:ln>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07" name="Rectangle 506"/>
              <p:cNvSpPr/>
              <p:nvPr/>
            </p:nvSpPr>
            <p:spPr bwMode="auto">
              <a:xfrm>
                <a:off x="6657420" y="-401045"/>
                <a:ext cx="639762" cy="14861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442" name="Freeform 5"/>
            <p:cNvSpPr>
              <a:spLocks/>
            </p:cNvSpPr>
            <p:nvPr/>
          </p:nvSpPr>
          <p:spPr bwMode="auto">
            <a:xfrm>
              <a:off x="5883472" y="1314690"/>
              <a:ext cx="786530" cy="1558413"/>
            </a:xfrm>
            <a:custGeom>
              <a:avLst/>
              <a:gdLst>
                <a:gd name="T0" fmla="*/ 98 w 98"/>
                <a:gd name="T1" fmla="*/ 193 h 197"/>
                <a:gd name="T2" fmla="*/ 94 w 98"/>
                <a:gd name="T3" fmla="*/ 197 h 197"/>
                <a:gd name="T4" fmla="*/ 4 w 98"/>
                <a:gd name="T5" fmla="*/ 197 h 197"/>
                <a:gd name="T6" fmla="*/ 0 w 98"/>
                <a:gd name="T7" fmla="*/ 193 h 197"/>
                <a:gd name="T8" fmla="*/ 0 w 98"/>
                <a:gd name="T9" fmla="*/ 4 h 197"/>
                <a:gd name="T10" fmla="*/ 4 w 98"/>
                <a:gd name="T11" fmla="*/ 0 h 197"/>
                <a:gd name="T12" fmla="*/ 94 w 98"/>
                <a:gd name="T13" fmla="*/ 0 h 197"/>
                <a:gd name="T14" fmla="*/ 98 w 98"/>
                <a:gd name="T15" fmla="*/ 4 h 197"/>
                <a:gd name="T16" fmla="*/ 98 w 98"/>
                <a:gd name="T17" fmla="*/ 193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197">
                  <a:moveTo>
                    <a:pt x="98" y="193"/>
                  </a:moveTo>
                  <a:cubicBezTo>
                    <a:pt x="98" y="195"/>
                    <a:pt x="96" y="197"/>
                    <a:pt x="94" y="197"/>
                  </a:cubicBezTo>
                  <a:cubicBezTo>
                    <a:pt x="4" y="197"/>
                    <a:pt x="4" y="197"/>
                    <a:pt x="4" y="197"/>
                  </a:cubicBezTo>
                  <a:cubicBezTo>
                    <a:pt x="2" y="197"/>
                    <a:pt x="0" y="195"/>
                    <a:pt x="0" y="193"/>
                  </a:cubicBezTo>
                  <a:cubicBezTo>
                    <a:pt x="0" y="4"/>
                    <a:pt x="0" y="4"/>
                    <a:pt x="0" y="4"/>
                  </a:cubicBezTo>
                  <a:cubicBezTo>
                    <a:pt x="0" y="2"/>
                    <a:pt x="2" y="0"/>
                    <a:pt x="4" y="0"/>
                  </a:cubicBezTo>
                  <a:cubicBezTo>
                    <a:pt x="94" y="0"/>
                    <a:pt x="94" y="0"/>
                    <a:pt x="94" y="0"/>
                  </a:cubicBezTo>
                  <a:cubicBezTo>
                    <a:pt x="96" y="0"/>
                    <a:pt x="98" y="2"/>
                    <a:pt x="98" y="4"/>
                  </a:cubicBezTo>
                  <a:lnTo>
                    <a:pt x="98" y="19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3" name="Freeform 22"/>
            <p:cNvSpPr>
              <a:spLocks/>
            </p:cNvSpPr>
            <p:nvPr/>
          </p:nvSpPr>
          <p:spPr bwMode="auto">
            <a:xfrm>
              <a:off x="6005041" y="2770576"/>
              <a:ext cx="23435" cy="39547"/>
            </a:xfrm>
            <a:custGeom>
              <a:avLst/>
              <a:gdLst>
                <a:gd name="T0" fmla="*/ 16 w 16"/>
                <a:gd name="T1" fmla="*/ 27 h 27"/>
                <a:gd name="T2" fmla="*/ 0 w 16"/>
                <a:gd name="T3" fmla="*/ 10 h 27"/>
                <a:gd name="T4" fmla="*/ 16 w 16"/>
                <a:gd name="T5" fmla="*/ 0 h 27"/>
              </a:gdLst>
              <a:ahLst/>
              <a:cxnLst>
                <a:cxn ang="0">
                  <a:pos x="T0" y="T1"/>
                </a:cxn>
                <a:cxn ang="0">
                  <a:pos x="T2" y="T3"/>
                </a:cxn>
                <a:cxn ang="0">
                  <a:pos x="T4" y="T5"/>
                </a:cxn>
              </a:cxnLst>
              <a:rect l="0" t="0" r="r" b="b"/>
              <a:pathLst>
                <a:path w="16" h="27">
                  <a:moveTo>
                    <a:pt x="16" y="27"/>
                  </a:moveTo>
                  <a:lnTo>
                    <a:pt x="0" y="10"/>
                  </a:lnTo>
                  <a:lnTo>
                    <a:pt x="16" y="0"/>
                  </a:lnTo>
                </a:path>
              </a:pathLst>
            </a:custGeom>
            <a:solidFill>
              <a:schemeClr val="tx1"/>
            </a:solidFill>
            <a:ln w="7938" cap="rnd">
              <a:solidFill>
                <a:srgbClr val="969696"/>
              </a:solidFill>
              <a:prstDash val="solid"/>
              <a:miter lim="800000"/>
              <a:headEnd/>
              <a:tailEnd/>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4" name="Line 23"/>
            <p:cNvSpPr>
              <a:spLocks noChangeShapeType="1"/>
            </p:cNvSpPr>
            <p:nvPr/>
          </p:nvSpPr>
          <p:spPr bwMode="auto">
            <a:xfrm>
              <a:off x="6005041" y="2785223"/>
              <a:ext cx="39547" cy="0"/>
            </a:xfrm>
            <a:prstGeom prst="line">
              <a:avLst/>
            </a:prstGeom>
            <a:noFill/>
            <a:ln w="7938"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5" name="Oval 24"/>
            <p:cNvSpPr>
              <a:spLocks noChangeArrowheads="1"/>
            </p:cNvSpPr>
            <p:nvPr/>
          </p:nvSpPr>
          <p:spPr bwMode="auto">
            <a:xfrm>
              <a:off x="6517676" y="2770576"/>
              <a:ext cx="32223" cy="30759"/>
            </a:xfrm>
            <a:prstGeom prst="ellipse">
              <a:avLst/>
            </a:prstGeom>
            <a:solidFill>
              <a:srgbClr val="000000"/>
            </a:solidFill>
            <a:ln w="7938" cap="rnd">
              <a:solidFill>
                <a:srgbClr val="969696"/>
              </a:solidFill>
              <a:prstDash val="solid"/>
              <a:miter lim="800000"/>
              <a:headEnd/>
              <a:tailEnd/>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6" name="Line 25"/>
            <p:cNvSpPr>
              <a:spLocks noChangeShapeType="1"/>
            </p:cNvSpPr>
            <p:nvPr/>
          </p:nvSpPr>
          <p:spPr bwMode="auto">
            <a:xfrm flipH="1">
              <a:off x="6508888" y="2794011"/>
              <a:ext cx="8788" cy="16112"/>
            </a:xfrm>
            <a:prstGeom prst="line">
              <a:avLst/>
            </a:prstGeom>
            <a:noFill/>
            <a:ln w="7938"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7" name="Freeform 26"/>
            <p:cNvSpPr>
              <a:spLocks/>
            </p:cNvSpPr>
            <p:nvPr/>
          </p:nvSpPr>
          <p:spPr bwMode="auto">
            <a:xfrm>
              <a:off x="6277470" y="2761788"/>
              <a:ext cx="23435" cy="23435"/>
            </a:xfrm>
            <a:custGeom>
              <a:avLst/>
              <a:gdLst>
                <a:gd name="T0" fmla="*/ 0 w 16"/>
                <a:gd name="T1" fmla="*/ 16 h 16"/>
                <a:gd name="T2" fmla="*/ 16 w 16"/>
                <a:gd name="T3" fmla="*/ 16 h 16"/>
                <a:gd name="T4" fmla="*/ 16 w 16"/>
                <a:gd name="T5" fmla="*/ 0 h 16"/>
                <a:gd name="T6" fmla="*/ 0 w 16"/>
                <a:gd name="T7" fmla="*/ 6 h 16"/>
                <a:gd name="T8" fmla="*/ 0 w 16"/>
                <a:gd name="T9" fmla="*/ 16 h 16"/>
              </a:gdLst>
              <a:ahLst/>
              <a:cxnLst>
                <a:cxn ang="0">
                  <a:pos x="T0" y="T1"/>
                </a:cxn>
                <a:cxn ang="0">
                  <a:pos x="T2" y="T3"/>
                </a:cxn>
                <a:cxn ang="0">
                  <a:pos x="T4" y="T5"/>
                </a:cxn>
                <a:cxn ang="0">
                  <a:pos x="T6" y="T7"/>
                </a:cxn>
                <a:cxn ang="0">
                  <a:pos x="T8" y="T9"/>
                </a:cxn>
              </a:cxnLst>
              <a:rect l="0" t="0" r="r" b="b"/>
              <a:pathLst>
                <a:path w="16" h="16">
                  <a:moveTo>
                    <a:pt x="0" y="16"/>
                  </a:moveTo>
                  <a:lnTo>
                    <a:pt x="16" y="16"/>
                  </a:lnTo>
                  <a:lnTo>
                    <a:pt x="16" y="0"/>
                  </a:lnTo>
                  <a:lnTo>
                    <a:pt x="0" y="6"/>
                  </a:lnTo>
                  <a:lnTo>
                    <a:pt x="0" y="16"/>
                  </a:lnTo>
                  <a:close/>
                </a:path>
              </a:pathLst>
            </a:cu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8" name="Rectangle 27"/>
            <p:cNvSpPr>
              <a:spLocks noChangeArrowheads="1"/>
            </p:cNvSpPr>
            <p:nvPr/>
          </p:nvSpPr>
          <p:spPr bwMode="auto">
            <a:xfrm>
              <a:off x="6252570" y="2770576"/>
              <a:ext cx="16112" cy="14647"/>
            </a:xfrm>
            <a:prstGeom prst="rect">
              <a:avLst/>
            </a:pr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9" name="Rectangle 28"/>
            <p:cNvSpPr>
              <a:spLocks noChangeArrowheads="1"/>
            </p:cNvSpPr>
            <p:nvPr/>
          </p:nvSpPr>
          <p:spPr bwMode="auto">
            <a:xfrm>
              <a:off x="6277470" y="2785223"/>
              <a:ext cx="23435" cy="24900"/>
            </a:xfrm>
            <a:prstGeom prst="rect">
              <a:avLst/>
            </a:pr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0" name="Rectangle 29"/>
            <p:cNvSpPr>
              <a:spLocks noChangeArrowheads="1"/>
            </p:cNvSpPr>
            <p:nvPr/>
          </p:nvSpPr>
          <p:spPr bwMode="auto">
            <a:xfrm>
              <a:off x="6252570" y="2785223"/>
              <a:ext cx="16112" cy="24900"/>
            </a:xfrm>
            <a:prstGeom prst="rect">
              <a:avLst/>
            </a:pr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1" name="Rectangle 30"/>
            <p:cNvSpPr>
              <a:spLocks noChangeArrowheads="1"/>
            </p:cNvSpPr>
            <p:nvPr/>
          </p:nvSpPr>
          <p:spPr bwMode="auto">
            <a:xfrm>
              <a:off x="6669082" y="2477641"/>
              <a:ext cx="45719" cy="18162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2" name="Freeform 31"/>
            <p:cNvSpPr>
              <a:spLocks/>
            </p:cNvSpPr>
            <p:nvPr/>
          </p:nvSpPr>
          <p:spPr bwMode="auto">
            <a:xfrm>
              <a:off x="6196912" y="1393782"/>
              <a:ext cx="184549" cy="24900"/>
            </a:xfrm>
            <a:custGeom>
              <a:avLst/>
              <a:gdLst>
                <a:gd name="T0" fmla="*/ 23 w 23"/>
                <a:gd name="T1" fmla="*/ 2 h 3"/>
                <a:gd name="T2" fmla="*/ 21 w 23"/>
                <a:gd name="T3" fmla="*/ 3 h 3"/>
                <a:gd name="T4" fmla="*/ 1 w 23"/>
                <a:gd name="T5" fmla="*/ 3 h 3"/>
                <a:gd name="T6" fmla="*/ 0 w 23"/>
                <a:gd name="T7" fmla="*/ 2 h 3"/>
                <a:gd name="T8" fmla="*/ 0 w 23"/>
                <a:gd name="T9" fmla="*/ 2 h 3"/>
                <a:gd name="T10" fmla="*/ 1 w 23"/>
                <a:gd name="T11" fmla="*/ 0 h 3"/>
                <a:gd name="T12" fmla="*/ 21 w 23"/>
                <a:gd name="T13" fmla="*/ 0 h 3"/>
                <a:gd name="T14" fmla="*/ 23 w 23"/>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
                  <a:moveTo>
                    <a:pt x="23" y="2"/>
                  </a:moveTo>
                  <a:cubicBezTo>
                    <a:pt x="23" y="3"/>
                    <a:pt x="22" y="3"/>
                    <a:pt x="21" y="3"/>
                  </a:cubicBezTo>
                  <a:cubicBezTo>
                    <a:pt x="1" y="3"/>
                    <a:pt x="1" y="3"/>
                    <a:pt x="1" y="3"/>
                  </a:cubicBezTo>
                  <a:cubicBezTo>
                    <a:pt x="0" y="3"/>
                    <a:pt x="0" y="3"/>
                    <a:pt x="0" y="2"/>
                  </a:cubicBezTo>
                  <a:cubicBezTo>
                    <a:pt x="0" y="2"/>
                    <a:pt x="0" y="2"/>
                    <a:pt x="0" y="2"/>
                  </a:cubicBezTo>
                  <a:cubicBezTo>
                    <a:pt x="0" y="1"/>
                    <a:pt x="0" y="0"/>
                    <a:pt x="1" y="0"/>
                  </a:cubicBezTo>
                  <a:cubicBezTo>
                    <a:pt x="21" y="0"/>
                    <a:pt x="21" y="0"/>
                    <a:pt x="21" y="0"/>
                  </a:cubicBezTo>
                  <a:cubicBezTo>
                    <a:pt x="22" y="0"/>
                    <a:pt x="23" y="1"/>
                    <a:pt x="23" y="2"/>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3" name="Rectangle 32"/>
            <p:cNvSpPr>
              <a:spLocks noChangeArrowheads="1"/>
            </p:cNvSpPr>
            <p:nvPr/>
          </p:nvSpPr>
          <p:spPr bwMode="auto">
            <a:xfrm>
              <a:off x="5964030" y="1512421"/>
              <a:ext cx="8788" cy="322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4" name="Rectangle 33"/>
            <p:cNvSpPr>
              <a:spLocks noChangeArrowheads="1"/>
            </p:cNvSpPr>
            <p:nvPr/>
          </p:nvSpPr>
          <p:spPr bwMode="auto">
            <a:xfrm>
              <a:off x="5956706" y="1521209"/>
              <a:ext cx="7324" cy="2343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5" name="Rectangle 34"/>
            <p:cNvSpPr>
              <a:spLocks noChangeArrowheads="1"/>
            </p:cNvSpPr>
            <p:nvPr/>
          </p:nvSpPr>
          <p:spPr bwMode="auto">
            <a:xfrm>
              <a:off x="5947918" y="1528532"/>
              <a:ext cx="8788"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6" name="Rectangle 35"/>
            <p:cNvSpPr>
              <a:spLocks noChangeArrowheads="1"/>
            </p:cNvSpPr>
            <p:nvPr/>
          </p:nvSpPr>
          <p:spPr bwMode="auto">
            <a:xfrm>
              <a:off x="5940595" y="1528532"/>
              <a:ext cx="7324"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7" name="Rectangle 36"/>
            <p:cNvSpPr>
              <a:spLocks noChangeArrowheads="1"/>
            </p:cNvSpPr>
            <p:nvPr/>
          </p:nvSpPr>
          <p:spPr bwMode="auto">
            <a:xfrm>
              <a:off x="5931807" y="1537320"/>
              <a:ext cx="8788" cy="732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8" name="Rectangle 37"/>
            <p:cNvSpPr>
              <a:spLocks noChangeArrowheads="1"/>
            </p:cNvSpPr>
            <p:nvPr/>
          </p:nvSpPr>
          <p:spPr bwMode="auto">
            <a:xfrm>
              <a:off x="6492776" y="1512421"/>
              <a:ext cx="32223" cy="322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nvGrpSpPr>
            <p:cNvPr id="459" name="Group 361"/>
            <p:cNvGrpSpPr>
              <a:grpSpLocks noChangeAspect="1"/>
            </p:cNvGrpSpPr>
            <p:nvPr/>
          </p:nvGrpSpPr>
          <p:grpSpPr bwMode="auto">
            <a:xfrm>
              <a:off x="5951133" y="1619769"/>
              <a:ext cx="653662" cy="1067595"/>
              <a:chOff x="3756" y="912"/>
              <a:chExt cx="409" cy="668"/>
            </a:xfrm>
          </p:grpSpPr>
          <p:sp>
            <p:nvSpPr>
              <p:cNvPr id="476" name="Rectangle 362"/>
              <p:cNvSpPr>
                <a:spLocks noChangeArrowheads="1"/>
              </p:cNvSpPr>
              <p:nvPr/>
            </p:nvSpPr>
            <p:spPr bwMode="auto">
              <a:xfrm>
                <a:off x="3756" y="912"/>
                <a:ext cx="91"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77" name="Rectangle 363"/>
              <p:cNvSpPr>
                <a:spLocks noChangeArrowheads="1"/>
              </p:cNvSpPr>
              <p:nvPr/>
            </p:nvSpPr>
            <p:spPr bwMode="auto">
              <a:xfrm>
                <a:off x="3857" y="912"/>
                <a:ext cx="96"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78" name="Rectangle 364"/>
              <p:cNvSpPr>
                <a:spLocks noChangeArrowheads="1"/>
              </p:cNvSpPr>
              <p:nvPr/>
            </p:nvSpPr>
            <p:spPr bwMode="auto">
              <a:xfrm>
                <a:off x="3963" y="912"/>
                <a:ext cx="96"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79" name="Rectangle 365"/>
              <p:cNvSpPr>
                <a:spLocks noChangeArrowheads="1"/>
              </p:cNvSpPr>
              <p:nvPr/>
            </p:nvSpPr>
            <p:spPr bwMode="auto">
              <a:xfrm>
                <a:off x="4069" y="912"/>
                <a:ext cx="96"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80" name="Rectangle 366"/>
              <p:cNvSpPr>
                <a:spLocks noChangeArrowheads="1"/>
              </p:cNvSpPr>
              <p:nvPr/>
            </p:nvSpPr>
            <p:spPr bwMode="auto">
              <a:xfrm>
                <a:off x="3756" y="1221"/>
                <a:ext cx="197" cy="194"/>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81" name="Rectangle 367"/>
              <p:cNvSpPr>
                <a:spLocks noChangeArrowheads="1"/>
              </p:cNvSpPr>
              <p:nvPr/>
            </p:nvSpPr>
            <p:spPr bwMode="auto">
              <a:xfrm>
                <a:off x="3756" y="1430"/>
                <a:ext cx="409" cy="15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82" name="Rectangle 368"/>
              <p:cNvSpPr>
                <a:spLocks noChangeArrowheads="1"/>
              </p:cNvSpPr>
              <p:nvPr/>
            </p:nvSpPr>
            <p:spPr bwMode="auto">
              <a:xfrm>
                <a:off x="3963" y="1221"/>
                <a:ext cx="96" cy="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83" name="Rectangle 369"/>
              <p:cNvSpPr>
                <a:spLocks noChangeArrowheads="1"/>
              </p:cNvSpPr>
              <p:nvPr/>
            </p:nvSpPr>
            <p:spPr bwMode="auto">
              <a:xfrm>
                <a:off x="4069" y="1221"/>
                <a:ext cx="96"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84" name="Rectangle 370"/>
              <p:cNvSpPr>
                <a:spLocks noChangeArrowheads="1"/>
              </p:cNvSpPr>
              <p:nvPr/>
            </p:nvSpPr>
            <p:spPr bwMode="auto">
              <a:xfrm>
                <a:off x="3963" y="1321"/>
                <a:ext cx="96" cy="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85" name="Rectangle 371"/>
              <p:cNvSpPr>
                <a:spLocks noChangeArrowheads="1"/>
              </p:cNvSpPr>
              <p:nvPr/>
            </p:nvSpPr>
            <p:spPr bwMode="auto">
              <a:xfrm>
                <a:off x="4069" y="1321"/>
                <a:ext cx="96" cy="94"/>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86" name="Rectangle 372"/>
              <p:cNvSpPr>
                <a:spLocks noChangeArrowheads="1"/>
              </p:cNvSpPr>
              <p:nvPr/>
            </p:nvSpPr>
            <p:spPr bwMode="auto">
              <a:xfrm>
                <a:off x="3756" y="1017"/>
                <a:ext cx="91" cy="89"/>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87" name="Rectangle 373"/>
              <p:cNvSpPr>
                <a:spLocks noChangeArrowheads="1"/>
              </p:cNvSpPr>
              <p:nvPr/>
            </p:nvSpPr>
            <p:spPr bwMode="auto">
              <a:xfrm>
                <a:off x="3857" y="1017"/>
                <a:ext cx="202" cy="194"/>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88" name="Rectangle 374"/>
              <p:cNvSpPr>
                <a:spLocks noChangeArrowheads="1"/>
              </p:cNvSpPr>
              <p:nvPr/>
            </p:nvSpPr>
            <p:spPr bwMode="auto">
              <a:xfrm>
                <a:off x="4069" y="1017"/>
                <a:ext cx="96" cy="89"/>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89" name="Rectangle 375"/>
              <p:cNvSpPr>
                <a:spLocks noChangeArrowheads="1"/>
              </p:cNvSpPr>
              <p:nvPr/>
            </p:nvSpPr>
            <p:spPr bwMode="auto">
              <a:xfrm>
                <a:off x="3756" y="1116"/>
                <a:ext cx="91" cy="95"/>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90" name="Rectangle 377"/>
              <p:cNvSpPr>
                <a:spLocks noChangeArrowheads="1"/>
              </p:cNvSpPr>
              <p:nvPr/>
            </p:nvSpPr>
            <p:spPr bwMode="auto">
              <a:xfrm>
                <a:off x="4069" y="1116"/>
                <a:ext cx="96" cy="9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sp>
          <p:nvSpPr>
            <p:cNvPr id="460" name="Rectangle 38"/>
            <p:cNvSpPr>
              <a:spLocks noChangeArrowheads="1"/>
            </p:cNvSpPr>
            <p:nvPr/>
          </p:nvSpPr>
          <p:spPr bwMode="auto">
            <a:xfrm>
              <a:off x="6469342" y="1521209"/>
              <a:ext cx="7324"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61" name="Rectangle 460"/>
            <p:cNvSpPr/>
            <p:nvPr/>
          </p:nvSpPr>
          <p:spPr bwMode="auto">
            <a:xfrm>
              <a:off x="6669082" y="1645386"/>
              <a:ext cx="469545" cy="883054"/>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62" name="Rectangle 461"/>
            <p:cNvSpPr/>
            <p:nvPr/>
          </p:nvSpPr>
          <p:spPr bwMode="auto">
            <a:xfrm>
              <a:off x="5419725" y="1745191"/>
              <a:ext cx="463747" cy="81744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63" name="Group 462"/>
            <p:cNvGrpSpPr/>
            <p:nvPr/>
          </p:nvGrpSpPr>
          <p:grpSpPr>
            <a:xfrm>
              <a:off x="6762379" y="1998339"/>
              <a:ext cx="121238" cy="136847"/>
              <a:chOff x="6821706" y="2244827"/>
              <a:chExt cx="122543" cy="138320"/>
            </a:xfrm>
            <a:solidFill>
              <a:schemeClr val="accent6">
                <a:lumMod val="75000"/>
              </a:schemeClr>
            </a:solidFill>
          </p:grpSpPr>
          <p:sp>
            <p:nvSpPr>
              <p:cNvPr id="474" name="Freeform 24"/>
              <p:cNvSpPr>
                <a:spLocks/>
              </p:cNvSpPr>
              <p:nvPr/>
            </p:nvSpPr>
            <p:spPr bwMode="auto">
              <a:xfrm>
                <a:off x="6821706" y="2277082"/>
                <a:ext cx="122543" cy="106065"/>
              </a:xfrm>
              <a:custGeom>
                <a:avLst/>
                <a:gdLst>
                  <a:gd name="T0" fmla="*/ 296 w 296"/>
                  <a:gd name="T1" fmla="*/ 167 h 256"/>
                  <a:gd name="T2" fmla="*/ 274 w 296"/>
                  <a:gd name="T3" fmla="*/ 207 h 256"/>
                  <a:gd name="T4" fmla="*/ 216 w 296"/>
                  <a:gd name="T5" fmla="*/ 256 h 256"/>
                  <a:gd name="T6" fmla="*/ 159 w 296"/>
                  <a:gd name="T7" fmla="*/ 242 h 256"/>
                  <a:gd name="T8" fmla="*/ 101 w 296"/>
                  <a:gd name="T9" fmla="*/ 256 h 256"/>
                  <a:gd name="T10" fmla="*/ 44 w 296"/>
                  <a:gd name="T11" fmla="*/ 210 h 256"/>
                  <a:gd name="T12" fmla="*/ 24 w 296"/>
                  <a:gd name="T13" fmla="*/ 42 h 256"/>
                  <a:gd name="T14" fmla="*/ 94 w 296"/>
                  <a:gd name="T15" fmla="*/ 0 h 256"/>
                  <a:gd name="T16" fmla="*/ 158 w 296"/>
                  <a:gd name="T17" fmla="*/ 15 h 256"/>
                  <a:gd name="T18" fmla="*/ 222 w 296"/>
                  <a:gd name="T19" fmla="*/ 0 h 256"/>
                  <a:gd name="T20" fmla="*/ 286 w 296"/>
                  <a:gd name="T21" fmla="*/ 34 h 256"/>
                  <a:gd name="T22" fmla="*/ 296 w 296"/>
                  <a:gd name="T23" fmla="*/ 16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6" h="256">
                    <a:moveTo>
                      <a:pt x="296" y="167"/>
                    </a:moveTo>
                    <a:cubicBezTo>
                      <a:pt x="288" y="184"/>
                      <a:pt x="284" y="192"/>
                      <a:pt x="274" y="207"/>
                    </a:cubicBezTo>
                    <a:cubicBezTo>
                      <a:pt x="260" y="229"/>
                      <a:pt x="240" y="255"/>
                      <a:pt x="216" y="256"/>
                    </a:cubicBezTo>
                    <a:cubicBezTo>
                      <a:pt x="194" y="256"/>
                      <a:pt x="188" y="241"/>
                      <a:pt x="159" y="242"/>
                    </a:cubicBezTo>
                    <a:cubicBezTo>
                      <a:pt x="129" y="242"/>
                      <a:pt x="123" y="256"/>
                      <a:pt x="101" y="256"/>
                    </a:cubicBezTo>
                    <a:cubicBezTo>
                      <a:pt x="76" y="255"/>
                      <a:pt x="58" y="231"/>
                      <a:pt x="44" y="210"/>
                    </a:cubicBezTo>
                    <a:cubicBezTo>
                      <a:pt x="4" y="150"/>
                      <a:pt x="0" y="80"/>
                      <a:pt x="24" y="42"/>
                    </a:cubicBezTo>
                    <a:cubicBezTo>
                      <a:pt x="42" y="16"/>
                      <a:pt x="69" y="0"/>
                      <a:pt x="94" y="0"/>
                    </a:cubicBezTo>
                    <a:cubicBezTo>
                      <a:pt x="120" y="0"/>
                      <a:pt x="137" y="15"/>
                      <a:pt x="158" y="15"/>
                    </a:cubicBezTo>
                    <a:cubicBezTo>
                      <a:pt x="179" y="15"/>
                      <a:pt x="192" y="0"/>
                      <a:pt x="222" y="0"/>
                    </a:cubicBezTo>
                    <a:cubicBezTo>
                      <a:pt x="245" y="0"/>
                      <a:pt x="269" y="13"/>
                      <a:pt x="286" y="34"/>
                    </a:cubicBezTo>
                    <a:cubicBezTo>
                      <a:pt x="230" y="65"/>
                      <a:pt x="239" y="145"/>
                      <a:pt x="296" y="1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896081"/>
                <a:endParaRPr lang="en-US" sz="1764">
                  <a:solidFill>
                    <a:srgbClr val="FFFFFF"/>
                  </a:solidFill>
                </a:endParaRPr>
              </a:p>
            </p:txBody>
          </p:sp>
          <p:sp>
            <p:nvSpPr>
              <p:cNvPr id="475" name="Freeform 25"/>
              <p:cNvSpPr>
                <a:spLocks/>
              </p:cNvSpPr>
              <p:nvPr/>
            </p:nvSpPr>
            <p:spPr bwMode="auto">
              <a:xfrm>
                <a:off x="6881337" y="2244827"/>
                <a:ext cx="30680" cy="33485"/>
              </a:xfrm>
              <a:custGeom>
                <a:avLst/>
                <a:gdLst>
                  <a:gd name="T0" fmla="*/ 55 w 74"/>
                  <a:gd name="T1" fmla="*/ 54 h 81"/>
                  <a:gd name="T2" fmla="*/ 71 w 74"/>
                  <a:gd name="T3" fmla="*/ 0 h 81"/>
                  <a:gd name="T4" fmla="*/ 20 w 74"/>
                  <a:gd name="T5" fmla="*/ 28 h 81"/>
                  <a:gd name="T6" fmla="*/ 4 w 74"/>
                  <a:gd name="T7" fmla="*/ 81 h 81"/>
                  <a:gd name="T8" fmla="*/ 55 w 74"/>
                  <a:gd name="T9" fmla="*/ 54 h 81"/>
                </a:gdLst>
                <a:ahLst/>
                <a:cxnLst>
                  <a:cxn ang="0">
                    <a:pos x="T0" y="T1"/>
                  </a:cxn>
                  <a:cxn ang="0">
                    <a:pos x="T2" y="T3"/>
                  </a:cxn>
                  <a:cxn ang="0">
                    <a:pos x="T4" y="T5"/>
                  </a:cxn>
                  <a:cxn ang="0">
                    <a:pos x="T6" y="T7"/>
                  </a:cxn>
                  <a:cxn ang="0">
                    <a:pos x="T8" y="T9"/>
                  </a:cxn>
                </a:cxnLst>
                <a:rect l="0" t="0" r="r" b="b"/>
                <a:pathLst>
                  <a:path w="74" h="81">
                    <a:moveTo>
                      <a:pt x="55" y="54"/>
                    </a:moveTo>
                    <a:cubicBezTo>
                      <a:pt x="66" y="40"/>
                      <a:pt x="74" y="21"/>
                      <a:pt x="71" y="0"/>
                    </a:cubicBezTo>
                    <a:cubicBezTo>
                      <a:pt x="54" y="2"/>
                      <a:pt x="33" y="13"/>
                      <a:pt x="20" y="28"/>
                    </a:cubicBezTo>
                    <a:cubicBezTo>
                      <a:pt x="9" y="41"/>
                      <a:pt x="0" y="61"/>
                      <a:pt x="4" y="81"/>
                    </a:cubicBezTo>
                    <a:cubicBezTo>
                      <a:pt x="23" y="81"/>
                      <a:pt x="44" y="70"/>
                      <a:pt x="55"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896081"/>
                <a:endParaRPr lang="en-US" sz="1764">
                  <a:solidFill>
                    <a:srgbClr val="FFFFFF"/>
                  </a:solidFill>
                </a:endParaRPr>
              </a:p>
            </p:txBody>
          </p:sp>
        </p:grpSp>
        <p:grpSp>
          <p:nvGrpSpPr>
            <p:cNvPr id="464" name="Group 463"/>
            <p:cNvGrpSpPr/>
            <p:nvPr/>
          </p:nvGrpSpPr>
          <p:grpSpPr>
            <a:xfrm>
              <a:off x="6744485" y="1563052"/>
              <a:ext cx="157076" cy="1155247"/>
              <a:chOff x="6744485" y="1563052"/>
              <a:chExt cx="157076" cy="1155247"/>
            </a:xfrm>
          </p:grpSpPr>
          <p:sp>
            <p:nvSpPr>
              <p:cNvPr id="469" name="Oval 468"/>
              <p:cNvSpPr/>
              <p:nvPr/>
            </p:nvSpPr>
            <p:spPr bwMode="auto">
              <a:xfrm>
                <a:off x="6769989" y="2612231"/>
                <a:ext cx="106068" cy="106068"/>
              </a:xfrm>
              <a:prstGeom prst="ellipse">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70" name="Group 469"/>
              <p:cNvGrpSpPr/>
              <p:nvPr/>
            </p:nvGrpSpPr>
            <p:grpSpPr>
              <a:xfrm>
                <a:off x="6744485" y="1563052"/>
                <a:ext cx="157076" cy="52818"/>
                <a:chOff x="6822277" y="1553528"/>
                <a:chExt cx="157076" cy="52818"/>
              </a:xfrm>
            </p:grpSpPr>
            <p:sp>
              <p:nvSpPr>
                <p:cNvPr id="471" name="Rounded Rectangle 470"/>
                <p:cNvSpPr/>
                <p:nvPr/>
              </p:nvSpPr>
              <p:spPr bwMode="auto">
                <a:xfrm>
                  <a:off x="6869625" y="1588058"/>
                  <a:ext cx="109728" cy="18288"/>
                </a:xfrm>
                <a:prstGeom prst="roundRect">
                  <a:avLst>
                    <a:gd name="adj" fmla="val 50000"/>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72" name="Oval 471"/>
                <p:cNvSpPr/>
                <p:nvPr/>
              </p:nvSpPr>
              <p:spPr bwMode="auto">
                <a:xfrm>
                  <a:off x="6822277" y="1588058"/>
                  <a:ext cx="18288" cy="18288"/>
                </a:xfrm>
                <a:prstGeom prst="ellipse">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73" name="Oval 472"/>
                <p:cNvSpPr/>
                <p:nvPr/>
              </p:nvSpPr>
              <p:spPr bwMode="auto">
                <a:xfrm>
                  <a:off x="6902305" y="1553528"/>
                  <a:ext cx="18288" cy="1828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465" name="Group 464"/>
            <p:cNvGrpSpPr/>
            <p:nvPr/>
          </p:nvGrpSpPr>
          <p:grpSpPr>
            <a:xfrm>
              <a:off x="5444705" y="1680019"/>
              <a:ext cx="948506" cy="959249"/>
              <a:chOff x="5444705" y="1765011"/>
              <a:chExt cx="948506" cy="959249"/>
            </a:xfrm>
          </p:grpSpPr>
          <p:sp>
            <p:nvSpPr>
              <p:cNvPr id="466" name="Rectangle 465"/>
              <p:cNvSpPr/>
              <p:nvPr/>
            </p:nvSpPr>
            <p:spPr bwMode="auto">
              <a:xfrm>
                <a:off x="5444705" y="1765011"/>
                <a:ext cx="438767" cy="9592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pic>
            <p:nvPicPr>
              <p:cNvPr id="467" name="Picture 14"/>
              <p:cNvPicPr>
                <a:picLocks noChangeAspect="1" noChangeArrowheads="1"/>
              </p:cNvPicPr>
              <p:nvPr/>
            </p:nvPicPr>
            <p:blipFill>
              <a:blip r:embed="rId3" cstate="print">
                <a:lum bright="100000"/>
                <a:extLst>
                  <a:ext uri="{28A0092B-C50C-407E-A947-70E740481C1C}">
                    <a14:useLocalDpi xmlns:a14="http://schemas.microsoft.com/office/drawing/2010/main" val="0"/>
                  </a:ext>
                </a:extLst>
              </a:blip>
              <a:srcRect/>
              <a:stretch>
                <a:fillRect/>
              </a:stretch>
            </p:blipFill>
            <p:spPr bwMode="auto">
              <a:xfrm>
                <a:off x="5647306" y="2083319"/>
                <a:ext cx="144572" cy="1691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68" name="Picture 14"/>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r="78098"/>
              <a:stretch/>
            </p:blipFill>
            <p:spPr bwMode="auto">
              <a:xfrm>
                <a:off x="6139513" y="1886796"/>
                <a:ext cx="253698" cy="2722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nvGrpSpPr>
          <p:cNvPr id="358" name="Group 357"/>
          <p:cNvGrpSpPr/>
          <p:nvPr/>
        </p:nvGrpSpPr>
        <p:grpSpPr>
          <a:xfrm>
            <a:off x="2375267" y="2050485"/>
            <a:ext cx="309959" cy="610802"/>
            <a:chOff x="2423526" y="2090738"/>
            <a:chExt cx="316257" cy="623212"/>
          </a:xfrm>
        </p:grpSpPr>
        <p:pic>
          <p:nvPicPr>
            <p:cNvPr id="359" name="Picture 358"/>
            <p:cNvPicPr>
              <a:picLocks noChangeAspect="1"/>
            </p:cNvPicPr>
            <p:nvPr/>
          </p:nvPicPr>
          <p:blipFill>
            <a:blip r:embed="rId5"/>
            <a:stretch>
              <a:fillRect/>
            </a:stretch>
          </p:blipFill>
          <p:spPr>
            <a:xfrm>
              <a:off x="2423526" y="2090738"/>
              <a:ext cx="316257" cy="623212"/>
            </a:xfrm>
            <a:prstGeom prst="rect">
              <a:avLst/>
            </a:prstGeom>
          </p:spPr>
        </p:pic>
        <p:grpSp>
          <p:nvGrpSpPr>
            <p:cNvPr id="360" name="Group 359"/>
            <p:cNvGrpSpPr/>
            <p:nvPr/>
          </p:nvGrpSpPr>
          <p:grpSpPr>
            <a:xfrm>
              <a:off x="2451472" y="2218095"/>
              <a:ext cx="260365" cy="417911"/>
              <a:chOff x="2450306" y="2218095"/>
              <a:chExt cx="260365" cy="417911"/>
            </a:xfrm>
          </p:grpSpPr>
          <p:sp>
            <p:nvSpPr>
              <p:cNvPr id="361" name="Rectangle 360"/>
              <p:cNvSpPr/>
              <p:nvPr/>
            </p:nvSpPr>
            <p:spPr bwMode="auto">
              <a:xfrm>
                <a:off x="2450306" y="2218095"/>
                <a:ext cx="260365" cy="41791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62" name="Freeform 5"/>
              <p:cNvSpPr>
                <a:spLocks/>
              </p:cNvSpPr>
              <p:nvPr/>
            </p:nvSpPr>
            <p:spPr bwMode="auto">
              <a:xfrm>
                <a:off x="2503825" y="2335433"/>
                <a:ext cx="153326" cy="183235"/>
              </a:xfrm>
              <a:custGeom>
                <a:avLst/>
                <a:gdLst>
                  <a:gd name="T0" fmla="*/ 0 w 446"/>
                  <a:gd name="T1" fmla="*/ 107 h 533"/>
                  <a:gd name="T2" fmla="*/ 285 w 446"/>
                  <a:gd name="T3" fmla="*/ 0 h 533"/>
                  <a:gd name="T4" fmla="*/ 446 w 446"/>
                  <a:gd name="T5" fmla="*/ 45 h 533"/>
                  <a:gd name="T6" fmla="*/ 446 w 446"/>
                  <a:gd name="T7" fmla="*/ 485 h 533"/>
                  <a:gd name="T8" fmla="*/ 288 w 446"/>
                  <a:gd name="T9" fmla="*/ 533 h 533"/>
                  <a:gd name="T10" fmla="*/ 0 w 446"/>
                  <a:gd name="T11" fmla="*/ 428 h 533"/>
                  <a:gd name="T12" fmla="*/ 285 w 446"/>
                  <a:gd name="T13" fmla="*/ 466 h 533"/>
                  <a:gd name="T14" fmla="*/ 285 w 446"/>
                  <a:gd name="T15" fmla="*/ 81 h 533"/>
                  <a:gd name="T16" fmla="*/ 96 w 446"/>
                  <a:gd name="T17" fmla="*/ 129 h 533"/>
                  <a:gd name="T18" fmla="*/ 96 w 446"/>
                  <a:gd name="T19" fmla="*/ 387 h 533"/>
                  <a:gd name="T20" fmla="*/ 0 w 446"/>
                  <a:gd name="T21" fmla="*/ 421 h 533"/>
                  <a:gd name="T22" fmla="*/ 0 w 446"/>
                  <a:gd name="T23" fmla="*/ 107 h 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6" h="533">
                    <a:moveTo>
                      <a:pt x="0" y="107"/>
                    </a:moveTo>
                    <a:lnTo>
                      <a:pt x="285" y="0"/>
                    </a:lnTo>
                    <a:lnTo>
                      <a:pt x="446" y="45"/>
                    </a:lnTo>
                    <a:lnTo>
                      <a:pt x="446" y="485"/>
                    </a:lnTo>
                    <a:lnTo>
                      <a:pt x="288" y="533"/>
                    </a:lnTo>
                    <a:lnTo>
                      <a:pt x="0" y="428"/>
                    </a:lnTo>
                    <a:lnTo>
                      <a:pt x="285" y="466"/>
                    </a:lnTo>
                    <a:lnTo>
                      <a:pt x="285" y="81"/>
                    </a:lnTo>
                    <a:lnTo>
                      <a:pt x="96" y="129"/>
                    </a:lnTo>
                    <a:lnTo>
                      <a:pt x="96" y="387"/>
                    </a:lnTo>
                    <a:lnTo>
                      <a:pt x="0" y="421"/>
                    </a:lnTo>
                    <a:lnTo>
                      <a:pt x="0" y="10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sp>
        <p:nvSpPr>
          <p:cNvPr id="7" name="Rectangle 6"/>
          <p:cNvSpPr/>
          <p:nvPr/>
        </p:nvSpPr>
        <p:spPr bwMode="auto">
          <a:xfrm>
            <a:off x="4232707" y="2932402"/>
            <a:ext cx="3733596" cy="879077"/>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828" fontAlgn="base">
              <a:lnSpc>
                <a:spcPct val="90000"/>
              </a:lnSpc>
              <a:spcBef>
                <a:spcPct val="0"/>
              </a:spcBef>
              <a:spcAft>
                <a:spcPct val="0"/>
              </a:spcAft>
            </a:pPr>
            <a:endPar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endParaRPr>
          </a:p>
        </p:txBody>
      </p:sp>
      <p:sp>
        <p:nvSpPr>
          <p:cNvPr id="8" name="Rectangle 7"/>
          <p:cNvSpPr/>
          <p:nvPr/>
        </p:nvSpPr>
        <p:spPr bwMode="auto">
          <a:xfrm>
            <a:off x="8007134" y="2932402"/>
            <a:ext cx="3733596" cy="879077"/>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828" fontAlgn="base">
              <a:lnSpc>
                <a:spcPct val="90000"/>
              </a:lnSpc>
              <a:spcBef>
                <a:spcPct val="0"/>
              </a:spcBef>
              <a:spcAft>
                <a:spcPct val="0"/>
              </a:spcAft>
            </a:pPr>
            <a:endPar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endParaRPr>
          </a:p>
        </p:txBody>
      </p:sp>
      <p:sp>
        <p:nvSpPr>
          <p:cNvPr id="14" name="Rectangle 13"/>
          <p:cNvSpPr/>
          <p:nvPr/>
        </p:nvSpPr>
        <p:spPr bwMode="auto">
          <a:xfrm>
            <a:off x="4232707" y="3811480"/>
            <a:ext cx="3733596" cy="2750810"/>
          </a:xfrm>
          <a:prstGeom prst="rect">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p:nvSpPr>
        <p:spPr bwMode="auto">
          <a:xfrm>
            <a:off x="8007134" y="3811480"/>
            <a:ext cx="3733596" cy="2750810"/>
          </a:xfrm>
          <a:prstGeom prst="rect">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31" name="Rectangle 330"/>
          <p:cNvSpPr/>
          <p:nvPr/>
        </p:nvSpPr>
        <p:spPr bwMode="auto">
          <a:xfrm>
            <a:off x="4232707" y="2932402"/>
            <a:ext cx="3733596" cy="8790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828" fontAlgn="base">
              <a:lnSpc>
                <a:spcPct val="90000"/>
              </a:lnSpc>
              <a:spcBef>
                <a:spcPct val="0"/>
              </a:spcBef>
              <a:spcAft>
                <a:spcPct val="0"/>
              </a:spcAft>
            </a:pPr>
            <a: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CONNECT TO </a:t>
            </a:r>
            <a:b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br>
            <a: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OFFICE 365 SERVICES</a:t>
            </a:r>
          </a:p>
        </p:txBody>
      </p:sp>
      <p:sp>
        <p:nvSpPr>
          <p:cNvPr id="577" name="Rectangle 576"/>
          <p:cNvSpPr/>
          <p:nvPr/>
        </p:nvSpPr>
        <p:spPr bwMode="auto">
          <a:xfrm>
            <a:off x="8007134" y="2932402"/>
            <a:ext cx="3733596" cy="8790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828" fontAlgn="base">
              <a:lnSpc>
                <a:spcPct val="90000"/>
              </a:lnSpc>
              <a:spcBef>
                <a:spcPct val="0"/>
              </a:spcBef>
              <a:spcAft>
                <a:spcPct val="0"/>
              </a:spcAft>
            </a:pPr>
            <a: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BUILD USING </a:t>
            </a:r>
            <a:b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br>
            <a: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AN OPEN PLATFORM</a:t>
            </a:r>
          </a:p>
        </p:txBody>
      </p:sp>
      <p:sp>
        <p:nvSpPr>
          <p:cNvPr id="947" name="Freeform 5"/>
          <p:cNvSpPr>
            <a:spLocks noChangeAspect="1" noEditPoints="1"/>
          </p:cNvSpPr>
          <p:nvPr/>
        </p:nvSpPr>
        <p:spPr bwMode="auto">
          <a:xfrm>
            <a:off x="5584079" y="4473166"/>
            <a:ext cx="1030849" cy="853874"/>
          </a:xfrm>
          <a:custGeom>
            <a:avLst/>
            <a:gdLst>
              <a:gd name="T0" fmla="*/ 240 w 400"/>
              <a:gd name="T1" fmla="*/ 84 h 342"/>
              <a:gd name="T2" fmla="*/ 160 w 400"/>
              <a:gd name="T3" fmla="*/ 84 h 342"/>
              <a:gd name="T4" fmla="*/ 136 w 400"/>
              <a:gd name="T5" fmla="*/ 108 h 342"/>
              <a:gd name="T6" fmla="*/ 136 w 400"/>
              <a:gd name="T7" fmla="*/ 217 h 342"/>
              <a:gd name="T8" fmla="*/ 160 w 400"/>
              <a:gd name="T9" fmla="*/ 241 h 342"/>
              <a:gd name="T10" fmla="*/ 160 w 400"/>
              <a:gd name="T11" fmla="*/ 241 h 342"/>
              <a:gd name="T12" fmla="*/ 160 w 400"/>
              <a:gd name="T13" fmla="*/ 318 h 342"/>
              <a:gd name="T14" fmla="*/ 183 w 400"/>
              <a:gd name="T15" fmla="*/ 342 h 342"/>
              <a:gd name="T16" fmla="*/ 217 w 400"/>
              <a:gd name="T17" fmla="*/ 342 h 342"/>
              <a:gd name="T18" fmla="*/ 240 w 400"/>
              <a:gd name="T19" fmla="*/ 318 h 342"/>
              <a:gd name="T20" fmla="*/ 240 w 400"/>
              <a:gd name="T21" fmla="*/ 241 h 342"/>
              <a:gd name="T22" fmla="*/ 240 w 400"/>
              <a:gd name="T23" fmla="*/ 241 h 342"/>
              <a:gd name="T24" fmla="*/ 264 w 400"/>
              <a:gd name="T25" fmla="*/ 217 h 342"/>
              <a:gd name="T26" fmla="*/ 264 w 400"/>
              <a:gd name="T27" fmla="*/ 108 h 342"/>
              <a:gd name="T28" fmla="*/ 240 w 400"/>
              <a:gd name="T29" fmla="*/ 84 h 342"/>
              <a:gd name="T30" fmla="*/ 200 w 400"/>
              <a:gd name="T31" fmla="*/ 0 h 342"/>
              <a:gd name="T32" fmla="*/ 238 w 400"/>
              <a:gd name="T33" fmla="*/ 38 h 342"/>
              <a:gd name="T34" fmla="*/ 200 w 400"/>
              <a:gd name="T35" fmla="*/ 77 h 342"/>
              <a:gd name="T36" fmla="*/ 162 w 400"/>
              <a:gd name="T37" fmla="*/ 38 h 342"/>
              <a:gd name="T38" fmla="*/ 200 w 400"/>
              <a:gd name="T39" fmla="*/ 0 h 342"/>
              <a:gd name="T40" fmla="*/ 380 w 400"/>
              <a:gd name="T41" fmla="*/ 93 h 342"/>
              <a:gd name="T42" fmla="*/ 311 w 400"/>
              <a:gd name="T43" fmla="*/ 93 h 342"/>
              <a:gd name="T44" fmla="*/ 291 w 400"/>
              <a:gd name="T45" fmla="*/ 113 h 342"/>
              <a:gd name="T46" fmla="*/ 291 w 400"/>
              <a:gd name="T47" fmla="*/ 207 h 342"/>
              <a:gd name="T48" fmla="*/ 311 w 400"/>
              <a:gd name="T49" fmla="*/ 227 h 342"/>
              <a:gd name="T50" fmla="*/ 311 w 400"/>
              <a:gd name="T51" fmla="*/ 227 h 342"/>
              <a:gd name="T52" fmla="*/ 311 w 400"/>
              <a:gd name="T53" fmla="*/ 294 h 342"/>
              <a:gd name="T54" fmla="*/ 330 w 400"/>
              <a:gd name="T55" fmla="*/ 314 h 342"/>
              <a:gd name="T56" fmla="*/ 360 w 400"/>
              <a:gd name="T57" fmla="*/ 314 h 342"/>
              <a:gd name="T58" fmla="*/ 380 w 400"/>
              <a:gd name="T59" fmla="*/ 294 h 342"/>
              <a:gd name="T60" fmla="*/ 380 w 400"/>
              <a:gd name="T61" fmla="*/ 227 h 342"/>
              <a:gd name="T62" fmla="*/ 380 w 400"/>
              <a:gd name="T63" fmla="*/ 227 h 342"/>
              <a:gd name="T64" fmla="*/ 400 w 400"/>
              <a:gd name="T65" fmla="*/ 207 h 342"/>
              <a:gd name="T66" fmla="*/ 400 w 400"/>
              <a:gd name="T67" fmla="*/ 113 h 342"/>
              <a:gd name="T68" fmla="*/ 380 w 400"/>
              <a:gd name="T69" fmla="*/ 93 h 342"/>
              <a:gd name="T70" fmla="*/ 345 w 400"/>
              <a:gd name="T71" fmla="*/ 21 h 342"/>
              <a:gd name="T72" fmla="*/ 378 w 400"/>
              <a:gd name="T73" fmla="*/ 54 h 342"/>
              <a:gd name="T74" fmla="*/ 345 w 400"/>
              <a:gd name="T75" fmla="*/ 87 h 342"/>
              <a:gd name="T76" fmla="*/ 313 w 400"/>
              <a:gd name="T77" fmla="*/ 54 h 342"/>
              <a:gd name="T78" fmla="*/ 345 w 400"/>
              <a:gd name="T79" fmla="*/ 21 h 342"/>
              <a:gd name="T80" fmla="*/ 89 w 400"/>
              <a:gd name="T81" fmla="*/ 93 h 342"/>
              <a:gd name="T82" fmla="*/ 20 w 400"/>
              <a:gd name="T83" fmla="*/ 93 h 342"/>
              <a:gd name="T84" fmla="*/ 0 w 400"/>
              <a:gd name="T85" fmla="*/ 113 h 342"/>
              <a:gd name="T86" fmla="*/ 0 w 400"/>
              <a:gd name="T87" fmla="*/ 207 h 342"/>
              <a:gd name="T88" fmla="*/ 20 w 400"/>
              <a:gd name="T89" fmla="*/ 227 h 342"/>
              <a:gd name="T90" fmla="*/ 20 w 400"/>
              <a:gd name="T91" fmla="*/ 227 h 342"/>
              <a:gd name="T92" fmla="*/ 20 w 400"/>
              <a:gd name="T93" fmla="*/ 294 h 342"/>
              <a:gd name="T94" fmla="*/ 40 w 400"/>
              <a:gd name="T95" fmla="*/ 314 h 342"/>
              <a:gd name="T96" fmla="*/ 70 w 400"/>
              <a:gd name="T97" fmla="*/ 314 h 342"/>
              <a:gd name="T98" fmla="*/ 89 w 400"/>
              <a:gd name="T99" fmla="*/ 294 h 342"/>
              <a:gd name="T100" fmla="*/ 89 w 400"/>
              <a:gd name="T101" fmla="*/ 227 h 342"/>
              <a:gd name="T102" fmla="*/ 89 w 400"/>
              <a:gd name="T103" fmla="*/ 227 h 342"/>
              <a:gd name="T104" fmla="*/ 109 w 400"/>
              <a:gd name="T105" fmla="*/ 207 h 342"/>
              <a:gd name="T106" fmla="*/ 109 w 400"/>
              <a:gd name="T107" fmla="*/ 113 h 342"/>
              <a:gd name="T108" fmla="*/ 89 w 400"/>
              <a:gd name="T109" fmla="*/ 93 h 342"/>
              <a:gd name="T110" fmla="*/ 55 w 400"/>
              <a:gd name="T111" fmla="*/ 21 h 342"/>
              <a:gd name="T112" fmla="*/ 87 w 400"/>
              <a:gd name="T113" fmla="*/ 54 h 342"/>
              <a:gd name="T114" fmla="*/ 55 w 400"/>
              <a:gd name="T115" fmla="*/ 87 h 342"/>
              <a:gd name="T116" fmla="*/ 22 w 400"/>
              <a:gd name="T117" fmla="*/ 54 h 342"/>
              <a:gd name="T118" fmla="*/ 55 w 400"/>
              <a:gd name="T119" fmla="*/ 21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00" h="342">
                <a:moveTo>
                  <a:pt x="240" y="84"/>
                </a:moveTo>
                <a:cubicBezTo>
                  <a:pt x="160" y="84"/>
                  <a:pt x="160" y="84"/>
                  <a:pt x="160" y="84"/>
                </a:cubicBezTo>
                <a:cubicBezTo>
                  <a:pt x="147" y="84"/>
                  <a:pt x="136" y="95"/>
                  <a:pt x="136" y="108"/>
                </a:cubicBezTo>
                <a:cubicBezTo>
                  <a:pt x="136" y="217"/>
                  <a:pt x="136" y="217"/>
                  <a:pt x="136" y="217"/>
                </a:cubicBezTo>
                <a:cubicBezTo>
                  <a:pt x="136" y="230"/>
                  <a:pt x="147" y="241"/>
                  <a:pt x="160" y="241"/>
                </a:cubicBezTo>
                <a:cubicBezTo>
                  <a:pt x="160" y="241"/>
                  <a:pt x="160" y="241"/>
                  <a:pt x="160" y="241"/>
                </a:cubicBezTo>
                <a:cubicBezTo>
                  <a:pt x="160" y="318"/>
                  <a:pt x="160" y="318"/>
                  <a:pt x="160" y="318"/>
                </a:cubicBezTo>
                <a:cubicBezTo>
                  <a:pt x="160" y="331"/>
                  <a:pt x="170" y="342"/>
                  <a:pt x="183" y="342"/>
                </a:cubicBezTo>
                <a:cubicBezTo>
                  <a:pt x="217" y="342"/>
                  <a:pt x="217" y="342"/>
                  <a:pt x="217" y="342"/>
                </a:cubicBezTo>
                <a:cubicBezTo>
                  <a:pt x="230" y="342"/>
                  <a:pt x="240" y="331"/>
                  <a:pt x="240" y="318"/>
                </a:cubicBezTo>
                <a:cubicBezTo>
                  <a:pt x="240" y="241"/>
                  <a:pt x="240" y="241"/>
                  <a:pt x="240" y="241"/>
                </a:cubicBezTo>
                <a:cubicBezTo>
                  <a:pt x="240" y="241"/>
                  <a:pt x="240" y="241"/>
                  <a:pt x="240" y="241"/>
                </a:cubicBezTo>
                <a:cubicBezTo>
                  <a:pt x="253" y="241"/>
                  <a:pt x="264" y="230"/>
                  <a:pt x="264" y="217"/>
                </a:cubicBezTo>
                <a:cubicBezTo>
                  <a:pt x="264" y="108"/>
                  <a:pt x="264" y="108"/>
                  <a:pt x="264" y="108"/>
                </a:cubicBezTo>
                <a:cubicBezTo>
                  <a:pt x="264" y="95"/>
                  <a:pt x="253" y="84"/>
                  <a:pt x="240" y="84"/>
                </a:cubicBezTo>
                <a:close/>
                <a:moveTo>
                  <a:pt x="200" y="0"/>
                </a:moveTo>
                <a:cubicBezTo>
                  <a:pt x="221" y="0"/>
                  <a:pt x="238" y="17"/>
                  <a:pt x="238" y="38"/>
                </a:cubicBezTo>
                <a:cubicBezTo>
                  <a:pt x="238" y="59"/>
                  <a:pt x="221" y="77"/>
                  <a:pt x="200" y="77"/>
                </a:cubicBezTo>
                <a:cubicBezTo>
                  <a:pt x="179" y="77"/>
                  <a:pt x="162" y="59"/>
                  <a:pt x="162" y="38"/>
                </a:cubicBezTo>
                <a:cubicBezTo>
                  <a:pt x="162" y="17"/>
                  <a:pt x="179" y="0"/>
                  <a:pt x="200" y="0"/>
                </a:cubicBezTo>
                <a:close/>
                <a:moveTo>
                  <a:pt x="380" y="93"/>
                </a:moveTo>
                <a:cubicBezTo>
                  <a:pt x="311" y="93"/>
                  <a:pt x="311" y="93"/>
                  <a:pt x="311" y="93"/>
                </a:cubicBezTo>
                <a:cubicBezTo>
                  <a:pt x="300" y="93"/>
                  <a:pt x="291" y="102"/>
                  <a:pt x="291" y="113"/>
                </a:cubicBezTo>
                <a:cubicBezTo>
                  <a:pt x="291" y="207"/>
                  <a:pt x="291" y="207"/>
                  <a:pt x="291" y="207"/>
                </a:cubicBezTo>
                <a:cubicBezTo>
                  <a:pt x="291" y="218"/>
                  <a:pt x="300" y="227"/>
                  <a:pt x="311" y="227"/>
                </a:cubicBezTo>
                <a:cubicBezTo>
                  <a:pt x="311" y="227"/>
                  <a:pt x="311" y="227"/>
                  <a:pt x="311" y="227"/>
                </a:cubicBezTo>
                <a:cubicBezTo>
                  <a:pt x="311" y="294"/>
                  <a:pt x="311" y="294"/>
                  <a:pt x="311" y="294"/>
                </a:cubicBezTo>
                <a:cubicBezTo>
                  <a:pt x="311" y="305"/>
                  <a:pt x="320" y="314"/>
                  <a:pt x="330" y="314"/>
                </a:cubicBezTo>
                <a:cubicBezTo>
                  <a:pt x="360" y="314"/>
                  <a:pt x="360" y="314"/>
                  <a:pt x="360" y="314"/>
                </a:cubicBezTo>
                <a:cubicBezTo>
                  <a:pt x="371" y="314"/>
                  <a:pt x="380" y="305"/>
                  <a:pt x="380" y="294"/>
                </a:cubicBezTo>
                <a:cubicBezTo>
                  <a:pt x="380" y="227"/>
                  <a:pt x="380" y="227"/>
                  <a:pt x="380" y="227"/>
                </a:cubicBezTo>
                <a:cubicBezTo>
                  <a:pt x="380" y="227"/>
                  <a:pt x="380" y="227"/>
                  <a:pt x="380" y="227"/>
                </a:cubicBezTo>
                <a:cubicBezTo>
                  <a:pt x="391" y="227"/>
                  <a:pt x="400" y="218"/>
                  <a:pt x="400" y="207"/>
                </a:cubicBezTo>
                <a:cubicBezTo>
                  <a:pt x="400" y="113"/>
                  <a:pt x="400" y="113"/>
                  <a:pt x="400" y="113"/>
                </a:cubicBezTo>
                <a:cubicBezTo>
                  <a:pt x="400" y="102"/>
                  <a:pt x="391" y="93"/>
                  <a:pt x="380" y="93"/>
                </a:cubicBezTo>
                <a:close/>
                <a:moveTo>
                  <a:pt x="345" y="21"/>
                </a:moveTo>
                <a:cubicBezTo>
                  <a:pt x="363" y="21"/>
                  <a:pt x="378" y="36"/>
                  <a:pt x="378" y="54"/>
                </a:cubicBezTo>
                <a:cubicBezTo>
                  <a:pt x="378" y="72"/>
                  <a:pt x="363" y="87"/>
                  <a:pt x="345" y="87"/>
                </a:cubicBezTo>
                <a:cubicBezTo>
                  <a:pt x="327" y="87"/>
                  <a:pt x="313" y="72"/>
                  <a:pt x="313" y="54"/>
                </a:cubicBezTo>
                <a:cubicBezTo>
                  <a:pt x="313" y="36"/>
                  <a:pt x="327" y="21"/>
                  <a:pt x="345" y="21"/>
                </a:cubicBezTo>
                <a:close/>
                <a:moveTo>
                  <a:pt x="89" y="93"/>
                </a:moveTo>
                <a:cubicBezTo>
                  <a:pt x="20" y="93"/>
                  <a:pt x="20" y="93"/>
                  <a:pt x="20" y="93"/>
                </a:cubicBezTo>
                <a:cubicBezTo>
                  <a:pt x="9" y="93"/>
                  <a:pt x="0" y="102"/>
                  <a:pt x="0" y="113"/>
                </a:cubicBezTo>
                <a:cubicBezTo>
                  <a:pt x="0" y="207"/>
                  <a:pt x="0" y="207"/>
                  <a:pt x="0" y="207"/>
                </a:cubicBezTo>
                <a:cubicBezTo>
                  <a:pt x="0" y="218"/>
                  <a:pt x="9" y="227"/>
                  <a:pt x="20" y="227"/>
                </a:cubicBezTo>
                <a:cubicBezTo>
                  <a:pt x="20" y="227"/>
                  <a:pt x="20" y="227"/>
                  <a:pt x="20" y="227"/>
                </a:cubicBezTo>
                <a:cubicBezTo>
                  <a:pt x="20" y="294"/>
                  <a:pt x="20" y="294"/>
                  <a:pt x="20" y="294"/>
                </a:cubicBezTo>
                <a:cubicBezTo>
                  <a:pt x="20" y="305"/>
                  <a:pt x="29" y="314"/>
                  <a:pt x="40" y="314"/>
                </a:cubicBezTo>
                <a:cubicBezTo>
                  <a:pt x="70" y="314"/>
                  <a:pt x="70" y="314"/>
                  <a:pt x="70" y="314"/>
                </a:cubicBezTo>
                <a:cubicBezTo>
                  <a:pt x="80" y="314"/>
                  <a:pt x="89" y="305"/>
                  <a:pt x="89" y="294"/>
                </a:cubicBezTo>
                <a:cubicBezTo>
                  <a:pt x="89" y="227"/>
                  <a:pt x="89" y="227"/>
                  <a:pt x="89" y="227"/>
                </a:cubicBezTo>
                <a:cubicBezTo>
                  <a:pt x="89" y="227"/>
                  <a:pt x="89" y="227"/>
                  <a:pt x="89" y="227"/>
                </a:cubicBezTo>
                <a:cubicBezTo>
                  <a:pt x="100" y="227"/>
                  <a:pt x="109" y="218"/>
                  <a:pt x="109" y="207"/>
                </a:cubicBezTo>
                <a:cubicBezTo>
                  <a:pt x="109" y="113"/>
                  <a:pt x="109" y="113"/>
                  <a:pt x="109" y="113"/>
                </a:cubicBezTo>
                <a:cubicBezTo>
                  <a:pt x="109" y="102"/>
                  <a:pt x="100" y="93"/>
                  <a:pt x="89" y="93"/>
                </a:cubicBezTo>
                <a:close/>
                <a:moveTo>
                  <a:pt x="55" y="21"/>
                </a:moveTo>
                <a:cubicBezTo>
                  <a:pt x="73" y="21"/>
                  <a:pt x="87" y="36"/>
                  <a:pt x="87" y="54"/>
                </a:cubicBezTo>
                <a:cubicBezTo>
                  <a:pt x="87" y="72"/>
                  <a:pt x="73" y="87"/>
                  <a:pt x="55" y="87"/>
                </a:cubicBezTo>
                <a:cubicBezTo>
                  <a:pt x="37" y="87"/>
                  <a:pt x="22" y="72"/>
                  <a:pt x="22" y="54"/>
                </a:cubicBezTo>
                <a:cubicBezTo>
                  <a:pt x="22" y="36"/>
                  <a:pt x="37" y="21"/>
                  <a:pt x="55" y="21"/>
                </a:cubicBezTo>
                <a:close/>
              </a:path>
            </a:pathLst>
          </a:custGeom>
          <a:solidFill>
            <a:srgbClr val="F0F0F0"/>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10" tIns="44786" rIns="0" bIns="44786" numCol="1" spcCol="0" rtlCol="0" fromWordArt="0" anchor="ctr" anchorCtr="0" forceAA="0" compatLnSpc="1">
            <a:prstTxWarp prst="textNoShape">
              <a:avLst/>
            </a:prstTxWarp>
            <a:noAutofit/>
          </a:bodyPr>
          <a:lstStyle/>
          <a:p>
            <a:pPr defTabSz="913469">
              <a:lnSpc>
                <a:spcPct val="90000"/>
              </a:lnSpc>
              <a:spcAft>
                <a:spcPts val="588"/>
              </a:spcAft>
            </a:pPr>
            <a:endParaRPr lang="en-US" sz="1370" b="1" dirty="0">
              <a:gradFill>
                <a:gsLst>
                  <a:gs pos="50427">
                    <a:srgbClr val="FFFFFF"/>
                  </a:gs>
                  <a:gs pos="30000">
                    <a:srgbClr val="FFFFFF"/>
                  </a:gs>
                </a:gsLst>
                <a:lin ang="5400000" scaled="0"/>
              </a:gradFill>
            </a:endParaRPr>
          </a:p>
        </p:txBody>
      </p:sp>
      <p:sp>
        <p:nvSpPr>
          <p:cNvPr id="948" name="TextBox 947"/>
          <p:cNvSpPr txBox="1"/>
          <p:nvPr/>
        </p:nvSpPr>
        <p:spPr>
          <a:xfrm>
            <a:off x="5534218" y="5366374"/>
            <a:ext cx="1130573" cy="669658"/>
          </a:xfrm>
          <a:prstGeom prst="rect">
            <a:avLst/>
          </a:prstGeom>
          <a:noFill/>
        </p:spPr>
        <p:txBody>
          <a:bodyPr wrap="square" lIns="179238" tIns="143391" rIns="179238" bIns="143391" rtlCol="0">
            <a:spAutoFit/>
          </a:bodyPr>
          <a:lstStyle/>
          <a:p>
            <a:pPr algn="ctr" defTabSz="914093">
              <a:lnSpc>
                <a:spcPct val="90000"/>
              </a:lnSpc>
              <a:spcAft>
                <a:spcPts val="588"/>
              </a:spcAft>
            </a:pPr>
            <a:r>
              <a:rPr lang="en-US" sz="1372" dirty="0">
                <a:gradFill>
                  <a:gsLst>
                    <a:gs pos="2917">
                      <a:srgbClr val="FFFFFF"/>
                    </a:gs>
                    <a:gs pos="30000">
                      <a:srgbClr val="FFFFFF"/>
                    </a:gs>
                  </a:gsLst>
                  <a:lin ang="5400000" scaled="0"/>
                </a:gradFill>
              </a:rPr>
              <a:t>Users and </a:t>
            </a:r>
            <a:br>
              <a:rPr lang="en-US" sz="1372" dirty="0">
                <a:gradFill>
                  <a:gsLst>
                    <a:gs pos="2917">
                      <a:srgbClr val="FFFFFF"/>
                    </a:gs>
                    <a:gs pos="30000">
                      <a:srgbClr val="FFFFFF"/>
                    </a:gs>
                  </a:gsLst>
                  <a:lin ang="5400000" scaled="0"/>
                </a:gradFill>
              </a:rPr>
            </a:br>
            <a:r>
              <a:rPr lang="en-US" sz="1372" dirty="0">
                <a:gradFill>
                  <a:gsLst>
                    <a:gs pos="2917">
                      <a:srgbClr val="FFFFFF"/>
                    </a:gs>
                    <a:gs pos="30000">
                      <a:srgbClr val="FFFFFF"/>
                    </a:gs>
                  </a:gsLst>
                  <a:lin ang="5400000" scaled="0"/>
                </a:gradFill>
              </a:rPr>
              <a:t>groups</a:t>
            </a:r>
          </a:p>
        </p:txBody>
      </p:sp>
      <p:grpSp>
        <p:nvGrpSpPr>
          <p:cNvPr id="952" name="Group 25"/>
          <p:cNvGrpSpPr>
            <a:grpSpLocks noChangeAspect="1"/>
          </p:cNvGrpSpPr>
          <p:nvPr/>
        </p:nvGrpSpPr>
        <p:grpSpPr bwMode="auto">
          <a:xfrm>
            <a:off x="8852555" y="5263601"/>
            <a:ext cx="2042750" cy="247553"/>
            <a:chOff x="-1699" y="18351"/>
            <a:chExt cx="11074" cy="1342"/>
          </a:xfrm>
        </p:grpSpPr>
        <p:sp>
          <p:nvSpPr>
            <p:cNvPr id="987" name="Freeform 26"/>
            <p:cNvSpPr>
              <a:spLocks/>
            </p:cNvSpPr>
            <p:nvPr/>
          </p:nvSpPr>
          <p:spPr bwMode="auto">
            <a:xfrm>
              <a:off x="-1699" y="18441"/>
              <a:ext cx="1250" cy="1231"/>
            </a:xfrm>
            <a:custGeom>
              <a:avLst/>
              <a:gdLst>
                <a:gd name="T0" fmla="*/ 1250 w 1250"/>
                <a:gd name="T1" fmla="*/ 1231 h 1231"/>
                <a:gd name="T2" fmla="*/ 1109 w 1250"/>
                <a:gd name="T3" fmla="*/ 1231 h 1231"/>
                <a:gd name="T4" fmla="*/ 1109 w 1250"/>
                <a:gd name="T5" fmla="*/ 228 h 1231"/>
                <a:gd name="T6" fmla="*/ 1104 w 1250"/>
                <a:gd name="T7" fmla="*/ 228 h 1231"/>
                <a:gd name="T8" fmla="*/ 662 w 1250"/>
                <a:gd name="T9" fmla="*/ 1231 h 1231"/>
                <a:gd name="T10" fmla="*/ 591 w 1250"/>
                <a:gd name="T11" fmla="*/ 1231 h 1231"/>
                <a:gd name="T12" fmla="*/ 142 w 1250"/>
                <a:gd name="T13" fmla="*/ 223 h 1231"/>
                <a:gd name="T14" fmla="*/ 139 w 1250"/>
                <a:gd name="T15" fmla="*/ 223 h 1231"/>
                <a:gd name="T16" fmla="*/ 139 w 1250"/>
                <a:gd name="T17" fmla="*/ 1231 h 1231"/>
                <a:gd name="T18" fmla="*/ 0 w 1250"/>
                <a:gd name="T19" fmla="*/ 1231 h 1231"/>
                <a:gd name="T20" fmla="*/ 0 w 1250"/>
                <a:gd name="T21" fmla="*/ 0 h 1231"/>
                <a:gd name="T22" fmla="*/ 191 w 1250"/>
                <a:gd name="T23" fmla="*/ 0 h 1231"/>
                <a:gd name="T24" fmla="*/ 622 w 1250"/>
                <a:gd name="T25" fmla="*/ 986 h 1231"/>
                <a:gd name="T26" fmla="*/ 629 w 1250"/>
                <a:gd name="T27" fmla="*/ 986 h 1231"/>
                <a:gd name="T28" fmla="*/ 1071 w 1250"/>
                <a:gd name="T29" fmla="*/ 0 h 1231"/>
                <a:gd name="T30" fmla="*/ 1250 w 1250"/>
                <a:gd name="T31" fmla="*/ 0 h 1231"/>
                <a:gd name="T32" fmla="*/ 1250 w 1250"/>
                <a:gd name="T33" fmla="*/ 1231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50" h="1231">
                  <a:moveTo>
                    <a:pt x="1250" y="1231"/>
                  </a:moveTo>
                  <a:lnTo>
                    <a:pt x="1109" y="1231"/>
                  </a:lnTo>
                  <a:lnTo>
                    <a:pt x="1109" y="228"/>
                  </a:lnTo>
                  <a:lnTo>
                    <a:pt x="1104" y="228"/>
                  </a:lnTo>
                  <a:lnTo>
                    <a:pt x="662" y="1231"/>
                  </a:lnTo>
                  <a:lnTo>
                    <a:pt x="591" y="1231"/>
                  </a:lnTo>
                  <a:lnTo>
                    <a:pt x="142" y="223"/>
                  </a:lnTo>
                  <a:lnTo>
                    <a:pt x="139" y="223"/>
                  </a:lnTo>
                  <a:lnTo>
                    <a:pt x="139" y="1231"/>
                  </a:lnTo>
                  <a:lnTo>
                    <a:pt x="0" y="1231"/>
                  </a:lnTo>
                  <a:lnTo>
                    <a:pt x="0" y="0"/>
                  </a:lnTo>
                  <a:lnTo>
                    <a:pt x="191" y="0"/>
                  </a:lnTo>
                  <a:lnTo>
                    <a:pt x="622" y="986"/>
                  </a:lnTo>
                  <a:lnTo>
                    <a:pt x="629" y="986"/>
                  </a:lnTo>
                  <a:lnTo>
                    <a:pt x="1071" y="0"/>
                  </a:lnTo>
                  <a:lnTo>
                    <a:pt x="1250" y="0"/>
                  </a:lnTo>
                  <a:lnTo>
                    <a:pt x="1250" y="12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96" name="Freeform 27"/>
            <p:cNvSpPr>
              <a:spLocks noEditPoints="1"/>
            </p:cNvSpPr>
            <p:nvPr/>
          </p:nvSpPr>
          <p:spPr bwMode="auto">
            <a:xfrm>
              <a:off x="-222" y="18386"/>
              <a:ext cx="185" cy="1286"/>
            </a:xfrm>
            <a:custGeom>
              <a:avLst/>
              <a:gdLst>
                <a:gd name="T0" fmla="*/ 78 w 78"/>
                <a:gd name="T1" fmla="*/ 38 h 541"/>
                <a:gd name="T2" fmla="*/ 67 w 78"/>
                <a:gd name="T3" fmla="*/ 66 h 541"/>
                <a:gd name="T4" fmla="*/ 39 w 78"/>
                <a:gd name="T5" fmla="*/ 77 h 541"/>
                <a:gd name="T6" fmla="*/ 12 w 78"/>
                <a:gd name="T7" fmla="*/ 66 h 541"/>
                <a:gd name="T8" fmla="*/ 0 w 78"/>
                <a:gd name="T9" fmla="*/ 38 h 541"/>
                <a:gd name="T10" fmla="*/ 11 w 78"/>
                <a:gd name="T11" fmla="*/ 11 h 541"/>
                <a:gd name="T12" fmla="*/ 39 w 78"/>
                <a:gd name="T13" fmla="*/ 0 h 541"/>
                <a:gd name="T14" fmla="*/ 67 w 78"/>
                <a:gd name="T15" fmla="*/ 11 h 541"/>
                <a:gd name="T16" fmla="*/ 78 w 78"/>
                <a:gd name="T17" fmla="*/ 38 h 541"/>
                <a:gd name="T18" fmla="*/ 68 w 78"/>
                <a:gd name="T19" fmla="*/ 541 h 541"/>
                <a:gd name="T20" fmla="*/ 9 w 78"/>
                <a:gd name="T21" fmla="*/ 541 h 541"/>
                <a:gd name="T22" fmla="*/ 9 w 78"/>
                <a:gd name="T23" fmla="*/ 171 h 541"/>
                <a:gd name="T24" fmla="*/ 68 w 78"/>
                <a:gd name="T25" fmla="*/ 171 h 541"/>
                <a:gd name="T26" fmla="*/ 68 w 78"/>
                <a:gd name="T27" fmla="*/ 541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 h="541">
                  <a:moveTo>
                    <a:pt x="78" y="38"/>
                  </a:moveTo>
                  <a:cubicBezTo>
                    <a:pt x="78" y="49"/>
                    <a:pt x="74" y="59"/>
                    <a:pt x="67" y="66"/>
                  </a:cubicBezTo>
                  <a:cubicBezTo>
                    <a:pt x="59" y="73"/>
                    <a:pt x="50" y="77"/>
                    <a:pt x="39" y="77"/>
                  </a:cubicBezTo>
                  <a:cubicBezTo>
                    <a:pt x="28" y="77"/>
                    <a:pt x="19" y="73"/>
                    <a:pt x="12" y="66"/>
                  </a:cubicBezTo>
                  <a:cubicBezTo>
                    <a:pt x="4" y="59"/>
                    <a:pt x="0" y="50"/>
                    <a:pt x="0" y="38"/>
                  </a:cubicBezTo>
                  <a:cubicBezTo>
                    <a:pt x="0" y="28"/>
                    <a:pt x="4" y="19"/>
                    <a:pt x="11" y="11"/>
                  </a:cubicBezTo>
                  <a:cubicBezTo>
                    <a:pt x="19" y="4"/>
                    <a:pt x="28" y="0"/>
                    <a:pt x="39" y="0"/>
                  </a:cubicBezTo>
                  <a:cubicBezTo>
                    <a:pt x="50" y="0"/>
                    <a:pt x="59" y="4"/>
                    <a:pt x="67" y="11"/>
                  </a:cubicBezTo>
                  <a:cubicBezTo>
                    <a:pt x="74" y="19"/>
                    <a:pt x="78" y="28"/>
                    <a:pt x="78" y="38"/>
                  </a:cubicBezTo>
                  <a:close/>
                  <a:moveTo>
                    <a:pt x="68" y="541"/>
                  </a:moveTo>
                  <a:cubicBezTo>
                    <a:pt x="9" y="541"/>
                    <a:pt x="9" y="541"/>
                    <a:pt x="9" y="541"/>
                  </a:cubicBezTo>
                  <a:cubicBezTo>
                    <a:pt x="9" y="171"/>
                    <a:pt x="9" y="171"/>
                    <a:pt x="9" y="171"/>
                  </a:cubicBezTo>
                  <a:cubicBezTo>
                    <a:pt x="68" y="171"/>
                    <a:pt x="68" y="171"/>
                    <a:pt x="68" y="171"/>
                  </a:cubicBezTo>
                  <a:lnTo>
                    <a:pt x="68" y="5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97" name="Freeform 28"/>
            <p:cNvSpPr>
              <a:spLocks/>
            </p:cNvSpPr>
            <p:nvPr/>
          </p:nvSpPr>
          <p:spPr bwMode="auto">
            <a:xfrm>
              <a:off x="100" y="18771"/>
              <a:ext cx="659" cy="922"/>
            </a:xfrm>
            <a:custGeom>
              <a:avLst/>
              <a:gdLst>
                <a:gd name="T0" fmla="*/ 278 w 279"/>
                <a:gd name="T1" fmla="*/ 362 h 388"/>
                <a:gd name="T2" fmla="*/ 176 w 279"/>
                <a:gd name="T3" fmla="*/ 388 h 388"/>
                <a:gd name="T4" fmla="*/ 85 w 279"/>
                <a:gd name="T5" fmla="*/ 365 h 388"/>
                <a:gd name="T6" fmla="*/ 23 w 279"/>
                <a:gd name="T7" fmla="*/ 299 h 388"/>
                <a:gd name="T8" fmla="*/ 0 w 279"/>
                <a:gd name="T9" fmla="*/ 203 h 388"/>
                <a:gd name="T10" fmla="*/ 53 w 279"/>
                <a:gd name="T11" fmla="*/ 56 h 388"/>
                <a:gd name="T12" fmla="*/ 193 w 279"/>
                <a:gd name="T13" fmla="*/ 0 h 388"/>
                <a:gd name="T14" fmla="*/ 279 w 279"/>
                <a:gd name="T15" fmla="*/ 19 h 388"/>
                <a:gd name="T16" fmla="*/ 279 w 279"/>
                <a:gd name="T17" fmla="*/ 80 h 388"/>
                <a:gd name="T18" fmla="*/ 191 w 279"/>
                <a:gd name="T19" fmla="*/ 51 h 388"/>
                <a:gd name="T20" fmla="*/ 97 w 279"/>
                <a:gd name="T21" fmla="*/ 92 h 388"/>
                <a:gd name="T22" fmla="*/ 61 w 279"/>
                <a:gd name="T23" fmla="*/ 198 h 388"/>
                <a:gd name="T24" fmla="*/ 95 w 279"/>
                <a:gd name="T25" fmla="*/ 300 h 388"/>
                <a:gd name="T26" fmla="*/ 187 w 279"/>
                <a:gd name="T27" fmla="*/ 338 h 388"/>
                <a:gd name="T28" fmla="*/ 278 w 279"/>
                <a:gd name="T29" fmla="*/ 306 h 388"/>
                <a:gd name="T30" fmla="*/ 278 w 279"/>
                <a:gd name="T31" fmla="*/ 362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9" h="388">
                  <a:moveTo>
                    <a:pt x="278" y="362"/>
                  </a:moveTo>
                  <a:cubicBezTo>
                    <a:pt x="249" y="380"/>
                    <a:pt x="215" y="388"/>
                    <a:pt x="176" y="388"/>
                  </a:cubicBezTo>
                  <a:cubicBezTo>
                    <a:pt x="143" y="388"/>
                    <a:pt x="112" y="381"/>
                    <a:pt x="85" y="365"/>
                  </a:cubicBezTo>
                  <a:cubicBezTo>
                    <a:pt x="59" y="349"/>
                    <a:pt x="38" y="327"/>
                    <a:pt x="23" y="299"/>
                  </a:cubicBezTo>
                  <a:cubicBezTo>
                    <a:pt x="8" y="271"/>
                    <a:pt x="0" y="239"/>
                    <a:pt x="0" y="203"/>
                  </a:cubicBezTo>
                  <a:cubicBezTo>
                    <a:pt x="0" y="142"/>
                    <a:pt x="18" y="93"/>
                    <a:pt x="53" y="56"/>
                  </a:cubicBezTo>
                  <a:cubicBezTo>
                    <a:pt x="88" y="19"/>
                    <a:pt x="135" y="0"/>
                    <a:pt x="193" y="0"/>
                  </a:cubicBezTo>
                  <a:cubicBezTo>
                    <a:pt x="225" y="0"/>
                    <a:pt x="254" y="6"/>
                    <a:pt x="279" y="19"/>
                  </a:cubicBezTo>
                  <a:cubicBezTo>
                    <a:pt x="279" y="80"/>
                    <a:pt x="279" y="80"/>
                    <a:pt x="279" y="80"/>
                  </a:cubicBezTo>
                  <a:cubicBezTo>
                    <a:pt x="251" y="60"/>
                    <a:pt x="222" y="51"/>
                    <a:pt x="191" y="51"/>
                  </a:cubicBezTo>
                  <a:cubicBezTo>
                    <a:pt x="152" y="51"/>
                    <a:pt x="121" y="64"/>
                    <a:pt x="97" y="92"/>
                  </a:cubicBezTo>
                  <a:cubicBezTo>
                    <a:pt x="73" y="119"/>
                    <a:pt x="61" y="154"/>
                    <a:pt x="61" y="198"/>
                  </a:cubicBezTo>
                  <a:cubicBezTo>
                    <a:pt x="61" y="241"/>
                    <a:pt x="72" y="275"/>
                    <a:pt x="95" y="300"/>
                  </a:cubicBezTo>
                  <a:cubicBezTo>
                    <a:pt x="118" y="325"/>
                    <a:pt x="149" y="338"/>
                    <a:pt x="187" y="338"/>
                  </a:cubicBezTo>
                  <a:cubicBezTo>
                    <a:pt x="219" y="338"/>
                    <a:pt x="250" y="327"/>
                    <a:pt x="278" y="306"/>
                  </a:cubicBezTo>
                  <a:lnTo>
                    <a:pt x="278" y="3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98" name="Freeform 29"/>
            <p:cNvSpPr>
              <a:spLocks/>
            </p:cNvSpPr>
            <p:nvPr/>
          </p:nvSpPr>
          <p:spPr bwMode="auto">
            <a:xfrm>
              <a:off x="913" y="18776"/>
              <a:ext cx="456" cy="896"/>
            </a:xfrm>
            <a:custGeom>
              <a:avLst/>
              <a:gdLst>
                <a:gd name="T0" fmla="*/ 193 w 193"/>
                <a:gd name="T1" fmla="*/ 67 h 377"/>
                <a:gd name="T2" fmla="*/ 148 w 193"/>
                <a:gd name="T3" fmla="*/ 55 h 377"/>
                <a:gd name="T4" fmla="*/ 84 w 193"/>
                <a:gd name="T5" fmla="*/ 92 h 377"/>
                <a:gd name="T6" fmla="*/ 59 w 193"/>
                <a:gd name="T7" fmla="*/ 189 h 377"/>
                <a:gd name="T8" fmla="*/ 59 w 193"/>
                <a:gd name="T9" fmla="*/ 377 h 377"/>
                <a:gd name="T10" fmla="*/ 0 w 193"/>
                <a:gd name="T11" fmla="*/ 377 h 377"/>
                <a:gd name="T12" fmla="*/ 0 w 193"/>
                <a:gd name="T13" fmla="*/ 7 h 377"/>
                <a:gd name="T14" fmla="*/ 59 w 193"/>
                <a:gd name="T15" fmla="*/ 7 h 377"/>
                <a:gd name="T16" fmla="*/ 59 w 193"/>
                <a:gd name="T17" fmla="*/ 83 h 377"/>
                <a:gd name="T18" fmla="*/ 61 w 193"/>
                <a:gd name="T19" fmla="*/ 83 h 377"/>
                <a:gd name="T20" fmla="*/ 99 w 193"/>
                <a:gd name="T21" fmla="*/ 23 h 377"/>
                <a:gd name="T22" fmla="*/ 158 w 193"/>
                <a:gd name="T23" fmla="*/ 0 h 377"/>
                <a:gd name="T24" fmla="*/ 193 w 193"/>
                <a:gd name="T25" fmla="*/ 6 h 377"/>
                <a:gd name="T26" fmla="*/ 193 w 193"/>
                <a:gd name="T27" fmla="*/ 67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377">
                  <a:moveTo>
                    <a:pt x="193" y="67"/>
                  </a:moveTo>
                  <a:cubicBezTo>
                    <a:pt x="183" y="59"/>
                    <a:pt x="168" y="55"/>
                    <a:pt x="148" y="55"/>
                  </a:cubicBezTo>
                  <a:cubicBezTo>
                    <a:pt x="122" y="55"/>
                    <a:pt x="100" y="67"/>
                    <a:pt x="84" y="92"/>
                  </a:cubicBezTo>
                  <a:cubicBezTo>
                    <a:pt x="68" y="117"/>
                    <a:pt x="59" y="149"/>
                    <a:pt x="59" y="189"/>
                  </a:cubicBezTo>
                  <a:cubicBezTo>
                    <a:pt x="59" y="377"/>
                    <a:pt x="59" y="377"/>
                    <a:pt x="59" y="377"/>
                  </a:cubicBezTo>
                  <a:cubicBezTo>
                    <a:pt x="0" y="377"/>
                    <a:pt x="0" y="377"/>
                    <a:pt x="0" y="377"/>
                  </a:cubicBezTo>
                  <a:cubicBezTo>
                    <a:pt x="0" y="7"/>
                    <a:pt x="0" y="7"/>
                    <a:pt x="0" y="7"/>
                  </a:cubicBezTo>
                  <a:cubicBezTo>
                    <a:pt x="59" y="7"/>
                    <a:pt x="59" y="7"/>
                    <a:pt x="59" y="7"/>
                  </a:cubicBezTo>
                  <a:cubicBezTo>
                    <a:pt x="59" y="83"/>
                    <a:pt x="59" y="83"/>
                    <a:pt x="59" y="83"/>
                  </a:cubicBezTo>
                  <a:cubicBezTo>
                    <a:pt x="61" y="83"/>
                    <a:pt x="61" y="83"/>
                    <a:pt x="61" y="83"/>
                  </a:cubicBezTo>
                  <a:cubicBezTo>
                    <a:pt x="69" y="58"/>
                    <a:pt x="82" y="38"/>
                    <a:pt x="99" y="23"/>
                  </a:cubicBezTo>
                  <a:cubicBezTo>
                    <a:pt x="116" y="8"/>
                    <a:pt x="136" y="0"/>
                    <a:pt x="158" y="0"/>
                  </a:cubicBezTo>
                  <a:cubicBezTo>
                    <a:pt x="173" y="0"/>
                    <a:pt x="185" y="2"/>
                    <a:pt x="193" y="6"/>
                  </a:cubicBezTo>
                  <a:lnTo>
                    <a:pt x="193" y="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99" name="Freeform 30"/>
            <p:cNvSpPr>
              <a:spLocks noEditPoints="1"/>
            </p:cNvSpPr>
            <p:nvPr/>
          </p:nvSpPr>
          <p:spPr bwMode="auto">
            <a:xfrm>
              <a:off x="1376" y="18771"/>
              <a:ext cx="863" cy="922"/>
            </a:xfrm>
            <a:custGeom>
              <a:avLst/>
              <a:gdLst>
                <a:gd name="T0" fmla="*/ 365 w 365"/>
                <a:gd name="T1" fmla="*/ 193 h 388"/>
                <a:gd name="T2" fmla="*/ 315 w 365"/>
                <a:gd name="T3" fmla="*/ 335 h 388"/>
                <a:gd name="T4" fmla="*/ 181 w 365"/>
                <a:gd name="T5" fmla="*/ 388 h 388"/>
                <a:gd name="T6" fmla="*/ 49 w 365"/>
                <a:gd name="T7" fmla="*/ 336 h 388"/>
                <a:gd name="T8" fmla="*/ 0 w 365"/>
                <a:gd name="T9" fmla="*/ 198 h 388"/>
                <a:gd name="T10" fmla="*/ 51 w 365"/>
                <a:gd name="T11" fmla="*/ 53 h 388"/>
                <a:gd name="T12" fmla="*/ 189 w 365"/>
                <a:gd name="T13" fmla="*/ 0 h 388"/>
                <a:gd name="T14" fmla="*/ 318 w 365"/>
                <a:gd name="T15" fmla="*/ 51 h 388"/>
                <a:gd name="T16" fmla="*/ 365 w 365"/>
                <a:gd name="T17" fmla="*/ 193 h 388"/>
                <a:gd name="T18" fmla="*/ 304 w 365"/>
                <a:gd name="T19" fmla="*/ 195 h 388"/>
                <a:gd name="T20" fmla="*/ 273 w 365"/>
                <a:gd name="T21" fmla="*/ 88 h 388"/>
                <a:gd name="T22" fmla="*/ 185 w 365"/>
                <a:gd name="T23" fmla="*/ 51 h 388"/>
                <a:gd name="T24" fmla="*/ 94 w 365"/>
                <a:gd name="T25" fmla="*/ 89 h 388"/>
                <a:gd name="T26" fmla="*/ 61 w 365"/>
                <a:gd name="T27" fmla="*/ 196 h 388"/>
                <a:gd name="T28" fmla="*/ 95 w 365"/>
                <a:gd name="T29" fmla="*/ 300 h 388"/>
                <a:gd name="T30" fmla="*/ 185 w 365"/>
                <a:gd name="T31" fmla="*/ 338 h 388"/>
                <a:gd name="T32" fmla="*/ 273 w 365"/>
                <a:gd name="T33" fmla="*/ 301 h 388"/>
                <a:gd name="T34" fmla="*/ 304 w 365"/>
                <a:gd name="T35" fmla="*/ 19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5" h="388">
                  <a:moveTo>
                    <a:pt x="365" y="193"/>
                  </a:moveTo>
                  <a:cubicBezTo>
                    <a:pt x="365" y="252"/>
                    <a:pt x="348" y="299"/>
                    <a:pt x="315" y="335"/>
                  </a:cubicBezTo>
                  <a:cubicBezTo>
                    <a:pt x="281" y="370"/>
                    <a:pt x="237" y="388"/>
                    <a:pt x="181" y="388"/>
                  </a:cubicBezTo>
                  <a:cubicBezTo>
                    <a:pt x="126" y="388"/>
                    <a:pt x="82" y="371"/>
                    <a:pt x="49" y="336"/>
                  </a:cubicBezTo>
                  <a:cubicBezTo>
                    <a:pt x="17" y="301"/>
                    <a:pt x="0" y="255"/>
                    <a:pt x="0" y="198"/>
                  </a:cubicBezTo>
                  <a:cubicBezTo>
                    <a:pt x="0" y="137"/>
                    <a:pt x="17" y="89"/>
                    <a:pt x="51" y="53"/>
                  </a:cubicBezTo>
                  <a:cubicBezTo>
                    <a:pt x="84" y="18"/>
                    <a:pt x="130" y="0"/>
                    <a:pt x="189" y="0"/>
                  </a:cubicBezTo>
                  <a:cubicBezTo>
                    <a:pt x="244" y="0"/>
                    <a:pt x="287" y="17"/>
                    <a:pt x="318" y="51"/>
                  </a:cubicBezTo>
                  <a:cubicBezTo>
                    <a:pt x="349" y="86"/>
                    <a:pt x="365" y="133"/>
                    <a:pt x="365" y="193"/>
                  </a:cubicBezTo>
                  <a:close/>
                  <a:moveTo>
                    <a:pt x="304" y="195"/>
                  </a:moveTo>
                  <a:cubicBezTo>
                    <a:pt x="304" y="148"/>
                    <a:pt x="294" y="113"/>
                    <a:pt x="273" y="88"/>
                  </a:cubicBezTo>
                  <a:cubicBezTo>
                    <a:pt x="253" y="63"/>
                    <a:pt x="223" y="51"/>
                    <a:pt x="185" y="51"/>
                  </a:cubicBezTo>
                  <a:cubicBezTo>
                    <a:pt x="147" y="51"/>
                    <a:pt x="117" y="63"/>
                    <a:pt x="94" y="89"/>
                  </a:cubicBezTo>
                  <a:cubicBezTo>
                    <a:pt x="72" y="114"/>
                    <a:pt x="61" y="150"/>
                    <a:pt x="61" y="196"/>
                  </a:cubicBezTo>
                  <a:cubicBezTo>
                    <a:pt x="61" y="241"/>
                    <a:pt x="72" y="275"/>
                    <a:pt x="95" y="300"/>
                  </a:cubicBezTo>
                  <a:cubicBezTo>
                    <a:pt x="117" y="325"/>
                    <a:pt x="147" y="338"/>
                    <a:pt x="185" y="338"/>
                  </a:cubicBezTo>
                  <a:cubicBezTo>
                    <a:pt x="223" y="338"/>
                    <a:pt x="253" y="325"/>
                    <a:pt x="273" y="301"/>
                  </a:cubicBezTo>
                  <a:cubicBezTo>
                    <a:pt x="294" y="276"/>
                    <a:pt x="304" y="241"/>
                    <a:pt x="304" y="1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1000" name="Freeform 31"/>
            <p:cNvSpPr>
              <a:spLocks/>
            </p:cNvSpPr>
            <p:nvPr/>
          </p:nvSpPr>
          <p:spPr bwMode="auto">
            <a:xfrm>
              <a:off x="2341" y="18771"/>
              <a:ext cx="536" cy="922"/>
            </a:xfrm>
            <a:custGeom>
              <a:avLst/>
              <a:gdLst>
                <a:gd name="T0" fmla="*/ 227 w 227"/>
                <a:gd name="T1" fmla="*/ 280 h 388"/>
                <a:gd name="T2" fmla="*/ 190 w 227"/>
                <a:gd name="T3" fmla="*/ 358 h 388"/>
                <a:gd name="T4" fmla="*/ 92 w 227"/>
                <a:gd name="T5" fmla="*/ 388 h 388"/>
                <a:gd name="T6" fmla="*/ 0 w 227"/>
                <a:gd name="T7" fmla="*/ 366 h 388"/>
                <a:gd name="T8" fmla="*/ 0 w 227"/>
                <a:gd name="T9" fmla="*/ 302 h 388"/>
                <a:gd name="T10" fmla="*/ 96 w 227"/>
                <a:gd name="T11" fmla="*/ 338 h 388"/>
                <a:gd name="T12" fmla="*/ 167 w 227"/>
                <a:gd name="T13" fmla="*/ 286 h 388"/>
                <a:gd name="T14" fmla="*/ 153 w 227"/>
                <a:gd name="T15" fmla="*/ 252 h 388"/>
                <a:gd name="T16" fmla="*/ 90 w 227"/>
                <a:gd name="T17" fmla="*/ 216 h 388"/>
                <a:gd name="T18" fmla="*/ 21 w 227"/>
                <a:gd name="T19" fmla="*/ 171 h 388"/>
                <a:gd name="T20" fmla="*/ 1 w 227"/>
                <a:gd name="T21" fmla="*/ 107 h 388"/>
                <a:gd name="T22" fmla="*/ 38 w 227"/>
                <a:gd name="T23" fmla="*/ 31 h 388"/>
                <a:gd name="T24" fmla="*/ 131 w 227"/>
                <a:gd name="T25" fmla="*/ 0 h 388"/>
                <a:gd name="T26" fmla="*/ 210 w 227"/>
                <a:gd name="T27" fmla="*/ 17 h 388"/>
                <a:gd name="T28" fmla="*/ 210 w 227"/>
                <a:gd name="T29" fmla="*/ 77 h 388"/>
                <a:gd name="T30" fmla="*/ 126 w 227"/>
                <a:gd name="T31" fmla="*/ 51 h 388"/>
                <a:gd name="T32" fmla="*/ 79 w 227"/>
                <a:gd name="T33" fmla="*/ 65 h 388"/>
                <a:gd name="T34" fmla="*/ 61 w 227"/>
                <a:gd name="T35" fmla="*/ 102 h 388"/>
                <a:gd name="T36" fmla="*/ 75 w 227"/>
                <a:gd name="T37" fmla="*/ 140 h 388"/>
                <a:gd name="T38" fmla="*/ 132 w 227"/>
                <a:gd name="T39" fmla="*/ 171 h 388"/>
                <a:gd name="T40" fmla="*/ 206 w 227"/>
                <a:gd name="T41" fmla="*/ 218 h 388"/>
                <a:gd name="T42" fmla="*/ 227 w 227"/>
                <a:gd name="T43" fmla="*/ 280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7" h="388">
                  <a:moveTo>
                    <a:pt x="227" y="280"/>
                  </a:moveTo>
                  <a:cubicBezTo>
                    <a:pt x="227" y="312"/>
                    <a:pt x="215" y="338"/>
                    <a:pt x="190" y="358"/>
                  </a:cubicBezTo>
                  <a:cubicBezTo>
                    <a:pt x="166" y="378"/>
                    <a:pt x="133" y="388"/>
                    <a:pt x="92" y="388"/>
                  </a:cubicBezTo>
                  <a:cubicBezTo>
                    <a:pt x="57" y="388"/>
                    <a:pt x="26" y="381"/>
                    <a:pt x="0" y="366"/>
                  </a:cubicBezTo>
                  <a:cubicBezTo>
                    <a:pt x="0" y="302"/>
                    <a:pt x="0" y="302"/>
                    <a:pt x="0" y="302"/>
                  </a:cubicBezTo>
                  <a:cubicBezTo>
                    <a:pt x="29" y="326"/>
                    <a:pt x="61" y="338"/>
                    <a:pt x="96" y="338"/>
                  </a:cubicBezTo>
                  <a:cubicBezTo>
                    <a:pt x="143" y="338"/>
                    <a:pt x="167" y="320"/>
                    <a:pt x="167" y="286"/>
                  </a:cubicBezTo>
                  <a:cubicBezTo>
                    <a:pt x="167" y="272"/>
                    <a:pt x="162" y="261"/>
                    <a:pt x="153" y="252"/>
                  </a:cubicBezTo>
                  <a:cubicBezTo>
                    <a:pt x="144" y="243"/>
                    <a:pt x="123" y="231"/>
                    <a:pt x="90" y="216"/>
                  </a:cubicBezTo>
                  <a:cubicBezTo>
                    <a:pt x="58" y="202"/>
                    <a:pt x="34" y="187"/>
                    <a:pt x="21" y="171"/>
                  </a:cubicBezTo>
                  <a:cubicBezTo>
                    <a:pt x="7" y="155"/>
                    <a:pt x="1" y="134"/>
                    <a:pt x="1" y="107"/>
                  </a:cubicBezTo>
                  <a:cubicBezTo>
                    <a:pt x="1" y="77"/>
                    <a:pt x="13" y="51"/>
                    <a:pt x="38" y="31"/>
                  </a:cubicBezTo>
                  <a:cubicBezTo>
                    <a:pt x="62" y="10"/>
                    <a:pt x="93" y="0"/>
                    <a:pt x="131" y="0"/>
                  </a:cubicBezTo>
                  <a:cubicBezTo>
                    <a:pt x="160" y="0"/>
                    <a:pt x="187" y="6"/>
                    <a:pt x="210" y="17"/>
                  </a:cubicBezTo>
                  <a:cubicBezTo>
                    <a:pt x="210" y="77"/>
                    <a:pt x="210" y="77"/>
                    <a:pt x="210" y="77"/>
                  </a:cubicBezTo>
                  <a:cubicBezTo>
                    <a:pt x="186" y="59"/>
                    <a:pt x="158" y="51"/>
                    <a:pt x="126" y="51"/>
                  </a:cubicBezTo>
                  <a:cubicBezTo>
                    <a:pt x="107" y="51"/>
                    <a:pt x="91" y="55"/>
                    <a:pt x="79" y="65"/>
                  </a:cubicBezTo>
                  <a:cubicBezTo>
                    <a:pt x="67" y="75"/>
                    <a:pt x="61" y="87"/>
                    <a:pt x="61" y="102"/>
                  </a:cubicBezTo>
                  <a:cubicBezTo>
                    <a:pt x="61" y="119"/>
                    <a:pt x="66" y="131"/>
                    <a:pt x="75" y="140"/>
                  </a:cubicBezTo>
                  <a:cubicBezTo>
                    <a:pt x="84" y="149"/>
                    <a:pt x="103" y="159"/>
                    <a:pt x="132" y="171"/>
                  </a:cubicBezTo>
                  <a:cubicBezTo>
                    <a:pt x="167" y="186"/>
                    <a:pt x="192" y="202"/>
                    <a:pt x="206" y="218"/>
                  </a:cubicBezTo>
                  <a:cubicBezTo>
                    <a:pt x="220" y="235"/>
                    <a:pt x="227" y="255"/>
                    <a:pt x="227" y="28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1001" name="Freeform 32"/>
            <p:cNvSpPr>
              <a:spLocks noEditPoints="1"/>
            </p:cNvSpPr>
            <p:nvPr/>
          </p:nvSpPr>
          <p:spPr bwMode="auto">
            <a:xfrm>
              <a:off x="2960" y="18771"/>
              <a:ext cx="863" cy="922"/>
            </a:xfrm>
            <a:custGeom>
              <a:avLst/>
              <a:gdLst>
                <a:gd name="T0" fmla="*/ 365 w 365"/>
                <a:gd name="T1" fmla="*/ 193 h 388"/>
                <a:gd name="T2" fmla="*/ 315 w 365"/>
                <a:gd name="T3" fmla="*/ 335 h 388"/>
                <a:gd name="T4" fmla="*/ 180 w 365"/>
                <a:gd name="T5" fmla="*/ 388 h 388"/>
                <a:gd name="T6" fmla="*/ 49 w 365"/>
                <a:gd name="T7" fmla="*/ 336 h 388"/>
                <a:gd name="T8" fmla="*/ 0 w 365"/>
                <a:gd name="T9" fmla="*/ 198 h 388"/>
                <a:gd name="T10" fmla="*/ 51 w 365"/>
                <a:gd name="T11" fmla="*/ 53 h 388"/>
                <a:gd name="T12" fmla="*/ 189 w 365"/>
                <a:gd name="T13" fmla="*/ 0 h 388"/>
                <a:gd name="T14" fmla="*/ 318 w 365"/>
                <a:gd name="T15" fmla="*/ 51 h 388"/>
                <a:gd name="T16" fmla="*/ 365 w 365"/>
                <a:gd name="T17" fmla="*/ 193 h 388"/>
                <a:gd name="T18" fmla="*/ 304 w 365"/>
                <a:gd name="T19" fmla="*/ 195 h 388"/>
                <a:gd name="T20" fmla="*/ 273 w 365"/>
                <a:gd name="T21" fmla="*/ 88 h 388"/>
                <a:gd name="T22" fmla="*/ 185 w 365"/>
                <a:gd name="T23" fmla="*/ 51 h 388"/>
                <a:gd name="T24" fmla="*/ 94 w 365"/>
                <a:gd name="T25" fmla="*/ 89 h 388"/>
                <a:gd name="T26" fmla="*/ 61 w 365"/>
                <a:gd name="T27" fmla="*/ 196 h 388"/>
                <a:gd name="T28" fmla="*/ 95 w 365"/>
                <a:gd name="T29" fmla="*/ 300 h 388"/>
                <a:gd name="T30" fmla="*/ 185 w 365"/>
                <a:gd name="T31" fmla="*/ 338 h 388"/>
                <a:gd name="T32" fmla="*/ 273 w 365"/>
                <a:gd name="T33" fmla="*/ 301 h 388"/>
                <a:gd name="T34" fmla="*/ 304 w 365"/>
                <a:gd name="T35" fmla="*/ 19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5" h="388">
                  <a:moveTo>
                    <a:pt x="365" y="193"/>
                  </a:moveTo>
                  <a:cubicBezTo>
                    <a:pt x="365" y="252"/>
                    <a:pt x="348" y="299"/>
                    <a:pt x="315" y="335"/>
                  </a:cubicBezTo>
                  <a:cubicBezTo>
                    <a:pt x="281" y="370"/>
                    <a:pt x="237" y="388"/>
                    <a:pt x="180" y="388"/>
                  </a:cubicBezTo>
                  <a:cubicBezTo>
                    <a:pt x="126" y="388"/>
                    <a:pt x="82" y="371"/>
                    <a:pt x="49" y="336"/>
                  </a:cubicBezTo>
                  <a:cubicBezTo>
                    <a:pt x="17" y="301"/>
                    <a:pt x="0" y="255"/>
                    <a:pt x="0" y="198"/>
                  </a:cubicBezTo>
                  <a:cubicBezTo>
                    <a:pt x="0" y="137"/>
                    <a:pt x="17" y="89"/>
                    <a:pt x="51" y="53"/>
                  </a:cubicBezTo>
                  <a:cubicBezTo>
                    <a:pt x="84" y="18"/>
                    <a:pt x="130" y="0"/>
                    <a:pt x="189" y="0"/>
                  </a:cubicBezTo>
                  <a:cubicBezTo>
                    <a:pt x="244" y="0"/>
                    <a:pt x="287" y="17"/>
                    <a:pt x="318" y="51"/>
                  </a:cubicBezTo>
                  <a:cubicBezTo>
                    <a:pt x="349" y="86"/>
                    <a:pt x="365" y="133"/>
                    <a:pt x="365" y="193"/>
                  </a:cubicBezTo>
                  <a:close/>
                  <a:moveTo>
                    <a:pt x="304" y="195"/>
                  </a:moveTo>
                  <a:cubicBezTo>
                    <a:pt x="304" y="148"/>
                    <a:pt x="294" y="113"/>
                    <a:pt x="273" y="88"/>
                  </a:cubicBezTo>
                  <a:cubicBezTo>
                    <a:pt x="253" y="63"/>
                    <a:pt x="223" y="51"/>
                    <a:pt x="185" y="51"/>
                  </a:cubicBezTo>
                  <a:cubicBezTo>
                    <a:pt x="147" y="51"/>
                    <a:pt x="117" y="63"/>
                    <a:pt x="94" y="89"/>
                  </a:cubicBezTo>
                  <a:cubicBezTo>
                    <a:pt x="72" y="114"/>
                    <a:pt x="61" y="150"/>
                    <a:pt x="61" y="196"/>
                  </a:cubicBezTo>
                  <a:cubicBezTo>
                    <a:pt x="61" y="241"/>
                    <a:pt x="72" y="275"/>
                    <a:pt x="95" y="300"/>
                  </a:cubicBezTo>
                  <a:cubicBezTo>
                    <a:pt x="117" y="325"/>
                    <a:pt x="147" y="338"/>
                    <a:pt x="185" y="338"/>
                  </a:cubicBezTo>
                  <a:cubicBezTo>
                    <a:pt x="223" y="338"/>
                    <a:pt x="253" y="325"/>
                    <a:pt x="273" y="301"/>
                  </a:cubicBezTo>
                  <a:cubicBezTo>
                    <a:pt x="294" y="276"/>
                    <a:pt x="304" y="241"/>
                    <a:pt x="304" y="1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1002" name="Freeform 33"/>
            <p:cNvSpPr>
              <a:spLocks/>
            </p:cNvSpPr>
            <p:nvPr/>
          </p:nvSpPr>
          <p:spPr bwMode="auto">
            <a:xfrm>
              <a:off x="3856" y="18351"/>
              <a:ext cx="529" cy="1321"/>
            </a:xfrm>
            <a:custGeom>
              <a:avLst/>
              <a:gdLst>
                <a:gd name="T0" fmla="*/ 224 w 224"/>
                <a:gd name="T1" fmla="*/ 60 h 556"/>
                <a:gd name="T2" fmla="*/ 184 w 224"/>
                <a:gd name="T3" fmla="*/ 50 h 556"/>
                <a:gd name="T4" fmla="*/ 122 w 224"/>
                <a:gd name="T5" fmla="*/ 129 h 556"/>
                <a:gd name="T6" fmla="*/ 122 w 224"/>
                <a:gd name="T7" fmla="*/ 186 h 556"/>
                <a:gd name="T8" fmla="*/ 209 w 224"/>
                <a:gd name="T9" fmla="*/ 186 h 556"/>
                <a:gd name="T10" fmla="*/ 209 w 224"/>
                <a:gd name="T11" fmla="*/ 236 h 556"/>
                <a:gd name="T12" fmla="*/ 122 w 224"/>
                <a:gd name="T13" fmla="*/ 236 h 556"/>
                <a:gd name="T14" fmla="*/ 122 w 224"/>
                <a:gd name="T15" fmla="*/ 556 h 556"/>
                <a:gd name="T16" fmla="*/ 63 w 224"/>
                <a:gd name="T17" fmla="*/ 556 h 556"/>
                <a:gd name="T18" fmla="*/ 63 w 224"/>
                <a:gd name="T19" fmla="*/ 236 h 556"/>
                <a:gd name="T20" fmla="*/ 0 w 224"/>
                <a:gd name="T21" fmla="*/ 236 h 556"/>
                <a:gd name="T22" fmla="*/ 0 w 224"/>
                <a:gd name="T23" fmla="*/ 186 h 556"/>
                <a:gd name="T24" fmla="*/ 63 w 224"/>
                <a:gd name="T25" fmla="*/ 186 h 556"/>
                <a:gd name="T26" fmla="*/ 63 w 224"/>
                <a:gd name="T27" fmla="*/ 126 h 556"/>
                <a:gd name="T28" fmla="*/ 96 w 224"/>
                <a:gd name="T29" fmla="*/ 35 h 556"/>
                <a:gd name="T30" fmla="*/ 181 w 224"/>
                <a:gd name="T31" fmla="*/ 0 h 556"/>
                <a:gd name="T32" fmla="*/ 224 w 224"/>
                <a:gd name="T33" fmla="*/ 7 h 556"/>
                <a:gd name="T34" fmla="*/ 224 w 224"/>
                <a:gd name="T35" fmla="*/ 60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556">
                  <a:moveTo>
                    <a:pt x="224" y="60"/>
                  </a:moveTo>
                  <a:cubicBezTo>
                    <a:pt x="212" y="54"/>
                    <a:pt x="199" y="50"/>
                    <a:pt x="184" y="50"/>
                  </a:cubicBezTo>
                  <a:cubicBezTo>
                    <a:pt x="143" y="50"/>
                    <a:pt x="122" y="77"/>
                    <a:pt x="122" y="129"/>
                  </a:cubicBezTo>
                  <a:cubicBezTo>
                    <a:pt x="122" y="186"/>
                    <a:pt x="122" y="186"/>
                    <a:pt x="122" y="186"/>
                  </a:cubicBezTo>
                  <a:cubicBezTo>
                    <a:pt x="209" y="186"/>
                    <a:pt x="209" y="186"/>
                    <a:pt x="209" y="186"/>
                  </a:cubicBezTo>
                  <a:cubicBezTo>
                    <a:pt x="209" y="236"/>
                    <a:pt x="209" y="236"/>
                    <a:pt x="209" y="236"/>
                  </a:cubicBezTo>
                  <a:cubicBezTo>
                    <a:pt x="122" y="236"/>
                    <a:pt x="122" y="236"/>
                    <a:pt x="122" y="236"/>
                  </a:cubicBezTo>
                  <a:cubicBezTo>
                    <a:pt x="122" y="556"/>
                    <a:pt x="122" y="556"/>
                    <a:pt x="122" y="556"/>
                  </a:cubicBezTo>
                  <a:cubicBezTo>
                    <a:pt x="63" y="556"/>
                    <a:pt x="63" y="556"/>
                    <a:pt x="63" y="556"/>
                  </a:cubicBezTo>
                  <a:cubicBezTo>
                    <a:pt x="63" y="236"/>
                    <a:pt x="63" y="236"/>
                    <a:pt x="63" y="236"/>
                  </a:cubicBezTo>
                  <a:cubicBezTo>
                    <a:pt x="0" y="236"/>
                    <a:pt x="0" y="236"/>
                    <a:pt x="0" y="236"/>
                  </a:cubicBezTo>
                  <a:cubicBezTo>
                    <a:pt x="0" y="186"/>
                    <a:pt x="0" y="186"/>
                    <a:pt x="0" y="186"/>
                  </a:cubicBezTo>
                  <a:cubicBezTo>
                    <a:pt x="63" y="186"/>
                    <a:pt x="63" y="186"/>
                    <a:pt x="63" y="186"/>
                  </a:cubicBezTo>
                  <a:cubicBezTo>
                    <a:pt x="63" y="126"/>
                    <a:pt x="63" y="126"/>
                    <a:pt x="63" y="126"/>
                  </a:cubicBezTo>
                  <a:cubicBezTo>
                    <a:pt x="63" y="88"/>
                    <a:pt x="74" y="58"/>
                    <a:pt x="96" y="35"/>
                  </a:cubicBezTo>
                  <a:cubicBezTo>
                    <a:pt x="118" y="12"/>
                    <a:pt x="146" y="0"/>
                    <a:pt x="181" y="0"/>
                  </a:cubicBezTo>
                  <a:cubicBezTo>
                    <a:pt x="199" y="0"/>
                    <a:pt x="213" y="2"/>
                    <a:pt x="224" y="7"/>
                  </a:cubicBezTo>
                  <a:lnTo>
                    <a:pt x="224" y="6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1003" name="Freeform 34"/>
            <p:cNvSpPr>
              <a:spLocks/>
            </p:cNvSpPr>
            <p:nvPr/>
          </p:nvSpPr>
          <p:spPr bwMode="auto">
            <a:xfrm>
              <a:off x="4338" y="18531"/>
              <a:ext cx="513" cy="1162"/>
            </a:xfrm>
            <a:custGeom>
              <a:avLst/>
              <a:gdLst>
                <a:gd name="T0" fmla="*/ 217 w 217"/>
                <a:gd name="T1" fmla="*/ 477 h 489"/>
                <a:gd name="T2" fmla="*/ 161 w 217"/>
                <a:gd name="T3" fmla="*/ 489 h 489"/>
                <a:gd name="T4" fmla="*/ 64 w 217"/>
                <a:gd name="T5" fmla="*/ 379 h 489"/>
                <a:gd name="T6" fmla="*/ 64 w 217"/>
                <a:gd name="T7" fmla="*/ 160 h 489"/>
                <a:gd name="T8" fmla="*/ 0 w 217"/>
                <a:gd name="T9" fmla="*/ 160 h 489"/>
                <a:gd name="T10" fmla="*/ 0 w 217"/>
                <a:gd name="T11" fmla="*/ 110 h 489"/>
                <a:gd name="T12" fmla="*/ 64 w 217"/>
                <a:gd name="T13" fmla="*/ 110 h 489"/>
                <a:gd name="T14" fmla="*/ 64 w 217"/>
                <a:gd name="T15" fmla="*/ 20 h 489"/>
                <a:gd name="T16" fmla="*/ 123 w 217"/>
                <a:gd name="T17" fmla="*/ 0 h 489"/>
                <a:gd name="T18" fmla="*/ 123 w 217"/>
                <a:gd name="T19" fmla="*/ 110 h 489"/>
                <a:gd name="T20" fmla="*/ 217 w 217"/>
                <a:gd name="T21" fmla="*/ 110 h 489"/>
                <a:gd name="T22" fmla="*/ 217 w 217"/>
                <a:gd name="T23" fmla="*/ 160 h 489"/>
                <a:gd name="T24" fmla="*/ 123 w 217"/>
                <a:gd name="T25" fmla="*/ 160 h 489"/>
                <a:gd name="T26" fmla="*/ 123 w 217"/>
                <a:gd name="T27" fmla="*/ 369 h 489"/>
                <a:gd name="T28" fmla="*/ 136 w 217"/>
                <a:gd name="T29" fmla="*/ 422 h 489"/>
                <a:gd name="T30" fmla="*/ 178 w 217"/>
                <a:gd name="T31" fmla="*/ 438 h 489"/>
                <a:gd name="T32" fmla="*/ 217 w 217"/>
                <a:gd name="T33" fmla="*/ 426 h 489"/>
                <a:gd name="T34" fmla="*/ 217 w 217"/>
                <a:gd name="T35" fmla="*/ 477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489">
                  <a:moveTo>
                    <a:pt x="217" y="477"/>
                  </a:moveTo>
                  <a:cubicBezTo>
                    <a:pt x="203" y="485"/>
                    <a:pt x="184" y="489"/>
                    <a:pt x="161" y="489"/>
                  </a:cubicBezTo>
                  <a:cubicBezTo>
                    <a:pt x="96" y="489"/>
                    <a:pt x="64" y="452"/>
                    <a:pt x="64" y="379"/>
                  </a:cubicBezTo>
                  <a:cubicBezTo>
                    <a:pt x="64" y="160"/>
                    <a:pt x="64" y="160"/>
                    <a:pt x="64" y="160"/>
                  </a:cubicBezTo>
                  <a:cubicBezTo>
                    <a:pt x="0" y="160"/>
                    <a:pt x="0" y="160"/>
                    <a:pt x="0" y="160"/>
                  </a:cubicBezTo>
                  <a:cubicBezTo>
                    <a:pt x="0" y="110"/>
                    <a:pt x="0" y="110"/>
                    <a:pt x="0" y="110"/>
                  </a:cubicBezTo>
                  <a:cubicBezTo>
                    <a:pt x="64" y="110"/>
                    <a:pt x="64" y="110"/>
                    <a:pt x="64" y="110"/>
                  </a:cubicBezTo>
                  <a:cubicBezTo>
                    <a:pt x="64" y="20"/>
                    <a:pt x="64" y="20"/>
                    <a:pt x="64" y="20"/>
                  </a:cubicBezTo>
                  <a:cubicBezTo>
                    <a:pt x="123" y="0"/>
                    <a:pt x="123" y="0"/>
                    <a:pt x="123" y="0"/>
                  </a:cubicBezTo>
                  <a:cubicBezTo>
                    <a:pt x="123" y="110"/>
                    <a:pt x="123" y="110"/>
                    <a:pt x="123" y="110"/>
                  </a:cubicBezTo>
                  <a:cubicBezTo>
                    <a:pt x="217" y="110"/>
                    <a:pt x="217" y="110"/>
                    <a:pt x="217" y="110"/>
                  </a:cubicBezTo>
                  <a:cubicBezTo>
                    <a:pt x="217" y="160"/>
                    <a:pt x="217" y="160"/>
                    <a:pt x="217" y="160"/>
                  </a:cubicBezTo>
                  <a:cubicBezTo>
                    <a:pt x="123" y="160"/>
                    <a:pt x="123" y="160"/>
                    <a:pt x="123" y="160"/>
                  </a:cubicBezTo>
                  <a:cubicBezTo>
                    <a:pt x="123" y="369"/>
                    <a:pt x="123" y="369"/>
                    <a:pt x="123" y="369"/>
                  </a:cubicBezTo>
                  <a:cubicBezTo>
                    <a:pt x="123" y="394"/>
                    <a:pt x="128" y="412"/>
                    <a:pt x="136" y="422"/>
                  </a:cubicBezTo>
                  <a:cubicBezTo>
                    <a:pt x="145" y="433"/>
                    <a:pt x="159" y="438"/>
                    <a:pt x="178" y="438"/>
                  </a:cubicBezTo>
                  <a:cubicBezTo>
                    <a:pt x="193" y="438"/>
                    <a:pt x="206" y="434"/>
                    <a:pt x="217" y="426"/>
                  </a:cubicBezTo>
                  <a:lnTo>
                    <a:pt x="217" y="47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1004" name="Freeform 35"/>
            <p:cNvSpPr>
              <a:spLocks noEditPoints="1"/>
            </p:cNvSpPr>
            <p:nvPr/>
          </p:nvSpPr>
          <p:spPr bwMode="auto">
            <a:xfrm>
              <a:off x="5212" y="18441"/>
              <a:ext cx="1090" cy="1231"/>
            </a:xfrm>
            <a:custGeom>
              <a:avLst/>
              <a:gdLst>
                <a:gd name="T0" fmla="*/ 1090 w 1090"/>
                <a:gd name="T1" fmla="*/ 1231 h 1231"/>
                <a:gd name="T2" fmla="*/ 932 w 1090"/>
                <a:gd name="T3" fmla="*/ 1231 h 1231"/>
                <a:gd name="T4" fmla="*/ 802 w 1090"/>
                <a:gd name="T5" fmla="*/ 886 h 1231"/>
                <a:gd name="T6" fmla="*/ 282 w 1090"/>
                <a:gd name="T7" fmla="*/ 886 h 1231"/>
                <a:gd name="T8" fmla="*/ 159 w 1090"/>
                <a:gd name="T9" fmla="*/ 1231 h 1231"/>
                <a:gd name="T10" fmla="*/ 0 w 1090"/>
                <a:gd name="T11" fmla="*/ 1231 h 1231"/>
                <a:gd name="T12" fmla="*/ 468 w 1090"/>
                <a:gd name="T13" fmla="*/ 0 h 1231"/>
                <a:gd name="T14" fmla="*/ 617 w 1090"/>
                <a:gd name="T15" fmla="*/ 0 h 1231"/>
                <a:gd name="T16" fmla="*/ 1090 w 1090"/>
                <a:gd name="T17" fmla="*/ 1231 h 1231"/>
                <a:gd name="T18" fmla="*/ 754 w 1090"/>
                <a:gd name="T19" fmla="*/ 755 h 1231"/>
                <a:gd name="T20" fmla="*/ 542 w 1090"/>
                <a:gd name="T21" fmla="*/ 180 h 1231"/>
                <a:gd name="T22" fmla="*/ 539 w 1090"/>
                <a:gd name="T23" fmla="*/ 180 h 1231"/>
                <a:gd name="T24" fmla="*/ 329 w 1090"/>
                <a:gd name="T25" fmla="*/ 755 h 1231"/>
                <a:gd name="T26" fmla="*/ 754 w 1090"/>
                <a:gd name="T27" fmla="*/ 755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90" h="1231">
                  <a:moveTo>
                    <a:pt x="1090" y="1231"/>
                  </a:moveTo>
                  <a:lnTo>
                    <a:pt x="932" y="1231"/>
                  </a:lnTo>
                  <a:lnTo>
                    <a:pt x="802" y="886"/>
                  </a:lnTo>
                  <a:lnTo>
                    <a:pt x="282" y="886"/>
                  </a:lnTo>
                  <a:lnTo>
                    <a:pt x="159" y="1231"/>
                  </a:lnTo>
                  <a:lnTo>
                    <a:pt x="0" y="1231"/>
                  </a:lnTo>
                  <a:lnTo>
                    <a:pt x="468" y="0"/>
                  </a:lnTo>
                  <a:lnTo>
                    <a:pt x="617" y="0"/>
                  </a:lnTo>
                  <a:lnTo>
                    <a:pt x="1090" y="1231"/>
                  </a:lnTo>
                  <a:close/>
                  <a:moveTo>
                    <a:pt x="754" y="755"/>
                  </a:moveTo>
                  <a:lnTo>
                    <a:pt x="542" y="180"/>
                  </a:lnTo>
                  <a:lnTo>
                    <a:pt x="539" y="180"/>
                  </a:lnTo>
                  <a:lnTo>
                    <a:pt x="329" y="755"/>
                  </a:lnTo>
                  <a:lnTo>
                    <a:pt x="754" y="75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1009" name="Freeform 36"/>
            <p:cNvSpPr>
              <a:spLocks/>
            </p:cNvSpPr>
            <p:nvPr/>
          </p:nvSpPr>
          <p:spPr bwMode="auto">
            <a:xfrm>
              <a:off x="6363" y="18793"/>
              <a:ext cx="726" cy="879"/>
            </a:xfrm>
            <a:custGeom>
              <a:avLst/>
              <a:gdLst>
                <a:gd name="T0" fmla="*/ 726 w 726"/>
                <a:gd name="T1" fmla="*/ 40 h 879"/>
                <a:gd name="T2" fmla="*/ 206 w 726"/>
                <a:gd name="T3" fmla="*/ 760 h 879"/>
                <a:gd name="T4" fmla="*/ 719 w 726"/>
                <a:gd name="T5" fmla="*/ 760 h 879"/>
                <a:gd name="T6" fmla="*/ 719 w 726"/>
                <a:gd name="T7" fmla="*/ 879 h 879"/>
                <a:gd name="T8" fmla="*/ 0 w 726"/>
                <a:gd name="T9" fmla="*/ 879 h 879"/>
                <a:gd name="T10" fmla="*/ 0 w 726"/>
                <a:gd name="T11" fmla="*/ 836 h 879"/>
                <a:gd name="T12" fmla="*/ 518 w 726"/>
                <a:gd name="T13" fmla="*/ 118 h 879"/>
                <a:gd name="T14" fmla="*/ 50 w 726"/>
                <a:gd name="T15" fmla="*/ 118 h 879"/>
                <a:gd name="T16" fmla="*/ 50 w 726"/>
                <a:gd name="T17" fmla="*/ 0 h 879"/>
                <a:gd name="T18" fmla="*/ 726 w 726"/>
                <a:gd name="T19" fmla="*/ 0 h 879"/>
                <a:gd name="T20" fmla="*/ 726 w 726"/>
                <a:gd name="T21" fmla="*/ 40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6" h="879">
                  <a:moveTo>
                    <a:pt x="726" y="40"/>
                  </a:moveTo>
                  <a:lnTo>
                    <a:pt x="206" y="760"/>
                  </a:lnTo>
                  <a:lnTo>
                    <a:pt x="719" y="760"/>
                  </a:lnTo>
                  <a:lnTo>
                    <a:pt x="719" y="879"/>
                  </a:lnTo>
                  <a:lnTo>
                    <a:pt x="0" y="879"/>
                  </a:lnTo>
                  <a:lnTo>
                    <a:pt x="0" y="836"/>
                  </a:lnTo>
                  <a:lnTo>
                    <a:pt x="518" y="118"/>
                  </a:lnTo>
                  <a:lnTo>
                    <a:pt x="50" y="118"/>
                  </a:lnTo>
                  <a:lnTo>
                    <a:pt x="50" y="0"/>
                  </a:lnTo>
                  <a:lnTo>
                    <a:pt x="726" y="0"/>
                  </a:lnTo>
                  <a:lnTo>
                    <a:pt x="726"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1010" name="Freeform 37"/>
            <p:cNvSpPr>
              <a:spLocks/>
            </p:cNvSpPr>
            <p:nvPr/>
          </p:nvSpPr>
          <p:spPr bwMode="auto">
            <a:xfrm>
              <a:off x="7193" y="18793"/>
              <a:ext cx="728" cy="900"/>
            </a:xfrm>
            <a:custGeom>
              <a:avLst/>
              <a:gdLst>
                <a:gd name="T0" fmla="*/ 308 w 308"/>
                <a:gd name="T1" fmla="*/ 370 h 379"/>
                <a:gd name="T2" fmla="*/ 248 w 308"/>
                <a:gd name="T3" fmla="*/ 370 h 379"/>
                <a:gd name="T4" fmla="*/ 248 w 308"/>
                <a:gd name="T5" fmla="*/ 312 h 379"/>
                <a:gd name="T6" fmla="*/ 247 w 308"/>
                <a:gd name="T7" fmla="*/ 312 h 379"/>
                <a:gd name="T8" fmla="*/ 133 w 308"/>
                <a:gd name="T9" fmla="*/ 379 h 379"/>
                <a:gd name="T10" fmla="*/ 0 w 308"/>
                <a:gd name="T11" fmla="*/ 221 h 379"/>
                <a:gd name="T12" fmla="*/ 0 w 308"/>
                <a:gd name="T13" fmla="*/ 0 h 379"/>
                <a:gd name="T14" fmla="*/ 60 w 308"/>
                <a:gd name="T15" fmla="*/ 0 h 379"/>
                <a:gd name="T16" fmla="*/ 60 w 308"/>
                <a:gd name="T17" fmla="*/ 212 h 379"/>
                <a:gd name="T18" fmla="*/ 149 w 308"/>
                <a:gd name="T19" fmla="*/ 329 h 379"/>
                <a:gd name="T20" fmla="*/ 221 w 308"/>
                <a:gd name="T21" fmla="*/ 297 h 379"/>
                <a:gd name="T22" fmla="*/ 248 w 308"/>
                <a:gd name="T23" fmla="*/ 213 h 379"/>
                <a:gd name="T24" fmla="*/ 248 w 308"/>
                <a:gd name="T25" fmla="*/ 0 h 379"/>
                <a:gd name="T26" fmla="*/ 308 w 308"/>
                <a:gd name="T27" fmla="*/ 0 h 379"/>
                <a:gd name="T28" fmla="*/ 308 w 308"/>
                <a:gd name="T29" fmla="*/ 370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8" h="379">
                  <a:moveTo>
                    <a:pt x="308" y="370"/>
                  </a:moveTo>
                  <a:cubicBezTo>
                    <a:pt x="248" y="370"/>
                    <a:pt x="248" y="370"/>
                    <a:pt x="248" y="370"/>
                  </a:cubicBezTo>
                  <a:cubicBezTo>
                    <a:pt x="248" y="312"/>
                    <a:pt x="248" y="312"/>
                    <a:pt x="248" y="312"/>
                  </a:cubicBezTo>
                  <a:cubicBezTo>
                    <a:pt x="247" y="312"/>
                    <a:pt x="247" y="312"/>
                    <a:pt x="247" y="312"/>
                  </a:cubicBezTo>
                  <a:cubicBezTo>
                    <a:pt x="222" y="357"/>
                    <a:pt x="184" y="379"/>
                    <a:pt x="133" y="379"/>
                  </a:cubicBezTo>
                  <a:cubicBezTo>
                    <a:pt x="45" y="379"/>
                    <a:pt x="0" y="327"/>
                    <a:pt x="0" y="221"/>
                  </a:cubicBezTo>
                  <a:cubicBezTo>
                    <a:pt x="0" y="0"/>
                    <a:pt x="0" y="0"/>
                    <a:pt x="0" y="0"/>
                  </a:cubicBezTo>
                  <a:cubicBezTo>
                    <a:pt x="60" y="0"/>
                    <a:pt x="60" y="0"/>
                    <a:pt x="60" y="0"/>
                  </a:cubicBezTo>
                  <a:cubicBezTo>
                    <a:pt x="60" y="212"/>
                    <a:pt x="60" y="212"/>
                    <a:pt x="60" y="212"/>
                  </a:cubicBezTo>
                  <a:cubicBezTo>
                    <a:pt x="60" y="290"/>
                    <a:pt x="90" y="329"/>
                    <a:pt x="149" y="329"/>
                  </a:cubicBezTo>
                  <a:cubicBezTo>
                    <a:pt x="179" y="329"/>
                    <a:pt x="203" y="318"/>
                    <a:pt x="221" y="297"/>
                  </a:cubicBezTo>
                  <a:cubicBezTo>
                    <a:pt x="239" y="275"/>
                    <a:pt x="248" y="248"/>
                    <a:pt x="248" y="213"/>
                  </a:cubicBezTo>
                  <a:cubicBezTo>
                    <a:pt x="248" y="0"/>
                    <a:pt x="248" y="0"/>
                    <a:pt x="248" y="0"/>
                  </a:cubicBezTo>
                  <a:cubicBezTo>
                    <a:pt x="308" y="0"/>
                    <a:pt x="308" y="0"/>
                    <a:pt x="308" y="0"/>
                  </a:cubicBezTo>
                  <a:lnTo>
                    <a:pt x="308" y="37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1011" name="Freeform 38"/>
            <p:cNvSpPr>
              <a:spLocks/>
            </p:cNvSpPr>
            <p:nvPr/>
          </p:nvSpPr>
          <p:spPr bwMode="auto">
            <a:xfrm>
              <a:off x="8148" y="18776"/>
              <a:ext cx="456" cy="896"/>
            </a:xfrm>
            <a:custGeom>
              <a:avLst/>
              <a:gdLst>
                <a:gd name="T0" fmla="*/ 193 w 193"/>
                <a:gd name="T1" fmla="*/ 67 h 377"/>
                <a:gd name="T2" fmla="*/ 148 w 193"/>
                <a:gd name="T3" fmla="*/ 55 h 377"/>
                <a:gd name="T4" fmla="*/ 84 w 193"/>
                <a:gd name="T5" fmla="*/ 92 h 377"/>
                <a:gd name="T6" fmla="*/ 60 w 193"/>
                <a:gd name="T7" fmla="*/ 189 h 377"/>
                <a:gd name="T8" fmla="*/ 60 w 193"/>
                <a:gd name="T9" fmla="*/ 377 h 377"/>
                <a:gd name="T10" fmla="*/ 0 w 193"/>
                <a:gd name="T11" fmla="*/ 377 h 377"/>
                <a:gd name="T12" fmla="*/ 0 w 193"/>
                <a:gd name="T13" fmla="*/ 7 h 377"/>
                <a:gd name="T14" fmla="*/ 60 w 193"/>
                <a:gd name="T15" fmla="*/ 7 h 377"/>
                <a:gd name="T16" fmla="*/ 60 w 193"/>
                <a:gd name="T17" fmla="*/ 83 h 377"/>
                <a:gd name="T18" fmla="*/ 61 w 193"/>
                <a:gd name="T19" fmla="*/ 83 h 377"/>
                <a:gd name="T20" fmla="*/ 99 w 193"/>
                <a:gd name="T21" fmla="*/ 23 h 377"/>
                <a:gd name="T22" fmla="*/ 158 w 193"/>
                <a:gd name="T23" fmla="*/ 0 h 377"/>
                <a:gd name="T24" fmla="*/ 193 w 193"/>
                <a:gd name="T25" fmla="*/ 6 h 377"/>
                <a:gd name="T26" fmla="*/ 193 w 193"/>
                <a:gd name="T27" fmla="*/ 67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377">
                  <a:moveTo>
                    <a:pt x="193" y="67"/>
                  </a:moveTo>
                  <a:cubicBezTo>
                    <a:pt x="183" y="59"/>
                    <a:pt x="168" y="55"/>
                    <a:pt x="148" y="55"/>
                  </a:cubicBezTo>
                  <a:cubicBezTo>
                    <a:pt x="122" y="55"/>
                    <a:pt x="101" y="67"/>
                    <a:pt x="84" y="92"/>
                  </a:cubicBezTo>
                  <a:cubicBezTo>
                    <a:pt x="68" y="117"/>
                    <a:pt x="60" y="149"/>
                    <a:pt x="60" y="189"/>
                  </a:cubicBezTo>
                  <a:cubicBezTo>
                    <a:pt x="60" y="377"/>
                    <a:pt x="60" y="377"/>
                    <a:pt x="60" y="377"/>
                  </a:cubicBezTo>
                  <a:cubicBezTo>
                    <a:pt x="0" y="377"/>
                    <a:pt x="0" y="377"/>
                    <a:pt x="0" y="377"/>
                  </a:cubicBezTo>
                  <a:cubicBezTo>
                    <a:pt x="0" y="7"/>
                    <a:pt x="0" y="7"/>
                    <a:pt x="0" y="7"/>
                  </a:cubicBezTo>
                  <a:cubicBezTo>
                    <a:pt x="60" y="7"/>
                    <a:pt x="60" y="7"/>
                    <a:pt x="60" y="7"/>
                  </a:cubicBezTo>
                  <a:cubicBezTo>
                    <a:pt x="60" y="83"/>
                    <a:pt x="60" y="83"/>
                    <a:pt x="60" y="83"/>
                  </a:cubicBezTo>
                  <a:cubicBezTo>
                    <a:pt x="61" y="83"/>
                    <a:pt x="61" y="83"/>
                    <a:pt x="61" y="83"/>
                  </a:cubicBezTo>
                  <a:cubicBezTo>
                    <a:pt x="69" y="58"/>
                    <a:pt x="82" y="38"/>
                    <a:pt x="99" y="23"/>
                  </a:cubicBezTo>
                  <a:cubicBezTo>
                    <a:pt x="116" y="8"/>
                    <a:pt x="136" y="0"/>
                    <a:pt x="158" y="0"/>
                  </a:cubicBezTo>
                  <a:cubicBezTo>
                    <a:pt x="173" y="0"/>
                    <a:pt x="185" y="2"/>
                    <a:pt x="193" y="6"/>
                  </a:cubicBezTo>
                  <a:lnTo>
                    <a:pt x="193" y="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1012" name="Freeform 39"/>
            <p:cNvSpPr>
              <a:spLocks noEditPoints="1"/>
            </p:cNvSpPr>
            <p:nvPr/>
          </p:nvSpPr>
          <p:spPr bwMode="auto">
            <a:xfrm>
              <a:off x="8611" y="18771"/>
              <a:ext cx="764" cy="922"/>
            </a:xfrm>
            <a:custGeom>
              <a:avLst/>
              <a:gdLst>
                <a:gd name="T0" fmla="*/ 323 w 323"/>
                <a:gd name="T1" fmla="*/ 209 h 388"/>
                <a:gd name="T2" fmla="*/ 62 w 323"/>
                <a:gd name="T3" fmla="*/ 209 h 388"/>
                <a:gd name="T4" fmla="*/ 95 w 323"/>
                <a:gd name="T5" fmla="*/ 305 h 388"/>
                <a:gd name="T6" fmla="*/ 183 w 323"/>
                <a:gd name="T7" fmla="*/ 338 h 388"/>
                <a:gd name="T8" fmla="*/ 297 w 323"/>
                <a:gd name="T9" fmla="*/ 297 h 388"/>
                <a:gd name="T10" fmla="*/ 297 w 323"/>
                <a:gd name="T11" fmla="*/ 353 h 388"/>
                <a:gd name="T12" fmla="*/ 169 w 323"/>
                <a:gd name="T13" fmla="*/ 388 h 388"/>
                <a:gd name="T14" fmla="*/ 45 w 323"/>
                <a:gd name="T15" fmla="*/ 337 h 388"/>
                <a:gd name="T16" fmla="*/ 0 w 323"/>
                <a:gd name="T17" fmla="*/ 196 h 388"/>
                <a:gd name="T18" fmla="*/ 23 w 323"/>
                <a:gd name="T19" fmla="*/ 95 h 388"/>
                <a:gd name="T20" fmla="*/ 84 w 323"/>
                <a:gd name="T21" fmla="*/ 25 h 388"/>
                <a:gd name="T22" fmla="*/ 171 w 323"/>
                <a:gd name="T23" fmla="*/ 0 h 388"/>
                <a:gd name="T24" fmla="*/ 283 w 323"/>
                <a:gd name="T25" fmla="*/ 47 h 388"/>
                <a:gd name="T26" fmla="*/ 323 w 323"/>
                <a:gd name="T27" fmla="*/ 178 h 388"/>
                <a:gd name="T28" fmla="*/ 323 w 323"/>
                <a:gd name="T29" fmla="*/ 209 h 388"/>
                <a:gd name="T30" fmla="*/ 263 w 323"/>
                <a:gd name="T31" fmla="*/ 159 h 388"/>
                <a:gd name="T32" fmla="*/ 238 w 323"/>
                <a:gd name="T33" fmla="*/ 79 h 388"/>
                <a:gd name="T34" fmla="*/ 170 w 323"/>
                <a:gd name="T35" fmla="*/ 51 h 388"/>
                <a:gd name="T36" fmla="*/ 100 w 323"/>
                <a:gd name="T37" fmla="*/ 80 h 388"/>
                <a:gd name="T38" fmla="*/ 63 w 323"/>
                <a:gd name="T39" fmla="*/ 159 h 388"/>
                <a:gd name="T40" fmla="*/ 263 w 323"/>
                <a:gd name="T41" fmla="*/ 159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3" h="388">
                  <a:moveTo>
                    <a:pt x="323" y="209"/>
                  </a:moveTo>
                  <a:cubicBezTo>
                    <a:pt x="62" y="209"/>
                    <a:pt x="62" y="209"/>
                    <a:pt x="62" y="209"/>
                  </a:cubicBezTo>
                  <a:cubicBezTo>
                    <a:pt x="63" y="251"/>
                    <a:pt x="74" y="283"/>
                    <a:pt x="95" y="305"/>
                  </a:cubicBezTo>
                  <a:cubicBezTo>
                    <a:pt x="116" y="327"/>
                    <a:pt x="145" y="338"/>
                    <a:pt x="183" y="338"/>
                  </a:cubicBezTo>
                  <a:cubicBezTo>
                    <a:pt x="225" y="338"/>
                    <a:pt x="263" y="324"/>
                    <a:pt x="297" y="297"/>
                  </a:cubicBezTo>
                  <a:cubicBezTo>
                    <a:pt x="297" y="353"/>
                    <a:pt x="297" y="353"/>
                    <a:pt x="297" y="353"/>
                  </a:cubicBezTo>
                  <a:cubicBezTo>
                    <a:pt x="265" y="376"/>
                    <a:pt x="222" y="388"/>
                    <a:pt x="169" y="388"/>
                  </a:cubicBezTo>
                  <a:cubicBezTo>
                    <a:pt x="116" y="388"/>
                    <a:pt x="75" y="371"/>
                    <a:pt x="45" y="337"/>
                  </a:cubicBezTo>
                  <a:cubicBezTo>
                    <a:pt x="15" y="303"/>
                    <a:pt x="0" y="256"/>
                    <a:pt x="0" y="196"/>
                  </a:cubicBezTo>
                  <a:cubicBezTo>
                    <a:pt x="0" y="159"/>
                    <a:pt x="8" y="125"/>
                    <a:pt x="23" y="95"/>
                  </a:cubicBezTo>
                  <a:cubicBezTo>
                    <a:pt x="38" y="65"/>
                    <a:pt x="58" y="42"/>
                    <a:pt x="84" y="25"/>
                  </a:cubicBezTo>
                  <a:cubicBezTo>
                    <a:pt x="110" y="8"/>
                    <a:pt x="139" y="0"/>
                    <a:pt x="171" y="0"/>
                  </a:cubicBezTo>
                  <a:cubicBezTo>
                    <a:pt x="219" y="0"/>
                    <a:pt x="256" y="16"/>
                    <a:pt x="283" y="47"/>
                  </a:cubicBezTo>
                  <a:cubicBezTo>
                    <a:pt x="310" y="78"/>
                    <a:pt x="323" y="122"/>
                    <a:pt x="323" y="178"/>
                  </a:cubicBezTo>
                  <a:lnTo>
                    <a:pt x="323" y="209"/>
                  </a:lnTo>
                  <a:close/>
                  <a:moveTo>
                    <a:pt x="263" y="159"/>
                  </a:moveTo>
                  <a:cubicBezTo>
                    <a:pt x="262" y="124"/>
                    <a:pt x="254" y="98"/>
                    <a:pt x="238" y="79"/>
                  </a:cubicBezTo>
                  <a:cubicBezTo>
                    <a:pt x="222" y="60"/>
                    <a:pt x="199" y="51"/>
                    <a:pt x="170" y="51"/>
                  </a:cubicBezTo>
                  <a:cubicBezTo>
                    <a:pt x="143" y="51"/>
                    <a:pt x="119" y="60"/>
                    <a:pt x="100" y="80"/>
                  </a:cubicBezTo>
                  <a:cubicBezTo>
                    <a:pt x="80" y="100"/>
                    <a:pt x="68" y="126"/>
                    <a:pt x="63" y="159"/>
                  </a:cubicBezTo>
                  <a:lnTo>
                    <a:pt x="263" y="1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pic>
        <p:nvPicPr>
          <p:cNvPr id="983" name="Picture 982"/>
          <p:cNvPicPr>
            <a:picLocks noChangeAspect="1"/>
          </p:cNvPicPr>
          <p:nvPr/>
        </p:nvPicPr>
        <p:blipFill rotWithShape="1">
          <a:blip r:embed="rId6" cstate="print">
            <a:extLst>
              <a:ext uri="{28A0092B-C50C-407E-A947-70E740481C1C}">
                <a14:useLocalDpi xmlns:a14="http://schemas.microsoft.com/office/drawing/2010/main" val="0"/>
              </a:ext>
            </a:extLst>
          </a:blip>
          <a:srcRect t="44093" r="11119"/>
          <a:stretch/>
        </p:blipFill>
        <p:spPr>
          <a:xfrm>
            <a:off x="9024012" y="4429924"/>
            <a:ext cx="898873" cy="551883"/>
          </a:xfrm>
          <a:prstGeom prst="rect">
            <a:avLst/>
          </a:prstGeom>
        </p:spPr>
      </p:pic>
      <p:grpSp>
        <p:nvGrpSpPr>
          <p:cNvPr id="515" name="Group 514"/>
          <p:cNvGrpSpPr>
            <a:grpSpLocks noChangeAspect="1"/>
          </p:cNvGrpSpPr>
          <p:nvPr/>
        </p:nvGrpSpPr>
        <p:grpSpPr>
          <a:xfrm>
            <a:off x="10187107" y="4348186"/>
            <a:ext cx="523921" cy="739463"/>
            <a:chOff x="1214438" y="4121151"/>
            <a:chExt cx="1558925" cy="2200275"/>
          </a:xfrm>
        </p:grpSpPr>
        <p:sp>
          <p:nvSpPr>
            <p:cNvPr id="516" name="Freeform 5"/>
            <p:cNvSpPr>
              <a:spLocks noEditPoints="1"/>
            </p:cNvSpPr>
            <p:nvPr/>
          </p:nvSpPr>
          <p:spPr bwMode="auto">
            <a:xfrm>
              <a:off x="1214438" y="4121151"/>
              <a:ext cx="1558925" cy="2200275"/>
            </a:xfrm>
            <a:custGeom>
              <a:avLst/>
              <a:gdLst>
                <a:gd name="T0" fmla="*/ 89 w 982"/>
                <a:gd name="T1" fmla="*/ 1274 h 1386"/>
                <a:gd name="T2" fmla="*/ 892 w 982"/>
                <a:gd name="T3" fmla="*/ 1274 h 1386"/>
                <a:gd name="T4" fmla="*/ 0 w 982"/>
                <a:gd name="T5" fmla="*/ 272 h 1386"/>
                <a:gd name="T6" fmla="*/ 790 w 982"/>
                <a:gd name="T7" fmla="*/ 572 h 1386"/>
                <a:gd name="T8" fmla="*/ 787 w 982"/>
                <a:gd name="T9" fmla="*/ 600 h 1386"/>
                <a:gd name="T10" fmla="*/ 490 w 982"/>
                <a:gd name="T11" fmla="*/ 600 h 1386"/>
                <a:gd name="T12" fmla="*/ 328 w 982"/>
                <a:gd name="T13" fmla="*/ 725 h 1386"/>
                <a:gd name="T14" fmla="*/ 491 w 982"/>
                <a:gd name="T15" fmla="*/ 725 h 1386"/>
                <a:gd name="T16" fmla="*/ 776 w 982"/>
                <a:gd name="T17" fmla="*/ 725 h 1386"/>
                <a:gd name="T18" fmla="*/ 744 w 982"/>
                <a:gd name="T19" fmla="*/ 1082 h 1386"/>
                <a:gd name="T20" fmla="*/ 491 w 982"/>
                <a:gd name="T21" fmla="*/ 1173 h 1386"/>
                <a:gd name="T22" fmla="*/ 490 w 982"/>
                <a:gd name="T23" fmla="*/ 1173 h 1386"/>
                <a:gd name="T24" fmla="*/ 221 w 982"/>
                <a:gd name="T25" fmla="*/ 910 h 1386"/>
                <a:gd name="T26" fmla="*/ 344 w 982"/>
                <a:gd name="T27" fmla="*/ 910 h 1386"/>
                <a:gd name="T28" fmla="*/ 490 w 982"/>
                <a:gd name="T29" fmla="*/ 1045 h 1386"/>
                <a:gd name="T30" fmla="*/ 490 w 982"/>
                <a:gd name="T31" fmla="*/ 1045 h 1386"/>
                <a:gd name="T32" fmla="*/ 642 w 982"/>
                <a:gd name="T33" fmla="*/ 849 h 1386"/>
                <a:gd name="T34" fmla="*/ 490 w 982"/>
                <a:gd name="T35" fmla="*/ 849 h 1386"/>
                <a:gd name="T36" fmla="*/ 185 w 982"/>
                <a:gd name="T37" fmla="*/ 510 h 1386"/>
                <a:gd name="T38" fmla="*/ 490 w 982"/>
                <a:gd name="T39" fmla="*/ 477 h 1386"/>
                <a:gd name="T40" fmla="*/ 798 w 982"/>
                <a:gd name="T41" fmla="*/ 477 h 1386"/>
                <a:gd name="T42" fmla="*/ 91 w 982"/>
                <a:gd name="T43" fmla="*/ 0 h 1386"/>
                <a:gd name="T44" fmla="*/ 154 w 982"/>
                <a:gd name="T45" fmla="*/ 61 h 1386"/>
                <a:gd name="T46" fmla="*/ 210 w 982"/>
                <a:gd name="T47" fmla="*/ 0 h 1386"/>
                <a:gd name="T48" fmla="*/ 273 w 982"/>
                <a:gd name="T49" fmla="*/ 186 h 1386"/>
                <a:gd name="T50" fmla="*/ 210 w 982"/>
                <a:gd name="T51" fmla="*/ 124 h 1386"/>
                <a:gd name="T52" fmla="*/ 154 w 982"/>
                <a:gd name="T53" fmla="*/ 186 h 1386"/>
                <a:gd name="T54" fmla="*/ 91 w 982"/>
                <a:gd name="T55" fmla="*/ 0 h 1386"/>
                <a:gd name="T56" fmla="*/ 355 w 982"/>
                <a:gd name="T57" fmla="*/ 61 h 1386"/>
                <a:gd name="T58" fmla="*/ 300 w 982"/>
                <a:gd name="T59" fmla="*/ 0 h 1386"/>
                <a:gd name="T60" fmla="*/ 472 w 982"/>
                <a:gd name="T61" fmla="*/ 61 h 1386"/>
                <a:gd name="T62" fmla="*/ 418 w 982"/>
                <a:gd name="T63" fmla="*/ 186 h 1386"/>
                <a:gd name="T64" fmla="*/ 355 w 982"/>
                <a:gd name="T65" fmla="*/ 61 h 1386"/>
                <a:gd name="T66" fmla="*/ 500 w 982"/>
                <a:gd name="T67" fmla="*/ 0 h 1386"/>
                <a:gd name="T68" fmla="*/ 606 w 982"/>
                <a:gd name="T69" fmla="*/ 65 h 1386"/>
                <a:gd name="T70" fmla="*/ 710 w 982"/>
                <a:gd name="T71" fmla="*/ 0 h 1386"/>
                <a:gd name="T72" fmla="*/ 649 w 982"/>
                <a:gd name="T73" fmla="*/ 186 h 1386"/>
                <a:gd name="T74" fmla="*/ 606 w 982"/>
                <a:gd name="T75" fmla="*/ 160 h 1386"/>
                <a:gd name="T76" fmla="*/ 561 w 982"/>
                <a:gd name="T77" fmla="*/ 94 h 1386"/>
                <a:gd name="T78" fmla="*/ 500 w 982"/>
                <a:gd name="T79" fmla="*/ 186 h 1386"/>
                <a:gd name="T80" fmla="*/ 741 w 982"/>
                <a:gd name="T81" fmla="*/ 0 h 1386"/>
                <a:gd name="T82" fmla="*/ 804 w 982"/>
                <a:gd name="T83" fmla="*/ 125 h 1386"/>
                <a:gd name="T84" fmla="*/ 892 w 982"/>
                <a:gd name="T85" fmla="*/ 186 h 1386"/>
                <a:gd name="T86" fmla="*/ 741 w 982"/>
                <a:gd name="T87" fmla="*/ 0 h 1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82" h="1386">
                  <a:moveTo>
                    <a:pt x="0" y="272"/>
                  </a:moveTo>
                  <a:lnTo>
                    <a:pt x="89" y="1274"/>
                  </a:lnTo>
                  <a:lnTo>
                    <a:pt x="490" y="1386"/>
                  </a:lnTo>
                  <a:lnTo>
                    <a:pt x="892" y="1274"/>
                  </a:lnTo>
                  <a:lnTo>
                    <a:pt x="982" y="272"/>
                  </a:lnTo>
                  <a:lnTo>
                    <a:pt x="0" y="272"/>
                  </a:lnTo>
                  <a:close/>
                  <a:moveTo>
                    <a:pt x="795" y="510"/>
                  </a:moveTo>
                  <a:lnTo>
                    <a:pt x="790" y="572"/>
                  </a:lnTo>
                  <a:lnTo>
                    <a:pt x="787" y="600"/>
                  </a:lnTo>
                  <a:lnTo>
                    <a:pt x="787" y="600"/>
                  </a:lnTo>
                  <a:lnTo>
                    <a:pt x="491" y="600"/>
                  </a:lnTo>
                  <a:lnTo>
                    <a:pt x="490" y="600"/>
                  </a:lnTo>
                  <a:lnTo>
                    <a:pt x="317" y="600"/>
                  </a:lnTo>
                  <a:lnTo>
                    <a:pt x="328" y="725"/>
                  </a:lnTo>
                  <a:lnTo>
                    <a:pt x="490" y="725"/>
                  </a:lnTo>
                  <a:lnTo>
                    <a:pt x="491" y="725"/>
                  </a:lnTo>
                  <a:lnTo>
                    <a:pt x="743" y="725"/>
                  </a:lnTo>
                  <a:lnTo>
                    <a:pt x="776" y="725"/>
                  </a:lnTo>
                  <a:lnTo>
                    <a:pt x="773" y="759"/>
                  </a:lnTo>
                  <a:lnTo>
                    <a:pt x="744" y="1082"/>
                  </a:lnTo>
                  <a:lnTo>
                    <a:pt x="742" y="1103"/>
                  </a:lnTo>
                  <a:lnTo>
                    <a:pt x="491" y="1173"/>
                  </a:lnTo>
                  <a:lnTo>
                    <a:pt x="491" y="1173"/>
                  </a:lnTo>
                  <a:lnTo>
                    <a:pt x="490" y="1173"/>
                  </a:lnTo>
                  <a:lnTo>
                    <a:pt x="238" y="1103"/>
                  </a:lnTo>
                  <a:lnTo>
                    <a:pt x="221" y="910"/>
                  </a:lnTo>
                  <a:lnTo>
                    <a:pt x="278" y="910"/>
                  </a:lnTo>
                  <a:lnTo>
                    <a:pt x="344" y="910"/>
                  </a:lnTo>
                  <a:lnTo>
                    <a:pt x="353" y="1008"/>
                  </a:lnTo>
                  <a:lnTo>
                    <a:pt x="490" y="1045"/>
                  </a:lnTo>
                  <a:lnTo>
                    <a:pt x="490" y="1045"/>
                  </a:lnTo>
                  <a:lnTo>
                    <a:pt x="490" y="1045"/>
                  </a:lnTo>
                  <a:lnTo>
                    <a:pt x="627" y="1008"/>
                  </a:lnTo>
                  <a:lnTo>
                    <a:pt x="642" y="849"/>
                  </a:lnTo>
                  <a:lnTo>
                    <a:pt x="491" y="849"/>
                  </a:lnTo>
                  <a:lnTo>
                    <a:pt x="490" y="849"/>
                  </a:lnTo>
                  <a:lnTo>
                    <a:pt x="215" y="849"/>
                  </a:lnTo>
                  <a:lnTo>
                    <a:pt x="185" y="510"/>
                  </a:lnTo>
                  <a:lnTo>
                    <a:pt x="182" y="477"/>
                  </a:lnTo>
                  <a:lnTo>
                    <a:pt x="490" y="477"/>
                  </a:lnTo>
                  <a:lnTo>
                    <a:pt x="491" y="477"/>
                  </a:lnTo>
                  <a:lnTo>
                    <a:pt x="798" y="477"/>
                  </a:lnTo>
                  <a:lnTo>
                    <a:pt x="795" y="510"/>
                  </a:lnTo>
                  <a:close/>
                  <a:moveTo>
                    <a:pt x="91" y="0"/>
                  </a:moveTo>
                  <a:lnTo>
                    <a:pt x="154" y="0"/>
                  </a:lnTo>
                  <a:lnTo>
                    <a:pt x="154" y="61"/>
                  </a:lnTo>
                  <a:lnTo>
                    <a:pt x="210" y="61"/>
                  </a:lnTo>
                  <a:lnTo>
                    <a:pt x="210" y="0"/>
                  </a:lnTo>
                  <a:lnTo>
                    <a:pt x="273" y="0"/>
                  </a:lnTo>
                  <a:lnTo>
                    <a:pt x="273" y="186"/>
                  </a:lnTo>
                  <a:lnTo>
                    <a:pt x="210" y="186"/>
                  </a:lnTo>
                  <a:lnTo>
                    <a:pt x="210" y="124"/>
                  </a:lnTo>
                  <a:lnTo>
                    <a:pt x="154" y="124"/>
                  </a:lnTo>
                  <a:lnTo>
                    <a:pt x="154" y="186"/>
                  </a:lnTo>
                  <a:lnTo>
                    <a:pt x="91" y="186"/>
                  </a:lnTo>
                  <a:lnTo>
                    <a:pt x="91" y="0"/>
                  </a:lnTo>
                  <a:lnTo>
                    <a:pt x="91" y="0"/>
                  </a:lnTo>
                  <a:close/>
                  <a:moveTo>
                    <a:pt x="355" y="61"/>
                  </a:moveTo>
                  <a:lnTo>
                    <a:pt x="300" y="61"/>
                  </a:lnTo>
                  <a:lnTo>
                    <a:pt x="300" y="0"/>
                  </a:lnTo>
                  <a:lnTo>
                    <a:pt x="472" y="0"/>
                  </a:lnTo>
                  <a:lnTo>
                    <a:pt x="472" y="61"/>
                  </a:lnTo>
                  <a:lnTo>
                    <a:pt x="418" y="61"/>
                  </a:lnTo>
                  <a:lnTo>
                    <a:pt x="418" y="186"/>
                  </a:lnTo>
                  <a:lnTo>
                    <a:pt x="355" y="186"/>
                  </a:lnTo>
                  <a:lnTo>
                    <a:pt x="355" y="61"/>
                  </a:lnTo>
                  <a:lnTo>
                    <a:pt x="355" y="61"/>
                  </a:lnTo>
                  <a:close/>
                  <a:moveTo>
                    <a:pt x="500" y="0"/>
                  </a:moveTo>
                  <a:lnTo>
                    <a:pt x="565" y="0"/>
                  </a:lnTo>
                  <a:lnTo>
                    <a:pt x="606" y="65"/>
                  </a:lnTo>
                  <a:lnTo>
                    <a:pt x="645" y="0"/>
                  </a:lnTo>
                  <a:lnTo>
                    <a:pt x="710" y="0"/>
                  </a:lnTo>
                  <a:lnTo>
                    <a:pt x="710" y="186"/>
                  </a:lnTo>
                  <a:lnTo>
                    <a:pt x="649" y="186"/>
                  </a:lnTo>
                  <a:lnTo>
                    <a:pt x="649" y="94"/>
                  </a:lnTo>
                  <a:lnTo>
                    <a:pt x="606" y="160"/>
                  </a:lnTo>
                  <a:lnTo>
                    <a:pt x="604" y="160"/>
                  </a:lnTo>
                  <a:lnTo>
                    <a:pt x="561" y="94"/>
                  </a:lnTo>
                  <a:lnTo>
                    <a:pt x="561" y="186"/>
                  </a:lnTo>
                  <a:lnTo>
                    <a:pt x="500" y="186"/>
                  </a:lnTo>
                  <a:lnTo>
                    <a:pt x="500" y="0"/>
                  </a:lnTo>
                  <a:close/>
                  <a:moveTo>
                    <a:pt x="741" y="0"/>
                  </a:moveTo>
                  <a:lnTo>
                    <a:pt x="804" y="0"/>
                  </a:lnTo>
                  <a:lnTo>
                    <a:pt x="804" y="125"/>
                  </a:lnTo>
                  <a:lnTo>
                    <a:pt x="892" y="125"/>
                  </a:lnTo>
                  <a:lnTo>
                    <a:pt x="892" y="186"/>
                  </a:lnTo>
                  <a:lnTo>
                    <a:pt x="741" y="186"/>
                  </a:lnTo>
                  <a:lnTo>
                    <a:pt x="741" y="0"/>
                  </a:ln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17" name="Freeform 7"/>
            <p:cNvSpPr>
              <a:spLocks/>
            </p:cNvSpPr>
            <p:nvPr/>
          </p:nvSpPr>
          <p:spPr bwMode="auto">
            <a:xfrm>
              <a:off x="1993900" y="4683126"/>
              <a:ext cx="636588" cy="1501775"/>
            </a:xfrm>
            <a:custGeom>
              <a:avLst/>
              <a:gdLst>
                <a:gd name="T0" fmla="*/ 0 w 401"/>
                <a:gd name="T1" fmla="*/ 0 h 946"/>
                <a:gd name="T2" fmla="*/ 0 w 401"/>
                <a:gd name="T3" fmla="*/ 123 h 946"/>
                <a:gd name="T4" fmla="*/ 307 w 401"/>
                <a:gd name="T5" fmla="*/ 123 h 946"/>
                <a:gd name="T6" fmla="*/ 304 w 401"/>
                <a:gd name="T7" fmla="*/ 156 h 946"/>
                <a:gd name="T8" fmla="*/ 299 w 401"/>
                <a:gd name="T9" fmla="*/ 218 h 946"/>
                <a:gd name="T10" fmla="*/ 296 w 401"/>
                <a:gd name="T11" fmla="*/ 246 h 946"/>
                <a:gd name="T12" fmla="*/ 296 w 401"/>
                <a:gd name="T13" fmla="*/ 246 h 946"/>
                <a:gd name="T14" fmla="*/ 0 w 401"/>
                <a:gd name="T15" fmla="*/ 246 h 946"/>
                <a:gd name="T16" fmla="*/ 0 w 401"/>
                <a:gd name="T17" fmla="*/ 371 h 946"/>
                <a:gd name="T18" fmla="*/ 252 w 401"/>
                <a:gd name="T19" fmla="*/ 371 h 946"/>
                <a:gd name="T20" fmla="*/ 285 w 401"/>
                <a:gd name="T21" fmla="*/ 371 h 946"/>
                <a:gd name="T22" fmla="*/ 282 w 401"/>
                <a:gd name="T23" fmla="*/ 405 h 946"/>
                <a:gd name="T24" fmla="*/ 253 w 401"/>
                <a:gd name="T25" fmla="*/ 728 h 946"/>
                <a:gd name="T26" fmla="*/ 251 w 401"/>
                <a:gd name="T27" fmla="*/ 749 h 946"/>
                <a:gd name="T28" fmla="*/ 0 w 401"/>
                <a:gd name="T29" fmla="*/ 819 h 946"/>
                <a:gd name="T30" fmla="*/ 0 w 401"/>
                <a:gd name="T31" fmla="*/ 946 h 946"/>
                <a:gd name="T32" fmla="*/ 325 w 401"/>
                <a:gd name="T33" fmla="*/ 856 h 946"/>
                <a:gd name="T34" fmla="*/ 401 w 401"/>
                <a:gd name="T35" fmla="*/ 0 h 946"/>
                <a:gd name="T36" fmla="*/ 0 w 401"/>
                <a:gd name="T37" fmla="*/ 0 h 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1" h="946">
                  <a:moveTo>
                    <a:pt x="0" y="0"/>
                  </a:moveTo>
                  <a:lnTo>
                    <a:pt x="0" y="123"/>
                  </a:lnTo>
                  <a:lnTo>
                    <a:pt x="307" y="123"/>
                  </a:lnTo>
                  <a:lnTo>
                    <a:pt x="304" y="156"/>
                  </a:lnTo>
                  <a:lnTo>
                    <a:pt x="299" y="218"/>
                  </a:lnTo>
                  <a:lnTo>
                    <a:pt x="296" y="246"/>
                  </a:lnTo>
                  <a:lnTo>
                    <a:pt x="296" y="246"/>
                  </a:lnTo>
                  <a:lnTo>
                    <a:pt x="0" y="246"/>
                  </a:lnTo>
                  <a:lnTo>
                    <a:pt x="0" y="371"/>
                  </a:lnTo>
                  <a:lnTo>
                    <a:pt x="252" y="371"/>
                  </a:lnTo>
                  <a:lnTo>
                    <a:pt x="285" y="371"/>
                  </a:lnTo>
                  <a:lnTo>
                    <a:pt x="282" y="405"/>
                  </a:lnTo>
                  <a:lnTo>
                    <a:pt x="253" y="728"/>
                  </a:lnTo>
                  <a:lnTo>
                    <a:pt x="251" y="749"/>
                  </a:lnTo>
                  <a:lnTo>
                    <a:pt x="0" y="819"/>
                  </a:lnTo>
                  <a:lnTo>
                    <a:pt x="0" y="946"/>
                  </a:lnTo>
                  <a:lnTo>
                    <a:pt x="325" y="856"/>
                  </a:lnTo>
                  <a:lnTo>
                    <a:pt x="401" y="0"/>
                  </a:lnTo>
                  <a:lnTo>
                    <a:pt x="0" y="0"/>
                  </a:lnTo>
                  <a:close/>
                </a:path>
              </a:pathLst>
            </a:custGeom>
            <a:solidFill>
              <a:srgbClr val="8888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sp>
        <p:nvSpPr>
          <p:cNvPr id="253" name="Rectangle 252"/>
          <p:cNvSpPr/>
          <p:nvPr/>
        </p:nvSpPr>
        <p:spPr bwMode="auto">
          <a:xfrm>
            <a:off x="7984987" y="2934044"/>
            <a:ext cx="3733597" cy="3629886"/>
          </a:xfrm>
          <a:prstGeom prst="rect">
            <a:avLst/>
          </a:prstGeom>
          <a:solidFill>
            <a:srgbClr val="7F7F7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54" name="Rectangle 253"/>
          <p:cNvSpPr/>
          <p:nvPr/>
        </p:nvSpPr>
        <p:spPr bwMode="auto">
          <a:xfrm>
            <a:off x="4232629" y="2931126"/>
            <a:ext cx="3733597" cy="3629886"/>
          </a:xfrm>
          <a:prstGeom prst="rect">
            <a:avLst/>
          </a:prstGeom>
          <a:solidFill>
            <a:srgbClr val="7F7F7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507249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decel="100000" fill="hold" grpId="0" nodeType="withEffect">
                                  <p:stCondLst>
                                    <p:cond delay="0"/>
                                  </p:stCondLst>
                                  <p:childTnLst>
                                    <p:animMotion origin="layout" path="M 3.80904E-6 4.51203E-6 L 3.80904E-6 0.0926 " pathEditMode="relative" rAng="0" ptsTypes="AA">
                                      <p:cBhvr>
                                        <p:cTn id="6" dur="500" fill="hold"/>
                                        <p:tgtEl>
                                          <p:spTgt spid="894"/>
                                        </p:tgtEl>
                                        <p:attrNameLst>
                                          <p:attrName>ppt_x</p:attrName>
                                          <p:attrName>ppt_y</p:attrName>
                                        </p:attrNameLst>
                                      </p:cBhvr>
                                      <p:rCtr x="0" y="4630"/>
                                    </p:animMotion>
                                  </p:childTnLst>
                                </p:cTn>
                              </p:par>
                              <p:par>
                                <p:cTn id="7" presetID="42" presetClass="path" presetSubtype="0" decel="100000" fill="hold" grpId="0" nodeType="withEffect">
                                  <p:stCondLst>
                                    <p:cond delay="0"/>
                                  </p:stCondLst>
                                  <p:childTnLst>
                                    <p:animMotion origin="layout" path="M -1.86367E-7 1.5842E-6 L -1.86367E-7 0.09124 " pathEditMode="relative" rAng="0" ptsTypes="AA">
                                      <p:cBhvr>
                                        <p:cTn id="8" dur="500" fill="hold"/>
                                        <p:tgtEl>
                                          <p:spTgt spid="897"/>
                                        </p:tgtEl>
                                        <p:attrNameLst>
                                          <p:attrName>ppt_x</p:attrName>
                                          <p:attrName>ppt_y</p:attrName>
                                        </p:attrNameLst>
                                      </p:cBhvr>
                                      <p:rCtr x="0" y="4562"/>
                                    </p:animMotion>
                                  </p:childTnLst>
                                </p:cTn>
                              </p:par>
                            </p:childTnLst>
                          </p:cTn>
                        </p:par>
                        <p:par>
                          <p:cTn id="9" fill="hold">
                            <p:stCondLst>
                              <p:cond delay="500"/>
                            </p:stCondLst>
                            <p:childTnLst>
                              <p:par>
                                <p:cTn id="10" presetID="10" presetClass="entr" presetSubtype="0" fill="hold" nodeType="after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childTnLst>
                          </p:cTn>
                        </p:par>
                        <p:par>
                          <p:cTn id="13" fill="hold">
                            <p:stCondLst>
                              <p:cond delay="1000"/>
                            </p:stCondLst>
                            <p:childTnLst>
                              <p:par>
                                <p:cTn id="14" presetID="10" presetClass="entr" presetSubtype="0" fill="hold" grpId="0" nodeType="afterEffect">
                                  <p:stCondLst>
                                    <p:cond delay="0"/>
                                  </p:stCondLst>
                                  <p:childTnLst>
                                    <p:set>
                                      <p:cBhvr>
                                        <p:cTn id="15" dur="1" fill="hold">
                                          <p:stCondLst>
                                            <p:cond delay="0"/>
                                          </p:stCondLst>
                                        </p:cTn>
                                        <p:tgtEl>
                                          <p:spTgt spid="237"/>
                                        </p:tgtEl>
                                        <p:attrNameLst>
                                          <p:attrName>style.visibility</p:attrName>
                                        </p:attrNameLst>
                                      </p:cBhvr>
                                      <p:to>
                                        <p:strVal val="visible"/>
                                      </p:to>
                                    </p:set>
                                    <p:animEffect transition="in" filter="fade">
                                      <p:cBhvr>
                                        <p:cTn id="16" dur="500"/>
                                        <p:tgtEl>
                                          <p:spTgt spid="2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7" grpId="0" animBg="1"/>
      <p:bldP spid="894" grpId="0" animBg="1"/>
      <p:bldP spid="897"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pps for Office</a:t>
            </a:r>
            <a:br>
              <a:rPr lang="en-US" dirty="0" smtClean="0"/>
            </a:br>
            <a:r>
              <a:rPr lang="en-US" sz="3528" dirty="0"/>
              <a:t>A new way to build extensions for Office</a:t>
            </a:r>
          </a:p>
        </p:txBody>
      </p:sp>
      <p:grpSp>
        <p:nvGrpSpPr>
          <p:cNvPr id="6" name="Group 5"/>
          <p:cNvGrpSpPr/>
          <p:nvPr/>
        </p:nvGrpSpPr>
        <p:grpSpPr>
          <a:xfrm>
            <a:off x="462510" y="2084714"/>
            <a:ext cx="7002248" cy="1305014"/>
            <a:chOff x="1522770" y="1744662"/>
            <a:chExt cx="7005065" cy="1305539"/>
          </a:xfrm>
        </p:grpSpPr>
        <p:grpSp>
          <p:nvGrpSpPr>
            <p:cNvPr id="8" name="Group 3"/>
            <p:cNvGrpSpPr/>
            <p:nvPr/>
          </p:nvGrpSpPr>
          <p:grpSpPr>
            <a:xfrm>
              <a:off x="1523135" y="1744662"/>
              <a:ext cx="1572843" cy="1090414"/>
              <a:chOff x="5952186" y="4507261"/>
              <a:chExt cx="2055655" cy="1425136"/>
            </a:xfrm>
          </p:grpSpPr>
          <p:pic>
            <p:nvPicPr>
              <p:cNvPr id="12"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52186" y="4507261"/>
                <a:ext cx="2055655" cy="1425136"/>
              </a:xfrm>
              <a:prstGeom prst="rect">
                <a:avLst/>
              </a:prstGeom>
              <a:ln w="6350">
                <a:solidFill>
                  <a:schemeClr val="tx1">
                    <a:lumMod val="20000"/>
                    <a:lumOff val="80000"/>
                  </a:schemeClr>
                </a:solidFill>
              </a:ln>
              <a:effectLst/>
              <a:extLst>
                <a:ext uri="{909E8E84-426E-40DD-AFC4-6F175D3DCCD1}">
                  <a14:hiddenFill xmlns:a14="http://schemas.microsoft.com/office/drawing/2010/main">
                    <a:solidFill>
                      <a:schemeClr val="accent1"/>
                    </a:solidFill>
                  </a14:hiddenFill>
                </a:ext>
              </a:extLst>
            </p:spPr>
          </p:pic>
          <p:sp>
            <p:nvSpPr>
              <p:cNvPr id="14" name="Rectangle 36"/>
              <p:cNvSpPr/>
              <p:nvPr/>
            </p:nvSpPr>
            <p:spPr bwMode="auto">
              <a:xfrm>
                <a:off x="6315569" y="4854637"/>
                <a:ext cx="1621086" cy="410551"/>
              </a:xfrm>
              <a:prstGeom prst="rect">
                <a:avLst/>
              </a:prstGeom>
              <a:solidFill>
                <a:srgbClr val="0072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9498" tIns="14750" rIns="14750" bIns="29498" numCol="1" spcCol="0" rtlCol="0" fromWordArt="0" anchor="b" anchorCtr="0" forceAA="0" compatLnSpc="1">
                <a:prstTxWarp prst="textNoShape">
                  <a:avLst/>
                </a:prstTxWarp>
                <a:noAutofit/>
              </a:bodyPr>
              <a:lstStyle/>
              <a:p>
                <a:pPr algn="ctr" defTabSz="698412" fontAlgn="base">
                  <a:spcBef>
                    <a:spcPct val="0"/>
                  </a:spcBef>
                  <a:spcAft>
                    <a:spcPct val="0"/>
                  </a:spcAft>
                </a:pPr>
                <a:endParaRPr lang="en-US" sz="917" spc="-39" dirty="0">
                  <a:gradFill>
                    <a:gsLst>
                      <a:gs pos="0">
                        <a:srgbClr val="FFFFFF"/>
                      </a:gs>
                      <a:gs pos="100000">
                        <a:srgbClr val="FFFFFF"/>
                      </a:gs>
                    </a:gsLst>
                    <a:lin ang="5400000" scaled="0"/>
                  </a:gradFill>
                  <a:ea typeface="Segoe UI" pitchFamily="34" charset="0"/>
                  <a:cs typeface="Segoe UI" pitchFamily="34" charset="0"/>
                </a:endParaRPr>
              </a:p>
            </p:txBody>
          </p:sp>
        </p:grpSp>
        <p:sp>
          <p:nvSpPr>
            <p:cNvPr id="9" name="TextBox 5"/>
            <p:cNvSpPr txBox="1"/>
            <p:nvPr/>
          </p:nvSpPr>
          <p:spPr>
            <a:xfrm>
              <a:off x="1522770" y="2834670"/>
              <a:ext cx="1701748" cy="215531"/>
            </a:xfrm>
            <a:prstGeom prst="rect">
              <a:avLst/>
            </a:prstGeom>
            <a:noFill/>
          </p:spPr>
          <p:txBody>
            <a:bodyPr wrap="square" lIns="0" tIns="0" rIns="0" bIns="0" rtlCol="0">
              <a:spAutoFit/>
            </a:bodyPr>
            <a:lstStyle/>
            <a:p>
              <a:pPr defTabSz="914180"/>
              <a:r>
                <a:rPr lang="en-US" sz="1400" dirty="0">
                  <a:gradFill>
                    <a:gsLst>
                      <a:gs pos="1227">
                        <a:srgbClr val="505050"/>
                      </a:gs>
                      <a:gs pos="51000">
                        <a:srgbClr val="505050"/>
                      </a:gs>
                    </a:gsLst>
                    <a:lin ang="5400000" scaled="1"/>
                  </a:gradFill>
                  <a:cs typeface="Segoe UI" panose="020B0502040204020203" pitchFamily="34" charset="0"/>
                </a:rPr>
                <a:t>Contextual pane</a:t>
              </a:r>
            </a:p>
          </p:txBody>
        </p:sp>
        <p:sp>
          <p:nvSpPr>
            <p:cNvPr id="10" name="Text Placeholder 2"/>
            <p:cNvSpPr txBox="1">
              <a:spLocks/>
            </p:cNvSpPr>
            <p:nvPr/>
          </p:nvSpPr>
          <p:spPr>
            <a:xfrm>
              <a:off x="3153028" y="1744662"/>
              <a:ext cx="5374807" cy="1139392"/>
            </a:xfrm>
            <a:prstGeom prst="rect">
              <a:avLst/>
            </a:prstGeom>
          </p:spPr>
          <p:txBody>
            <a:bodyPr lIns="93214" tIns="46608" rIns="93214" bIns="46608"/>
            <a:lstStyle>
              <a:lvl1pPr marL="345796" indent="-345796" algn="l" defTabSz="913637" rtl="0" eaLnBrk="1" latinLnBrk="0" hangingPunct="1">
                <a:lnSpc>
                  <a:spcPct val="90000"/>
                </a:lnSpc>
                <a:spcBef>
                  <a:spcPct val="20000"/>
                </a:spcBef>
                <a:buSzPct val="90000"/>
                <a:buFont typeface="Arial" pitchFamily="34" charset="0"/>
                <a:buChar char="•"/>
                <a:defRPr sz="32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629739" indent="-283935" algn="l" defTabSz="913637" rtl="0" eaLnBrk="1" latinLnBrk="0" hangingPunct="1">
                <a:lnSpc>
                  <a:spcPct val="90000"/>
                </a:lnSpc>
                <a:spcBef>
                  <a:spcPct val="20000"/>
                </a:spcBef>
                <a:buSzPct val="90000"/>
                <a:buFont typeface="Arial" pitchFamily="34" charset="0"/>
                <a:buChar char="•"/>
                <a:tabLst>
                  <a:tab pos="629739" algn="l"/>
                </a:tabLst>
                <a:defRPr sz="2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3673" indent="-283935" algn="l" defTabSz="913637"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1549" indent="-223661" algn="l" defTabSz="913637" rtl="0" eaLnBrk="1" latinLnBrk="0" hangingPunct="1">
                <a:lnSpc>
                  <a:spcPct val="90000"/>
                </a:lnSpc>
                <a:spcBef>
                  <a:spcPct val="20000"/>
                </a:spcBef>
                <a:buSzPct val="90000"/>
                <a:buFont typeface="Arial" pitchFamily="34" charset="0"/>
                <a:buChar char="•"/>
                <a:tabLst>
                  <a:tab pos="913673"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1555" indent="-230006" algn="l" defTabSz="913637" rtl="0" eaLnBrk="1" latinLnBrk="0" hangingPunct="1">
                <a:lnSpc>
                  <a:spcPct val="90000"/>
                </a:lnSpc>
                <a:spcBef>
                  <a:spcPct val="20000"/>
                </a:spcBef>
                <a:buSzPct val="90000"/>
                <a:buFont typeface="Arial" pitchFamily="34" charset="0"/>
                <a:buChar char="•"/>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2504"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323"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141"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2963"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0"/>
                </a:spcBef>
                <a:spcAft>
                  <a:spcPts val="612"/>
                </a:spcAft>
                <a:buNone/>
              </a:pPr>
              <a:r>
                <a:rPr lang="en-US" sz="2447" dirty="0">
                  <a:gradFill>
                    <a:gsLst>
                      <a:gs pos="3681">
                        <a:srgbClr val="0072C6"/>
                      </a:gs>
                      <a:gs pos="35000">
                        <a:srgbClr val="0072C6"/>
                      </a:gs>
                    </a:gsLst>
                    <a:lin ang="5400000" scaled="1"/>
                  </a:gradFill>
                  <a:latin typeface="Segoe UI Light"/>
                </a:rPr>
                <a:t>Outlook, Outlook Web Access</a:t>
              </a:r>
            </a:p>
            <a:p>
              <a:pPr marL="0" indent="0">
                <a:lnSpc>
                  <a:spcPct val="100000"/>
                </a:lnSpc>
                <a:spcBef>
                  <a:spcPts val="0"/>
                </a:spcBef>
                <a:spcAft>
                  <a:spcPts val="612"/>
                </a:spcAft>
                <a:buNone/>
              </a:pPr>
              <a:r>
                <a:rPr lang="en-US" sz="1938" dirty="0">
                  <a:gradFill flip="none" rotWithShape="1">
                    <a:gsLst>
                      <a:gs pos="0">
                        <a:srgbClr val="000000">
                          <a:lumMod val="65000"/>
                          <a:lumOff val="35000"/>
                        </a:srgbClr>
                      </a:gs>
                      <a:gs pos="86000">
                        <a:srgbClr val="000000">
                          <a:lumMod val="75000"/>
                          <a:lumOff val="25000"/>
                        </a:srgbClr>
                      </a:gs>
                    </a:gsLst>
                    <a:path path="circle">
                      <a:fillToRect r="100000" b="100000"/>
                    </a:path>
                    <a:tileRect l="-100000" t="-100000"/>
                  </a:gradFill>
                </a:rPr>
                <a:t>In context of mail, calendar items, people card</a:t>
              </a:r>
            </a:p>
          </p:txBody>
        </p:sp>
      </p:grpSp>
      <p:grpSp>
        <p:nvGrpSpPr>
          <p:cNvPr id="18" name="Group 17"/>
          <p:cNvGrpSpPr/>
          <p:nvPr/>
        </p:nvGrpSpPr>
        <p:grpSpPr>
          <a:xfrm>
            <a:off x="462874" y="3647813"/>
            <a:ext cx="9415714" cy="1522840"/>
            <a:chOff x="1523135" y="3569918"/>
            <a:chExt cx="9419502" cy="1523453"/>
          </a:xfrm>
        </p:grpSpPr>
        <p:pic>
          <p:nvPicPr>
            <p:cNvPr id="23"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3135" y="3569918"/>
              <a:ext cx="1569468" cy="10942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0" name="TextBox 52"/>
            <p:cNvSpPr txBox="1"/>
            <p:nvPr/>
          </p:nvSpPr>
          <p:spPr>
            <a:xfrm>
              <a:off x="1523135" y="4662311"/>
              <a:ext cx="765466" cy="431060"/>
            </a:xfrm>
            <a:prstGeom prst="rect">
              <a:avLst/>
            </a:prstGeom>
            <a:noFill/>
          </p:spPr>
          <p:txBody>
            <a:bodyPr wrap="square" lIns="0" tIns="0" rIns="0" bIns="0" rtlCol="0">
              <a:spAutoFit/>
            </a:bodyPr>
            <a:lstStyle>
              <a:defPPr>
                <a:defRPr lang="en-US"/>
              </a:defPPr>
              <a:lvl1pPr>
                <a:defRPr sz="1428">
                  <a:gradFill>
                    <a:gsLst>
                      <a:gs pos="1227">
                        <a:schemeClr val="tx1"/>
                      </a:gs>
                      <a:gs pos="51000">
                        <a:schemeClr val="tx1"/>
                      </a:gs>
                    </a:gsLst>
                    <a:lin ang="5400000" scaled="1"/>
                  </a:gradFill>
                  <a:latin typeface="Segoe UI" panose="020B0502040204020203" pitchFamily="34" charset="0"/>
                  <a:cs typeface="Segoe UI" panose="020B0502040204020203" pitchFamily="34" charset="0"/>
                </a:defRPr>
              </a:lvl1pPr>
            </a:lstStyle>
            <a:p>
              <a:pPr defTabSz="914180"/>
              <a:r>
                <a:rPr lang="en-US" sz="1400" dirty="0">
                  <a:gradFill>
                    <a:gsLst>
                      <a:gs pos="1227">
                        <a:srgbClr val="505050"/>
                      </a:gs>
                      <a:gs pos="51000">
                        <a:srgbClr val="505050"/>
                      </a:gs>
                    </a:gsLst>
                    <a:lin ang="5400000" scaled="1"/>
                  </a:gradFill>
                </a:rPr>
                <a:t>Task pane</a:t>
              </a:r>
            </a:p>
          </p:txBody>
        </p:sp>
        <p:sp>
          <p:nvSpPr>
            <p:cNvPr id="21" name="Text Placeholder 2"/>
            <p:cNvSpPr txBox="1">
              <a:spLocks/>
            </p:cNvSpPr>
            <p:nvPr/>
          </p:nvSpPr>
          <p:spPr>
            <a:xfrm>
              <a:off x="3153028" y="3569918"/>
              <a:ext cx="7789609" cy="1139392"/>
            </a:xfrm>
            <a:prstGeom prst="rect">
              <a:avLst/>
            </a:prstGeom>
          </p:spPr>
          <p:txBody>
            <a:bodyPr lIns="93214" tIns="46608" rIns="93214" bIns="46608"/>
            <a:lstStyle>
              <a:lvl1pPr marL="345796" indent="-345796" algn="l" defTabSz="913637" rtl="0" eaLnBrk="1" latinLnBrk="0" hangingPunct="1">
                <a:lnSpc>
                  <a:spcPct val="90000"/>
                </a:lnSpc>
                <a:spcBef>
                  <a:spcPct val="20000"/>
                </a:spcBef>
                <a:buSzPct val="90000"/>
                <a:buFont typeface="Arial" pitchFamily="34" charset="0"/>
                <a:buChar char="•"/>
                <a:defRPr sz="32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629739" indent="-283935" algn="l" defTabSz="913637" rtl="0" eaLnBrk="1" latinLnBrk="0" hangingPunct="1">
                <a:lnSpc>
                  <a:spcPct val="90000"/>
                </a:lnSpc>
                <a:spcBef>
                  <a:spcPct val="20000"/>
                </a:spcBef>
                <a:buSzPct val="90000"/>
                <a:buFont typeface="Arial" pitchFamily="34" charset="0"/>
                <a:buChar char="•"/>
                <a:tabLst>
                  <a:tab pos="629739" algn="l"/>
                </a:tabLst>
                <a:defRPr sz="2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3673" indent="-283935" algn="l" defTabSz="913637"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1549" indent="-223661" algn="l" defTabSz="913637" rtl="0" eaLnBrk="1" latinLnBrk="0" hangingPunct="1">
                <a:lnSpc>
                  <a:spcPct val="90000"/>
                </a:lnSpc>
                <a:spcBef>
                  <a:spcPct val="20000"/>
                </a:spcBef>
                <a:buSzPct val="90000"/>
                <a:buFont typeface="Arial" pitchFamily="34" charset="0"/>
                <a:buChar char="•"/>
                <a:tabLst>
                  <a:tab pos="913673"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1555" indent="-230006" algn="l" defTabSz="913637" rtl="0" eaLnBrk="1" latinLnBrk="0" hangingPunct="1">
                <a:lnSpc>
                  <a:spcPct val="90000"/>
                </a:lnSpc>
                <a:spcBef>
                  <a:spcPct val="20000"/>
                </a:spcBef>
                <a:buSzPct val="90000"/>
                <a:buFont typeface="Arial" pitchFamily="34" charset="0"/>
                <a:buChar char="•"/>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2504"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323"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141"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2963"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0"/>
                </a:spcBef>
                <a:spcAft>
                  <a:spcPts val="612"/>
                </a:spcAft>
                <a:buNone/>
              </a:pPr>
              <a:r>
                <a:rPr lang="en-US" sz="2447" dirty="0">
                  <a:gradFill>
                    <a:gsLst>
                      <a:gs pos="3681">
                        <a:srgbClr val="0072C6"/>
                      </a:gs>
                      <a:gs pos="35000">
                        <a:srgbClr val="0072C6"/>
                      </a:gs>
                    </a:gsLst>
                    <a:lin ang="5400000" scaled="1"/>
                  </a:gradFill>
                  <a:latin typeface="Segoe UI Light"/>
                </a:rPr>
                <a:t>Word, Excel, PowerPoint, Project</a:t>
              </a:r>
            </a:p>
            <a:p>
              <a:pPr marL="0" indent="0">
                <a:lnSpc>
                  <a:spcPct val="100000"/>
                </a:lnSpc>
                <a:spcBef>
                  <a:spcPts val="0"/>
                </a:spcBef>
                <a:spcAft>
                  <a:spcPts val="612"/>
                </a:spcAft>
                <a:buNone/>
              </a:pPr>
              <a:r>
                <a:rPr lang="en-US" sz="1938" dirty="0">
                  <a:gradFill flip="none" rotWithShape="1">
                    <a:gsLst>
                      <a:gs pos="0">
                        <a:srgbClr val="000000">
                          <a:lumMod val="65000"/>
                          <a:lumOff val="35000"/>
                        </a:srgbClr>
                      </a:gs>
                      <a:gs pos="86000">
                        <a:srgbClr val="000000">
                          <a:lumMod val="75000"/>
                          <a:lumOff val="25000"/>
                        </a:srgbClr>
                      </a:gs>
                    </a:gsLst>
                    <a:path path="circle">
                      <a:fillToRect r="100000" b="100000"/>
                    </a:path>
                    <a:tileRect l="-100000" t="-100000"/>
                  </a:gradFill>
                </a:rPr>
                <a:t>Task pane area with read/write access to document contents</a:t>
              </a:r>
            </a:p>
          </p:txBody>
        </p:sp>
        <p:sp>
          <p:nvSpPr>
            <p:cNvPr id="22" name="Rectangle 21"/>
            <p:cNvSpPr/>
            <p:nvPr/>
          </p:nvSpPr>
          <p:spPr bwMode="auto">
            <a:xfrm>
              <a:off x="2617649" y="3685371"/>
              <a:ext cx="446210" cy="9571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1" tIns="45701" rIns="45701" bIns="45701" numCol="1" spcCol="0" rtlCol="0" fromWordArt="0" anchor="ctr" anchorCtr="0" forceAA="0" compatLnSpc="1">
              <a:prstTxWarp prst="textNoShape">
                <a:avLst/>
              </a:prstTxWarp>
              <a:noAutofit/>
            </a:bodyPr>
            <a:lstStyle/>
            <a:p>
              <a:pPr algn="ctr" defTabSz="913737" fontAlgn="base">
                <a:spcBef>
                  <a:spcPct val="0"/>
                </a:spcBef>
                <a:spcAft>
                  <a:spcPct val="0"/>
                </a:spcAft>
              </a:pPr>
              <a:endParaRPr lang="en-US" sz="2199"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29" name="Group 28"/>
          <p:cNvGrpSpPr/>
          <p:nvPr/>
        </p:nvGrpSpPr>
        <p:grpSpPr>
          <a:xfrm>
            <a:off x="443428" y="5185658"/>
            <a:ext cx="8090169" cy="1295839"/>
            <a:chOff x="1523135" y="5403183"/>
            <a:chExt cx="8093424" cy="1296360"/>
          </a:xfrm>
        </p:grpSpPr>
        <p:sp>
          <p:nvSpPr>
            <p:cNvPr id="30" name="Text Placeholder 2"/>
            <p:cNvSpPr txBox="1">
              <a:spLocks/>
            </p:cNvSpPr>
            <p:nvPr/>
          </p:nvSpPr>
          <p:spPr>
            <a:xfrm>
              <a:off x="3153028" y="5403183"/>
              <a:ext cx="6463531" cy="1139392"/>
            </a:xfrm>
            <a:prstGeom prst="rect">
              <a:avLst/>
            </a:prstGeom>
          </p:spPr>
          <p:txBody>
            <a:bodyPr lIns="93214" tIns="46608" rIns="93214" bIns="46608"/>
            <a:lstStyle>
              <a:lvl1pPr marL="345796" indent="-345796" algn="l" defTabSz="913637" rtl="0" eaLnBrk="1" latinLnBrk="0" hangingPunct="1">
                <a:lnSpc>
                  <a:spcPct val="90000"/>
                </a:lnSpc>
                <a:spcBef>
                  <a:spcPct val="20000"/>
                </a:spcBef>
                <a:buSzPct val="90000"/>
                <a:buFont typeface="Arial" pitchFamily="34" charset="0"/>
                <a:buChar char="•"/>
                <a:defRPr sz="32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629739" indent="-283935" algn="l" defTabSz="913637" rtl="0" eaLnBrk="1" latinLnBrk="0" hangingPunct="1">
                <a:lnSpc>
                  <a:spcPct val="90000"/>
                </a:lnSpc>
                <a:spcBef>
                  <a:spcPct val="20000"/>
                </a:spcBef>
                <a:buSzPct val="90000"/>
                <a:buFont typeface="Arial" pitchFamily="34" charset="0"/>
                <a:buChar char="•"/>
                <a:tabLst>
                  <a:tab pos="629739" algn="l"/>
                </a:tabLst>
                <a:defRPr sz="2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3673" indent="-283935" algn="l" defTabSz="913637"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1549" indent="-223661" algn="l" defTabSz="913637" rtl="0" eaLnBrk="1" latinLnBrk="0" hangingPunct="1">
                <a:lnSpc>
                  <a:spcPct val="90000"/>
                </a:lnSpc>
                <a:spcBef>
                  <a:spcPct val="20000"/>
                </a:spcBef>
                <a:buSzPct val="90000"/>
                <a:buFont typeface="Arial" pitchFamily="34" charset="0"/>
                <a:buChar char="•"/>
                <a:tabLst>
                  <a:tab pos="913673"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1555" indent="-230006" algn="l" defTabSz="913637" rtl="0" eaLnBrk="1" latinLnBrk="0" hangingPunct="1">
                <a:lnSpc>
                  <a:spcPct val="90000"/>
                </a:lnSpc>
                <a:spcBef>
                  <a:spcPct val="20000"/>
                </a:spcBef>
                <a:buSzPct val="90000"/>
                <a:buFont typeface="Arial" pitchFamily="34" charset="0"/>
                <a:buChar char="•"/>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2504"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323"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141"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2963"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0"/>
                </a:spcBef>
                <a:spcAft>
                  <a:spcPts val="612"/>
                </a:spcAft>
                <a:buNone/>
              </a:pPr>
              <a:r>
                <a:rPr lang="en-US" sz="2447" dirty="0">
                  <a:gradFill>
                    <a:gsLst>
                      <a:gs pos="3681">
                        <a:srgbClr val="0072C6"/>
                      </a:gs>
                      <a:gs pos="35000">
                        <a:srgbClr val="0072C6"/>
                      </a:gs>
                    </a:gsLst>
                    <a:lin ang="5400000" scaled="1"/>
                  </a:gradFill>
                  <a:latin typeface="Segoe UI Light"/>
                </a:rPr>
                <a:t>Excel, PowerPoint</a:t>
              </a:r>
            </a:p>
            <a:p>
              <a:pPr marL="0" indent="0">
                <a:lnSpc>
                  <a:spcPct val="100000"/>
                </a:lnSpc>
                <a:spcBef>
                  <a:spcPts val="0"/>
                </a:spcBef>
                <a:spcAft>
                  <a:spcPts val="612"/>
                </a:spcAft>
                <a:buNone/>
              </a:pPr>
              <a:r>
                <a:rPr lang="en-US" sz="1938" dirty="0">
                  <a:gradFill flip="none" rotWithShape="1">
                    <a:gsLst>
                      <a:gs pos="0">
                        <a:srgbClr val="000000">
                          <a:lumMod val="65000"/>
                          <a:lumOff val="35000"/>
                        </a:srgbClr>
                      </a:gs>
                      <a:gs pos="86000">
                        <a:srgbClr val="000000">
                          <a:lumMod val="75000"/>
                          <a:lumOff val="25000"/>
                        </a:srgbClr>
                      </a:gs>
                    </a:gsLst>
                    <a:path path="circle">
                      <a:fillToRect r="100000" b="100000"/>
                    </a:path>
                    <a:tileRect l="-100000" t="-100000"/>
                  </a:gradFill>
                </a:rPr>
                <a:t>App runs within a documents content</a:t>
              </a:r>
            </a:p>
          </p:txBody>
        </p:sp>
        <p:grpSp>
          <p:nvGrpSpPr>
            <p:cNvPr id="31" name="Group 30"/>
            <p:cNvGrpSpPr/>
            <p:nvPr/>
          </p:nvGrpSpPr>
          <p:grpSpPr>
            <a:xfrm>
              <a:off x="1523135" y="5403183"/>
              <a:ext cx="2010127" cy="1296360"/>
              <a:chOff x="1523135" y="5403183"/>
              <a:chExt cx="2010127" cy="1296360"/>
            </a:xfrm>
          </p:grpSpPr>
          <p:pic>
            <p:nvPicPr>
              <p:cNvPr id="35"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23135" y="5403183"/>
                <a:ext cx="1569468" cy="10942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3" name="TextBox 71"/>
              <p:cNvSpPr txBox="1"/>
              <p:nvPr/>
            </p:nvSpPr>
            <p:spPr>
              <a:xfrm>
                <a:off x="1528829" y="6484012"/>
                <a:ext cx="2004433" cy="215531"/>
              </a:xfrm>
              <a:prstGeom prst="rect">
                <a:avLst/>
              </a:prstGeom>
              <a:noFill/>
            </p:spPr>
            <p:txBody>
              <a:bodyPr wrap="square" lIns="0" tIns="0" rIns="0" bIns="0" rtlCol="0">
                <a:spAutoFit/>
              </a:bodyPr>
              <a:lstStyle>
                <a:defPPr>
                  <a:defRPr lang="en-US"/>
                </a:defPPr>
                <a:lvl1pPr>
                  <a:defRPr sz="1428">
                    <a:gradFill>
                      <a:gsLst>
                        <a:gs pos="1227">
                          <a:schemeClr val="tx1"/>
                        </a:gs>
                        <a:gs pos="51000">
                          <a:schemeClr val="tx1"/>
                        </a:gs>
                      </a:gsLst>
                      <a:lin ang="5400000" scaled="1"/>
                    </a:gradFill>
                    <a:latin typeface="Segoe UI" panose="020B0502040204020203" pitchFamily="34" charset="0"/>
                    <a:cs typeface="Segoe UI" panose="020B0502040204020203" pitchFamily="34" charset="0"/>
                  </a:defRPr>
                </a:lvl1pPr>
              </a:lstStyle>
              <a:p>
                <a:pPr defTabSz="914180"/>
                <a:r>
                  <a:rPr lang="en-US" sz="1400" dirty="0">
                    <a:gradFill>
                      <a:gsLst>
                        <a:gs pos="1227">
                          <a:srgbClr val="505050"/>
                        </a:gs>
                        <a:gs pos="51000">
                          <a:srgbClr val="505050"/>
                        </a:gs>
                      </a:gsLst>
                      <a:lin ang="5400000" scaled="1"/>
                    </a:gradFill>
                  </a:rPr>
                  <a:t>Embedded content</a:t>
                </a:r>
              </a:p>
            </p:txBody>
          </p:sp>
          <p:sp>
            <p:nvSpPr>
              <p:cNvPr id="34" name="Rectangle 33"/>
              <p:cNvSpPr/>
              <p:nvPr/>
            </p:nvSpPr>
            <p:spPr bwMode="auto">
              <a:xfrm>
                <a:off x="2485792" y="6006822"/>
                <a:ext cx="469327" cy="44820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1" tIns="45701" rIns="45701" bIns="45701" numCol="1" spcCol="0" rtlCol="0" fromWordArt="0" anchor="ctr" anchorCtr="0" forceAA="0" compatLnSpc="1">
                <a:prstTxWarp prst="textNoShape">
                  <a:avLst/>
                </a:prstTxWarp>
                <a:noAutofit/>
              </a:bodyPr>
              <a:lstStyle/>
              <a:p>
                <a:pPr algn="ctr" defTabSz="913737" fontAlgn="base">
                  <a:spcBef>
                    <a:spcPct val="0"/>
                  </a:spcBef>
                  <a:spcAft>
                    <a:spcPct val="0"/>
                  </a:spcAft>
                </a:pPr>
                <a:endParaRPr lang="en-US" sz="2199" dirty="0">
                  <a:gradFill>
                    <a:gsLst>
                      <a:gs pos="0">
                        <a:srgbClr val="FFFFFF"/>
                      </a:gs>
                      <a:gs pos="100000">
                        <a:srgbClr val="FFFFFF"/>
                      </a:gs>
                    </a:gsLst>
                    <a:lin ang="5400000" scaled="0"/>
                  </a:gradFill>
                  <a:ea typeface="Segoe UI" pitchFamily="34" charset="0"/>
                  <a:cs typeface="Segoe UI" pitchFamily="34" charset="0"/>
                </a:endParaRPr>
              </a:p>
            </p:txBody>
          </p:sp>
        </p:grpSp>
      </p:grpSp>
    </p:spTree>
    <p:extLst>
      <p:ext uri="{BB962C8B-B14F-4D97-AF65-F5344CB8AC3E}">
        <p14:creationId xmlns:p14="http://schemas.microsoft.com/office/powerpoint/2010/main" val="3996766395"/>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Mobile friendly</a:t>
            </a:r>
            <a:br>
              <a:rPr lang="en-US" dirty="0" smtClean="0"/>
            </a:br>
            <a:r>
              <a:rPr lang="en-US" sz="3528" dirty="0"/>
              <a:t>Write once, run everywhere</a:t>
            </a:r>
          </a:p>
        </p:txBody>
      </p:sp>
      <p:sp>
        <p:nvSpPr>
          <p:cNvPr id="3" name="Slide Number Placeholder 2"/>
          <p:cNvSpPr>
            <a:spLocks noGrp="1"/>
          </p:cNvSpPr>
          <p:nvPr>
            <p:ph type="sldNum" sz="quarter" idx="4294967295"/>
          </p:nvPr>
        </p:nvSpPr>
        <p:spPr>
          <a:xfrm>
            <a:off x="11788963" y="6640353"/>
            <a:ext cx="399863" cy="216268"/>
          </a:xfrm>
          <a:prstGeom prst="rect">
            <a:avLst/>
          </a:prstGeom>
        </p:spPr>
        <p:txBody>
          <a:bodyPr/>
          <a:lstStyle/>
          <a:p>
            <a:pPr defTabSz="913826"/>
            <a:fld id="{727B4C2D-45E2-4621-8491-2995EB46A674}" type="slidenum">
              <a:rPr lang="en-US" smtClean="0">
                <a:gradFill>
                  <a:gsLst>
                    <a:gs pos="100000">
                      <a:srgbClr val="797A7D"/>
                    </a:gs>
                    <a:gs pos="0">
                      <a:srgbClr val="797A7D"/>
                    </a:gs>
                  </a:gsLst>
                  <a:lin ang="5400000" scaled="0"/>
                </a:gradFill>
              </a:rPr>
              <a:pPr defTabSz="913826"/>
              <a:t>15</a:t>
            </a:fld>
            <a:endParaRPr lang="en-US" dirty="0">
              <a:gradFill>
                <a:gsLst>
                  <a:gs pos="100000">
                    <a:srgbClr val="797A7D"/>
                  </a:gs>
                  <a:gs pos="0">
                    <a:srgbClr val="797A7D"/>
                  </a:gs>
                </a:gsLst>
                <a:lin ang="5400000" scaled="0"/>
              </a:gradFill>
            </a:endParaRPr>
          </a:p>
        </p:txBody>
      </p:sp>
      <p:pic>
        <p:nvPicPr>
          <p:cNvPr id="35" name="Picture 34"/>
          <p:cNvPicPr>
            <a:picLocks noChangeAspect="1"/>
          </p:cNvPicPr>
          <p:nvPr/>
        </p:nvPicPr>
        <p:blipFill>
          <a:blip r:embed="rId2"/>
          <a:stretch>
            <a:fillRect/>
          </a:stretch>
        </p:blipFill>
        <p:spPr>
          <a:xfrm>
            <a:off x="4655693" y="2332342"/>
            <a:ext cx="4568018" cy="2997762"/>
          </a:xfrm>
          <a:prstGeom prst="rect">
            <a:avLst/>
          </a:prstGeom>
          <a:ln w="6350">
            <a:solidFill>
              <a:schemeClr val="tx1">
                <a:lumMod val="20000"/>
                <a:lumOff val="80000"/>
              </a:schemeClr>
            </a:solidFill>
          </a:ln>
        </p:spPr>
      </p:pic>
      <p:pic>
        <p:nvPicPr>
          <p:cNvPr id="36" name="Picture 35"/>
          <p:cNvPicPr>
            <a:picLocks noChangeAspect="1"/>
          </p:cNvPicPr>
          <p:nvPr/>
        </p:nvPicPr>
        <p:blipFill rotWithShape="1">
          <a:blip r:embed="rId3"/>
          <a:srcRect b="23201"/>
          <a:stretch/>
        </p:blipFill>
        <p:spPr>
          <a:xfrm>
            <a:off x="9399023" y="2332343"/>
            <a:ext cx="2268312" cy="2997761"/>
          </a:xfrm>
          <a:prstGeom prst="rect">
            <a:avLst/>
          </a:prstGeom>
          <a:ln w="6350">
            <a:solidFill>
              <a:schemeClr val="tx1">
                <a:lumMod val="20000"/>
                <a:lumOff val="80000"/>
              </a:schemeClr>
            </a:solidFill>
          </a:ln>
        </p:spPr>
      </p:pic>
      <p:pic>
        <p:nvPicPr>
          <p:cNvPr id="1026" name="Picture 1" descr="image001"/>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95858" y="2332342"/>
            <a:ext cx="3984524" cy="2997762"/>
          </a:xfrm>
          <a:prstGeom prst="rect">
            <a:avLst/>
          </a:prstGeom>
          <a:ln w="6350">
            <a:solidFill>
              <a:schemeClr val="tx1">
                <a:lumMod val="20000"/>
                <a:lumOff val="80000"/>
              </a:schemeClr>
            </a:solidFill>
          </a:ln>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444182" y="5564923"/>
            <a:ext cx="2499531" cy="422295"/>
          </a:xfrm>
          <a:prstGeom prst="rect">
            <a:avLst/>
          </a:prstGeom>
          <a:noFill/>
        </p:spPr>
        <p:txBody>
          <a:bodyPr wrap="none" lIns="0" tIns="0" rIns="0" bIns="0" rtlCol="0">
            <a:spAutoFit/>
          </a:bodyPr>
          <a:lstStyle/>
          <a:p>
            <a:pPr algn="ctr" defTabSz="914180"/>
            <a:r>
              <a:rPr lang="en-US" sz="2744" spc="-69" dirty="0">
                <a:gradFill>
                  <a:gsLst>
                    <a:gs pos="2917">
                      <a:srgbClr val="797A7D"/>
                    </a:gs>
                    <a:gs pos="95000">
                      <a:srgbClr val="797A7D"/>
                    </a:gs>
                  </a:gsLst>
                  <a:lin ang="5400000" scaled="0"/>
                </a:gradFill>
                <a:latin typeface="Segoe UI Light"/>
              </a:rPr>
              <a:t>Desktop and Web</a:t>
            </a:r>
            <a:endParaRPr lang="en-US" sz="1764" spc="-69" dirty="0">
              <a:gradFill>
                <a:gsLst>
                  <a:gs pos="2917">
                    <a:srgbClr val="797A7D"/>
                  </a:gs>
                  <a:gs pos="95000">
                    <a:srgbClr val="797A7D"/>
                  </a:gs>
                </a:gsLst>
                <a:lin ang="5400000" scaled="0"/>
              </a:gradFill>
              <a:latin typeface="Segoe UI Light"/>
            </a:endParaRPr>
          </a:p>
        </p:txBody>
      </p:sp>
      <p:sp>
        <p:nvSpPr>
          <p:cNvPr id="37" name="TextBox 36"/>
          <p:cNvSpPr txBox="1"/>
          <p:nvPr/>
        </p:nvSpPr>
        <p:spPr>
          <a:xfrm>
            <a:off x="4637332" y="5564923"/>
            <a:ext cx="794320" cy="422295"/>
          </a:xfrm>
          <a:prstGeom prst="rect">
            <a:avLst/>
          </a:prstGeom>
          <a:noFill/>
        </p:spPr>
        <p:txBody>
          <a:bodyPr wrap="none" lIns="0" tIns="0" rIns="0" bIns="0" rtlCol="0">
            <a:spAutoFit/>
          </a:bodyPr>
          <a:lstStyle/>
          <a:p>
            <a:pPr defTabSz="914180"/>
            <a:r>
              <a:rPr lang="en-US" sz="2744" spc="-69" dirty="0">
                <a:gradFill>
                  <a:gsLst>
                    <a:gs pos="2917">
                      <a:srgbClr val="797A7D"/>
                    </a:gs>
                    <a:gs pos="95000">
                      <a:srgbClr val="797A7D"/>
                    </a:gs>
                  </a:gsLst>
                  <a:lin ang="5400000" scaled="0"/>
                </a:gradFill>
                <a:latin typeface="Segoe UI Light"/>
              </a:rPr>
              <a:t>Tablet</a:t>
            </a:r>
            <a:endParaRPr lang="en-US" sz="1764" spc="-69" dirty="0">
              <a:gradFill>
                <a:gsLst>
                  <a:gs pos="2917">
                    <a:srgbClr val="797A7D"/>
                  </a:gs>
                  <a:gs pos="95000">
                    <a:srgbClr val="797A7D"/>
                  </a:gs>
                </a:gsLst>
                <a:lin ang="5400000" scaled="0"/>
              </a:gradFill>
              <a:latin typeface="Segoe UI Light"/>
            </a:endParaRPr>
          </a:p>
        </p:txBody>
      </p:sp>
      <p:sp>
        <p:nvSpPr>
          <p:cNvPr id="38" name="TextBox 37"/>
          <p:cNvSpPr txBox="1"/>
          <p:nvPr/>
        </p:nvSpPr>
        <p:spPr>
          <a:xfrm>
            <a:off x="9399023" y="5564923"/>
            <a:ext cx="896720" cy="422295"/>
          </a:xfrm>
          <a:prstGeom prst="rect">
            <a:avLst/>
          </a:prstGeom>
          <a:noFill/>
        </p:spPr>
        <p:txBody>
          <a:bodyPr wrap="none" lIns="0" tIns="0" rIns="0" bIns="0" rtlCol="0">
            <a:spAutoFit/>
          </a:bodyPr>
          <a:lstStyle/>
          <a:p>
            <a:pPr defTabSz="914180"/>
            <a:r>
              <a:rPr lang="en-US" sz="2744" spc="-69" dirty="0">
                <a:gradFill>
                  <a:gsLst>
                    <a:gs pos="2917">
                      <a:srgbClr val="797A7D"/>
                    </a:gs>
                    <a:gs pos="95000">
                      <a:srgbClr val="797A7D"/>
                    </a:gs>
                  </a:gsLst>
                  <a:lin ang="5400000" scaled="0"/>
                </a:gradFill>
                <a:latin typeface="Segoe UI Light"/>
              </a:rPr>
              <a:t>Phone</a:t>
            </a:r>
            <a:endParaRPr lang="en-US" sz="1764" spc="-69" dirty="0">
              <a:gradFill>
                <a:gsLst>
                  <a:gs pos="2917">
                    <a:srgbClr val="797A7D"/>
                  </a:gs>
                  <a:gs pos="95000">
                    <a:srgbClr val="797A7D"/>
                  </a:gs>
                </a:gsLst>
                <a:lin ang="5400000" scaled="0"/>
              </a:gradFill>
              <a:latin typeface="Segoe UI Light"/>
            </a:endParaRPr>
          </a:p>
        </p:txBody>
      </p:sp>
    </p:spTree>
    <p:extLst>
      <p:ext uri="{BB962C8B-B14F-4D97-AF65-F5344CB8AC3E}">
        <p14:creationId xmlns:p14="http://schemas.microsoft.com/office/powerpoint/2010/main" val="1783630292"/>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a:extLst>
              <a:ext uri="{28A0092B-C50C-407E-A947-70E740481C1C}">
                <a14:useLocalDpi xmlns:a14="http://schemas.microsoft.com/office/drawing/2010/main" val="0"/>
              </a:ext>
            </a:extLst>
          </a:blip>
          <a:srcRect l="11119"/>
          <a:stretch/>
        </p:blipFill>
        <p:spPr>
          <a:xfrm>
            <a:off x="0" y="1380"/>
            <a:ext cx="12188826" cy="6878273"/>
          </a:xfrm>
          <a:prstGeom prst="rect">
            <a:avLst/>
          </a:prstGeom>
        </p:spPr>
      </p:pic>
    </p:spTree>
    <p:extLst>
      <p:ext uri="{BB962C8B-B14F-4D97-AF65-F5344CB8AC3E}">
        <p14:creationId xmlns:p14="http://schemas.microsoft.com/office/powerpoint/2010/main" val="3423428216"/>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emo</a:t>
            </a:r>
            <a:endParaRPr lang="en-US" sz="4704" dirty="0"/>
          </a:p>
        </p:txBody>
      </p:sp>
    </p:spTree>
    <p:extLst>
      <p:ext uri="{BB962C8B-B14F-4D97-AF65-F5344CB8AC3E}">
        <p14:creationId xmlns:p14="http://schemas.microsoft.com/office/powerpoint/2010/main" val="806941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t="14073" b="11810"/>
          <a:stretch/>
        </p:blipFill>
        <p:spPr>
          <a:xfrm>
            <a:off x="0" y="-66108"/>
            <a:ext cx="6363266" cy="7079835"/>
          </a:xfrm>
          <a:prstGeom prst="rect">
            <a:avLst/>
          </a:prstGeom>
        </p:spPr>
      </p:pic>
      <p:sp>
        <p:nvSpPr>
          <p:cNvPr id="4" name="Title 3"/>
          <p:cNvSpPr txBox="1">
            <a:spLocks/>
          </p:cNvSpPr>
          <p:nvPr/>
        </p:nvSpPr>
        <p:spPr>
          <a:xfrm>
            <a:off x="6990592" y="3697855"/>
            <a:ext cx="3674138" cy="2159934"/>
          </a:xfrm>
          <a:prstGeom prst="rect">
            <a:avLst/>
          </a:prstGeom>
        </p:spPr>
        <p:txBody>
          <a:bodyPr/>
          <a:lstStyle>
            <a:lvl1pPr algn="l" rtl="0" eaLnBrk="1" fontAlgn="base" hangingPunct="1">
              <a:lnSpc>
                <a:spcPct val="85000"/>
              </a:lnSpc>
              <a:spcBef>
                <a:spcPct val="0"/>
              </a:spcBef>
              <a:spcAft>
                <a:spcPct val="0"/>
              </a:spcAft>
              <a:buClr>
                <a:srgbClr val="DC0081"/>
              </a:buClr>
              <a:buFont typeface="Wingdings" pitchFamily="2" charset="2"/>
              <a:defRPr sz="2800">
                <a:solidFill>
                  <a:schemeClr val="bg1"/>
                </a:solidFill>
                <a:latin typeface="Segoe UI" pitchFamily="34" charset="0"/>
                <a:ea typeface="Segoe UI" pitchFamily="34" charset="0"/>
                <a:cs typeface="Segoe UI" pitchFamily="34" charset="0"/>
              </a:defRPr>
            </a:lvl1pPr>
            <a:lvl2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2pPr>
            <a:lvl3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3pPr>
            <a:lvl4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4pPr>
            <a:lvl5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5pPr>
            <a:lvl6pPr marL="4572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6pPr>
            <a:lvl7pPr marL="9144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7pPr>
            <a:lvl8pPr marL="13716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8pPr>
            <a:lvl9pPr marL="18288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9pPr>
          </a:lstStyle>
          <a:p>
            <a:r>
              <a:rPr lang="en-US" sz="3000" kern="0" dirty="0"/>
              <a:t>If you know general web development, you also know Office 365 development…</a:t>
            </a:r>
          </a:p>
        </p:txBody>
      </p:sp>
      <p:sp>
        <p:nvSpPr>
          <p:cNvPr id="6" name="Title 1"/>
          <p:cNvSpPr txBox="1">
            <a:spLocks/>
          </p:cNvSpPr>
          <p:nvPr/>
        </p:nvSpPr>
        <p:spPr>
          <a:xfrm>
            <a:off x="5893171" y="1701503"/>
            <a:ext cx="4668030" cy="913966"/>
          </a:xfrm>
          <a:prstGeom prst="rect">
            <a:avLst/>
          </a:prstGeom>
        </p:spPr>
        <p:txBody>
          <a:bodyPr/>
          <a:lst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a:lstStyle>
          <a:p>
            <a:endParaRPr lang="en-US" sz="5397" dirty="0">
              <a:solidFill>
                <a:schemeClr val="tx1"/>
              </a:solidFill>
            </a:endParaRPr>
          </a:p>
        </p:txBody>
      </p:sp>
      <p:sp>
        <p:nvSpPr>
          <p:cNvPr id="2" name="Title 1"/>
          <p:cNvSpPr>
            <a:spLocks noGrp="1"/>
          </p:cNvSpPr>
          <p:nvPr>
            <p:ph type="title"/>
          </p:nvPr>
        </p:nvSpPr>
        <p:spPr>
          <a:xfrm>
            <a:off x="6990593" y="202747"/>
            <a:ext cx="4675289" cy="3280656"/>
          </a:xfrm>
        </p:spPr>
        <p:txBody>
          <a:bodyPr/>
          <a:lstStyle/>
          <a:p>
            <a:r>
              <a:rPr lang="en-US" sz="5881" dirty="0">
                <a:solidFill>
                  <a:schemeClr val="bg1"/>
                </a:solidFill>
              </a:rPr>
              <a:t>App Model</a:t>
            </a:r>
            <a:br>
              <a:rPr lang="en-US" sz="5881" dirty="0">
                <a:solidFill>
                  <a:schemeClr val="bg1"/>
                </a:solidFill>
              </a:rPr>
            </a:br>
            <a:r>
              <a:rPr lang="en-US" sz="5881" dirty="0">
                <a:solidFill>
                  <a:schemeClr val="bg1"/>
                </a:solidFill>
              </a:rPr>
              <a:t>Development</a:t>
            </a:r>
          </a:p>
        </p:txBody>
      </p:sp>
    </p:spTree>
    <p:extLst>
      <p:ext uri="{BB962C8B-B14F-4D97-AF65-F5344CB8AC3E}">
        <p14:creationId xmlns:p14="http://schemas.microsoft.com/office/powerpoint/2010/main" val="1354260420"/>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Benefits of the new </a:t>
            </a:r>
            <a:r>
              <a:rPr lang="en-US" dirty="0" smtClean="0"/>
              <a:t>app model</a:t>
            </a:r>
            <a:endParaRPr lang="en-US" dirty="0"/>
          </a:p>
        </p:txBody>
      </p:sp>
      <p:sp>
        <p:nvSpPr>
          <p:cNvPr id="6" name="Text Placeholder 5"/>
          <p:cNvSpPr>
            <a:spLocks noGrp="1"/>
          </p:cNvSpPr>
          <p:nvPr>
            <p:ph type="body" sz="quarter" idx="11"/>
          </p:nvPr>
        </p:nvSpPr>
        <p:spPr>
          <a:xfrm>
            <a:off x="269170" y="1190077"/>
            <a:ext cx="11652805" cy="4690623"/>
          </a:xfrm>
        </p:spPr>
        <p:txBody>
          <a:bodyPr/>
          <a:lstStyle/>
          <a:p>
            <a:pPr>
              <a:spcBef>
                <a:spcPts val="1764"/>
              </a:spcBef>
            </a:pPr>
            <a:r>
              <a:rPr lang="en-US" dirty="0" smtClean="0">
                <a:gradFill>
                  <a:gsLst>
                    <a:gs pos="2920">
                      <a:schemeClr val="accent2"/>
                    </a:gs>
                    <a:gs pos="39000">
                      <a:schemeClr val="accent2"/>
                    </a:gs>
                  </a:gsLst>
                  <a:lin ang="5400000" scaled="0"/>
                </a:gradFill>
              </a:rPr>
              <a:t>Safe and robust</a:t>
            </a:r>
          </a:p>
          <a:p>
            <a:pPr lvl="1">
              <a:spcBef>
                <a:spcPts val="588"/>
              </a:spcBef>
            </a:pPr>
            <a:r>
              <a:rPr lang="en-US" dirty="0" smtClean="0"/>
              <a:t>App code runs outside of Office … with clear security boundaries</a:t>
            </a:r>
          </a:p>
          <a:p>
            <a:pPr lvl="1">
              <a:spcBef>
                <a:spcPts val="588"/>
              </a:spcBef>
            </a:pPr>
            <a:r>
              <a:rPr lang="en-US" dirty="0" smtClean="0"/>
              <a:t>Clearly defined API build on modern standards</a:t>
            </a:r>
          </a:p>
          <a:p>
            <a:pPr>
              <a:spcBef>
                <a:spcPts val="1764"/>
              </a:spcBef>
            </a:pPr>
            <a:r>
              <a:rPr lang="en-US" dirty="0">
                <a:gradFill>
                  <a:gsLst>
                    <a:gs pos="2920">
                      <a:schemeClr val="accent2"/>
                    </a:gs>
                    <a:gs pos="39000">
                      <a:schemeClr val="accent2"/>
                    </a:gs>
                  </a:gsLst>
                  <a:lin ang="5400000" scaled="0"/>
                </a:gradFill>
              </a:rPr>
              <a:t>Device friendly</a:t>
            </a:r>
          </a:p>
          <a:p>
            <a:pPr lvl="1">
              <a:spcBef>
                <a:spcPts val="588"/>
              </a:spcBef>
            </a:pPr>
            <a:r>
              <a:rPr lang="en-US" dirty="0" smtClean="0"/>
              <a:t>Apps run in the full Office client apps </a:t>
            </a:r>
          </a:p>
          <a:p>
            <a:pPr lvl="1">
              <a:spcBef>
                <a:spcPts val="588"/>
              </a:spcBef>
            </a:pPr>
            <a:r>
              <a:rPr lang="en-US" dirty="0" smtClean="0"/>
              <a:t>Works on Tablets and Phones</a:t>
            </a:r>
          </a:p>
          <a:p>
            <a:pPr>
              <a:spcBef>
                <a:spcPts val="1764"/>
              </a:spcBef>
            </a:pPr>
            <a:r>
              <a:rPr lang="en-US" dirty="0">
                <a:gradFill>
                  <a:gsLst>
                    <a:gs pos="2920">
                      <a:schemeClr val="accent2"/>
                    </a:gs>
                    <a:gs pos="39000">
                      <a:schemeClr val="accent2"/>
                    </a:gs>
                  </a:gsLst>
                  <a:lin ang="5400000" scaled="0"/>
                </a:gradFill>
              </a:rPr>
              <a:t>Modern development</a:t>
            </a:r>
          </a:p>
          <a:p>
            <a:pPr lvl="1">
              <a:spcBef>
                <a:spcPts val="588"/>
              </a:spcBef>
            </a:pPr>
            <a:r>
              <a:rPr lang="en-US" dirty="0"/>
              <a:t>Build Apps for Office using modern development tools and technologies</a:t>
            </a:r>
          </a:p>
          <a:p>
            <a:pPr lvl="1">
              <a:spcBef>
                <a:spcPts val="588"/>
              </a:spcBef>
            </a:pPr>
            <a:r>
              <a:rPr lang="en-US" dirty="0"/>
              <a:t>Robust APIs in Office and Office 365</a:t>
            </a:r>
          </a:p>
          <a:p>
            <a:pPr lvl="1">
              <a:spcBef>
                <a:spcPts val="588"/>
              </a:spcBef>
            </a:pPr>
            <a:r>
              <a:rPr lang="en-US" dirty="0"/>
              <a:t>Flexible tools such as HTML5, Azure and Visual Studio</a:t>
            </a:r>
          </a:p>
        </p:txBody>
      </p:sp>
    </p:spTree>
    <p:extLst>
      <p:ext uri="{BB962C8B-B14F-4D97-AF65-F5344CB8AC3E}">
        <p14:creationId xmlns:p14="http://schemas.microsoft.com/office/powerpoint/2010/main" val="2327777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a:xfrm>
            <a:off x="4708936" y="1814048"/>
            <a:ext cx="7346043" cy="2881519"/>
          </a:xfrm>
        </p:spPr>
        <p:txBody>
          <a:bodyPr/>
          <a:lstStyle/>
          <a:p>
            <a:pPr>
              <a:spcBef>
                <a:spcPts val="2399"/>
              </a:spcBef>
            </a:pPr>
            <a:r>
              <a:rPr lang="en-US" dirty="0">
                <a:gradFill>
                  <a:gsLst>
                    <a:gs pos="100000">
                      <a:schemeClr val="bg2"/>
                    </a:gs>
                    <a:gs pos="0">
                      <a:schemeClr val="bg2"/>
                    </a:gs>
                  </a:gsLst>
                  <a:lin ang="5400000" scaled="0"/>
                </a:gradFill>
              </a:rPr>
              <a:t>Intro</a:t>
            </a:r>
          </a:p>
          <a:p>
            <a:pPr>
              <a:spcBef>
                <a:spcPts val="2399"/>
              </a:spcBef>
            </a:pPr>
            <a:r>
              <a:rPr lang="en-US" dirty="0">
                <a:gradFill>
                  <a:gsLst>
                    <a:gs pos="100000">
                      <a:schemeClr val="bg2"/>
                    </a:gs>
                    <a:gs pos="0">
                      <a:schemeClr val="bg2"/>
                    </a:gs>
                  </a:gsLst>
                  <a:lin ang="5400000" scaled="0"/>
                </a:gradFill>
              </a:rPr>
              <a:t>Office 365 App Model</a:t>
            </a:r>
          </a:p>
          <a:p>
            <a:pPr>
              <a:spcBef>
                <a:spcPts val="2399"/>
              </a:spcBef>
            </a:pPr>
            <a:r>
              <a:rPr lang="en-US" dirty="0">
                <a:gradFill>
                  <a:gsLst>
                    <a:gs pos="100000">
                      <a:schemeClr val="bg2"/>
                    </a:gs>
                    <a:gs pos="0">
                      <a:schemeClr val="bg2"/>
                    </a:gs>
                  </a:gsLst>
                  <a:lin ang="5400000" scaled="0"/>
                </a:gradFill>
              </a:rPr>
              <a:t>Office 365 APIs</a:t>
            </a:r>
          </a:p>
          <a:p>
            <a:pPr>
              <a:spcBef>
                <a:spcPts val="2399"/>
              </a:spcBef>
            </a:pPr>
            <a:r>
              <a:rPr lang="en-US" dirty="0">
                <a:gradFill>
                  <a:gsLst>
                    <a:gs pos="100000">
                      <a:schemeClr val="bg2"/>
                    </a:gs>
                    <a:gs pos="0">
                      <a:schemeClr val="bg2"/>
                    </a:gs>
                  </a:gsLst>
                  <a:lin ang="5400000" scaled="0"/>
                </a:gradFill>
              </a:rPr>
              <a:t>Tools</a:t>
            </a:r>
          </a:p>
          <a:p>
            <a:pPr>
              <a:spcBef>
                <a:spcPts val="2399"/>
              </a:spcBef>
            </a:pPr>
            <a:r>
              <a:rPr lang="en-US" dirty="0">
                <a:gradFill>
                  <a:gsLst>
                    <a:gs pos="100000">
                      <a:schemeClr val="bg2"/>
                    </a:gs>
                    <a:gs pos="0">
                      <a:schemeClr val="bg2"/>
                    </a:gs>
                  </a:gsLst>
                  <a:lin ang="5400000" scaled="0"/>
                </a:gradFill>
              </a:rPr>
              <a:t>Resources</a:t>
            </a:r>
          </a:p>
        </p:txBody>
      </p:sp>
      <p:pic>
        <p:nvPicPr>
          <p:cNvPr id="4" name="Picture Placeholder 3"/>
          <p:cNvPicPr>
            <a:picLocks noGrp="1" noChangeAspect="1"/>
          </p:cNvPicPr>
          <p:nvPr>
            <p:ph type="pic" sz="quarter" idx="16"/>
          </p:nvPr>
        </p:nvPicPr>
        <p:blipFill>
          <a:blip r:embed="rId3">
            <a:extLst>
              <a:ext uri="{28A0092B-C50C-407E-A947-70E740481C1C}">
                <a14:useLocalDpi xmlns:a14="http://schemas.microsoft.com/office/drawing/2010/main" val="0"/>
              </a:ext>
            </a:extLst>
          </a:blip>
          <a:stretch>
            <a:fillRect/>
          </a:stretch>
        </p:blipFill>
        <p:spPr>
          <a:xfrm>
            <a:off x="269169" y="1905492"/>
            <a:ext cx="4301734" cy="2865616"/>
          </a:xfrm>
        </p:spPr>
      </p:pic>
      <p:sp>
        <p:nvSpPr>
          <p:cNvPr id="5" name="Title 4"/>
          <p:cNvSpPr>
            <a:spLocks noGrp="1"/>
          </p:cNvSpPr>
          <p:nvPr>
            <p:ph type="title"/>
          </p:nvPr>
        </p:nvSpPr>
        <p:spPr/>
        <p:txBody>
          <a:bodyPr/>
          <a:lstStyle/>
          <a:p>
            <a:r>
              <a:rPr lang="en-US" dirty="0" smtClean="0"/>
              <a:t>Agenda</a:t>
            </a:r>
            <a:endParaRPr lang="en-US" dirty="0"/>
          </a:p>
        </p:txBody>
      </p:sp>
    </p:spTree>
    <p:extLst>
      <p:ext uri="{BB962C8B-B14F-4D97-AF65-F5344CB8AC3E}">
        <p14:creationId xmlns:p14="http://schemas.microsoft.com/office/powerpoint/2010/main" val="3047627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App for SharePoint</a:t>
            </a:r>
            <a:endParaRPr lang="en-US" dirty="0"/>
          </a:p>
        </p:txBody>
      </p:sp>
      <p:grpSp>
        <p:nvGrpSpPr>
          <p:cNvPr id="5" name="Group 4"/>
          <p:cNvGrpSpPr/>
          <p:nvPr/>
        </p:nvGrpSpPr>
        <p:grpSpPr>
          <a:xfrm>
            <a:off x="458552" y="3348992"/>
            <a:ext cx="9420036" cy="1138934"/>
            <a:chOff x="467869" y="3720523"/>
            <a:chExt cx="9611430" cy="1162075"/>
          </a:xfrm>
        </p:grpSpPr>
        <p:sp>
          <p:nvSpPr>
            <p:cNvPr id="54" name="Rectangle 53"/>
            <p:cNvSpPr/>
            <p:nvPr/>
          </p:nvSpPr>
          <p:spPr>
            <a:xfrm>
              <a:off x="467869" y="3725412"/>
              <a:ext cx="1574889" cy="1081586"/>
            </a:xfrm>
            <a:prstGeom prst="rect">
              <a:avLst/>
            </a:prstGeom>
            <a:solidFill>
              <a:schemeClr val="bg2">
                <a:lumMod val="5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vert="horz" lIns="91395" tIns="45699" rIns="91395" bIns="45699" rtlCol="0" anchor="t"/>
            <a:lstStyle/>
            <a:p>
              <a:pPr defTabSz="914180"/>
              <a:endParaRPr lang="en-US" sz="1300">
                <a:solidFill>
                  <a:srgbClr val="FFFFFF">
                    <a:alpha val="99000"/>
                  </a:srgbClr>
                </a:solidFill>
              </a:endParaRPr>
            </a:p>
          </p:txBody>
        </p:sp>
        <p:grpSp>
          <p:nvGrpSpPr>
            <p:cNvPr id="16" name="Group 15"/>
            <p:cNvGrpSpPr/>
            <p:nvPr/>
          </p:nvGrpSpPr>
          <p:grpSpPr>
            <a:xfrm>
              <a:off x="760103" y="3855577"/>
              <a:ext cx="990420" cy="821257"/>
              <a:chOff x="745642" y="3225569"/>
              <a:chExt cx="914162" cy="567437"/>
            </a:xfrm>
            <a:effectLst/>
          </p:grpSpPr>
          <p:sp>
            <p:nvSpPr>
              <p:cNvPr id="17" name="Rectangle 16"/>
              <p:cNvSpPr/>
              <p:nvPr/>
            </p:nvSpPr>
            <p:spPr>
              <a:xfrm>
                <a:off x="745642" y="3225569"/>
                <a:ext cx="914162" cy="567437"/>
              </a:xfrm>
              <a:prstGeom prst="rect">
                <a:avLst/>
              </a:prstGeom>
              <a:solidFill>
                <a:schemeClr val="bg1">
                  <a:lumMod val="95000"/>
                </a:schemeClr>
              </a:solidFill>
              <a:ln w="19050">
                <a:noFill/>
              </a:ln>
            </p:spPr>
            <p:style>
              <a:lnRef idx="1">
                <a:schemeClr val="dk1"/>
              </a:lnRef>
              <a:fillRef idx="2">
                <a:schemeClr val="dk1"/>
              </a:fillRef>
              <a:effectRef idx="1">
                <a:schemeClr val="dk1"/>
              </a:effectRef>
              <a:fontRef idx="minor">
                <a:schemeClr val="dk1"/>
              </a:fontRef>
            </p:style>
            <p:txBody>
              <a:bodyPr lIns="91399" tIns="45700" rIns="91399" bIns="45700" rtlCol="0" anchor="ctr"/>
              <a:lstStyle/>
              <a:p>
                <a:pPr algn="ctr" defTabSz="914180"/>
                <a:endParaRPr lang="en-US" sz="1799">
                  <a:solidFill>
                    <a:srgbClr val="000000"/>
                  </a:solidFill>
                </a:endParaRPr>
              </a:p>
            </p:txBody>
          </p:sp>
          <p:sp>
            <p:nvSpPr>
              <p:cNvPr id="18" name="Rectangle 17"/>
              <p:cNvSpPr/>
              <p:nvPr/>
            </p:nvSpPr>
            <p:spPr>
              <a:xfrm>
                <a:off x="907236" y="3308876"/>
                <a:ext cx="253934" cy="152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399" tIns="45700" rIns="91399" bIns="45700" rtlCol="0" anchor="ctr"/>
              <a:lstStyle/>
              <a:p>
                <a:pPr algn="ctr" defTabSz="914180"/>
                <a:endParaRPr lang="en-US" sz="1799">
                  <a:solidFill>
                    <a:srgbClr val="000000"/>
                  </a:solidFill>
                </a:endParaRPr>
              </a:p>
            </p:txBody>
          </p:sp>
          <p:sp>
            <p:nvSpPr>
              <p:cNvPr id="19" name="Rectangle 18"/>
              <p:cNvSpPr/>
              <p:nvPr/>
            </p:nvSpPr>
            <p:spPr>
              <a:xfrm>
                <a:off x="907236" y="3558257"/>
                <a:ext cx="253934" cy="152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399" tIns="45700" rIns="91399" bIns="45700" rtlCol="0" anchor="ctr"/>
              <a:lstStyle/>
              <a:p>
                <a:pPr algn="ctr" defTabSz="914180"/>
                <a:endParaRPr lang="en-US" sz="1799">
                  <a:solidFill>
                    <a:srgbClr val="000000"/>
                  </a:solidFill>
                </a:endParaRPr>
              </a:p>
            </p:txBody>
          </p:sp>
          <p:sp>
            <p:nvSpPr>
              <p:cNvPr id="20" name="Rectangle 19"/>
              <p:cNvSpPr/>
              <p:nvPr/>
            </p:nvSpPr>
            <p:spPr>
              <a:xfrm>
                <a:off x="1265052" y="3298486"/>
                <a:ext cx="253934" cy="42602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399" tIns="45700" rIns="91399" bIns="45700" rtlCol="0" anchor="ctr"/>
              <a:lstStyle/>
              <a:p>
                <a:pPr algn="ctr" defTabSz="914180"/>
                <a:endParaRPr lang="en-US" sz="1799">
                  <a:solidFill>
                    <a:srgbClr val="000000"/>
                  </a:solidFill>
                </a:endParaRPr>
              </a:p>
            </p:txBody>
          </p:sp>
        </p:grpSp>
        <p:sp>
          <p:nvSpPr>
            <p:cNvPr id="37" name="Text Placeholder 2"/>
            <p:cNvSpPr txBox="1">
              <a:spLocks/>
            </p:cNvSpPr>
            <p:nvPr/>
          </p:nvSpPr>
          <p:spPr>
            <a:xfrm>
              <a:off x="2134619" y="3720523"/>
              <a:ext cx="7944680" cy="1162075"/>
            </a:xfrm>
            <a:prstGeom prst="rect">
              <a:avLst/>
            </a:prstGeom>
          </p:spPr>
          <p:txBody>
            <a:bodyPr lIns="93214" tIns="46608" rIns="93214" bIns="46608"/>
            <a:lstStyle>
              <a:lvl1pPr marL="345796" indent="-345796" algn="l" defTabSz="913637" rtl="0" eaLnBrk="1" latinLnBrk="0" hangingPunct="1">
                <a:lnSpc>
                  <a:spcPct val="90000"/>
                </a:lnSpc>
                <a:spcBef>
                  <a:spcPct val="20000"/>
                </a:spcBef>
                <a:buSzPct val="90000"/>
                <a:buFont typeface="Arial" pitchFamily="34" charset="0"/>
                <a:buChar char="•"/>
                <a:defRPr sz="32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629739" indent="-283935" algn="l" defTabSz="913637" rtl="0" eaLnBrk="1" latinLnBrk="0" hangingPunct="1">
                <a:lnSpc>
                  <a:spcPct val="90000"/>
                </a:lnSpc>
                <a:spcBef>
                  <a:spcPct val="20000"/>
                </a:spcBef>
                <a:buSzPct val="90000"/>
                <a:buFont typeface="Arial" pitchFamily="34" charset="0"/>
                <a:buChar char="•"/>
                <a:tabLst>
                  <a:tab pos="629739" algn="l"/>
                </a:tabLst>
                <a:defRPr sz="2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3673" indent="-283935" algn="l" defTabSz="913637"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1549" indent="-223661" algn="l" defTabSz="913637" rtl="0" eaLnBrk="1" latinLnBrk="0" hangingPunct="1">
                <a:lnSpc>
                  <a:spcPct val="90000"/>
                </a:lnSpc>
                <a:spcBef>
                  <a:spcPct val="20000"/>
                </a:spcBef>
                <a:buSzPct val="90000"/>
                <a:buFont typeface="Arial" pitchFamily="34" charset="0"/>
                <a:buChar char="•"/>
                <a:tabLst>
                  <a:tab pos="913673"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1555" indent="-230006" algn="l" defTabSz="913637" rtl="0" eaLnBrk="1" latinLnBrk="0" hangingPunct="1">
                <a:lnSpc>
                  <a:spcPct val="90000"/>
                </a:lnSpc>
                <a:spcBef>
                  <a:spcPct val="20000"/>
                </a:spcBef>
                <a:buSzPct val="90000"/>
                <a:buFont typeface="Arial" pitchFamily="34" charset="0"/>
                <a:buChar char="•"/>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2504"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323"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141"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2963"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0"/>
                </a:spcBef>
                <a:spcAft>
                  <a:spcPts val="612"/>
                </a:spcAft>
                <a:buNone/>
              </a:pPr>
              <a:r>
                <a:rPr lang="en-US" sz="2447" dirty="0">
                  <a:gradFill>
                    <a:gsLst>
                      <a:gs pos="3681">
                        <a:srgbClr val="0072C6"/>
                      </a:gs>
                      <a:gs pos="35000">
                        <a:srgbClr val="0072C6"/>
                      </a:gs>
                    </a:gsLst>
                    <a:lin ang="5400000" scaled="1"/>
                  </a:gradFill>
                  <a:latin typeface="Segoe UI Light"/>
                </a:rPr>
                <a:t>Parts</a:t>
              </a:r>
            </a:p>
            <a:p>
              <a:pPr marL="0" indent="0">
                <a:lnSpc>
                  <a:spcPct val="100000"/>
                </a:lnSpc>
                <a:spcBef>
                  <a:spcPts val="0"/>
                </a:spcBef>
                <a:spcAft>
                  <a:spcPts val="612"/>
                </a:spcAft>
                <a:buNone/>
              </a:pPr>
              <a:r>
                <a:rPr lang="en-US" sz="1938" dirty="0">
                  <a:gradFill flip="none" rotWithShape="1">
                    <a:gsLst>
                      <a:gs pos="0">
                        <a:srgbClr val="000000">
                          <a:lumMod val="65000"/>
                          <a:lumOff val="35000"/>
                        </a:srgbClr>
                      </a:gs>
                      <a:gs pos="86000">
                        <a:srgbClr val="000000">
                          <a:lumMod val="75000"/>
                          <a:lumOff val="25000"/>
                        </a:srgbClr>
                      </a:gs>
                    </a:gsLst>
                    <a:path path="circle">
                      <a:fillToRect r="100000" b="100000"/>
                    </a:path>
                    <a:tileRect l="-100000" t="-100000"/>
                  </a:gradFill>
                </a:rPr>
                <a:t>Create app parts that can interact with the SharePoint experience</a:t>
              </a:r>
            </a:p>
          </p:txBody>
        </p:sp>
      </p:grpSp>
      <p:grpSp>
        <p:nvGrpSpPr>
          <p:cNvPr id="25" name="Group 24"/>
          <p:cNvGrpSpPr/>
          <p:nvPr/>
        </p:nvGrpSpPr>
        <p:grpSpPr>
          <a:xfrm>
            <a:off x="458552" y="4886833"/>
            <a:ext cx="8075043" cy="1138933"/>
            <a:chOff x="467869" y="5289610"/>
            <a:chExt cx="8239110" cy="1162074"/>
          </a:xfrm>
        </p:grpSpPr>
        <p:sp>
          <p:nvSpPr>
            <p:cNvPr id="55" name="Rectangle 54"/>
            <p:cNvSpPr/>
            <p:nvPr/>
          </p:nvSpPr>
          <p:spPr>
            <a:xfrm>
              <a:off x="467869" y="5302601"/>
              <a:ext cx="1574889" cy="1081586"/>
            </a:xfrm>
            <a:prstGeom prst="rect">
              <a:avLst/>
            </a:prstGeom>
            <a:solidFill>
              <a:schemeClr val="bg2">
                <a:lumMod val="5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vert="horz" lIns="91395" tIns="45699" rIns="91395" bIns="45699" rtlCol="0" anchor="t"/>
            <a:lstStyle/>
            <a:p>
              <a:pPr defTabSz="914180"/>
              <a:endParaRPr lang="en-US" sz="1300">
                <a:solidFill>
                  <a:srgbClr val="FFFFFF">
                    <a:alpha val="99000"/>
                  </a:srgbClr>
                </a:solidFill>
              </a:endParaRPr>
            </a:p>
          </p:txBody>
        </p:sp>
        <p:grpSp>
          <p:nvGrpSpPr>
            <p:cNvPr id="21" name="Group 20"/>
            <p:cNvGrpSpPr/>
            <p:nvPr/>
          </p:nvGrpSpPr>
          <p:grpSpPr>
            <a:xfrm>
              <a:off x="697045" y="5432697"/>
              <a:ext cx="1116537" cy="821395"/>
              <a:chOff x="722556" y="4507115"/>
              <a:chExt cx="1179513" cy="627092"/>
            </a:xfrm>
            <a:effectLst/>
          </p:grpSpPr>
          <p:sp>
            <p:nvSpPr>
              <p:cNvPr id="22" name="Rectangle 21"/>
              <p:cNvSpPr/>
              <p:nvPr/>
            </p:nvSpPr>
            <p:spPr>
              <a:xfrm>
                <a:off x="722556" y="4507115"/>
                <a:ext cx="1179513" cy="627092"/>
              </a:xfrm>
              <a:prstGeom prst="rect">
                <a:avLst/>
              </a:prstGeom>
              <a:solidFill>
                <a:schemeClr val="bg1">
                  <a:lumMod val="95000"/>
                </a:schemeClr>
              </a:solidFill>
              <a:ln w="19050">
                <a:noFill/>
              </a:ln>
            </p:spPr>
            <p:style>
              <a:lnRef idx="1">
                <a:schemeClr val="dk1"/>
              </a:lnRef>
              <a:fillRef idx="2">
                <a:schemeClr val="dk1"/>
              </a:fillRef>
              <a:effectRef idx="1">
                <a:schemeClr val="dk1"/>
              </a:effectRef>
              <a:fontRef idx="minor">
                <a:schemeClr val="dk1"/>
              </a:fontRef>
            </p:style>
            <p:txBody>
              <a:bodyPr lIns="91399" tIns="45700" rIns="91399" bIns="45700" rtlCol="0" anchor="ctr"/>
              <a:lstStyle/>
              <a:p>
                <a:pPr algn="ctr" defTabSz="914180"/>
                <a:endParaRPr lang="en-US" sz="1799">
                  <a:solidFill>
                    <a:srgbClr val="000000"/>
                  </a:solidFill>
                </a:endParaRPr>
              </a:p>
            </p:txBody>
          </p:sp>
          <p:sp>
            <p:nvSpPr>
              <p:cNvPr id="23" name="Folded Corner 22"/>
              <p:cNvSpPr/>
              <p:nvPr/>
            </p:nvSpPr>
            <p:spPr>
              <a:xfrm rot="16200000">
                <a:off x="1081005" y="4529703"/>
                <a:ext cx="495300" cy="560963"/>
              </a:xfrm>
              <a:prstGeom prst="foldedCorner">
                <a:avLst>
                  <a:gd name="adj" fmla="val 41358"/>
                </a:avLst>
              </a:prstGeom>
              <a:ln w="19050"/>
            </p:spPr>
            <p:style>
              <a:lnRef idx="1">
                <a:schemeClr val="dk1"/>
              </a:lnRef>
              <a:fillRef idx="2">
                <a:schemeClr val="dk1"/>
              </a:fillRef>
              <a:effectRef idx="1">
                <a:schemeClr val="dk1"/>
              </a:effectRef>
              <a:fontRef idx="minor">
                <a:schemeClr val="dk1"/>
              </a:fontRef>
            </p:style>
            <p:txBody>
              <a:bodyPr lIns="91399" tIns="45700" rIns="91399" bIns="45700" rtlCol="0" anchor="ctr"/>
              <a:lstStyle/>
              <a:p>
                <a:pPr algn="ctr" defTabSz="914180"/>
                <a:endParaRPr lang="en-US" sz="1799">
                  <a:solidFill>
                    <a:srgbClr val="000000"/>
                  </a:solidFill>
                </a:endParaRPr>
              </a:p>
            </p:txBody>
          </p:sp>
          <p:sp>
            <p:nvSpPr>
              <p:cNvPr id="24" name="Rectangle 23"/>
              <p:cNvSpPr/>
              <p:nvPr/>
            </p:nvSpPr>
            <p:spPr>
              <a:xfrm>
                <a:off x="1103576" y="4922753"/>
                <a:ext cx="443230" cy="83127"/>
              </a:xfrm>
              <a:prstGeom prst="rect">
                <a:avLst/>
              </a:prstGeom>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399" tIns="45700" rIns="91399" bIns="45700" rtlCol="0" anchor="ctr"/>
              <a:lstStyle/>
              <a:p>
                <a:pPr algn="ctr" defTabSz="914180"/>
                <a:endParaRPr lang="en-US" sz="1799" dirty="0">
                  <a:solidFill>
                    <a:srgbClr val="000000"/>
                  </a:solidFill>
                </a:endParaRPr>
              </a:p>
            </p:txBody>
          </p:sp>
        </p:grpSp>
        <p:sp>
          <p:nvSpPr>
            <p:cNvPr id="40" name="Text Placeholder 2"/>
            <p:cNvSpPr txBox="1">
              <a:spLocks/>
            </p:cNvSpPr>
            <p:nvPr/>
          </p:nvSpPr>
          <p:spPr>
            <a:xfrm>
              <a:off x="2114776" y="5289610"/>
              <a:ext cx="6592203" cy="1162074"/>
            </a:xfrm>
            <a:prstGeom prst="rect">
              <a:avLst/>
            </a:prstGeom>
          </p:spPr>
          <p:txBody>
            <a:bodyPr lIns="93214" tIns="46608" rIns="93214" bIns="46608"/>
            <a:lstStyle>
              <a:lvl1pPr marL="345796" indent="-345796" algn="l" defTabSz="913637" rtl="0" eaLnBrk="1" latinLnBrk="0" hangingPunct="1">
                <a:lnSpc>
                  <a:spcPct val="90000"/>
                </a:lnSpc>
                <a:spcBef>
                  <a:spcPct val="20000"/>
                </a:spcBef>
                <a:buSzPct val="90000"/>
                <a:buFont typeface="Arial" pitchFamily="34" charset="0"/>
                <a:buChar char="•"/>
                <a:defRPr sz="32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629739" indent="-283935" algn="l" defTabSz="913637" rtl="0" eaLnBrk="1" latinLnBrk="0" hangingPunct="1">
                <a:lnSpc>
                  <a:spcPct val="90000"/>
                </a:lnSpc>
                <a:spcBef>
                  <a:spcPct val="20000"/>
                </a:spcBef>
                <a:buSzPct val="90000"/>
                <a:buFont typeface="Arial" pitchFamily="34" charset="0"/>
                <a:buChar char="•"/>
                <a:tabLst>
                  <a:tab pos="629739" algn="l"/>
                </a:tabLst>
                <a:defRPr sz="2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3673" indent="-283935" algn="l" defTabSz="913637"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1549" indent="-223661" algn="l" defTabSz="913637" rtl="0" eaLnBrk="1" latinLnBrk="0" hangingPunct="1">
                <a:lnSpc>
                  <a:spcPct val="90000"/>
                </a:lnSpc>
                <a:spcBef>
                  <a:spcPct val="20000"/>
                </a:spcBef>
                <a:buSzPct val="90000"/>
                <a:buFont typeface="Arial" pitchFamily="34" charset="0"/>
                <a:buChar char="•"/>
                <a:tabLst>
                  <a:tab pos="913673"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1555" indent="-230006" algn="l" defTabSz="913637" rtl="0" eaLnBrk="1" latinLnBrk="0" hangingPunct="1">
                <a:lnSpc>
                  <a:spcPct val="90000"/>
                </a:lnSpc>
                <a:spcBef>
                  <a:spcPct val="20000"/>
                </a:spcBef>
                <a:buSzPct val="90000"/>
                <a:buFont typeface="Arial" pitchFamily="34" charset="0"/>
                <a:buChar char="•"/>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2504"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323"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141"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2963"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0"/>
                </a:spcBef>
                <a:spcAft>
                  <a:spcPts val="612"/>
                </a:spcAft>
                <a:buNone/>
              </a:pPr>
              <a:r>
                <a:rPr lang="en-US" sz="2447" dirty="0">
                  <a:gradFill>
                    <a:gsLst>
                      <a:gs pos="3681">
                        <a:srgbClr val="0072C6"/>
                      </a:gs>
                      <a:gs pos="35000">
                        <a:srgbClr val="0072C6"/>
                      </a:gs>
                    </a:gsLst>
                    <a:lin ang="5400000" scaled="1"/>
                  </a:gradFill>
                  <a:latin typeface="Segoe UI Light"/>
                </a:rPr>
                <a:t>UI Command Extensions</a:t>
              </a:r>
            </a:p>
            <a:p>
              <a:pPr marL="0" indent="0">
                <a:lnSpc>
                  <a:spcPct val="100000"/>
                </a:lnSpc>
                <a:spcBef>
                  <a:spcPts val="0"/>
                </a:spcBef>
                <a:spcAft>
                  <a:spcPts val="612"/>
                </a:spcAft>
                <a:buNone/>
              </a:pPr>
              <a:r>
                <a:rPr lang="en-US" sz="1938" dirty="0">
                  <a:gradFill flip="none" rotWithShape="1">
                    <a:gsLst>
                      <a:gs pos="0">
                        <a:srgbClr val="000000">
                          <a:lumMod val="65000"/>
                          <a:lumOff val="35000"/>
                        </a:srgbClr>
                      </a:gs>
                      <a:gs pos="86000">
                        <a:srgbClr val="000000">
                          <a:lumMod val="75000"/>
                          <a:lumOff val="25000"/>
                        </a:srgbClr>
                      </a:gs>
                    </a:gsLst>
                    <a:path path="circle">
                      <a:fillToRect r="100000" b="100000"/>
                    </a:path>
                    <a:tileRect l="-100000" t="-100000"/>
                  </a:gradFill>
                </a:rPr>
                <a:t>Add new commands to the ribbon and item menus</a:t>
              </a:r>
            </a:p>
          </p:txBody>
        </p:sp>
      </p:grpSp>
      <p:grpSp>
        <p:nvGrpSpPr>
          <p:cNvPr id="56" name="Group 55"/>
          <p:cNvGrpSpPr/>
          <p:nvPr/>
        </p:nvGrpSpPr>
        <p:grpSpPr>
          <a:xfrm>
            <a:off x="458552" y="1785892"/>
            <a:ext cx="10564912" cy="1138934"/>
            <a:chOff x="467869" y="2125664"/>
            <a:chExt cx="10779568" cy="1162075"/>
          </a:xfrm>
        </p:grpSpPr>
        <p:sp>
          <p:nvSpPr>
            <p:cNvPr id="31" name="Text Placeholder 2"/>
            <p:cNvSpPr txBox="1">
              <a:spLocks/>
            </p:cNvSpPr>
            <p:nvPr/>
          </p:nvSpPr>
          <p:spPr>
            <a:xfrm>
              <a:off x="2134618" y="2125664"/>
              <a:ext cx="9112819" cy="1162075"/>
            </a:xfrm>
            <a:prstGeom prst="rect">
              <a:avLst/>
            </a:prstGeom>
          </p:spPr>
          <p:txBody>
            <a:bodyPr lIns="93214" tIns="46608" rIns="93214" bIns="46608"/>
            <a:lstStyle>
              <a:lvl1pPr marL="345796" indent="-345796" algn="l" defTabSz="913637" rtl="0" eaLnBrk="1" latinLnBrk="0" hangingPunct="1">
                <a:lnSpc>
                  <a:spcPct val="90000"/>
                </a:lnSpc>
                <a:spcBef>
                  <a:spcPct val="20000"/>
                </a:spcBef>
                <a:buSzPct val="90000"/>
                <a:buFont typeface="Arial" pitchFamily="34" charset="0"/>
                <a:buChar char="•"/>
                <a:defRPr sz="32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629739" indent="-283935" algn="l" defTabSz="913637" rtl="0" eaLnBrk="1" latinLnBrk="0" hangingPunct="1">
                <a:lnSpc>
                  <a:spcPct val="90000"/>
                </a:lnSpc>
                <a:spcBef>
                  <a:spcPct val="20000"/>
                </a:spcBef>
                <a:buSzPct val="90000"/>
                <a:buFont typeface="Arial" pitchFamily="34" charset="0"/>
                <a:buChar char="•"/>
                <a:tabLst>
                  <a:tab pos="629739" algn="l"/>
                </a:tabLst>
                <a:defRPr sz="2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3673" indent="-283935" algn="l" defTabSz="913637"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1549" indent="-223661" algn="l" defTabSz="913637" rtl="0" eaLnBrk="1" latinLnBrk="0" hangingPunct="1">
                <a:lnSpc>
                  <a:spcPct val="90000"/>
                </a:lnSpc>
                <a:spcBef>
                  <a:spcPct val="20000"/>
                </a:spcBef>
                <a:buSzPct val="90000"/>
                <a:buFont typeface="Arial" pitchFamily="34" charset="0"/>
                <a:buChar char="•"/>
                <a:tabLst>
                  <a:tab pos="913673"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1555" indent="-230006" algn="l" defTabSz="913637" rtl="0" eaLnBrk="1" latinLnBrk="0" hangingPunct="1">
                <a:lnSpc>
                  <a:spcPct val="90000"/>
                </a:lnSpc>
                <a:spcBef>
                  <a:spcPct val="20000"/>
                </a:spcBef>
                <a:buSzPct val="90000"/>
                <a:buFont typeface="Arial" pitchFamily="34" charset="0"/>
                <a:buChar char="•"/>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2504"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323"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141"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2963"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0"/>
                </a:spcBef>
                <a:spcAft>
                  <a:spcPts val="612"/>
                </a:spcAft>
                <a:buNone/>
              </a:pPr>
              <a:r>
                <a:rPr lang="en-US" sz="2447" dirty="0">
                  <a:gradFill>
                    <a:gsLst>
                      <a:gs pos="3681">
                        <a:srgbClr val="0072C6"/>
                      </a:gs>
                      <a:gs pos="35000">
                        <a:srgbClr val="0072C6"/>
                      </a:gs>
                    </a:gsLst>
                    <a:lin ang="5400000" scaled="1"/>
                  </a:gradFill>
                  <a:latin typeface="Segoe UI Light"/>
                </a:rPr>
                <a:t>Full Page</a:t>
              </a:r>
            </a:p>
            <a:p>
              <a:pPr marL="0" indent="0">
                <a:lnSpc>
                  <a:spcPct val="100000"/>
                </a:lnSpc>
                <a:spcBef>
                  <a:spcPts val="0"/>
                </a:spcBef>
                <a:spcAft>
                  <a:spcPts val="612"/>
                </a:spcAft>
                <a:buNone/>
              </a:pPr>
              <a:r>
                <a:rPr lang="en-US" sz="1938" dirty="0">
                  <a:gradFill flip="none" rotWithShape="1">
                    <a:gsLst>
                      <a:gs pos="0">
                        <a:srgbClr val="000000">
                          <a:lumMod val="65000"/>
                          <a:lumOff val="35000"/>
                        </a:srgbClr>
                      </a:gs>
                      <a:gs pos="86000">
                        <a:srgbClr val="000000">
                          <a:lumMod val="75000"/>
                          <a:lumOff val="25000"/>
                        </a:srgbClr>
                      </a:gs>
                    </a:gsLst>
                    <a:path path="circle">
                      <a:fillToRect r="100000" b="100000"/>
                    </a:path>
                    <a:tileRect l="-100000" t="-100000"/>
                  </a:gradFill>
                </a:rPr>
                <a:t>Implement complete app experiences to satisfy business scenarios</a:t>
              </a:r>
            </a:p>
          </p:txBody>
        </p:sp>
        <p:sp>
          <p:nvSpPr>
            <p:cNvPr id="45" name="Rectangle 44"/>
            <p:cNvSpPr/>
            <p:nvPr/>
          </p:nvSpPr>
          <p:spPr>
            <a:xfrm>
              <a:off x="467869" y="2136053"/>
              <a:ext cx="1574889" cy="1081586"/>
            </a:xfrm>
            <a:prstGeom prst="rect">
              <a:avLst/>
            </a:prstGeom>
            <a:solidFill>
              <a:schemeClr val="bg2">
                <a:lumMod val="5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vert="horz" lIns="91395" tIns="45699" rIns="91395" bIns="45699" rtlCol="0" anchor="t"/>
            <a:lstStyle/>
            <a:p>
              <a:pPr defTabSz="914180"/>
              <a:endParaRPr lang="en-US" sz="1300">
                <a:solidFill>
                  <a:srgbClr val="FFFFFF">
                    <a:alpha val="99000"/>
                  </a:srgbClr>
                </a:solidFill>
              </a:endParaRPr>
            </a:p>
          </p:txBody>
        </p:sp>
        <p:grpSp>
          <p:nvGrpSpPr>
            <p:cNvPr id="46" name="Group 45"/>
            <p:cNvGrpSpPr/>
            <p:nvPr/>
          </p:nvGrpSpPr>
          <p:grpSpPr>
            <a:xfrm>
              <a:off x="588134" y="2312845"/>
              <a:ext cx="1334359" cy="728003"/>
              <a:chOff x="235465" y="1701569"/>
              <a:chExt cx="2054556" cy="609600"/>
            </a:xfrm>
            <a:effectLst/>
          </p:grpSpPr>
          <p:sp>
            <p:nvSpPr>
              <p:cNvPr id="47" name="Rectangle 46"/>
              <p:cNvSpPr/>
              <p:nvPr/>
            </p:nvSpPr>
            <p:spPr>
              <a:xfrm>
                <a:off x="1375859" y="1701570"/>
                <a:ext cx="914162" cy="60959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399" tIns="45700" rIns="91399" bIns="45700" rtlCol="0" anchor="ctr"/>
              <a:lstStyle/>
              <a:p>
                <a:pPr algn="ctr" defTabSz="914180"/>
                <a:endParaRPr lang="en-US" sz="1799">
                  <a:solidFill>
                    <a:srgbClr val="000000"/>
                  </a:solidFill>
                </a:endParaRPr>
              </a:p>
            </p:txBody>
          </p:sp>
          <p:sp>
            <p:nvSpPr>
              <p:cNvPr id="48" name="Rectangle 47"/>
              <p:cNvSpPr/>
              <p:nvPr/>
            </p:nvSpPr>
            <p:spPr>
              <a:xfrm>
                <a:off x="235465" y="1701569"/>
                <a:ext cx="914162" cy="609600"/>
              </a:xfrm>
              <a:prstGeom prst="rect">
                <a:avLst/>
              </a:prstGeom>
              <a:solidFill>
                <a:schemeClr val="bg1">
                  <a:lumMod val="95000"/>
                </a:schemeClr>
              </a:solidFill>
              <a:ln w="19050">
                <a:noFill/>
              </a:ln>
            </p:spPr>
            <p:style>
              <a:lnRef idx="1">
                <a:schemeClr val="dk1"/>
              </a:lnRef>
              <a:fillRef idx="2">
                <a:schemeClr val="dk1"/>
              </a:fillRef>
              <a:effectRef idx="1">
                <a:schemeClr val="dk1"/>
              </a:effectRef>
              <a:fontRef idx="minor">
                <a:schemeClr val="dk1"/>
              </a:fontRef>
            </p:style>
            <p:txBody>
              <a:bodyPr lIns="91399" tIns="45700" rIns="91399" bIns="45700" rtlCol="0" anchor="ctr"/>
              <a:lstStyle/>
              <a:p>
                <a:pPr algn="ctr" defTabSz="914180"/>
                <a:endParaRPr lang="en-US" sz="1799">
                  <a:solidFill>
                    <a:srgbClr val="000000"/>
                  </a:solidFill>
                </a:endParaRPr>
              </a:p>
            </p:txBody>
          </p:sp>
          <p:cxnSp>
            <p:nvCxnSpPr>
              <p:cNvPr id="49" name="Straight Connector 48"/>
              <p:cNvCxnSpPr/>
              <p:nvPr/>
            </p:nvCxnSpPr>
            <p:spPr>
              <a:xfrm>
                <a:off x="438612" y="1857432"/>
                <a:ext cx="507868" cy="0"/>
              </a:xfrm>
              <a:prstGeom prst="line">
                <a:avLst/>
              </a:prstGeom>
              <a:ln w="19050"/>
            </p:spPr>
            <p:style>
              <a:lnRef idx="1">
                <a:schemeClr val="dk1"/>
              </a:lnRef>
              <a:fillRef idx="2">
                <a:schemeClr val="dk1"/>
              </a:fillRef>
              <a:effectRef idx="1">
                <a:schemeClr val="dk1"/>
              </a:effectRef>
              <a:fontRef idx="minor">
                <a:schemeClr val="dk1"/>
              </a:fontRef>
            </p:style>
          </p:cxnSp>
          <p:cxnSp>
            <p:nvCxnSpPr>
              <p:cNvPr id="50" name="Straight Connector 49"/>
              <p:cNvCxnSpPr/>
              <p:nvPr/>
            </p:nvCxnSpPr>
            <p:spPr>
              <a:xfrm>
                <a:off x="438612" y="2009832"/>
                <a:ext cx="507868" cy="0"/>
              </a:xfrm>
              <a:prstGeom prst="line">
                <a:avLst/>
              </a:prstGeom>
              <a:ln w="19050"/>
            </p:spPr>
            <p:style>
              <a:lnRef idx="1">
                <a:schemeClr val="dk1"/>
              </a:lnRef>
              <a:fillRef idx="2">
                <a:schemeClr val="dk1"/>
              </a:fillRef>
              <a:effectRef idx="1">
                <a:schemeClr val="dk1"/>
              </a:effectRef>
              <a:fontRef idx="minor">
                <a:schemeClr val="dk1"/>
              </a:fontRef>
            </p:style>
          </p:cxnSp>
          <p:cxnSp>
            <p:nvCxnSpPr>
              <p:cNvPr id="51" name="Straight Connector 50"/>
              <p:cNvCxnSpPr/>
              <p:nvPr/>
            </p:nvCxnSpPr>
            <p:spPr>
              <a:xfrm>
                <a:off x="438612" y="2162232"/>
                <a:ext cx="507868" cy="0"/>
              </a:xfrm>
              <a:prstGeom prst="line">
                <a:avLst/>
              </a:prstGeom>
              <a:ln w="19050"/>
            </p:spPr>
            <p:style>
              <a:lnRef idx="1">
                <a:schemeClr val="dk1"/>
              </a:lnRef>
              <a:fillRef idx="2">
                <a:schemeClr val="dk1"/>
              </a:fillRef>
              <a:effectRef idx="1">
                <a:schemeClr val="dk1"/>
              </a:effectRef>
              <a:fontRef idx="minor">
                <a:schemeClr val="dk1"/>
              </a:fontRef>
            </p:style>
          </p:cxnSp>
          <p:cxnSp>
            <p:nvCxnSpPr>
              <p:cNvPr id="52" name="Straight Connector 51"/>
              <p:cNvCxnSpPr/>
              <p:nvPr/>
            </p:nvCxnSpPr>
            <p:spPr>
              <a:xfrm flipV="1">
                <a:off x="946482" y="1702314"/>
                <a:ext cx="428914" cy="307520"/>
              </a:xfrm>
              <a:prstGeom prst="line">
                <a:avLst/>
              </a:prstGeom>
              <a:ln w="19050">
                <a:solidFill>
                  <a:schemeClr val="bg2">
                    <a:lumMod val="90000"/>
                  </a:schemeClr>
                </a:solidFill>
              </a:ln>
            </p:spPr>
            <p:style>
              <a:lnRef idx="1">
                <a:schemeClr val="dk1"/>
              </a:lnRef>
              <a:fillRef idx="2">
                <a:schemeClr val="dk1"/>
              </a:fillRef>
              <a:effectRef idx="1">
                <a:schemeClr val="dk1"/>
              </a:effectRef>
              <a:fontRef idx="minor">
                <a:schemeClr val="dk1"/>
              </a:fontRef>
            </p:style>
          </p:cxnSp>
          <p:cxnSp>
            <p:nvCxnSpPr>
              <p:cNvPr id="53" name="Straight Connector 52"/>
              <p:cNvCxnSpPr/>
              <p:nvPr/>
            </p:nvCxnSpPr>
            <p:spPr>
              <a:xfrm>
                <a:off x="946480" y="2006369"/>
                <a:ext cx="429379" cy="304800"/>
              </a:xfrm>
              <a:prstGeom prst="line">
                <a:avLst/>
              </a:prstGeom>
              <a:ln w="19050">
                <a:solidFill>
                  <a:schemeClr val="bg2">
                    <a:lumMod val="90000"/>
                  </a:schemeClr>
                </a:solidFill>
              </a:ln>
            </p:spPr>
            <p:style>
              <a:lnRef idx="1">
                <a:schemeClr val="dk1"/>
              </a:lnRef>
              <a:fillRef idx="2">
                <a:schemeClr val="dk1"/>
              </a:fillRef>
              <a:effectRef idx="1">
                <a:schemeClr val="dk1"/>
              </a:effectRef>
              <a:fontRef idx="minor">
                <a:schemeClr val="dk1"/>
              </a:fontRef>
            </p:style>
          </p:cxnSp>
        </p:grpSp>
      </p:grpSp>
    </p:spTree>
    <p:extLst>
      <p:ext uri="{BB962C8B-B14F-4D97-AF65-F5344CB8AC3E}">
        <p14:creationId xmlns:p14="http://schemas.microsoft.com/office/powerpoint/2010/main" val="6346704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920" dirty="0"/>
              <a:t>Full Page</a:t>
            </a:r>
            <a:br>
              <a:rPr lang="en-US" sz="3920" dirty="0"/>
            </a:br>
            <a:r>
              <a:rPr lang="en-US" sz="3920" dirty="0"/>
              <a:t>Connected App</a:t>
            </a:r>
            <a:br>
              <a:rPr lang="en-US" sz="3920" dirty="0"/>
            </a:br>
            <a:r>
              <a:rPr lang="en-US" sz="3920" dirty="0"/>
              <a:t/>
            </a:r>
            <a:br>
              <a:rPr lang="en-US" sz="3920" dirty="0"/>
            </a:br>
            <a:r>
              <a:rPr lang="en-US" sz="3920" dirty="0"/>
              <a:t>Provider Hosted </a:t>
            </a:r>
            <a:br>
              <a:rPr lang="en-US" sz="3920" dirty="0"/>
            </a:br>
            <a:r>
              <a:rPr lang="en-US" sz="3920" dirty="0"/>
              <a:t>in Azure</a:t>
            </a:r>
            <a:r>
              <a:rPr lang="en-US" dirty="0" smtClean="0"/>
              <a:t/>
            </a:r>
            <a:br>
              <a:rPr lang="en-US" dirty="0" smtClean="0"/>
            </a:br>
            <a:endParaRPr lang="en-US" dirty="0"/>
          </a:p>
        </p:txBody>
      </p:sp>
      <p:sp>
        <p:nvSpPr>
          <p:cNvPr id="31" name="Picture Placeholder 30"/>
          <p:cNvSpPr>
            <a:spLocks noGrp="1"/>
          </p:cNvSpPr>
          <p:nvPr>
            <p:ph type="pic" sz="quarter" idx="10"/>
          </p:nvPr>
        </p:nvSpPr>
        <p:spPr/>
      </p:sp>
      <p:pic>
        <p:nvPicPr>
          <p:cNvPr id="4" name="Picture 2" descr="http://www.nintex.com/Style%20Library/Images/NF_Office365.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15955" y="3280"/>
            <a:ext cx="9452884" cy="6853342"/>
          </a:xfrm>
          <a:prstGeom prst="rect">
            <a:avLst/>
          </a:prstGeom>
          <a:solidFill>
            <a:schemeClr val="bg1"/>
          </a:solidFill>
          <a:extLst/>
        </p:spPr>
      </p:pic>
    </p:spTree>
    <p:extLst>
      <p:ext uri="{BB962C8B-B14F-4D97-AF65-F5344CB8AC3E}">
        <p14:creationId xmlns:p14="http://schemas.microsoft.com/office/powerpoint/2010/main" val="4177507165"/>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emo</a:t>
            </a:r>
            <a:endParaRPr lang="en-US" sz="4704" dirty="0"/>
          </a:p>
        </p:txBody>
      </p:sp>
    </p:spTree>
    <p:extLst>
      <p:ext uri="{BB962C8B-B14F-4D97-AF65-F5344CB8AC3E}">
        <p14:creationId xmlns:p14="http://schemas.microsoft.com/office/powerpoint/2010/main" val="2893689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3">
            <a:extLst>
              <a:ext uri="{28A0092B-C50C-407E-A947-70E740481C1C}">
                <a14:useLocalDpi xmlns:a14="http://schemas.microsoft.com/office/drawing/2010/main" val="0"/>
              </a:ext>
            </a:extLst>
          </a:blip>
          <a:srcRect t="13045" b="28036"/>
          <a:stretch/>
        </p:blipFill>
        <p:spPr>
          <a:xfrm>
            <a:off x="6130534" y="1741485"/>
            <a:ext cx="5794884" cy="2277820"/>
          </a:xfrm>
          <a:prstGeom prst="rect">
            <a:avLst/>
          </a:prstGeom>
        </p:spPr>
      </p:pic>
      <p:pic>
        <p:nvPicPr>
          <p:cNvPr id="8" name="Picture 7"/>
          <p:cNvPicPr>
            <a:picLocks noChangeAspect="1"/>
          </p:cNvPicPr>
          <p:nvPr/>
        </p:nvPicPr>
        <p:blipFill rotWithShape="1">
          <a:blip r:embed="rId4">
            <a:extLst>
              <a:ext uri="{28A0092B-C50C-407E-A947-70E740481C1C}">
                <a14:useLocalDpi xmlns:a14="http://schemas.microsoft.com/office/drawing/2010/main" val="0"/>
              </a:ext>
            </a:extLst>
          </a:blip>
          <a:srcRect t="33888" b="7233"/>
          <a:stretch/>
        </p:blipFill>
        <p:spPr>
          <a:xfrm>
            <a:off x="290848" y="1738920"/>
            <a:ext cx="5794884" cy="2280384"/>
          </a:xfrm>
          <a:prstGeom prst="rect">
            <a:avLst/>
          </a:prstGeom>
        </p:spPr>
      </p:pic>
      <p:sp>
        <p:nvSpPr>
          <p:cNvPr id="4" name="Rectangle 3"/>
          <p:cNvSpPr/>
          <p:nvPr/>
        </p:nvSpPr>
        <p:spPr bwMode="auto">
          <a:xfrm>
            <a:off x="0" y="4718964"/>
            <a:ext cx="12188825" cy="2137657"/>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828"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mtClean="0"/>
              <a:t>Distribution choices</a:t>
            </a:r>
            <a:endParaRPr lang="en-US" dirty="0"/>
          </a:p>
        </p:txBody>
      </p:sp>
      <p:sp>
        <p:nvSpPr>
          <p:cNvPr id="10" name="Rectangle 9"/>
          <p:cNvSpPr/>
          <p:nvPr/>
        </p:nvSpPr>
        <p:spPr bwMode="auto">
          <a:xfrm>
            <a:off x="6085732" y="1737261"/>
            <a:ext cx="44801" cy="2688192"/>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653" fontAlgn="base">
              <a:spcBef>
                <a:spcPct val="0"/>
              </a:spcBef>
              <a:spcAft>
                <a:spcPct val="0"/>
              </a:spcAft>
            </a:pPr>
            <a:endParaRPr lang="en-US" sz="1960" dirty="0">
              <a:gradFill>
                <a:gsLst>
                  <a:gs pos="0">
                    <a:srgbClr val="FFFFFF"/>
                  </a:gs>
                  <a:gs pos="100000">
                    <a:srgbClr val="FFFFFF"/>
                  </a:gs>
                </a:gsLst>
                <a:lin ang="5400000" scaled="0"/>
              </a:gradFill>
            </a:endParaRPr>
          </a:p>
        </p:txBody>
      </p:sp>
      <p:grpSp>
        <p:nvGrpSpPr>
          <p:cNvPr id="6" name="Group 5"/>
          <p:cNvGrpSpPr/>
          <p:nvPr/>
        </p:nvGrpSpPr>
        <p:grpSpPr>
          <a:xfrm>
            <a:off x="263690" y="4768040"/>
            <a:ext cx="11634569" cy="792379"/>
            <a:chOff x="268203" y="5511799"/>
            <a:chExt cx="11872642" cy="808592"/>
          </a:xfrm>
        </p:grpSpPr>
        <p:sp>
          <p:nvSpPr>
            <p:cNvPr id="19" name="Rectangle 18"/>
            <p:cNvSpPr/>
            <p:nvPr/>
          </p:nvSpPr>
          <p:spPr bwMode="auto">
            <a:xfrm>
              <a:off x="268203" y="5511799"/>
              <a:ext cx="11872642" cy="808592"/>
            </a:xfrm>
            <a:prstGeom prst="rect">
              <a:avLst/>
            </a:prstGeom>
            <a:solidFill>
              <a:schemeClr val="bg1">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48032" tIns="143370" rIns="179212" bIns="143370" numCol="1" spcCol="0" rtlCol="0" fromWordArt="0" anchor="t" anchorCtr="0" forceAA="0" compatLnSpc="1">
              <a:prstTxWarp prst="textNoShape">
                <a:avLst/>
              </a:prstTxWarp>
              <a:noAutofit/>
            </a:bodyPr>
            <a:lstStyle/>
            <a:p>
              <a:pPr defTabSz="913653" fontAlgn="base">
                <a:spcBef>
                  <a:spcPct val="0"/>
                </a:spcBef>
                <a:spcAft>
                  <a:spcPct val="0"/>
                </a:spcAft>
              </a:pPr>
              <a:endParaRPr lang="en-US" sz="3135" b="1" dirty="0">
                <a:gradFill>
                  <a:gsLst>
                    <a:gs pos="0">
                      <a:srgbClr val="FFFFFF"/>
                    </a:gs>
                    <a:gs pos="100000">
                      <a:srgbClr val="FFFFFF"/>
                    </a:gs>
                  </a:gsLst>
                  <a:lin ang="5400000" scaled="0"/>
                </a:gradFill>
                <a:latin typeface="Segoe UI Light"/>
                <a:cs typeface="Segoe UI Semibold" panose="020B0702040204020203" pitchFamily="34" charset="0"/>
              </a:endParaRPr>
            </a:p>
          </p:txBody>
        </p:sp>
        <p:sp>
          <p:nvSpPr>
            <p:cNvPr id="34" name="Freeform 33"/>
            <p:cNvSpPr>
              <a:spLocks noEditPoints="1"/>
            </p:cNvSpPr>
            <p:nvPr/>
          </p:nvSpPr>
          <p:spPr bwMode="auto">
            <a:xfrm>
              <a:off x="4317164" y="5657903"/>
              <a:ext cx="1630072" cy="516384"/>
            </a:xfrm>
            <a:custGeom>
              <a:avLst/>
              <a:gdLst>
                <a:gd name="T0" fmla="*/ 0 w 1922"/>
                <a:gd name="T1" fmla="*/ 122 h 606"/>
                <a:gd name="T2" fmla="*/ 324 w 1922"/>
                <a:gd name="T3" fmla="*/ 0 h 606"/>
                <a:gd name="T4" fmla="*/ 502 w 1922"/>
                <a:gd name="T5" fmla="*/ 51 h 606"/>
                <a:gd name="T6" fmla="*/ 503 w 1922"/>
                <a:gd name="T7" fmla="*/ 557 h 606"/>
                <a:gd name="T8" fmla="*/ 17 w 1922"/>
                <a:gd name="T9" fmla="*/ 492 h 606"/>
                <a:gd name="T10" fmla="*/ 22 w 1922"/>
                <a:gd name="T11" fmla="*/ 489 h 606"/>
                <a:gd name="T12" fmla="*/ 244 w 1922"/>
                <a:gd name="T13" fmla="*/ 520 h 606"/>
                <a:gd name="T14" fmla="*/ 325 w 1922"/>
                <a:gd name="T15" fmla="*/ 99 h 606"/>
                <a:gd name="T16" fmla="*/ 299 w 1922"/>
                <a:gd name="T17" fmla="*/ 101 h 606"/>
                <a:gd name="T18" fmla="*/ 111 w 1922"/>
                <a:gd name="T19" fmla="*/ 439 h 606"/>
                <a:gd name="T20" fmla="*/ 2 w 1922"/>
                <a:gd name="T21" fmla="*/ 486 h 606"/>
                <a:gd name="T22" fmla="*/ 1356 w 1922"/>
                <a:gd name="T23" fmla="*/ 99 h 606"/>
                <a:gd name="T24" fmla="*/ 1246 w 1922"/>
                <a:gd name="T25" fmla="*/ 178 h 606"/>
                <a:gd name="T26" fmla="*/ 1148 w 1922"/>
                <a:gd name="T27" fmla="*/ 225 h 606"/>
                <a:gd name="T28" fmla="*/ 1147 w 1922"/>
                <a:gd name="T29" fmla="*/ 164 h 606"/>
                <a:gd name="T30" fmla="*/ 1216 w 1922"/>
                <a:gd name="T31" fmla="*/ 135 h 606"/>
                <a:gd name="T32" fmla="*/ 1192 w 1922"/>
                <a:gd name="T33" fmla="*/ 95 h 606"/>
                <a:gd name="T34" fmla="*/ 1103 w 1922"/>
                <a:gd name="T35" fmla="*/ 222 h 606"/>
                <a:gd name="T36" fmla="*/ 1059 w 1922"/>
                <a:gd name="T37" fmla="*/ 228 h 606"/>
                <a:gd name="T38" fmla="*/ 1099 w 1922"/>
                <a:gd name="T39" fmla="*/ 261 h 606"/>
                <a:gd name="T40" fmla="*/ 1106 w 1922"/>
                <a:gd name="T41" fmla="*/ 485 h 606"/>
                <a:gd name="T42" fmla="*/ 1145 w 1922"/>
                <a:gd name="T43" fmla="*/ 265 h 606"/>
                <a:gd name="T44" fmla="*/ 1246 w 1922"/>
                <a:gd name="T45" fmla="*/ 265 h 606"/>
                <a:gd name="T46" fmla="*/ 1284 w 1922"/>
                <a:gd name="T47" fmla="*/ 485 h 606"/>
                <a:gd name="T48" fmla="*/ 1291 w 1922"/>
                <a:gd name="T49" fmla="*/ 261 h 606"/>
                <a:gd name="T50" fmla="*/ 1349 w 1922"/>
                <a:gd name="T51" fmla="*/ 229 h 606"/>
                <a:gd name="T52" fmla="*/ 1287 w 1922"/>
                <a:gd name="T53" fmla="*/ 222 h 606"/>
                <a:gd name="T54" fmla="*/ 1335 w 1922"/>
                <a:gd name="T55" fmla="*/ 131 h 606"/>
                <a:gd name="T56" fmla="*/ 688 w 1922"/>
                <a:gd name="T57" fmla="*/ 319 h 606"/>
                <a:gd name="T58" fmla="*/ 908 w 1922"/>
                <a:gd name="T59" fmla="*/ 485 h 606"/>
                <a:gd name="T60" fmla="*/ 1032 w 1922"/>
                <a:gd name="T61" fmla="*/ 287 h 606"/>
                <a:gd name="T62" fmla="*/ 826 w 1922"/>
                <a:gd name="T63" fmla="*/ 119 h 606"/>
                <a:gd name="T64" fmla="*/ 688 w 1922"/>
                <a:gd name="T65" fmla="*/ 307 h 606"/>
                <a:gd name="T66" fmla="*/ 887 w 1922"/>
                <a:gd name="T67" fmla="*/ 450 h 606"/>
                <a:gd name="T68" fmla="*/ 750 w 1922"/>
                <a:gd name="T69" fmla="*/ 224 h 606"/>
                <a:gd name="T70" fmla="*/ 977 w 1922"/>
                <a:gd name="T71" fmla="*/ 236 h 606"/>
                <a:gd name="T72" fmla="*/ 974 w 1922"/>
                <a:gd name="T73" fmla="*/ 380 h 606"/>
                <a:gd name="T74" fmla="*/ 1751 w 1922"/>
                <a:gd name="T75" fmla="*/ 417 h 606"/>
                <a:gd name="T76" fmla="*/ 1919 w 1922"/>
                <a:gd name="T77" fmla="*/ 366 h 606"/>
                <a:gd name="T78" fmla="*/ 1915 w 1922"/>
                <a:gd name="T79" fmla="*/ 291 h 606"/>
                <a:gd name="T80" fmla="*/ 1710 w 1922"/>
                <a:gd name="T81" fmla="*/ 289 h 606"/>
                <a:gd name="T82" fmla="*/ 1787 w 1922"/>
                <a:gd name="T83" fmla="*/ 489 h 606"/>
                <a:gd name="T84" fmla="*/ 1904 w 1922"/>
                <a:gd name="T85" fmla="*/ 465 h 606"/>
                <a:gd name="T86" fmla="*/ 1742 w 1922"/>
                <a:gd name="T87" fmla="*/ 330 h 606"/>
                <a:gd name="T88" fmla="*/ 1847 w 1922"/>
                <a:gd name="T89" fmla="*/ 262 h 606"/>
                <a:gd name="T90" fmla="*/ 1876 w 1922"/>
                <a:gd name="T91" fmla="*/ 330 h 606"/>
                <a:gd name="T92" fmla="*/ 1667 w 1922"/>
                <a:gd name="T93" fmla="*/ 234 h 606"/>
                <a:gd name="T94" fmla="*/ 1576 w 1922"/>
                <a:gd name="T95" fmla="*/ 222 h 606"/>
                <a:gd name="T96" fmla="*/ 1550 w 1922"/>
                <a:gd name="T97" fmla="*/ 484 h 606"/>
                <a:gd name="T98" fmla="*/ 1666 w 1922"/>
                <a:gd name="T99" fmla="*/ 470 h 606"/>
                <a:gd name="T100" fmla="*/ 1663 w 1922"/>
                <a:gd name="T101" fmla="*/ 436 h 606"/>
                <a:gd name="T102" fmla="*/ 1518 w 1922"/>
                <a:gd name="T103" fmla="*/ 323 h 606"/>
                <a:gd name="T104" fmla="*/ 1667 w 1922"/>
                <a:gd name="T105" fmla="*/ 275 h 606"/>
                <a:gd name="T106" fmla="*/ 1391 w 1922"/>
                <a:gd name="T107" fmla="*/ 485 h 606"/>
                <a:gd name="T108" fmla="*/ 1429 w 1922"/>
                <a:gd name="T109" fmla="*/ 385 h 606"/>
                <a:gd name="T110" fmla="*/ 1391 w 1922"/>
                <a:gd name="T111" fmla="*/ 225 h 606"/>
                <a:gd name="T112" fmla="*/ 1387 w 1922"/>
                <a:gd name="T113" fmla="*/ 481 h 606"/>
                <a:gd name="T114" fmla="*/ 1381 w 1922"/>
                <a:gd name="T115" fmla="*/ 133 h 606"/>
                <a:gd name="T116" fmla="*/ 1 w 1922"/>
                <a:gd name="T117" fmla="*/ 486 h 606"/>
                <a:gd name="T118" fmla="*/ 2 w 1922"/>
                <a:gd name="T119" fmla="*/ 48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22" h="606">
                  <a:moveTo>
                    <a:pt x="1" y="486"/>
                  </a:moveTo>
                  <a:cubicBezTo>
                    <a:pt x="1" y="486"/>
                    <a:pt x="0" y="486"/>
                    <a:pt x="0" y="486"/>
                  </a:cubicBezTo>
                  <a:cubicBezTo>
                    <a:pt x="0" y="365"/>
                    <a:pt x="0" y="243"/>
                    <a:pt x="0" y="122"/>
                  </a:cubicBezTo>
                  <a:cubicBezTo>
                    <a:pt x="1" y="121"/>
                    <a:pt x="2" y="121"/>
                    <a:pt x="3" y="121"/>
                  </a:cubicBezTo>
                  <a:cubicBezTo>
                    <a:pt x="98" y="85"/>
                    <a:pt x="194" y="49"/>
                    <a:pt x="289" y="13"/>
                  </a:cubicBezTo>
                  <a:cubicBezTo>
                    <a:pt x="301" y="9"/>
                    <a:pt x="313" y="4"/>
                    <a:pt x="324" y="0"/>
                  </a:cubicBezTo>
                  <a:cubicBezTo>
                    <a:pt x="325" y="0"/>
                    <a:pt x="326" y="0"/>
                    <a:pt x="327" y="0"/>
                  </a:cubicBezTo>
                  <a:cubicBezTo>
                    <a:pt x="335" y="3"/>
                    <a:pt x="343" y="5"/>
                    <a:pt x="351" y="7"/>
                  </a:cubicBezTo>
                  <a:cubicBezTo>
                    <a:pt x="402" y="22"/>
                    <a:pt x="452" y="36"/>
                    <a:pt x="502" y="51"/>
                  </a:cubicBezTo>
                  <a:cubicBezTo>
                    <a:pt x="505" y="51"/>
                    <a:pt x="506" y="52"/>
                    <a:pt x="506" y="55"/>
                  </a:cubicBezTo>
                  <a:cubicBezTo>
                    <a:pt x="506" y="221"/>
                    <a:pt x="506" y="387"/>
                    <a:pt x="506" y="553"/>
                  </a:cubicBezTo>
                  <a:cubicBezTo>
                    <a:pt x="506" y="556"/>
                    <a:pt x="505" y="557"/>
                    <a:pt x="503" y="557"/>
                  </a:cubicBezTo>
                  <a:cubicBezTo>
                    <a:pt x="444" y="573"/>
                    <a:pt x="386" y="590"/>
                    <a:pt x="327" y="606"/>
                  </a:cubicBezTo>
                  <a:cubicBezTo>
                    <a:pt x="326" y="606"/>
                    <a:pt x="324" y="606"/>
                    <a:pt x="323" y="605"/>
                  </a:cubicBezTo>
                  <a:cubicBezTo>
                    <a:pt x="221" y="568"/>
                    <a:pt x="119" y="530"/>
                    <a:pt x="17" y="492"/>
                  </a:cubicBezTo>
                  <a:cubicBezTo>
                    <a:pt x="12" y="490"/>
                    <a:pt x="6" y="488"/>
                    <a:pt x="1" y="486"/>
                  </a:cubicBezTo>
                  <a:cubicBezTo>
                    <a:pt x="1" y="486"/>
                    <a:pt x="1" y="486"/>
                    <a:pt x="2" y="486"/>
                  </a:cubicBezTo>
                  <a:cubicBezTo>
                    <a:pt x="8" y="487"/>
                    <a:pt x="15" y="488"/>
                    <a:pt x="22" y="489"/>
                  </a:cubicBezTo>
                  <a:cubicBezTo>
                    <a:pt x="46" y="492"/>
                    <a:pt x="70" y="496"/>
                    <a:pt x="94" y="499"/>
                  </a:cubicBezTo>
                  <a:cubicBezTo>
                    <a:pt x="119" y="502"/>
                    <a:pt x="144" y="506"/>
                    <a:pt x="168" y="509"/>
                  </a:cubicBezTo>
                  <a:cubicBezTo>
                    <a:pt x="194" y="513"/>
                    <a:pt x="219" y="516"/>
                    <a:pt x="244" y="520"/>
                  </a:cubicBezTo>
                  <a:cubicBezTo>
                    <a:pt x="270" y="523"/>
                    <a:pt x="295" y="527"/>
                    <a:pt x="321" y="530"/>
                  </a:cubicBezTo>
                  <a:cubicBezTo>
                    <a:pt x="325" y="531"/>
                    <a:pt x="325" y="530"/>
                    <a:pt x="325" y="527"/>
                  </a:cubicBezTo>
                  <a:cubicBezTo>
                    <a:pt x="325" y="384"/>
                    <a:pt x="325" y="242"/>
                    <a:pt x="325" y="99"/>
                  </a:cubicBezTo>
                  <a:cubicBezTo>
                    <a:pt x="325" y="99"/>
                    <a:pt x="325" y="98"/>
                    <a:pt x="325" y="98"/>
                  </a:cubicBezTo>
                  <a:cubicBezTo>
                    <a:pt x="325" y="96"/>
                    <a:pt x="325" y="95"/>
                    <a:pt x="322" y="96"/>
                  </a:cubicBezTo>
                  <a:cubicBezTo>
                    <a:pt x="314" y="98"/>
                    <a:pt x="306" y="99"/>
                    <a:pt x="299" y="101"/>
                  </a:cubicBezTo>
                  <a:cubicBezTo>
                    <a:pt x="237" y="116"/>
                    <a:pt x="176" y="131"/>
                    <a:pt x="114" y="145"/>
                  </a:cubicBezTo>
                  <a:cubicBezTo>
                    <a:pt x="111" y="146"/>
                    <a:pt x="111" y="147"/>
                    <a:pt x="111" y="150"/>
                  </a:cubicBezTo>
                  <a:cubicBezTo>
                    <a:pt x="111" y="247"/>
                    <a:pt x="111" y="343"/>
                    <a:pt x="111" y="439"/>
                  </a:cubicBezTo>
                  <a:cubicBezTo>
                    <a:pt x="111" y="442"/>
                    <a:pt x="110" y="443"/>
                    <a:pt x="107" y="444"/>
                  </a:cubicBezTo>
                  <a:cubicBezTo>
                    <a:pt x="79" y="455"/>
                    <a:pt x="50" y="467"/>
                    <a:pt x="21" y="478"/>
                  </a:cubicBezTo>
                  <a:cubicBezTo>
                    <a:pt x="15" y="480"/>
                    <a:pt x="8" y="482"/>
                    <a:pt x="2" y="486"/>
                  </a:cubicBezTo>
                  <a:cubicBezTo>
                    <a:pt x="1" y="486"/>
                    <a:pt x="1" y="486"/>
                    <a:pt x="1" y="486"/>
                  </a:cubicBezTo>
                  <a:close/>
                  <a:moveTo>
                    <a:pt x="1359" y="102"/>
                  </a:moveTo>
                  <a:cubicBezTo>
                    <a:pt x="1359" y="100"/>
                    <a:pt x="1358" y="99"/>
                    <a:pt x="1356" y="99"/>
                  </a:cubicBezTo>
                  <a:cubicBezTo>
                    <a:pt x="1349" y="96"/>
                    <a:pt x="1342" y="95"/>
                    <a:pt x="1334" y="95"/>
                  </a:cubicBezTo>
                  <a:cubicBezTo>
                    <a:pt x="1318" y="95"/>
                    <a:pt x="1302" y="97"/>
                    <a:pt x="1287" y="105"/>
                  </a:cubicBezTo>
                  <a:cubicBezTo>
                    <a:pt x="1260" y="122"/>
                    <a:pt x="1247" y="147"/>
                    <a:pt x="1246" y="178"/>
                  </a:cubicBezTo>
                  <a:cubicBezTo>
                    <a:pt x="1245" y="193"/>
                    <a:pt x="1246" y="207"/>
                    <a:pt x="1246" y="222"/>
                  </a:cubicBezTo>
                  <a:cubicBezTo>
                    <a:pt x="1246" y="224"/>
                    <a:pt x="1246" y="225"/>
                    <a:pt x="1243" y="225"/>
                  </a:cubicBezTo>
                  <a:cubicBezTo>
                    <a:pt x="1211" y="225"/>
                    <a:pt x="1179" y="225"/>
                    <a:pt x="1148" y="225"/>
                  </a:cubicBezTo>
                  <a:cubicBezTo>
                    <a:pt x="1145" y="225"/>
                    <a:pt x="1145" y="225"/>
                    <a:pt x="1145" y="222"/>
                  </a:cubicBezTo>
                  <a:cubicBezTo>
                    <a:pt x="1145" y="210"/>
                    <a:pt x="1145" y="197"/>
                    <a:pt x="1145" y="185"/>
                  </a:cubicBezTo>
                  <a:cubicBezTo>
                    <a:pt x="1145" y="178"/>
                    <a:pt x="1145" y="171"/>
                    <a:pt x="1147" y="164"/>
                  </a:cubicBezTo>
                  <a:cubicBezTo>
                    <a:pt x="1151" y="145"/>
                    <a:pt x="1162" y="134"/>
                    <a:pt x="1179" y="131"/>
                  </a:cubicBezTo>
                  <a:cubicBezTo>
                    <a:pt x="1191" y="129"/>
                    <a:pt x="1203" y="131"/>
                    <a:pt x="1213" y="136"/>
                  </a:cubicBezTo>
                  <a:cubicBezTo>
                    <a:pt x="1215" y="137"/>
                    <a:pt x="1216" y="137"/>
                    <a:pt x="1216" y="135"/>
                  </a:cubicBezTo>
                  <a:cubicBezTo>
                    <a:pt x="1216" y="124"/>
                    <a:pt x="1216" y="113"/>
                    <a:pt x="1216" y="102"/>
                  </a:cubicBezTo>
                  <a:cubicBezTo>
                    <a:pt x="1216" y="100"/>
                    <a:pt x="1215" y="99"/>
                    <a:pt x="1214" y="99"/>
                  </a:cubicBezTo>
                  <a:cubicBezTo>
                    <a:pt x="1207" y="96"/>
                    <a:pt x="1199" y="96"/>
                    <a:pt x="1192" y="95"/>
                  </a:cubicBezTo>
                  <a:cubicBezTo>
                    <a:pt x="1176" y="95"/>
                    <a:pt x="1161" y="96"/>
                    <a:pt x="1147" y="104"/>
                  </a:cubicBezTo>
                  <a:cubicBezTo>
                    <a:pt x="1118" y="120"/>
                    <a:pt x="1104" y="145"/>
                    <a:pt x="1103" y="178"/>
                  </a:cubicBezTo>
                  <a:cubicBezTo>
                    <a:pt x="1103" y="192"/>
                    <a:pt x="1103" y="207"/>
                    <a:pt x="1103" y="222"/>
                  </a:cubicBezTo>
                  <a:cubicBezTo>
                    <a:pt x="1103" y="225"/>
                    <a:pt x="1102" y="225"/>
                    <a:pt x="1100" y="225"/>
                  </a:cubicBezTo>
                  <a:cubicBezTo>
                    <a:pt x="1087" y="225"/>
                    <a:pt x="1074" y="225"/>
                    <a:pt x="1062" y="225"/>
                  </a:cubicBezTo>
                  <a:cubicBezTo>
                    <a:pt x="1060" y="225"/>
                    <a:pt x="1059" y="226"/>
                    <a:pt x="1059" y="228"/>
                  </a:cubicBezTo>
                  <a:cubicBezTo>
                    <a:pt x="1059" y="238"/>
                    <a:pt x="1059" y="248"/>
                    <a:pt x="1059" y="258"/>
                  </a:cubicBezTo>
                  <a:cubicBezTo>
                    <a:pt x="1059" y="260"/>
                    <a:pt x="1059" y="261"/>
                    <a:pt x="1062" y="261"/>
                  </a:cubicBezTo>
                  <a:cubicBezTo>
                    <a:pt x="1074" y="261"/>
                    <a:pt x="1086" y="261"/>
                    <a:pt x="1099" y="261"/>
                  </a:cubicBezTo>
                  <a:cubicBezTo>
                    <a:pt x="1102" y="261"/>
                    <a:pt x="1103" y="262"/>
                    <a:pt x="1103" y="265"/>
                  </a:cubicBezTo>
                  <a:cubicBezTo>
                    <a:pt x="1103" y="337"/>
                    <a:pt x="1103" y="409"/>
                    <a:pt x="1103" y="482"/>
                  </a:cubicBezTo>
                  <a:cubicBezTo>
                    <a:pt x="1103" y="484"/>
                    <a:pt x="1103" y="485"/>
                    <a:pt x="1106" y="485"/>
                  </a:cubicBezTo>
                  <a:cubicBezTo>
                    <a:pt x="1118" y="485"/>
                    <a:pt x="1129" y="485"/>
                    <a:pt x="1140" y="485"/>
                  </a:cubicBezTo>
                  <a:cubicBezTo>
                    <a:pt x="1145" y="485"/>
                    <a:pt x="1145" y="486"/>
                    <a:pt x="1145" y="481"/>
                  </a:cubicBezTo>
                  <a:cubicBezTo>
                    <a:pt x="1145" y="409"/>
                    <a:pt x="1145" y="337"/>
                    <a:pt x="1145" y="265"/>
                  </a:cubicBezTo>
                  <a:cubicBezTo>
                    <a:pt x="1145" y="261"/>
                    <a:pt x="1146" y="261"/>
                    <a:pt x="1149" y="261"/>
                  </a:cubicBezTo>
                  <a:cubicBezTo>
                    <a:pt x="1180" y="261"/>
                    <a:pt x="1211" y="261"/>
                    <a:pt x="1242" y="261"/>
                  </a:cubicBezTo>
                  <a:cubicBezTo>
                    <a:pt x="1245" y="261"/>
                    <a:pt x="1246" y="262"/>
                    <a:pt x="1246" y="265"/>
                  </a:cubicBezTo>
                  <a:cubicBezTo>
                    <a:pt x="1246" y="337"/>
                    <a:pt x="1246" y="410"/>
                    <a:pt x="1246" y="482"/>
                  </a:cubicBezTo>
                  <a:cubicBezTo>
                    <a:pt x="1246" y="484"/>
                    <a:pt x="1246" y="485"/>
                    <a:pt x="1249" y="485"/>
                  </a:cubicBezTo>
                  <a:cubicBezTo>
                    <a:pt x="1261" y="485"/>
                    <a:pt x="1272" y="485"/>
                    <a:pt x="1284" y="485"/>
                  </a:cubicBezTo>
                  <a:cubicBezTo>
                    <a:pt x="1287" y="485"/>
                    <a:pt x="1288" y="484"/>
                    <a:pt x="1288" y="481"/>
                  </a:cubicBezTo>
                  <a:cubicBezTo>
                    <a:pt x="1287" y="409"/>
                    <a:pt x="1288" y="337"/>
                    <a:pt x="1287" y="264"/>
                  </a:cubicBezTo>
                  <a:cubicBezTo>
                    <a:pt x="1287" y="262"/>
                    <a:pt x="1288" y="261"/>
                    <a:pt x="1291" y="261"/>
                  </a:cubicBezTo>
                  <a:cubicBezTo>
                    <a:pt x="1309" y="261"/>
                    <a:pt x="1327" y="261"/>
                    <a:pt x="1346" y="261"/>
                  </a:cubicBezTo>
                  <a:cubicBezTo>
                    <a:pt x="1348" y="261"/>
                    <a:pt x="1349" y="260"/>
                    <a:pt x="1349" y="258"/>
                  </a:cubicBezTo>
                  <a:cubicBezTo>
                    <a:pt x="1348" y="248"/>
                    <a:pt x="1348" y="239"/>
                    <a:pt x="1349" y="229"/>
                  </a:cubicBezTo>
                  <a:cubicBezTo>
                    <a:pt x="1349" y="226"/>
                    <a:pt x="1348" y="225"/>
                    <a:pt x="1345" y="225"/>
                  </a:cubicBezTo>
                  <a:cubicBezTo>
                    <a:pt x="1327" y="225"/>
                    <a:pt x="1309" y="225"/>
                    <a:pt x="1291" y="225"/>
                  </a:cubicBezTo>
                  <a:cubicBezTo>
                    <a:pt x="1288" y="225"/>
                    <a:pt x="1287" y="225"/>
                    <a:pt x="1287" y="222"/>
                  </a:cubicBezTo>
                  <a:cubicBezTo>
                    <a:pt x="1288" y="210"/>
                    <a:pt x="1287" y="198"/>
                    <a:pt x="1288" y="186"/>
                  </a:cubicBezTo>
                  <a:cubicBezTo>
                    <a:pt x="1288" y="179"/>
                    <a:pt x="1288" y="171"/>
                    <a:pt x="1290" y="164"/>
                  </a:cubicBezTo>
                  <a:cubicBezTo>
                    <a:pt x="1294" y="141"/>
                    <a:pt x="1311" y="129"/>
                    <a:pt x="1335" y="131"/>
                  </a:cubicBezTo>
                  <a:cubicBezTo>
                    <a:pt x="1343" y="131"/>
                    <a:pt x="1351" y="133"/>
                    <a:pt x="1359" y="137"/>
                  </a:cubicBezTo>
                  <a:cubicBezTo>
                    <a:pt x="1359" y="125"/>
                    <a:pt x="1359" y="113"/>
                    <a:pt x="1359" y="102"/>
                  </a:cubicBezTo>
                  <a:close/>
                  <a:moveTo>
                    <a:pt x="688" y="319"/>
                  </a:moveTo>
                  <a:cubicBezTo>
                    <a:pt x="689" y="341"/>
                    <a:pt x="693" y="363"/>
                    <a:pt x="700" y="383"/>
                  </a:cubicBezTo>
                  <a:cubicBezTo>
                    <a:pt x="717" y="428"/>
                    <a:pt x="746" y="461"/>
                    <a:pt x="791" y="479"/>
                  </a:cubicBezTo>
                  <a:cubicBezTo>
                    <a:pt x="829" y="494"/>
                    <a:pt x="869" y="495"/>
                    <a:pt x="908" y="485"/>
                  </a:cubicBezTo>
                  <a:cubicBezTo>
                    <a:pt x="937" y="478"/>
                    <a:pt x="962" y="464"/>
                    <a:pt x="983" y="442"/>
                  </a:cubicBezTo>
                  <a:cubicBezTo>
                    <a:pt x="1002" y="422"/>
                    <a:pt x="1014" y="398"/>
                    <a:pt x="1022" y="371"/>
                  </a:cubicBezTo>
                  <a:cubicBezTo>
                    <a:pt x="1030" y="344"/>
                    <a:pt x="1033" y="316"/>
                    <a:pt x="1032" y="287"/>
                  </a:cubicBezTo>
                  <a:cubicBezTo>
                    <a:pt x="1031" y="261"/>
                    <a:pt x="1026" y="236"/>
                    <a:pt x="1015" y="211"/>
                  </a:cubicBezTo>
                  <a:cubicBezTo>
                    <a:pt x="994" y="165"/>
                    <a:pt x="960" y="135"/>
                    <a:pt x="911" y="121"/>
                  </a:cubicBezTo>
                  <a:cubicBezTo>
                    <a:pt x="883" y="113"/>
                    <a:pt x="854" y="114"/>
                    <a:pt x="826" y="119"/>
                  </a:cubicBezTo>
                  <a:cubicBezTo>
                    <a:pt x="789" y="126"/>
                    <a:pt x="758" y="142"/>
                    <a:pt x="734" y="170"/>
                  </a:cubicBezTo>
                  <a:cubicBezTo>
                    <a:pt x="712" y="194"/>
                    <a:pt x="700" y="223"/>
                    <a:pt x="693" y="255"/>
                  </a:cubicBezTo>
                  <a:cubicBezTo>
                    <a:pt x="689" y="272"/>
                    <a:pt x="688" y="289"/>
                    <a:pt x="688" y="307"/>
                  </a:cubicBezTo>
                  <a:cubicBezTo>
                    <a:pt x="688" y="311"/>
                    <a:pt x="688" y="315"/>
                    <a:pt x="688" y="319"/>
                  </a:cubicBezTo>
                  <a:close/>
                  <a:moveTo>
                    <a:pt x="974" y="380"/>
                  </a:moveTo>
                  <a:cubicBezTo>
                    <a:pt x="957" y="418"/>
                    <a:pt x="928" y="443"/>
                    <a:pt x="887" y="450"/>
                  </a:cubicBezTo>
                  <a:cubicBezTo>
                    <a:pt x="854" y="456"/>
                    <a:pt x="823" y="453"/>
                    <a:pt x="794" y="435"/>
                  </a:cubicBezTo>
                  <a:cubicBezTo>
                    <a:pt x="769" y="419"/>
                    <a:pt x="752" y="396"/>
                    <a:pt x="743" y="367"/>
                  </a:cubicBezTo>
                  <a:cubicBezTo>
                    <a:pt x="727" y="319"/>
                    <a:pt x="728" y="271"/>
                    <a:pt x="750" y="224"/>
                  </a:cubicBezTo>
                  <a:cubicBezTo>
                    <a:pt x="768" y="186"/>
                    <a:pt x="798" y="162"/>
                    <a:pt x="840" y="156"/>
                  </a:cubicBezTo>
                  <a:cubicBezTo>
                    <a:pt x="873" y="150"/>
                    <a:pt x="904" y="155"/>
                    <a:pt x="932" y="174"/>
                  </a:cubicBezTo>
                  <a:cubicBezTo>
                    <a:pt x="955" y="189"/>
                    <a:pt x="968" y="211"/>
                    <a:pt x="977" y="236"/>
                  </a:cubicBezTo>
                  <a:cubicBezTo>
                    <a:pt x="983" y="254"/>
                    <a:pt x="986" y="273"/>
                    <a:pt x="987" y="292"/>
                  </a:cubicBezTo>
                  <a:cubicBezTo>
                    <a:pt x="987" y="296"/>
                    <a:pt x="987" y="300"/>
                    <a:pt x="987" y="304"/>
                  </a:cubicBezTo>
                  <a:cubicBezTo>
                    <a:pt x="987" y="330"/>
                    <a:pt x="984" y="356"/>
                    <a:pt x="974" y="380"/>
                  </a:cubicBezTo>
                  <a:close/>
                  <a:moveTo>
                    <a:pt x="1901" y="429"/>
                  </a:moveTo>
                  <a:cubicBezTo>
                    <a:pt x="1873" y="450"/>
                    <a:pt x="1842" y="459"/>
                    <a:pt x="1807" y="455"/>
                  </a:cubicBezTo>
                  <a:cubicBezTo>
                    <a:pt x="1782" y="451"/>
                    <a:pt x="1763" y="439"/>
                    <a:pt x="1751" y="417"/>
                  </a:cubicBezTo>
                  <a:cubicBezTo>
                    <a:pt x="1743" y="402"/>
                    <a:pt x="1740" y="386"/>
                    <a:pt x="1739" y="370"/>
                  </a:cubicBezTo>
                  <a:cubicBezTo>
                    <a:pt x="1739" y="366"/>
                    <a:pt x="1739" y="366"/>
                    <a:pt x="1743" y="366"/>
                  </a:cubicBezTo>
                  <a:cubicBezTo>
                    <a:pt x="1801" y="366"/>
                    <a:pt x="1860" y="366"/>
                    <a:pt x="1919" y="366"/>
                  </a:cubicBezTo>
                  <a:cubicBezTo>
                    <a:pt x="1921" y="366"/>
                    <a:pt x="1922" y="365"/>
                    <a:pt x="1922" y="363"/>
                  </a:cubicBezTo>
                  <a:cubicBezTo>
                    <a:pt x="1922" y="355"/>
                    <a:pt x="1922" y="347"/>
                    <a:pt x="1922" y="339"/>
                  </a:cubicBezTo>
                  <a:cubicBezTo>
                    <a:pt x="1922" y="322"/>
                    <a:pt x="1920" y="306"/>
                    <a:pt x="1915" y="291"/>
                  </a:cubicBezTo>
                  <a:cubicBezTo>
                    <a:pt x="1907" y="267"/>
                    <a:pt x="1894" y="246"/>
                    <a:pt x="1872" y="234"/>
                  </a:cubicBezTo>
                  <a:cubicBezTo>
                    <a:pt x="1842" y="216"/>
                    <a:pt x="1809" y="215"/>
                    <a:pt x="1777" y="226"/>
                  </a:cubicBezTo>
                  <a:cubicBezTo>
                    <a:pt x="1745" y="236"/>
                    <a:pt x="1724" y="259"/>
                    <a:pt x="1710" y="289"/>
                  </a:cubicBezTo>
                  <a:cubicBezTo>
                    <a:pt x="1699" y="311"/>
                    <a:pt x="1695" y="335"/>
                    <a:pt x="1695" y="359"/>
                  </a:cubicBezTo>
                  <a:cubicBezTo>
                    <a:pt x="1696" y="381"/>
                    <a:pt x="1698" y="403"/>
                    <a:pt x="1707" y="423"/>
                  </a:cubicBezTo>
                  <a:cubicBezTo>
                    <a:pt x="1722" y="459"/>
                    <a:pt x="1748" y="482"/>
                    <a:pt x="1787" y="489"/>
                  </a:cubicBezTo>
                  <a:cubicBezTo>
                    <a:pt x="1810" y="494"/>
                    <a:pt x="1833" y="492"/>
                    <a:pt x="1856" y="487"/>
                  </a:cubicBezTo>
                  <a:cubicBezTo>
                    <a:pt x="1873" y="484"/>
                    <a:pt x="1888" y="478"/>
                    <a:pt x="1902" y="468"/>
                  </a:cubicBezTo>
                  <a:cubicBezTo>
                    <a:pt x="1903" y="467"/>
                    <a:pt x="1904" y="467"/>
                    <a:pt x="1904" y="465"/>
                  </a:cubicBezTo>
                  <a:cubicBezTo>
                    <a:pt x="1904" y="453"/>
                    <a:pt x="1904" y="441"/>
                    <a:pt x="1904" y="428"/>
                  </a:cubicBezTo>
                  <a:cubicBezTo>
                    <a:pt x="1903" y="428"/>
                    <a:pt x="1902" y="429"/>
                    <a:pt x="1901" y="429"/>
                  </a:cubicBezTo>
                  <a:close/>
                  <a:moveTo>
                    <a:pt x="1742" y="330"/>
                  </a:moveTo>
                  <a:cubicBezTo>
                    <a:pt x="1740" y="330"/>
                    <a:pt x="1739" y="330"/>
                    <a:pt x="1740" y="327"/>
                  </a:cubicBezTo>
                  <a:cubicBezTo>
                    <a:pt x="1744" y="304"/>
                    <a:pt x="1754" y="284"/>
                    <a:pt x="1773" y="269"/>
                  </a:cubicBezTo>
                  <a:cubicBezTo>
                    <a:pt x="1793" y="253"/>
                    <a:pt x="1825" y="250"/>
                    <a:pt x="1847" y="262"/>
                  </a:cubicBezTo>
                  <a:cubicBezTo>
                    <a:pt x="1863" y="271"/>
                    <a:pt x="1871" y="285"/>
                    <a:pt x="1876" y="302"/>
                  </a:cubicBezTo>
                  <a:cubicBezTo>
                    <a:pt x="1878" y="310"/>
                    <a:pt x="1879" y="319"/>
                    <a:pt x="1879" y="327"/>
                  </a:cubicBezTo>
                  <a:cubicBezTo>
                    <a:pt x="1879" y="330"/>
                    <a:pt x="1879" y="330"/>
                    <a:pt x="1876" y="330"/>
                  </a:cubicBezTo>
                  <a:cubicBezTo>
                    <a:pt x="1854" y="330"/>
                    <a:pt x="1832" y="330"/>
                    <a:pt x="1809" y="330"/>
                  </a:cubicBezTo>
                  <a:cubicBezTo>
                    <a:pt x="1787" y="330"/>
                    <a:pt x="1765" y="330"/>
                    <a:pt x="1742" y="330"/>
                  </a:cubicBezTo>
                  <a:close/>
                  <a:moveTo>
                    <a:pt x="1667" y="234"/>
                  </a:moveTo>
                  <a:cubicBezTo>
                    <a:pt x="1667" y="233"/>
                    <a:pt x="1666" y="232"/>
                    <a:pt x="1665" y="231"/>
                  </a:cubicBezTo>
                  <a:cubicBezTo>
                    <a:pt x="1660" y="229"/>
                    <a:pt x="1655" y="227"/>
                    <a:pt x="1649" y="225"/>
                  </a:cubicBezTo>
                  <a:cubicBezTo>
                    <a:pt x="1625" y="218"/>
                    <a:pt x="1600" y="217"/>
                    <a:pt x="1576" y="222"/>
                  </a:cubicBezTo>
                  <a:cubicBezTo>
                    <a:pt x="1535" y="229"/>
                    <a:pt x="1504" y="252"/>
                    <a:pt x="1486" y="290"/>
                  </a:cubicBezTo>
                  <a:cubicBezTo>
                    <a:pt x="1469" y="325"/>
                    <a:pt x="1466" y="362"/>
                    <a:pt x="1476" y="400"/>
                  </a:cubicBezTo>
                  <a:cubicBezTo>
                    <a:pt x="1486" y="440"/>
                    <a:pt x="1510" y="469"/>
                    <a:pt x="1550" y="484"/>
                  </a:cubicBezTo>
                  <a:cubicBezTo>
                    <a:pt x="1569" y="491"/>
                    <a:pt x="1589" y="493"/>
                    <a:pt x="1609" y="491"/>
                  </a:cubicBezTo>
                  <a:cubicBezTo>
                    <a:pt x="1629" y="489"/>
                    <a:pt x="1647" y="484"/>
                    <a:pt x="1663" y="475"/>
                  </a:cubicBezTo>
                  <a:cubicBezTo>
                    <a:pt x="1665" y="474"/>
                    <a:pt x="1666" y="473"/>
                    <a:pt x="1666" y="470"/>
                  </a:cubicBezTo>
                  <a:cubicBezTo>
                    <a:pt x="1666" y="459"/>
                    <a:pt x="1666" y="448"/>
                    <a:pt x="1666" y="437"/>
                  </a:cubicBezTo>
                  <a:cubicBezTo>
                    <a:pt x="1666" y="436"/>
                    <a:pt x="1666" y="435"/>
                    <a:pt x="1665" y="434"/>
                  </a:cubicBezTo>
                  <a:cubicBezTo>
                    <a:pt x="1665" y="435"/>
                    <a:pt x="1664" y="435"/>
                    <a:pt x="1663" y="436"/>
                  </a:cubicBezTo>
                  <a:cubicBezTo>
                    <a:pt x="1642" y="450"/>
                    <a:pt x="1619" y="458"/>
                    <a:pt x="1593" y="456"/>
                  </a:cubicBezTo>
                  <a:cubicBezTo>
                    <a:pt x="1558" y="453"/>
                    <a:pt x="1534" y="435"/>
                    <a:pt x="1521" y="402"/>
                  </a:cubicBezTo>
                  <a:cubicBezTo>
                    <a:pt x="1511" y="376"/>
                    <a:pt x="1511" y="349"/>
                    <a:pt x="1518" y="323"/>
                  </a:cubicBezTo>
                  <a:cubicBezTo>
                    <a:pt x="1524" y="301"/>
                    <a:pt x="1535" y="284"/>
                    <a:pt x="1553" y="271"/>
                  </a:cubicBezTo>
                  <a:cubicBezTo>
                    <a:pt x="1576" y="254"/>
                    <a:pt x="1602" y="252"/>
                    <a:pt x="1630" y="258"/>
                  </a:cubicBezTo>
                  <a:cubicBezTo>
                    <a:pt x="1643" y="261"/>
                    <a:pt x="1655" y="267"/>
                    <a:pt x="1667" y="275"/>
                  </a:cubicBezTo>
                  <a:cubicBezTo>
                    <a:pt x="1667" y="261"/>
                    <a:pt x="1666" y="247"/>
                    <a:pt x="1667" y="234"/>
                  </a:cubicBezTo>
                  <a:close/>
                  <a:moveTo>
                    <a:pt x="1387" y="481"/>
                  </a:moveTo>
                  <a:cubicBezTo>
                    <a:pt x="1387" y="484"/>
                    <a:pt x="1387" y="485"/>
                    <a:pt x="1391" y="485"/>
                  </a:cubicBezTo>
                  <a:cubicBezTo>
                    <a:pt x="1402" y="485"/>
                    <a:pt x="1413" y="485"/>
                    <a:pt x="1425" y="485"/>
                  </a:cubicBezTo>
                  <a:cubicBezTo>
                    <a:pt x="1428" y="485"/>
                    <a:pt x="1429" y="485"/>
                    <a:pt x="1429" y="481"/>
                  </a:cubicBezTo>
                  <a:cubicBezTo>
                    <a:pt x="1428" y="449"/>
                    <a:pt x="1429" y="417"/>
                    <a:pt x="1429" y="385"/>
                  </a:cubicBezTo>
                  <a:cubicBezTo>
                    <a:pt x="1429" y="333"/>
                    <a:pt x="1429" y="281"/>
                    <a:pt x="1429" y="230"/>
                  </a:cubicBezTo>
                  <a:cubicBezTo>
                    <a:pt x="1429" y="225"/>
                    <a:pt x="1429" y="225"/>
                    <a:pt x="1424" y="225"/>
                  </a:cubicBezTo>
                  <a:cubicBezTo>
                    <a:pt x="1413" y="225"/>
                    <a:pt x="1402" y="225"/>
                    <a:pt x="1391" y="225"/>
                  </a:cubicBezTo>
                  <a:cubicBezTo>
                    <a:pt x="1388" y="225"/>
                    <a:pt x="1387" y="226"/>
                    <a:pt x="1387" y="229"/>
                  </a:cubicBezTo>
                  <a:cubicBezTo>
                    <a:pt x="1387" y="271"/>
                    <a:pt x="1387" y="313"/>
                    <a:pt x="1387" y="355"/>
                  </a:cubicBezTo>
                  <a:cubicBezTo>
                    <a:pt x="1387" y="397"/>
                    <a:pt x="1387" y="439"/>
                    <a:pt x="1387" y="481"/>
                  </a:cubicBezTo>
                  <a:close/>
                  <a:moveTo>
                    <a:pt x="1436" y="132"/>
                  </a:moveTo>
                  <a:cubicBezTo>
                    <a:pt x="1436" y="117"/>
                    <a:pt x="1424" y="105"/>
                    <a:pt x="1408" y="105"/>
                  </a:cubicBezTo>
                  <a:cubicBezTo>
                    <a:pt x="1393" y="105"/>
                    <a:pt x="1381" y="117"/>
                    <a:pt x="1381" y="133"/>
                  </a:cubicBezTo>
                  <a:cubicBezTo>
                    <a:pt x="1381" y="148"/>
                    <a:pt x="1392" y="160"/>
                    <a:pt x="1408" y="160"/>
                  </a:cubicBezTo>
                  <a:cubicBezTo>
                    <a:pt x="1424" y="160"/>
                    <a:pt x="1436" y="148"/>
                    <a:pt x="1436" y="132"/>
                  </a:cubicBezTo>
                  <a:close/>
                  <a:moveTo>
                    <a:pt x="1" y="486"/>
                  </a:moveTo>
                  <a:cubicBezTo>
                    <a:pt x="1" y="486"/>
                    <a:pt x="1" y="486"/>
                    <a:pt x="1" y="486"/>
                  </a:cubicBezTo>
                  <a:cubicBezTo>
                    <a:pt x="1" y="486"/>
                    <a:pt x="1" y="486"/>
                    <a:pt x="2" y="486"/>
                  </a:cubicBezTo>
                  <a:cubicBezTo>
                    <a:pt x="2" y="486"/>
                    <a:pt x="2" y="486"/>
                    <a:pt x="2" y="486"/>
                  </a:cubicBezTo>
                  <a:cubicBezTo>
                    <a:pt x="1" y="486"/>
                    <a:pt x="1" y="486"/>
                    <a:pt x="1" y="486"/>
                  </a:cubicBezTo>
                  <a:close/>
                </a:path>
              </a:pathLst>
            </a:custGeom>
            <a:solidFill>
              <a:schemeClr val="bg1"/>
            </a:solidFill>
            <a:ln>
              <a:noFill/>
            </a:ln>
          </p:spPr>
          <p:txBody>
            <a:bodyPr vert="horz" wrap="square" lIns="89607" tIns="44802" rIns="89607" bIns="44802" numCol="1" anchor="t" anchorCtr="0" compatLnSpc="1">
              <a:prstTxWarp prst="textNoShape">
                <a:avLst/>
              </a:prstTxWarp>
            </a:bodyPr>
            <a:lstStyle/>
            <a:p>
              <a:pPr defTabSz="913918"/>
              <a:endParaRPr lang="en-US" sz="1764">
                <a:solidFill>
                  <a:prstClr val="black"/>
                </a:solidFill>
              </a:endParaRPr>
            </a:p>
          </p:txBody>
        </p:sp>
        <p:sp>
          <p:nvSpPr>
            <p:cNvPr id="35" name="Freeform 5"/>
            <p:cNvSpPr>
              <a:spLocks noEditPoints="1"/>
            </p:cNvSpPr>
            <p:nvPr/>
          </p:nvSpPr>
          <p:spPr bwMode="auto">
            <a:xfrm>
              <a:off x="6423317" y="5669746"/>
              <a:ext cx="2453046" cy="492698"/>
            </a:xfrm>
            <a:custGeom>
              <a:avLst/>
              <a:gdLst>
                <a:gd name="T0" fmla="*/ 0 w 1687"/>
                <a:gd name="T1" fmla="*/ 302 h 337"/>
                <a:gd name="T2" fmla="*/ 59 w 1687"/>
                <a:gd name="T3" fmla="*/ 232 h 337"/>
                <a:gd name="T4" fmla="*/ 94 w 1687"/>
                <a:gd name="T5" fmla="*/ 156 h 337"/>
                <a:gd name="T6" fmla="*/ 120 w 1687"/>
                <a:gd name="T7" fmla="*/ 129 h 337"/>
                <a:gd name="T8" fmla="*/ 74 w 1687"/>
                <a:gd name="T9" fmla="*/ 175 h 337"/>
                <a:gd name="T10" fmla="*/ 64 w 1687"/>
                <a:gd name="T11" fmla="*/ 208 h 337"/>
                <a:gd name="T12" fmla="*/ 300 w 1687"/>
                <a:gd name="T13" fmla="*/ 191 h 337"/>
                <a:gd name="T14" fmla="*/ 219 w 1687"/>
                <a:gd name="T15" fmla="*/ 231 h 337"/>
                <a:gd name="T16" fmla="*/ 255 w 1687"/>
                <a:gd name="T17" fmla="*/ 286 h 337"/>
                <a:gd name="T18" fmla="*/ 318 w 1687"/>
                <a:gd name="T19" fmla="*/ 202 h 337"/>
                <a:gd name="T20" fmla="*/ 275 w 1687"/>
                <a:gd name="T21" fmla="*/ 88 h 337"/>
                <a:gd name="T22" fmla="*/ 216 w 1687"/>
                <a:gd name="T23" fmla="*/ 60 h 337"/>
                <a:gd name="T24" fmla="*/ 263 w 1687"/>
                <a:gd name="T25" fmla="*/ 103 h 337"/>
                <a:gd name="T26" fmla="*/ 1227 w 1687"/>
                <a:gd name="T27" fmla="*/ 137 h 337"/>
                <a:gd name="T28" fmla="*/ 1128 w 1687"/>
                <a:gd name="T29" fmla="*/ 232 h 337"/>
                <a:gd name="T30" fmla="*/ 1128 w 1687"/>
                <a:gd name="T31" fmla="*/ 172 h 337"/>
                <a:gd name="T32" fmla="*/ 1174 w 1687"/>
                <a:gd name="T33" fmla="*/ 92 h 337"/>
                <a:gd name="T34" fmla="*/ 602 w 1687"/>
                <a:gd name="T35" fmla="*/ 269 h 337"/>
                <a:gd name="T36" fmla="*/ 673 w 1687"/>
                <a:gd name="T37" fmla="*/ 168 h 337"/>
                <a:gd name="T38" fmla="*/ 699 w 1687"/>
                <a:gd name="T39" fmla="*/ 270 h 337"/>
                <a:gd name="T40" fmla="*/ 673 w 1687"/>
                <a:gd name="T41" fmla="*/ 126 h 337"/>
                <a:gd name="T42" fmla="*/ 602 w 1687"/>
                <a:gd name="T43" fmla="*/ 57 h 337"/>
                <a:gd name="T44" fmla="*/ 537 w 1687"/>
                <a:gd name="T45" fmla="*/ 70 h 337"/>
                <a:gd name="T46" fmla="*/ 516 w 1687"/>
                <a:gd name="T47" fmla="*/ 200 h 337"/>
                <a:gd name="T48" fmla="*/ 437 w 1687"/>
                <a:gd name="T49" fmla="*/ 234 h 337"/>
                <a:gd name="T50" fmla="*/ 532 w 1687"/>
                <a:gd name="T51" fmla="*/ 182 h 337"/>
                <a:gd name="T52" fmla="*/ 489 w 1687"/>
                <a:gd name="T53" fmla="*/ 87 h 337"/>
                <a:gd name="T54" fmla="*/ 974 w 1687"/>
                <a:gd name="T55" fmla="*/ 204 h 337"/>
                <a:gd name="T56" fmla="*/ 1064 w 1687"/>
                <a:gd name="T57" fmla="*/ 239 h 337"/>
                <a:gd name="T58" fmla="*/ 1004 w 1687"/>
                <a:gd name="T59" fmla="*/ 273 h 337"/>
                <a:gd name="T60" fmla="*/ 1045 w 1687"/>
                <a:gd name="T61" fmla="*/ 129 h 337"/>
                <a:gd name="T62" fmla="*/ 1033 w 1687"/>
                <a:gd name="T63" fmla="*/ 146 h 337"/>
                <a:gd name="T64" fmla="*/ 1366 w 1687"/>
                <a:gd name="T65" fmla="*/ 237 h 337"/>
                <a:gd name="T66" fmla="*/ 1303 w 1687"/>
                <a:gd name="T67" fmla="*/ 122 h 337"/>
                <a:gd name="T68" fmla="*/ 1351 w 1687"/>
                <a:gd name="T69" fmla="*/ 196 h 337"/>
                <a:gd name="T70" fmla="*/ 1257 w 1687"/>
                <a:gd name="T71" fmla="*/ 209 h 337"/>
                <a:gd name="T72" fmla="*/ 814 w 1687"/>
                <a:gd name="T73" fmla="*/ 178 h 337"/>
                <a:gd name="T74" fmla="*/ 736 w 1687"/>
                <a:gd name="T75" fmla="*/ 159 h 337"/>
                <a:gd name="T76" fmla="*/ 835 w 1687"/>
                <a:gd name="T77" fmla="*/ 160 h 337"/>
                <a:gd name="T78" fmla="*/ 813 w 1687"/>
                <a:gd name="T79" fmla="*/ 270 h 337"/>
                <a:gd name="T80" fmla="*/ 722 w 1687"/>
                <a:gd name="T81" fmla="*/ 229 h 337"/>
                <a:gd name="T82" fmla="*/ 813 w 1687"/>
                <a:gd name="T83" fmla="*/ 197 h 337"/>
                <a:gd name="T84" fmla="*/ 798 w 1687"/>
                <a:gd name="T85" fmla="*/ 245 h 337"/>
                <a:gd name="T86" fmla="*/ 1583 w 1687"/>
                <a:gd name="T87" fmla="*/ 164 h 337"/>
                <a:gd name="T88" fmla="*/ 1488 w 1687"/>
                <a:gd name="T89" fmla="*/ 148 h 337"/>
                <a:gd name="T90" fmla="*/ 1488 w 1687"/>
                <a:gd name="T91" fmla="*/ 269 h 337"/>
                <a:gd name="T92" fmla="*/ 1559 w 1687"/>
                <a:gd name="T93" fmla="*/ 167 h 337"/>
                <a:gd name="T94" fmla="*/ 1584 w 1687"/>
                <a:gd name="T95" fmla="*/ 270 h 337"/>
                <a:gd name="T96" fmla="*/ 1637 w 1687"/>
                <a:gd name="T97" fmla="*/ 263 h 337"/>
                <a:gd name="T98" fmla="*/ 1683 w 1687"/>
                <a:gd name="T99" fmla="*/ 251 h 337"/>
                <a:gd name="T100" fmla="*/ 1651 w 1687"/>
                <a:gd name="T101" fmla="*/ 146 h 337"/>
                <a:gd name="T102" fmla="*/ 1650 w 1687"/>
                <a:gd name="T103" fmla="*/ 83 h 337"/>
                <a:gd name="T104" fmla="*/ 1627 w 1687"/>
                <a:gd name="T105" fmla="*/ 126 h 337"/>
                <a:gd name="T106" fmla="*/ 1627 w 1687"/>
                <a:gd name="T107" fmla="*/ 148 h 337"/>
                <a:gd name="T108" fmla="*/ 895 w 1687"/>
                <a:gd name="T109" fmla="*/ 195 h 337"/>
                <a:gd name="T110" fmla="*/ 947 w 1687"/>
                <a:gd name="T111" fmla="*/ 130 h 337"/>
                <a:gd name="T112" fmla="*/ 895 w 1687"/>
                <a:gd name="T113" fmla="*/ 152 h 337"/>
                <a:gd name="T114" fmla="*/ 1403 w 1687"/>
                <a:gd name="T115" fmla="*/ 270 h 337"/>
                <a:gd name="T116" fmla="*/ 1403 w 1687"/>
                <a:gd name="T117" fmla="*/ 126 h 337"/>
                <a:gd name="T118" fmla="*/ 1399 w 1687"/>
                <a:gd name="T119" fmla="*/ 74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7" h="337">
                  <a:moveTo>
                    <a:pt x="0" y="35"/>
                  </a:moveTo>
                  <a:cubicBezTo>
                    <a:pt x="65" y="24"/>
                    <a:pt x="131" y="12"/>
                    <a:pt x="196" y="0"/>
                  </a:cubicBezTo>
                  <a:cubicBezTo>
                    <a:pt x="196" y="113"/>
                    <a:pt x="196" y="225"/>
                    <a:pt x="196" y="337"/>
                  </a:cubicBezTo>
                  <a:cubicBezTo>
                    <a:pt x="131" y="325"/>
                    <a:pt x="66" y="314"/>
                    <a:pt x="0" y="302"/>
                  </a:cubicBezTo>
                  <a:cubicBezTo>
                    <a:pt x="0" y="213"/>
                    <a:pt x="0" y="125"/>
                    <a:pt x="0" y="35"/>
                  </a:cubicBezTo>
                  <a:close/>
                  <a:moveTo>
                    <a:pt x="56" y="202"/>
                  </a:moveTo>
                  <a:cubicBezTo>
                    <a:pt x="56" y="211"/>
                    <a:pt x="56" y="220"/>
                    <a:pt x="57" y="229"/>
                  </a:cubicBezTo>
                  <a:cubicBezTo>
                    <a:pt x="57" y="230"/>
                    <a:pt x="58" y="231"/>
                    <a:pt x="59" y="232"/>
                  </a:cubicBezTo>
                  <a:cubicBezTo>
                    <a:pt x="67" y="237"/>
                    <a:pt x="77" y="239"/>
                    <a:pt x="86" y="239"/>
                  </a:cubicBezTo>
                  <a:cubicBezTo>
                    <a:pt x="103" y="240"/>
                    <a:pt x="116" y="232"/>
                    <a:pt x="122" y="218"/>
                  </a:cubicBezTo>
                  <a:cubicBezTo>
                    <a:pt x="130" y="198"/>
                    <a:pt x="124" y="178"/>
                    <a:pt x="107" y="165"/>
                  </a:cubicBezTo>
                  <a:cubicBezTo>
                    <a:pt x="103" y="162"/>
                    <a:pt x="98" y="159"/>
                    <a:pt x="94" y="156"/>
                  </a:cubicBezTo>
                  <a:cubicBezTo>
                    <a:pt x="91" y="154"/>
                    <a:pt x="87" y="151"/>
                    <a:pt x="84" y="148"/>
                  </a:cubicBezTo>
                  <a:cubicBezTo>
                    <a:pt x="80" y="144"/>
                    <a:pt x="79" y="139"/>
                    <a:pt x="80" y="134"/>
                  </a:cubicBezTo>
                  <a:cubicBezTo>
                    <a:pt x="82" y="126"/>
                    <a:pt x="89" y="121"/>
                    <a:pt x="98" y="122"/>
                  </a:cubicBezTo>
                  <a:cubicBezTo>
                    <a:pt x="106" y="123"/>
                    <a:pt x="113" y="126"/>
                    <a:pt x="120" y="129"/>
                  </a:cubicBezTo>
                  <a:cubicBezTo>
                    <a:pt x="120" y="120"/>
                    <a:pt x="120" y="111"/>
                    <a:pt x="120" y="101"/>
                  </a:cubicBezTo>
                  <a:cubicBezTo>
                    <a:pt x="115" y="100"/>
                    <a:pt x="110" y="99"/>
                    <a:pt x="105" y="98"/>
                  </a:cubicBezTo>
                  <a:cubicBezTo>
                    <a:pt x="91" y="97"/>
                    <a:pt x="77" y="99"/>
                    <a:pt x="66" y="111"/>
                  </a:cubicBezTo>
                  <a:cubicBezTo>
                    <a:pt x="50" y="129"/>
                    <a:pt x="53" y="159"/>
                    <a:pt x="74" y="175"/>
                  </a:cubicBezTo>
                  <a:cubicBezTo>
                    <a:pt x="79" y="179"/>
                    <a:pt x="85" y="182"/>
                    <a:pt x="90" y="186"/>
                  </a:cubicBezTo>
                  <a:cubicBezTo>
                    <a:pt x="93" y="189"/>
                    <a:pt x="96" y="193"/>
                    <a:pt x="98" y="197"/>
                  </a:cubicBezTo>
                  <a:cubicBezTo>
                    <a:pt x="101" y="206"/>
                    <a:pt x="96" y="214"/>
                    <a:pt x="86" y="215"/>
                  </a:cubicBezTo>
                  <a:cubicBezTo>
                    <a:pt x="78" y="216"/>
                    <a:pt x="71" y="213"/>
                    <a:pt x="64" y="208"/>
                  </a:cubicBezTo>
                  <a:cubicBezTo>
                    <a:pt x="62" y="207"/>
                    <a:pt x="60" y="204"/>
                    <a:pt x="56" y="202"/>
                  </a:cubicBezTo>
                  <a:close/>
                  <a:moveTo>
                    <a:pt x="301" y="142"/>
                  </a:moveTo>
                  <a:cubicBezTo>
                    <a:pt x="302" y="143"/>
                    <a:pt x="301" y="146"/>
                    <a:pt x="300" y="147"/>
                  </a:cubicBezTo>
                  <a:cubicBezTo>
                    <a:pt x="290" y="161"/>
                    <a:pt x="289" y="177"/>
                    <a:pt x="300" y="191"/>
                  </a:cubicBezTo>
                  <a:cubicBezTo>
                    <a:pt x="302" y="193"/>
                    <a:pt x="302" y="194"/>
                    <a:pt x="301" y="197"/>
                  </a:cubicBezTo>
                  <a:cubicBezTo>
                    <a:pt x="294" y="213"/>
                    <a:pt x="283" y="225"/>
                    <a:pt x="267" y="233"/>
                  </a:cubicBezTo>
                  <a:cubicBezTo>
                    <a:pt x="264" y="234"/>
                    <a:pt x="262" y="234"/>
                    <a:pt x="259" y="232"/>
                  </a:cubicBezTo>
                  <a:cubicBezTo>
                    <a:pt x="248" y="222"/>
                    <a:pt x="231" y="221"/>
                    <a:pt x="219" y="231"/>
                  </a:cubicBezTo>
                  <a:cubicBezTo>
                    <a:pt x="216" y="233"/>
                    <a:pt x="215" y="235"/>
                    <a:pt x="215" y="238"/>
                  </a:cubicBezTo>
                  <a:cubicBezTo>
                    <a:pt x="216" y="251"/>
                    <a:pt x="216" y="263"/>
                    <a:pt x="215" y="276"/>
                  </a:cubicBezTo>
                  <a:cubicBezTo>
                    <a:pt x="215" y="280"/>
                    <a:pt x="217" y="283"/>
                    <a:pt x="220" y="285"/>
                  </a:cubicBezTo>
                  <a:cubicBezTo>
                    <a:pt x="231" y="292"/>
                    <a:pt x="243" y="293"/>
                    <a:pt x="255" y="286"/>
                  </a:cubicBezTo>
                  <a:cubicBezTo>
                    <a:pt x="266" y="280"/>
                    <a:pt x="272" y="269"/>
                    <a:pt x="271" y="256"/>
                  </a:cubicBezTo>
                  <a:cubicBezTo>
                    <a:pt x="271" y="252"/>
                    <a:pt x="272" y="251"/>
                    <a:pt x="275" y="249"/>
                  </a:cubicBezTo>
                  <a:cubicBezTo>
                    <a:pt x="283" y="244"/>
                    <a:pt x="291" y="239"/>
                    <a:pt x="298" y="232"/>
                  </a:cubicBezTo>
                  <a:cubicBezTo>
                    <a:pt x="308" y="224"/>
                    <a:pt x="314" y="213"/>
                    <a:pt x="318" y="202"/>
                  </a:cubicBezTo>
                  <a:cubicBezTo>
                    <a:pt x="342" y="203"/>
                    <a:pt x="357" y="189"/>
                    <a:pt x="357" y="169"/>
                  </a:cubicBezTo>
                  <a:cubicBezTo>
                    <a:pt x="357" y="153"/>
                    <a:pt x="344" y="133"/>
                    <a:pt x="319" y="136"/>
                  </a:cubicBezTo>
                  <a:cubicBezTo>
                    <a:pt x="318" y="135"/>
                    <a:pt x="317" y="133"/>
                    <a:pt x="317" y="132"/>
                  </a:cubicBezTo>
                  <a:cubicBezTo>
                    <a:pt x="308" y="112"/>
                    <a:pt x="294" y="98"/>
                    <a:pt x="275" y="88"/>
                  </a:cubicBezTo>
                  <a:cubicBezTo>
                    <a:pt x="272" y="87"/>
                    <a:pt x="271" y="85"/>
                    <a:pt x="271" y="82"/>
                  </a:cubicBezTo>
                  <a:cubicBezTo>
                    <a:pt x="272" y="69"/>
                    <a:pt x="265" y="56"/>
                    <a:pt x="253" y="50"/>
                  </a:cubicBezTo>
                  <a:cubicBezTo>
                    <a:pt x="241" y="44"/>
                    <a:pt x="229" y="46"/>
                    <a:pt x="218" y="54"/>
                  </a:cubicBezTo>
                  <a:cubicBezTo>
                    <a:pt x="217" y="56"/>
                    <a:pt x="216" y="58"/>
                    <a:pt x="216" y="60"/>
                  </a:cubicBezTo>
                  <a:cubicBezTo>
                    <a:pt x="215" y="74"/>
                    <a:pt x="215" y="87"/>
                    <a:pt x="216" y="101"/>
                  </a:cubicBezTo>
                  <a:cubicBezTo>
                    <a:pt x="216" y="102"/>
                    <a:pt x="216" y="105"/>
                    <a:pt x="217" y="105"/>
                  </a:cubicBezTo>
                  <a:cubicBezTo>
                    <a:pt x="223" y="108"/>
                    <a:pt x="228" y="112"/>
                    <a:pt x="234" y="113"/>
                  </a:cubicBezTo>
                  <a:cubicBezTo>
                    <a:pt x="245" y="115"/>
                    <a:pt x="255" y="111"/>
                    <a:pt x="263" y="103"/>
                  </a:cubicBezTo>
                  <a:cubicBezTo>
                    <a:pt x="281" y="110"/>
                    <a:pt x="294" y="123"/>
                    <a:pt x="301" y="142"/>
                  </a:cubicBezTo>
                  <a:close/>
                  <a:moveTo>
                    <a:pt x="1104" y="67"/>
                  </a:moveTo>
                  <a:cubicBezTo>
                    <a:pt x="1130" y="68"/>
                    <a:pt x="1155" y="67"/>
                    <a:pt x="1179" y="70"/>
                  </a:cubicBezTo>
                  <a:cubicBezTo>
                    <a:pt x="1214" y="75"/>
                    <a:pt x="1231" y="102"/>
                    <a:pt x="1227" y="137"/>
                  </a:cubicBezTo>
                  <a:cubicBezTo>
                    <a:pt x="1224" y="168"/>
                    <a:pt x="1199" y="190"/>
                    <a:pt x="1167" y="193"/>
                  </a:cubicBezTo>
                  <a:cubicBezTo>
                    <a:pt x="1156" y="194"/>
                    <a:pt x="1145" y="193"/>
                    <a:pt x="1134" y="194"/>
                  </a:cubicBezTo>
                  <a:cubicBezTo>
                    <a:pt x="1132" y="194"/>
                    <a:pt x="1130" y="194"/>
                    <a:pt x="1128" y="194"/>
                  </a:cubicBezTo>
                  <a:cubicBezTo>
                    <a:pt x="1128" y="207"/>
                    <a:pt x="1128" y="219"/>
                    <a:pt x="1128" y="232"/>
                  </a:cubicBezTo>
                  <a:cubicBezTo>
                    <a:pt x="1128" y="244"/>
                    <a:pt x="1128" y="257"/>
                    <a:pt x="1128" y="270"/>
                  </a:cubicBezTo>
                  <a:cubicBezTo>
                    <a:pt x="1120" y="270"/>
                    <a:pt x="1112" y="270"/>
                    <a:pt x="1104" y="270"/>
                  </a:cubicBezTo>
                  <a:cubicBezTo>
                    <a:pt x="1104" y="203"/>
                    <a:pt x="1104" y="136"/>
                    <a:pt x="1104" y="67"/>
                  </a:cubicBezTo>
                  <a:close/>
                  <a:moveTo>
                    <a:pt x="1128" y="172"/>
                  </a:moveTo>
                  <a:cubicBezTo>
                    <a:pt x="1136" y="172"/>
                    <a:pt x="1144" y="172"/>
                    <a:pt x="1152" y="172"/>
                  </a:cubicBezTo>
                  <a:cubicBezTo>
                    <a:pt x="1156" y="172"/>
                    <a:pt x="1160" y="172"/>
                    <a:pt x="1164" y="171"/>
                  </a:cubicBezTo>
                  <a:cubicBezTo>
                    <a:pt x="1187" y="168"/>
                    <a:pt x="1200" y="157"/>
                    <a:pt x="1202" y="136"/>
                  </a:cubicBezTo>
                  <a:cubicBezTo>
                    <a:pt x="1205" y="114"/>
                    <a:pt x="1197" y="96"/>
                    <a:pt x="1174" y="92"/>
                  </a:cubicBezTo>
                  <a:cubicBezTo>
                    <a:pt x="1159" y="89"/>
                    <a:pt x="1144" y="90"/>
                    <a:pt x="1128" y="89"/>
                  </a:cubicBezTo>
                  <a:cubicBezTo>
                    <a:pt x="1128" y="117"/>
                    <a:pt x="1128" y="144"/>
                    <a:pt x="1128" y="172"/>
                  </a:cubicBezTo>
                  <a:close/>
                  <a:moveTo>
                    <a:pt x="579" y="269"/>
                  </a:moveTo>
                  <a:cubicBezTo>
                    <a:pt x="587" y="269"/>
                    <a:pt x="594" y="269"/>
                    <a:pt x="602" y="269"/>
                  </a:cubicBezTo>
                  <a:cubicBezTo>
                    <a:pt x="602" y="267"/>
                    <a:pt x="602" y="265"/>
                    <a:pt x="602" y="263"/>
                  </a:cubicBezTo>
                  <a:cubicBezTo>
                    <a:pt x="602" y="238"/>
                    <a:pt x="602" y="213"/>
                    <a:pt x="602" y="187"/>
                  </a:cubicBezTo>
                  <a:cubicBezTo>
                    <a:pt x="603" y="170"/>
                    <a:pt x="609" y="155"/>
                    <a:pt x="625" y="146"/>
                  </a:cubicBezTo>
                  <a:cubicBezTo>
                    <a:pt x="646" y="135"/>
                    <a:pt x="668" y="145"/>
                    <a:pt x="673" y="168"/>
                  </a:cubicBezTo>
                  <a:cubicBezTo>
                    <a:pt x="674" y="173"/>
                    <a:pt x="675" y="178"/>
                    <a:pt x="675" y="183"/>
                  </a:cubicBezTo>
                  <a:cubicBezTo>
                    <a:pt x="675" y="210"/>
                    <a:pt x="675" y="237"/>
                    <a:pt x="676" y="264"/>
                  </a:cubicBezTo>
                  <a:cubicBezTo>
                    <a:pt x="676" y="266"/>
                    <a:pt x="676" y="268"/>
                    <a:pt x="676" y="270"/>
                  </a:cubicBezTo>
                  <a:cubicBezTo>
                    <a:pt x="684" y="270"/>
                    <a:pt x="691" y="270"/>
                    <a:pt x="699" y="270"/>
                  </a:cubicBezTo>
                  <a:cubicBezTo>
                    <a:pt x="699" y="268"/>
                    <a:pt x="699" y="267"/>
                    <a:pt x="699" y="266"/>
                  </a:cubicBezTo>
                  <a:cubicBezTo>
                    <a:pt x="699" y="238"/>
                    <a:pt x="699" y="209"/>
                    <a:pt x="699" y="181"/>
                  </a:cubicBezTo>
                  <a:cubicBezTo>
                    <a:pt x="699" y="174"/>
                    <a:pt x="698" y="167"/>
                    <a:pt x="697" y="160"/>
                  </a:cubicBezTo>
                  <a:cubicBezTo>
                    <a:pt x="694" y="145"/>
                    <a:pt x="687" y="133"/>
                    <a:pt x="673" y="126"/>
                  </a:cubicBezTo>
                  <a:cubicBezTo>
                    <a:pt x="649" y="116"/>
                    <a:pt x="621" y="124"/>
                    <a:pt x="606" y="145"/>
                  </a:cubicBezTo>
                  <a:cubicBezTo>
                    <a:pt x="605" y="146"/>
                    <a:pt x="604" y="147"/>
                    <a:pt x="603" y="148"/>
                  </a:cubicBezTo>
                  <a:cubicBezTo>
                    <a:pt x="603" y="148"/>
                    <a:pt x="603" y="148"/>
                    <a:pt x="602" y="148"/>
                  </a:cubicBezTo>
                  <a:cubicBezTo>
                    <a:pt x="602" y="117"/>
                    <a:pt x="602" y="87"/>
                    <a:pt x="602" y="57"/>
                  </a:cubicBezTo>
                  <a:cubicBezTo>
                    <a:pt x="594" y="57"/>
                    <a:pt x="587" y="57"/>
                    <a:pt x="579" y="57"/>
                  </a:cubicBezTo>
                  <a:cubicBezTo>
                    <a:pt x="579" y="128"/>
                    <a:pt x="579" y="199"/>
                    <a:pt x="579" y="269"/>
                  </a:cubicBezTo>
                  <a:close/>
                  <a:moveTo>
                    <a:pt x="541" y="76"/>
                  </a:moveTo>
                  <a:cubicBezTo>
                    <a:pt x="542" y="73"/>
                    <a:pt x="540" y="71"/>
                    <a:pt x="537" y="70"/>
                  </a:cubicBezTo>
                  <a:cubicBezTo>
                    <a:pt x="514" y="63"/>
                    <a:pt x="490" y="61"/>
                    <a:pt x="468" y="72"/>
                  </a:cubicBezTo>
                  <a:cubicBezTo>
                    <a:pt x="429" y="90"/>
                    <a:pt x="430" y="137"/>
                    <a:pt x="454" y="156"/>
                  </a:cubicBezTo>
                  <a:cubicBezTo>
                    <a:pt x="464" y="164"/>
                    <a:pt x="475" y="171"/>
                    <a:pt x="486" y="178"/>
                  </a:cubicBezTo>
                  <a:cubicBezTo>
                    <a:pt x="496" y="185"/>
                    <a:pt x="507" y="192"/>
                    <a:pt x="516" y="200"/>
                  </a:cubicBezTo>
                  <a:cubicBezTo>
                    <a:pt x="525" y="208"/>
                    <a:pt x="527" y="220"/>
                    <a:pt x="523" y="232"/>
                  </a:cubicBezTo>
                  <a:cubicBezTo>
                    <a:pt x="520" y="243"/>
                    <a:pt x="511" y="248"/>
                    <a:pt x="501" y="250"/>
                  </a:cubicBezTo>
                  <a:cubicBezTo>
                    <a:pt x="490" y="253"/>
                    <a:pt x="480" y="252"/>
                    <a:pt x="470" y="250"/>
                  </a:cubicBezTo>
                  <a:cubicBezTo>
                    <a:pt x="458" y="247"/>
                    <a:pt x="447" y="242"/>
                    <a:pt x="437" y="234"/>
                  </a:cubicBezTo>
                  <a:cubicBezTo>
                    <a:pt x="437" y="242"/>
                    <a:pt x="437" y="250"/>
                    <a:pt x="437" y="258"/>
                  </a:cubicBezTo>
                  <a:cubicBezTo>
                    <a:pt x="437" y="261"/>
                    <a:pt x="438" y="263"/>
                    <a:pt x="441" y="264"/>
                  </a:cubicBezTo>
                  <a:cubicBezTo>
                    <a:pt x="465" y="274"/>
                    <a:pt x="489" y="277"/>
                    <a:pt x="514" y="269"/>
                  </a:cubicBezTo>
                  <a:cubicBezTo>
                    <a:pt x="556" y="255"/>
                    <a:pt x="560" y="204"/>
                    <a:pt x="532" y="182"/>
                  </a:cubicBezTo>
                  <a:cubicBezTo>
                    <a:pt x="522" y="174"/>
                    <a:pt x="511" y="167"/>
                    <a:pt x="500" y="159"/>
                  </a:cubicBezTo>
                  <a:cubicBezTo>
                    <a:pt x="491" y="153"/>
                    <a:pt x="482" y="148"/>
                    <a:pt x="473" y="142"/>
                  </a:cubicBezTo>
                  <a:cubicBezTo>
                    <a:pt x="468" y="138"/>
                    <a:pt x="465" y="133"/>
                    <a:pt x="464" y="127"/>
                  </a:cubicBezTo>
                  <a:cubicBezTo>
                    <a:pt x="459" y="107"/>
                    <a:pt x="469" y="91"/>
                    <a:pt x="489" y="87"/>
                  </a:cubicBezTo>
                  <a:cubicBezTo>
                    <a:pt x="508" y="84"/>
                    <a:pt x="525" y="87"/>
                    <a:pt x="541" y="98"/>
                  </a:cubicBezTo>
                  <a:cubicBezTo>
                    <a:pt x="541" y="90"/>
                    <a:pt x="541" y="83"/>
                    <a:pt x="541" y="76"/>
                  </a:cubicBezTo>
                  <a:close/>
                  <a:moveTo>
                    <a:pt x="1076" y="204"/>
                  </a:moveTo>
                  <a:cubicBezTo>
                    <a:pt x="1041" y="204"/>
                    <a:pt x="1007" y="204"/>
                    <a:pt x="974" y="204"/>
                  </a:cubicBezTo>
                  <a:cubicBezTo>
                    <a:pt x="974" y="220"/>
                    <a:pt x="978" y="234"/>
                    <a:pt x="991" y="245"/>
                  </a:cubicBezTo>
                  <a:cubicBezTo>
                    <a:pt x="1003" y="254"/>
                    <a:pt x="1016" y="255"/>
                    <a:pt x="1030" y="253"/>
                  </a:cubicBezTo>
                  <a:cubicBezTo>
                    <a:pt x="1042" y="251"/>
                    <a:pt x="1053" y="247"/>
                    <a:pt x="1062" y="240"/>
                  </a:cubicBezTo>
                  <a:cubicBezTo>
                    <a:pt x="1063" y="239"/>
                    <a:pt x="1063" y="239"/>
                    <a:pt x="1064" y="239"/>
                  </a:cubicBezTo>
                  <a:cubicBezTo>
                    <a:pt x="1064" y="239"/>
                    <a:pt x="1064" y="239"/>
                    <a:pt x="1065" y="239"/>
                  </a:cubicBezTo>
                  <a:cubicBezTo>
                    <a:pt x="1065" y="245"/>
                    <a:pt x="1066" y="251"/>
                    <a:pt x="1065" y="258"/>
                  </a:cubicBezTo>
                  <a:cubicBezTo>
                    <a:pt x="1065" y="259"/>
                    <a:pt x="1063" y="261"/>
                    <a:pt x="1062" y="262"/>
                  </a:cubicBezTo>
                  <a:cubicBezTo>
                    <a:pt x="1044" y="273"/>
                    <a:pt x="1024" y="275"/>
                    <a:pt x="1004" y="273"/>
                  </a:cubicBezTo>
                  <a:cubicBezTo>
                    <a:pt x="984" y="270"/>
                    <a:pt x="968" y="260"/>
                    <a:pt x="959" y="242"/>
                  </a:cubicBezTo>
                  <a:cubicBezTo>
                    <a:pt x="955" y="234"/>
                    <a:pt x="952" y="225"/>
                    <a:pt x="951" y="216"/>
                  </a:cubicBezTo>
                  <a:cubicBezTo>
                    <a:pt x="947" y="193"/>
                    <a:pt x="950" y="170"/>
                    <a:pt x="964" y="150"/>
                  </a:cubicBezTo>
                  <a:cubicBezTo>
                    <a:pt x="985" y="118"/>
                    <a:pt x="1023" y="117"/>
                    <a:pt x="1045" y="129"/>
                  </a:cubicBezTo>
                  <a:cubicBezTo>
                    <a:pt x="1063" y="138"/>
                    <a:pt x="1071" y="155"/>
                    <a:pt x="1074" y="174"/>
                  </a:cubicBezTo>
                  <a:cubicBezTo>
                    <a:pt x="1075" y="183"/>
                    <a:pt x="1075" y="193"/>
                    <a:pt x="1076" y="204"/>
                  </a:cubicBezTo>
                  <a:close/>
                  <a:moveTo>
                    <a:pt x="1051" y="184"/>
                  </a:moveTo>
                  <a:cubicBezTo>
                    <a:pt x="1052" y="168"/>
                    <a:pt x="1045" y="152"/>
                    <a:pt x="1033" y="146"/>
                  </a:cubicBezTo>
                  <a:cubicBezTo>
                    <a:pt x="1002" y="132"/>
                    <a:pt x="976" y="158"/>
                    <a:pt x="975" y="184"/>
                  </a:cubicBezTo>
                  <a:cubicBezTo>
                    <a:pt x="1000" y="184"/>
                    <a:pt x="1025" y="184"/>
                    <a:pt x="1051" y="184"/>
                  </a:cubicBezTo>
                  <a:close/>
                  <a:moveTo>
                    <a:pt x="1375" y="197"/>
                  </a:moveTo>
                  <a:cubicBezTo>
                    <a:pt x="1375" y="211"/>
                    <a:pt x="1373" y="225"/>
                    <a:pt x="1366" y="237"/>
                  </a:cubicBezTo>
                  <a:cubicBezTo>
                    <a:pt x="1352" y="264"/>
                    <a:pt x="1329" y="274"/>
                    <a:pt x="1300" y="273"/>
                  </a:cubicBezTo>
                  <a:cubicBezTo>
                    <a:pt x="1261" y="272"/>
                    <a:pt x="1235" y="245"/>
                    <a:pt x="1233" y="205"/>
                  </a:cubicBezTo>
                  <a:cubicBezTo>
                    <a:pt x="1233" y="192"/>
                    <a:pt x="1234" y="179"/>
                    <a:pt x="1238" y="167"/>
                  </a:cubicBezTo>
                  <a:cubicBezTo>
                    <a:pt x="1248" y="139"/>
                    <a:pt x="1271" y="123"/>
                    <a:pt x="1303" y="122"/>
                  </a:cubicBezTo>
                  <a:cubicBezTo>
                    <a:pt x="1320" y="122"/>
                    <a:pt x="1336" y="125"/>
                    <a:pt x="1350" y="136"/>
                  </a:cubicBezTo>
                  <a:cubicBezTo>
                    <a:pt x="1366" y="149"/>
                    <a:pt x="1373" y="167"/>
                    <a:pt x="1375" y="188"/>
                  </a:cubicBezTo>
                  <a:cubicBezTo>
                    <a:pt x="1375" y="191"/>
                    <a:pt x="1375" y="194"/>
                    <a:pt x="1375" y="197"/>
                  </a:cubicBezTo>
                  <a:close/>
                  <a:moveTo>
                    <a:pt x="1351" y="196"/>
                  </a:moveTo>
                  <a:cubicBezTo>
                    <a:pt x="1351" y="193"/>
                    <a:pt x="1351" y="187"/>
                    <a:pt x="1350" y="181"/>
                  </a:cubicBezTo>
                  <a:cubicBezTo>
                    <a:pt x="1346" y="158"/>
                    <a:pt x="1331" y="143"/>
                    <a:pt x="1308" y="142"/>
                  </a:cubicBezTo>
                  <a:cubicBezTo>
                    <a:pt x="1284" y="141"/>
                    <a:pt x="1266" y="154"/>
                    <a:pt x="1259" y="177"/>
                  </a:cubicBezTo>
                  <a:cubicBezTo>
                    <a:pt x="1257" y="187"/>
                    <a:pt x="1256" y="198"/>
                    <a:pt x="1257" y="209"/>
                  </a:cubicBezTo>
                  <a:cubicBezTo>
                    <a:pt x="1260" y="239"/>
                    <a:pt x="1281" y="256"/>
                    <a:pt x="1311" y="253"/>
                  </a:cubicBezTo>
                  <a:cubicBezTo>
                    <a:pt x="1327" y="252"/>
                    <a:pt x="1338" y="244"/>
                    <a:pt x="1345" y="230"/>
                  </a:cubicBezTo>
                  <a:cubicBezTo>
                    <a:pt x="1350" y="220"/>
                    <a:pt x="1351" y="209"/>
                    <a:pt x="1351" y="196"/>
                  </a:cubicBezTo>
                  <a:close/>
                  <a:moveTo>
                    <a:pt x="814" y="178"/>
                  </a:moveTo>
                  <a:cubicBezTo>
                    <a:pt x="812" y="170"/>
                    <a:pt x="811" y="163"/>
                    <a:pt x="808" y="156"/>
                  </a:cubicBezTo>
                  <a:cubicBezTo>
                    <a:pt x="804" y="145"/>
                    <a:pt x="793" y="141"/>
                    <a:pt x="778" y="142"/>
                  </a:cubicBezTo>
                  <a:cubicBezTo>
                    <a:pt x="764" y="144"/>
                    <a:pt x="751" y="149"/>
                    <a:pt x="740" y="157"/>
                  </a:cubicBezTo>
                  <a:cubicBezTo>
                    <a:pt x="739" y="158"/>
                    <a:pt x="738" y="158"/>
                    <a:pt x="736" y="159"/>
                  </a:cubicBezTo>
                  <a:cubicBezTo>
                    <a:pt x="736" y="152"/>
                    <a:pt x="736" y="144"/>
                    <a:pt x="737" y="137"/>
                  </a:cubicBezTo>
                  <a:cubicBezTo>
                    <a:pt x="737" y="136"/>
                    <a:pt x="738" y="135"/>
                    <a:pt x="739" y="134"/>
                  </a:cubicBezTo>
                  <a:cubicBezTo>
                    <a:pt x="759" y="124"/>
                    <a:pt x="780" y="119"/>
                    <a:pt x="803" y="124"/>
                  </a:cubicBezTo>
                  <a:cubicBezTo>
                    <a:pt x="822" y="128"/>
                    <a:pt x="832" y="141"/>
                    <a:pt x="835" y="160"/>
                  </a:cubicBezTo>
                  <a:cubicBezTo>
                    <a:pt x="836" y="164"/>
                    <a:pt x="836" y="169"/>
                    <a:pt x="836" y="173"/>
                  </a:cubicBezTo>
                  <a:cubicBezTo>
                    <a:pt x="836" y="204"/>
                    <a:pt x="836" y="235"/>
                    <a:pt x="836" y="266"/>
                  </a:cubicBezTo>
                  <a:cubicBezTo>
                    <a:pt x="836" y="267"/>
                    <a:pt x="836" y="268"/>
                    <a:pt x="836" y="270"/>
                  </a:cubicBezTo>
                  <a:cubicBezTo>
                    <a:pt x="828" y="270"/>
                    <a:pt x="821" y="270"/>
                    <a:pt x="813" y="270"/>
                  </a:cubicBezTo>
                  <a:cubicBezTo>
                    <a:pt x="813" y="263"/>
                    <a:pt x="813" y="256"/>
                    <a:pt x="813" y="247"/>
                  </a:cubicBezTo>
                  <a:cubicBezTo>
                    <a:pt x="811" y="250"/>
                    <a:pt x="810" y="252"/>
                    <a:pt x="808" y="254"/>
                  </a:cubicBezTo>
                  <a:cubicBezTo>
                    <a:pt x="793" y="274"/>
                    <a:pt x="762" y="280"/>
                    <a:pt x="741" y="267"/>
                  </a:cubicBezTo>
                  <a:cubicBezTo>
                    <a:pt x="727" y="258"/>
                    <a:pt x="722" y="245"/>
                    <a:pt x="722" y="229"/>
                  </a:cubicBezTo>
                  <a:cubicBezTo>
                    <a:pt x="723" y="212"/>
                    <a:pt x="731" y="199"/>
                    <a:pt x="747" y="191"/>
                  </a:cubicBezTo>
                  <a:cubicBezTo>
                    <a:pt x="759" y="185"/>
                    <a:pt x="772" y="184"/>
                    <a:pt x="785" y="182"/>
                  </a:cubicBezTo>
                  <a:cubicBezTo>
                    <a:pt x="794" y="181"/>
                    <a:pt x="804" y="180"/>
                    <a:pt x="814" y="178"/>
                  </a:cubicBezTo>
                  <a:close/>
                  <a:moveTo>
                    <a:pt x="813" y="197"/>
                  </a:moveTo>
                  <a:cubicBezTo>
                    <a:pt x="807" y="198"/>
                    <a:pt x="801" y="199"/>
                    <a:pt x="796" y="200"/>
                  </a:cubicBezTo>
                  <a:cubicBezTo>
                    <a:pt x="784" y="202"/>
                    <a:pt x="771" y="204"/>
                    <a:pt x="760" y="207"/>
                  </a:cubicBezTo>
                  <a:cubicBezTo>
                    <a:pt x="743" y="212"/>
                    <a:pt x="743" y="239"/>
                    <a:pt x="755" y="248"/>
                  </a:cubicBezTo>
                  <a:cubicBezTo>
                    <a:pt x="766" y="256"/>
                    <a:pt x="786" y="255"/>
                    <a:pt x="798" y="245"/>
                  </a:cubicBezTo>
                  <a:cubicBezTo>
                    <a:pt x="813" y="233"/>
                    <a:pt x="814" y="216"/>
                    <a:pt x="813" y="197"/>
                  </a:cubicBezTo>
                  <a:close/>
                  <a:moveTo>
                    <a:pt x="1584" y="265"/>
                  </a:moveTo>
                  <a:cubicBezTo>
                    <a:pt x="1584" y="237"/>
                    <a:pt x="1584" y="209"/>
                    <a:pt x="1584" y="181"/>
                  </a:cubicBezTo>
                  <a:cubicBezTo>
                    <a:pt x="1584" y="175"/>
                    <a:pt x="1584" y="169"/>
                    <a:pt x="1583" y="164"/>
                  </a:cubicBezTo>
                  <a:cubicBezTo>
                    <a:pt x="1580" y="147"/>
                    <a:pt x="1573" y="133"/>
                    <a:pt x="1556" y="126"/>
                  </a:cubicBezTo>
                  <a:cubicBezTo>
                    <a:pt x="1538" y="119"/>
                    <a:pt x="1508" y="120"/>
                    <a:pt x="1491" y="145"/>
                  </a:cubicBezTo>
                  <a:cubicBezTo>
                    <a:pt x="1490" y="146"/>
                    <a:pt x="1490" y="147"/>
                    <a:pt x="1489" y="149"/>
                  </a:cubicBezTo>
                  <a:cubicBezTo>
                    <a:pt x="1488" y="148"/>
                    <a:pt x="1488" y="148"/>
                    <a:pt x="1488" y="148"/>
                  </a:cubicBezTo>
                  <a:cubicBezTo>
                    <a:pt x="1488" y="141"/>
                    <a:pt x="1488" y="133"/>
                    <a:pt x="1488" y="126"/>
                  </a:cubicBezTo>
                  <a:cubicBezTo>
                    <a:pt x="1480" y="126"/>
                    <a:pt x="1472" y="126"/>
                    <a:pt x="1465" y="126"/>
                  </a:cubicBezTo>
                  <a:cubicBezTo>
                    <a:pt x="1465" y="174"/>
                    <a:pt x="1465" y="222"/>
                    <a:pt x="1465" y="269"/>
                  </a:cubicBezTo>
                  <a:cubicBezTo>
                    <a:pt x="1473" y="269"/>
                    <a:pt x="1480" y="269"/>
                    <a:pt x="1488" y="269"/>
                  </a:cubicBezTo>
                  <a:cubicBezTo>
                    <a:pt x="1488" y="267"/>
                    <a:pt x="1488" y="266"/>
                    <a:pt x="1488" y="264"/>
                  </a:cubicBezTo>
                  <a:cubicBezTo>
                    <a:pt x="1488" y="238"/>
                    <a:pt x="1488" y="212"/>
                    <a:pt x="1488" y="186"/>
                  </a:cubicBezTo>
                  <a:cubicBezTo>
                    <a:pt x="1488" y="169"/>
                    <a:pt x="1495" y="155"/>
                    <a:pt x="1510" y="146"/>
                  </a:cubicBezTo>
                  <a:cubicBezTo>
                    <a:pt x="1531" y="135"/>
                    <a:pt x="1553" y="145"/>
                    <a:pt x="1559" y="167"/>
                  </a:cubicBezTo>
                  <a:cubicBezTo>
                    <a:pt x="1560" y="172"/>
                    <a:pt x="1561" y="177"/>
                    <a:pt x="1561" y="182"/>
                  </a:cubicBezTo>
                  <a:cubicBezTo>
                    <a:pt x="1561" y="209"/>
                    <a:pt x="1561" y="237"/>
                    <a:pt x="1561" y="264"/>
                  </a:cubicBezTo>
                  <a:cubicBezTo>
                    <a:pt x="1561" y="266"/>
                    <a:pt x="1561" y="268"/>
                    <a:pt x="1561" y="270"/>
                  </a:cubicBezTo>
                  <a:cubicBezTo>
                    <a:pt x="1569" y="270"/>
                    <a:pt x="1577" y="270"/>
                    <a:pt x="1584" y="270"/>
                  </a:cubicBezTo>
                  <a:cubicBezTo>
                    <a:pt x="1584" y="268"/>
                    <a:pt x="1584" y="267"/>
                    <a:pt x="1584" y="265"/>
                  </a:cubicBezTo>
                  <a:close/>
                  <a:moveTo>
                    <a:pt x="1627" y="148"/>
                  </a:moveTo>
                  <a:cubicBezTo>
                    <a:pt x="1627" y="177"/>
                    <a:pt x="1627" y="205"/>
                    <a:pt x="1627" y="233"/>
                  </a:cubicBezTo>
                  <a:cubicBezTo>
                    <a:pt x="1627" y="244"/>
                    <a:pt x="1630" y="254"/>
                    <a:pt x="1637" y="263"/>
                  </a:cubicBezTo>
                  <a:cubicBezTo>
                    <a:pt x="1648" y="276"/>
                    <a:pt x="1673" y="275"/>
                    <a:pt x="1685" y="270"/>
                  </a:cubicBezTo>
                  <a:cubicBezTo>
                    <a:pt x="1686" y="269"/>
                    <a:pt x="1687" y="268"/>
                    <a:pt x="1687" y="267"/>
                  </a:cubicBezTo>
                  <a:cubicBezTo>
                    <a:pt x="1687" y="261"/>
                    <a:pt x="1687" y="255"/>
                    <a:pt x="1687" y="249"/>
                  </a:cubicBezTo>
                  <a:cubicBezTo>
                    <a:pt x="1685" y="250"/>
                    <a:pt x="1684" y="250"/>
                    <a:pt x="1683" y="251"/>
                  </a:cubicBezTo>
                  <a:cubicBezTo>
                    <a:pt x="1666" y="259"/>
                    <a:pt x="1653" y="251"/>
                    <a:pt x="1651" y="232"/>
                  </a:cubicBezTo>
                  <a:cubicBezTo>
                    <a:pt x="1651" y="231"/>
                    <a:pt x="1651" y="229"/>
                    <a:pt x="1651" y="228"/>
                  </a:cubicBezTo>
                  <a:cubicBezTo>
                    <a:pt x="1651" y="202"/>
                    <a:pt x="1651" y="177"/>
                    <a:pt x="1651" y="151"/>
                  </a:cubicBezTo>
                  <a:cubicBezTo>
                    <a:pt x="1651" y="150"/>
                    <a:pt x="1651" y="148"/>
                    <a:pt x="1651" y="146"/>
                  </a:cubicBezTo>
                  <a:cubicBezTo>
                    <a:pt x="1663" y="146"/>
                    <a:pt x="1675" y="146"/>
                    <a:pt x="1687" y="146"/>
                  </a:cubicBezTo>
                  <a:cubicBezTo>
                    <a:pt x="1687" y="139"/>
                    <a:pt x="1687" y="132"/>
                    <a:pt x="1687" y="126"/>
                  </a:cubicBezTo>
                  <a:cubicBezTo>
                    <a:pt x="1674" y="126"/>
                    <a:pt x="1663" y="126"/>
                    <a:pt x="1650" y="126"/>
                  </a:cubicBezTo>
                  <a:cubicBezTo>
                    <a:pt x="1650" y="111"/>
                    <a:pt x="1650" y="97"/>
                    <a:pt x="1650" y="83"/>
                  </a:cubicBezTo>
                  <a:cubicBezTo>
                    <a:pt x="1643" y="85"/>
                    <a:pt x="1636" y="87"/>
                    <a:pt x="1630" y="90"/>
                  </a:cubicBezTo>
                  <a:cubicBezTo>
                    <a:pt x="1629" y="90"/>
                    <a:pt x="1627" y="93"/>
                    <a:pt x="1627" y="94"/>
                  </a:cubicBezTo>
                  <a:cubicBezTo>
                    <a:pt x="1627" y="101"/>
                    <a:pt x="1627" y="108"/>
                    <a:pt x="1627" y="116"/>
                  </a:cubicBezTo>
                  <a:cubicBezTo>
                    <a:pt x="1627" y="119"/>
                    <a:pt x="1627" y="122"/>
                    <a:pt x="1627" y="126"/>
                  </a:cubicBezTo>
                  <a:cubicBezTo>
                    <a:pt x="1619" y="126"/>
                    <a:pt x="1611" y="126"/>
                    <a:pt x="1603" y="126"/>
                  </a:cubicBezTo>
                  <a:cubicBezTo>
                    <a:pt x="1603" y="133"/>
                    <a:pt x="1603" y="139"/>
                    <a:pt x="1603" y="146"/>
                  </a:cubicBezTo>
                  <a:cubicBezTo>
                    <a:pt x="1611" y="146"/>
                    <a:pt x="1619" y="146"/>
                    <a:pt x="1627" y="146"/>
                  </a:cubicBezTo>
                  <a:cubicBezTo>
                    <a:pt x="1627" y="147"/>
                    <a:pt x="1627" y="148"/>
                    <a:pt x="1627" y="148"/>
                  </a:cubicBezTo>
                  <a:close/>
                  <a:moveTo>
                    <a:pt x="872" y="269"/>
                  </a:moveTo>
                  <a:cubicBezTo>
                    <a:pt x="880" y="269"/>
                    <a:pt x="887" y="269"/>
                    <a:pt x="895" y="269"/>
                  </a:cubicBezTo>
                  <a:cubicBezTo>
                    <a:pt x="895" y="267"/>
                    <a:pt x="895" y="265"/>
                    <a:pt x="895" y="263"/>
                  </a:cubicBezTo>
                  <a:cubicBezTo>
                    <a:pt x="895" y="241"/>
                    <a:pt x="895" y="218"/>
                    <a:pt x="895" y="195"/>
                  </a:cubicBezTo>
                  <a:cubicBezTo>
                    <a:pt x="895" y="185"/>
                    <a:pt x="897" y="175"/>
                    <a:pt x="901" y="165"/>
                  </a:cubicBezTo>
                  <a:cubicBezTo>
                    <a:pt x="908" y="150"/>
                    <a:pt x="919" y="143"/>
                    <a:pt x="935" y="145"/>
                  </a:cubicBezTo>
                  <a:cubicBezTo>
                    <a:pt x="939" y="146"/>
                    <a:pt x="943" y="147"/>
                    <a:pt x="947" y="148"/>
                  </a:cubicBezTo>
                  <a:cubicBezTo>
                    <a:pt x="947" y="142"/>
                    <a:pt x="947" y="136"/>
                    <a:pt x="947" y="130"/>
                  </a:cubicBezTo>
                  <a:cubicBezTo>
                    <a:pt x="948" y="126"/>
                    <a:pt x="946" y="124"/>
                    <a:pt x="942" y="124"/>
                  </a:cubicBezTo>
                  <a:cubicBezTo>
                    <a:pt x="925" y="121"/>
                    <a:pt x="911" y="127"/>
                    <a:pt x="901" y="143"/>
                  </a:cubicBezTo>
                  <a:cubicBezTo>
                    <a:pt x="899" y="146"/>
                    <a:pt x="898" y="149"/>
                    <a:pt x="896" y="153"/>
                  </a:cubicBezTo>
                  <a:cubicBezTo>
                    <a:pt x="896" y="153"/>
                    <a:pt x="895" y="152"/>
                    <a:pt x="895" y="152"/>
                  </a:cubicBezTo>
                  <a:cubicBezTo>
                    <a:pt x="895" y="144"/>
                    <a:pt x="895" y="135"/>
                    <a:pt x="895" y="126"/>
                  </a:cubicBezTo>
                  <a:cubicBezTo>
                    <a:pt x="887" y="126"/>
                    <a:pt x="880" y="126"/>
                    <a:pt x="872" y="126"/>
                  </a:cubicBezTo>
                  <a:cubicBezTo>
                    <a:pt x="872" y="174"/>
                    <a:pt x="872" y="222"/>
                    <a:pt x="872" y="269"/>
                  </a:cubicBezTo>
                  <a:close/>
                  <a:moveTo>
                    <a:pt x="1403" y="270"/>
                  </a:moveTo>
                  <a:cubicBezTo>
                    <a:pt x="1411" y="270"/>
                    <a:pt x="1418" y="270"/>
                    <a:pt x="1426" y="270"/>
                  </a:cubicBezTo>
                  <a:cubicBezTo>
                    <a:pt x="1426" y="221"/>
                    <a:pt x="1426" y="174"/>
                    <a:pt x="1426" y="126"/>
                  </a:cubicBezTo>
                  <a:cubicBezTo>
                    <a:pt x="1424" y="126"/>
                    <a:pt x="1423" y="126"/>
                    <a:pt x="1421" y="126"/>
                  </a:cubicBezTo>
                  <a:cubicBezTo>
                    <a:pt x="1415" y="126"/>
                    <a:pt x="1409" y="126"/>
                    <a:pt x="1403" y="126"/>
                  </a:cubicBezTo>
                  <a:cubicBezTo>
                    <a:pt x="1403" y="174"/>
                    <a:pt x="1403" y="222"/>
                    <a:pt x="1403" y="270"/>
                  </a:cubicBezTo>
                  <a:close/>
                  <a:moveTo>
                    <a:pt x="1430" y="75"/>
                  </a:moveTo>
                  <a:cubicBezTo>
                    <a:pt x="1430" y="66"/>
                    <a:pt x="1424" y="59"/>
                    <a:pt x="1415" y="59"/>
                  </a:cubicBezTo>
                  <a:cubicBezTo>
                    <a:pt x="1406" y="59"/>
                    <a:pt x="1400" y="65"/>
                    <a:pt x="1399" y="74"/>
                  </a:cubicBezTo>
                  <a:cubicBezTo>
                    <a:pt x="1399" y="83"/>
                    <a:pt x="1405" y="89"/>
                    <a:pt x="1414" y="89"/>
                  </a:cubicBezTo>
                  <a:cubicBezTo>
                    <a:pt x="1423" y="89"/>
                    <a:pt x="1430" y="83"/>
                    <a:pt x="1430" y="75"/>
                  </a:cubicBezTo>
                  <a:close/>
                </a:path>
              </a:pathLst>
            </a:custGeom>
            <a:solidFill>
              <a:schemeClr val="bg1"/>
            </a:solidFill>
            <a:ln>
              <a:noFill/>
            </a:ln>
          </p:spPr>
          <p:txBody>
            <a:bodyPr vert="horz" wrap="square" lIns="89607" tIns="44802" rIns="89607" bIns="44802" numCol="1" anchor="t" anchorCtr="0" compatLnSpc="1">
              <a:prstTxWarp prst="textNoShape">
                <a:avLst/>
              </a:prstTxWarp>
            </a:bodyPr>
            <a:lstStyle/>
            <a:p>
              <a:pPr defTabSz="913918"/>
              <a:endParaRPr lang="en-US" sz="1764">
                <a:solidFill>
                  <a:prstClr val="black"/>
                </a:solidFill>
              </a:endParaRPr>
            </a:p>
          </p:txBody>
        </p:sp>
      </p:grpSp>
      <p:sp>
        <p:nvSpPr>
          <p:cNvPr id="16" name="Rectangle 15"/>
          <p:cNvSpPr/>
          <p:nvPr/>
        </p:nvSpPr>
        <p:spPr bwMode="auto">
          <a:xfrm>
            <a:off x="290848" y="4019304"/>
            <a:ext cx="5794884" cy="699660"/>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ctr" anchorCtr="0" compatLnSpc="1">
            <a:prstTxWarp prst="textNoShape">
              <a:avLst/>
            </a:prstTxWarp>
          </a:bodyPr>
          <a:lstStyle/>
          <a:p>
            <a:pPr algn="ctr" defTabSz="913828" fontAlgn="base">
              <a:spcBef>
                <a:spcPct val="0"/>
              </a:spcBef>
              <a:spcAft>
                <a:spcPct val="0"/>
              </a:spcAft>
            </a:pPr>
            <a:r>
              <a:rPr lang="en-US" sz="2744" dirty="0">
                <a:gradFill>
                  <a:gsLst>
                    <a:gs pos="0">
                      <a:srgbClr val="FFFFFF"/>
                    </a:gs>
                    <a:gs pos="100000">
                      <a:srgbClr val="FFFFFF"/>
                    </a:gs>
                  </a:gsLst>
                  <a:lin ang="5400000" scaled="0"/>
                </a:gradFill>
                <a:latin typeface="Segoe UI Light"/>
              </a:rPr>
              <a:t>Office Store</a:t>
            </a:r>
          </a:p>
        </p:txBody>
      </p:sp>
      <p:sp>
        <p:nvSpPr>
          <p:cNvPr id="22" name="Rectangle 21"/>
          <p:cNvSpPr/>
          <p:nvPr/>
        </p:nvSpPr>
        <p:spPr bwMode="auto">
          <a:xfrm>
            <a:off x="6130534" y="4019304"/>
            <a:ext cx="5794884" cy="69966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ctr" anchorCtr="0" compatLnSpc="1">
            <a:prstTxWarp prst="textNoShape">
              <a:avLst/>
            </a:prstTxWarp>
          </a:bodyPr>
          <a:lstStyle/>
          <a:p>
            <a:pPr algn="ctr" defTabSz="913828" fontAlgn="base">
              <a:spcBef>
                <a:spcPct val="0"/>
              </a:spcBef>
              <a:spcAft>
                <a:spcPct val="0"/>
              </a:spcAft>
            </a:pPr>
            <a:r>
              <a:rPr lang="en-US" sz="2744" dirty="0">
                <a:gradFill>
                  <a:gsLst>
                    <a:gs pos="0">
                      <a:srgbClr val="FFFFFF"/>
                    </a:gs>
                    <a:gs pos="100000">
                      <a:srgbClr val="FFFFFF"/>
                    </a:gs>
                  </a:gsLst>
                  <a:lin ang="5400000" scaled="0"/>
                </a:gradFill>
                <a:latin typeface="Segoe UI Light"/>
              </a:rPr>
              <a:t>App Catalog</a:t>
            </a:r>
          </a:p>
        </p:txBody>
      </p:sp>
    </p:spTree>
    <p:extLst>
      <p:ext uri="{BB962C8B-B14F-4D97-AF65-F5344CB8AC3E}">
        <p14:creationId xmlns:p14="http://schemas.microsoft.com/office/powerpoint/2010/main" val="39242132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000" fill="hold"/>
                                        <p:tgtEl>
                                          <p:spTgt spid="6"/>
                                        </p:tgtEl>
                                        <p:attrNameLst>
                                          <p:attrName>ppt_x</p:attrName>
                                        </p:attrNameLst>
                                      </p:cBhvr>
                                      <p:tavLst>
                                        <p:tav tm="0">
                                          <p:val>
                                            <p:strVal val="#ppt_x"/>
                                          </p:val>
                                        </p:tav>
                                        <p:tav tm="100000">
                                          <p:val>
                                            <p:strVal val="#ppt_x"/>
                                          </p:val>
                                        </p:tav>
                                      </p:tavLst>
                                    </p:anim>
                                    <p:anim calcmode="lin" valueType="num">
                                      <p:cBhvr additive="base">
                                        <p:cTn id="8" dur="1000" fill="hold"/>
                                        <p:tgtEl>
                                          <p:spTgt spid="6"/>
                                        </p:tgtEl>
                                        <p:attrNameLst>
                                          <p:attrName>ppt_y</p:attrName>
                                        </p:attrNameLst>
                                      </p:cBhvr>
                                      <p:tavLst>
                                        <p:tav tm="0">
                                          <p:val>
                                            <p:strVal val="1+#ppt_h/2"/>
                                          </p:val>
                                        </p:tav>
                                        <p:tav tm="100000">
                                          <p:val>
                                            <p:strVal val="#ppt_y"/>
                                          </p:val>
                                        </p:tav>
                                      </p:tavLst>
                                    </p:anim>
                                  </p:childTnLst>
                                </p:cTn>
                              </p:par>
                              <p:par>
                                <p:cTn id="9" presetID="10" presetClass="entr" presetSubtype="0" fill="hold" grpId="0" nodeType="withEffect">
                                  <p:stCondLst>
                                    <p:cond delay="500"/>
                                  </p:stCondLst>
                                  <p:childTnLst>
                                    <p:set>
                                      <p:cBhvr>
                                        <p:cTn id="10" dur="1" fill="hold">
                                          <p:stCondLst>
                                            <p:cond delay="0"/>
                                          </p:stCondLst>
                                        </p:cTn>
                                        <p:tgtEl>
                                          <p:spTgt spid="16"/>
                                        </p:tgtEl>
                                        <p:attrNameLst>
                                          <p:attrName>style.visibility</p:attrName>
                                        </p:attrNameLst>
                                      </p:cBhvr>
                                      <p:to>
                                        <p:strVal val="visible"/>
                                      </p:to>
                                    </p:set>
                                    <p:animEffect transition="in" filter="fade">
                                      <p:cBhvr>
                                        <p:cTn id="11" dur="900"/>
                                        <p:tgtEl>
                                          <p:spTgt spid="16"/>
                                        </p:tgtEl>
                                      </p:cBhvr>
                                    </p:animEffect>
                                  </p:childTnLst>
                                </p:cTn>
                              </p:par>
                              <p:par>
                                <p:cTn id="12" presetID="63" presetClass="path" presetSubtype="0" decel="100000" fill="hold" grpId="1" nodeType="withEffect">
                                  <p:stCondLst>
                                    <p:cond delay="500"/>
                                  </p:stCondLst>
                                  <p:childTnLst>
                                    <p:animMotion origin="layout" path="M -0.02412 4.2079E-6 L -2.20832E-6 4.2079E-6 " pathEditMode="relative" rAng="0" ptsTypes="AA">
                                      <p:cBhvr>
                                        <p:cTn id="13" dur="900" fill="hold"/>
                                        <p:tgtEl>
                                          <p:spTgt spid="16"/>
                                        </p:tgtEl>
                                        <p:attrNameLst>
                                          <p:attrName>ppt_x</p:attrName>
                                          <p:attrName>ppt_y</p:attrName>
                                        </p:attrNameLst>
                                      </p:cBhvr>
                                      <p:rCtr x="1200" y="0"/>
                                    </p:animMotion>
                                  </p:childTnLst>
                                </p:cTn>
                              </p:par>
                              <p:par>
                                <p:cTn id="14" presetID="6" presetClass="emph" presetSubtype="0" accel="100000" autoRev="1" fill="hold" grpId="2" nodeType="withEffect">
                                  <p:stCondLst>
                                    <p:cond delay="0"/>
                                  </p:stCondLst>
                                  <p:childTnLst>
                                    <p:animScale>
                                      <p:cBhvr>
                                        <p:cTn id="15" dur="500" fill="hold"/>
                                        <p:tgtEl>
                                          <p:spTgt spid="16"/>
                                        </p:tgtEl>
                                      </p:cBhvr>
                                      <p:by x="80000" y="80000"/>
                                    </p:animScale>
                                  </p:childTnLst>
                                </p:cTn>
                              </p:par>
                              <p:par>
                                <p:cTn id="16" presetID="10" presetClass="entr" presetSubtype="0" fill="hold" grpId="0" nodeType="withEffect">
                                  <p:stCondLst>
                                    <p:cond delay="600"/>
                                  </p:stCondLst>
                                  <p:childTnLst>
                                    <p:set>
                                      <p:cBhvr>
                                        <p:cTn id="17" dur="1" fill="hold">
                                          <p:stCondLst>
                                            <p:cond delay="0"/>
                                          </p:stCondLst>
                                        </p:cTn>
                                        <p:tgtEl>
                                          <p:spTgt spid="22"/>
                                        </p:tgtEl>
                                        <p:attrNameLst>
                                          <p:attrName>style.visibility</p:attrName>
                                        </p:attrNameLst>
                                      </p:cBhvr>
                                      <p:to>
                                        <p:strVal val="visible"/>
                                      </p:to>
                                    </p:set>
                                    <p:animEffect transition="in" filter="fade">
                                      <p:cBhvr>
                                        <p:cTn id="18" dur="900"/>
                                        <p:tgtEl>
                                          <p:spTgt spid="22"/>
                                        </p:tgtEl>
                                      </p:cBhvr>
                                    </p:animEffect>
                                  </p:childTnLst>
                                </p:cTn>
                              </p:par>
                              <p:par>
                                <p:cTn id="19" presetID="63" presetClass="path" presetSubtype="0" decel="100000" fill="hold" grpId="1" nodeType="withEffect">
                                  <p:stCondLst>
                                    <p:cond delay="600"/>
                                  </p:stCondLst>
                                  <p:childTnLst>
                                    <p:animMotion origin="layout" path="M -0.02413 4.2079E-6 L 2.18024E-6 4.2079E-6 " pathEditMode="relative" rAng="0" ptsTypes="AA">
                                      <p:cBhvr>
                                        <p:cTn id="20" dur="900" fill="hold"/>
                                        <p:tgtEl>
                                          <p:spTgt spid="22"/>
                                        </p:tgtEl>
                                        <p:attrNameLst>
                                          <p:attrName>ppt_x</p:attrName>
                                          <p:attrName>ppt_y</p:attrName>
                                        </p:attrNameLst>
                                      </p:cBhvr>
                                      <p:rCtr x="1200" y="0"/>
                                    </p:animMotion>
                                  </p:childTnLst>
                                </p:cTn>
                              </p:par>
                              <p:par>
                                <p:cTn id="21" presetID="6" presetClass="emph" presetSubtype="0" accel="100000" autoRev="1" fill="hold" grpId="2" nodeType="withEffect">
                                  <p:stCondLst>
                                    <p:cond delay="0"/>
                                  </p:stCondLst>
                                  <p:childTnLst>
                                    <p:animScale>
                                      <p:cBhvr>
                                        <p:cTn id="22" dur="600" fill="hold"/>
                                        <p:tgtEl>
                                          <p:spTgt spid="22"/>
                                        </p:tgtEl>
                                      </p:cBhvr>
                                      <p:by x="80000" y="80000"/>
                                    </p:animScale>
                                  </p:childTnLst>
                                </p:cTn>
                              </p:par>
                            </p:childTnLst>
                          </p:cTn>
                        </p:par>
                        <p:par>
                          <p:cTn id="23" fill="hold">
                            <p:stCondLst>
                              <p:cond delay="1500"/>
                            </p:stCondLst>
                            <p:childTnLst>
                              <p:par>
                                <p:cTn id="24" presetID="2" presetClass="entr" presetSubtype="4" decel="100000" fill="hold" nodeType="afterEffect">
                                  <p:stCondLst>
                                    <p:cond delay="0"/>
                                  </p:stCondLst>
                                  <p:childTnLst>
                                    <p:set>
                                      <p:cBhvr>
                                        <p:cTn id="25" dur="1" fill="hold">
                                          <p:stCondLst>
                                            <p:cond delay="0"/>
                                          </p:stCondLst>
                                        </p:cTn>
                                        <p:tgtEl>
                                          <p:spTgt spid="8"/>
                                        </p:tgtEl>
                                        <p:attrNameLst>
                                          <p:attrName>style.visibility</p:attrName>
                                        </p:attrNameLst>
                                      </p:cBhvr>
                                      <p:to>
                                        <p:strVal val="visible"/>
                                      </p:to>
                                    </p:set>
                                    <p:anim calcmode="lin" valueType="num">
                                      <p:cBhvr additive="base">
                                        <p:cTn id="26" dur="500" fill="hold"/>
                                        <p:tgtEl>
                                          <p:spTgt spid="8"/>
                                        </p:tgtEl>
                                        <p:attrNameLst>
                                          <p:attrName>ppt_x</p:attrName>
                                        </p:attrNameLst>
                                      </p:cBhvr>
                                      <p:tavLst>
                                        <p:tav tm="0">
                                          <p:val>
                                            <p:strVal val="#ppt_x"/>
                                          </p:val>
                                        </p:tav>
                                        <p:tav tm="100000">
                                          <p:val>
                                            <p:strVal val="#ppt_x"/>
                                          </p:val>
                                        </p:tav>
                                      </p:tavLst>
                                    </p:anim>
                                    <p:anim calcmode="lin" valueType="num">
                                      <p:cBhvr additive="base">
                                        <p:cTn id="27" dur="500" fill="hold"/>
                                        <p:tgtEl>
                                          <p:spTgt spid="8"/>
                                        </p:tgtEl>
                                        <p:attrNameLst>
                                          <p:attrName>ppt_y</p:attrName>
                                        </p:attrNameLst>
                                      </p:cBhvr>
                                      <p:tavLst>
                                        <p:tav tm="0">
                                          <p:val>
                                            <p:strVal val="1+#ppt_h/2"/>
                                          </p:val>
                                        </p:tav>
                                        <p:tav tm="100000">
                                          <p:val>
                                            <p:strVal val="#ppt_y"/>
                                          </p:val>
                                        </p:tav>
                                      </p:tavLst>
                                    </p:anim>
                                  </p:childTnLst>
                                </p:cTn>
                              </p:par>
                              <p:par>
                                <p:cTn id="28" presetID="2" presetClass="entr" presetSubtype="4" decel="100000" fill="hold" nodeType="withEffect">
                                  <p:stCondLst>
                                    <p:cond delay="100"/>
                                  </p:stCondLst>
                                  <p:childTnLst>
                                    <p:set>
                                      <p:cBhvr>
                                        <p:cTn id="29" dur="1" fill="hold">
                                          <p:stCondLst>
                                            <p:cond delay="0"/>
                                          </p:stCondLst>
                                        </p:cTn>
                                        <p:tgtEl>
                                          <p:spTgt spid="11"/>
                                        </p:tgtEl>
                                        <p:attrNameLst>
                                          <p:attrName>style.visibility</p:attrName>
                                        </p:attrNameLst>
                                      </p:cBhvr>
                                      <p:to>
                                        <p:strVal val="visible"/>
                                      </p:to>
                                    </p:set>
                                    <p:anim calcmode="lin" valueType="num">
                                      <p:cBhvr additive="base">
                                        <p:cTn id="30" dur="500" fill="hold"/>
                                        <p:tgtEl>
                                          <p:spTgt spid="11"/>
                                        </p:tgtEl>
                                        <p:attrNameLst>
                                          <p:attrName>ppt_x</p:attrName>
                                        </p:attrNameLst>
                                      </p:cBhvr>
                                      <p:tavLst>
                                        <p:tav tm="0">
                                          <p:val>
                                            <p:strVal val="#ppt_x"/>
                                          </p:val>
                                        </p:tav>
                                        <p:tav tm="100000">
                                          <p:val>
                                            <p:strVal val="#ppt_x"/>
                                          </p:val>
                                        </p:tav>
                                      </p:tavLst>
                                    </p:anim>
                                    <p:anim calcmode="lin" valueType="num">
                                      <p:cBhvr additive="base">
                                        <p:cTn id="31"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6" grpId="1" animBg="1"/>
      <p:bldP spid="16" grpId="2" animBg="1"/>
      <p:bldP spid="22" grpId="0" animBg="1"/>
      <p:bldP spid="22" grpId="1" animBg="1"/>
      <p:bldP spid="22" grpId="2"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bwMode="auto">
          <a:xfrm>
            <a:off x="2764440" y="1555994"/>
            <a:ext cx="8558867" cy="1631167"/>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ctr" anchorCtr="0" compatLnSpc="1">
            <a:prstTxWarp prst="textNoShape">
              <a:avLst/>
            </a:prstTxWarp>
          </a:bodyPr>
          <a:lstStyle/>
          <a:p>
            <a:pPr defTabSz="913916" fontAlgn="base">
              <a:spcBef>
                <a:spcPct val="0"/>
              </a:spcBef>
              <a:spcAft>
                <a:spcPct val="0"/>
              </a:spcAft>
            </a:pPr>
            <a:r>
              <a:rPr lang="en-US" sz="3136" dirty="0">
                <a:gradFill>
                  <a:gsLst>
                    <a:gs pos="11504">
                      <a:srgbClr val="D2D2D2">
                        <a:lumMod val="10000"/>
                      </a:srgbClr>
                    </a:gs>
                    <a:gs pos="39000">
                      <a:srgbClr val="D2D2D2">
                        <a:lumMod val="10000"/>
                      </a:srgbClr>
                    </a:gs>
                  </a:gsLst>
                  <a:lin ang="5400000" scaled="0"/>
                </a:gradFill>
                <a:latin typeface="Segoe UI Light"/>
              </a:rPr>
              <a:t>Secure access to internal apps</a:t>
            </a:r>
          </a:p>
        </p:txBody>
      </p:sp>
      <p:sp>
        <p:nvSpPr>
          <p:cNvPr id="2" name="Title 1"/>
          <p:cNvSpPr>
            <a:spLocks noGrp="1"/>
          </p:cNvSpPr>
          <p:nvPr>
            <p:ph type="title"/>
          </p:nvPr>
        </p:nvSpPr>
        <p:spPr/>
        <p:txBody>
          <a:bodyPr/>
          <a:lstStyle/>
          <a:p>
            <a:r>
              <a:rPr lang="en-US" dirty="0" smtClean="0"/>
              <a:t>Corporate App Catalog</a:t>
            </a:r>
            <a:endParaRPr lang="en-US" dirty="0"/>
          </a:p>
        </p:txBody>
      </p:sp>
      <p:sp>
        <p:nvSpPr>
          <p:cNvPr id="21" name="Rectangle 20"/>
          <p:cNvSpPr/>
          <p:nvPr/>
        </p:nvSpPr>
        <p:spPr bwMode="auto">
          <a:xfrm>
            <a:off x="2764440" y="3236615"/>
            <a:ext cx="8558867" cy="1631167"/>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ctr" anchorCtr="0" compatLnSpc="1">
            <a:prstTxWarp prst="textNoShape">
              <a:avLst/>
            </a:prstTxWarp>
          </a:bodyPr>
          <a:lstStyle/>
          <a:p>
            <a:pPr defTabSz="913916" fontAlgn="base">
              <a:spcBef>
                <a:spcPct val="0"/>
              </a:spcBef>
              <a:spcAft>
                <a:spcPct val="0"/>
              </a:spcAft>
            </a:pPr>
            <a:r>
              <a:rPr lang="en-US" sz="3136" dirty="0">
                <a:gradFill>
                  <a:gsLst>
                    <a:gs pos="11504">
                      <a:srgbClr val="D2D2D2">
                        <a:lumMod val="10000"/>
                      </a:srgbClr>
                    </a:gs>
                    <a:gs pos="39000">
                      <a:srgbClr val="D2D2D2">
                        <a:lumMod val="10000"/>
                      </a:srgbClr>
                    </a:gs>
                  </a:gsLst>
                  <a:lin ang="5400000" scaled="0"/>
                </a:gradFill>
                <a:latin typeface="Segoe UI Light"/>
              </a:rPr>
              <a:t>Centrally managed repository of private apps</a:t>
            </a:r>
          </a:p>
        </p:txBody>
      </p:sp>
      <p:sp>
        <p:nvSpPr>
          <p:cNvPr id="22" name="Rectangle 21"/>
          <p:cNvSpPr/>
          <p:nvPr/>
        </p:nvSpPr>
        <p:spPr bwMode="auto">
          <a:xfrm>
            <a:off x="2764440" y="4921720"/>
            <a:ext cx="8558867" cy="1631167"/>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ctr" anchorCtr="0" compatLnSpc="1">
            <a:prstTxWarp prst="textNoShape">
              <a:avLst/>
            </a:prstTxWarp>
          </a:bodyPr>
          <a:lstStyle/>
          <a:p>
            <a:pPr defTabSz="913916" fontAlgn="base">
              <a:spcBef>
                <a:spcPct val="0"/>
              </a:spcBef>
              <a:spcAft>
                <a:spcPct val="0"/>
              </a:spcAft>
            </a:pPr>
            <a:r>
              <a:rPr lang="en-US" sz="3136" dirty="0">
                <a:gradFill>
                  <a:gsLst>
                    <a:gs pos="11504">
                      <a:srgbClr val="D2D2D2">
                        <a:lumMod val="10000"/>
                      </a:srgbClr>
                    </a:gs>
                    <a:gs pos="39000">
                      <a:srgbClr val="D2D2D2">
                        <a:lumMod val="10000"/>
                      </a:srgbClr>
                    </a:gs>
                  </a:gsLst>
                  <a:lin ang="5400000" scaled="0"/>
                </a:gradFill>
                <a:latin typeface="Segoe UI Light"/>
              </a:rPr>
              <a:t>Direct deployment to employees</a:t>
            </a:r>
          </a:p>
        </p:txBody>
      </p:sp>
      <p:grpSp>
        <p:nvGrpSpPr>
          <p:cNvPr id="28" name="Group 27"/>
          <p:cNvGrpSpPr/>
          <p:nvPr/>
        </p:nvGrpSpPr>
        <p:grpSpPr>
          <a:xfrm>
            <a:off x="432670" y="1558752"/>
            <a:ext cx="2331768" cy="1631167"/>
            <a:chOff x="441461" y="1586200"/>
            <a:chExt cx="2379144" cy="1664309"/>
          </a:xfrm>
        </p:grpSpPr>
        <p:sp>
          <p:nvSpPr>
            <p:cNvPr id="16" name="Rectangle 15"/>
            <p:cNvSpPr/>
            <p:nvPr/>
          </p:nvSpPr>
          <p:spPr bwMode="auto">
            <a:xfrm>
              <a:off x="441461" y="1586200"/>
              <a:ext cx="2379144" cy="1664309"/>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pic>
          <p:nvPicPr>
            <p:cNvPr id="6" name="Picture 5"/>
            <p:cNvPicPr>
              <a:picLocks noChangeAspect="1"/>
            </p:cNvPicPr>
            <p:nvPr/>
          </p:nvPicPr>
          <p:blipFill>
            <a:blip r:embed="rId3"/>
            <a:stretch>
              <a:fillRect/>
            </a:stretch>
          </p:blipFill>
          <p:spPr>
            <a:xfrm>
              <a:off x="1045309" y="1727290"/>
              <a:ext cx="1058129" cy="1371648"/>
            </a:xfrm>
            <a:prstGeom prst="rect">
              <a:avLst/>
            </a:prstGeom>
          </p:spPr>
        </p:pic>
      </p:grpSp>
      <p:grpSp>
        <p:nvGrpSpPr>
          <p:cNvPr id="29" name="Group 28"/>
          <p:cNvGrpSpPr/>
          <p:nvPr/>
        </p:nvGrpSpPr>
        <p:grpSpPr>
          <a:xfrm>
            <a:off x="432670" y="3237990"/>
            <a:ext cx="2331768" cy="1631167"/>
            <a:chOff x="441461" y="3302370"/>
            <a:chExt cx="2379144" cy="1664309"/>
          </a:xfrm>
        </p:grpSpPr>
        <p:sp>
          <p:nvSpPr>
            <p:cNvPr id="17" name="Rectangle 16"/>
            <p:cNvSpPr/>
            <p:nvPr/>
          </p:nvSpPr>
          <p:spPr bwMode="auto">
            <a:xfrm>
              <a:off x="441461" y="3302370"/>
              <a:ext cx="2379144" cy="1664309"/>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pic>
          <p:nvPicPr>
            <p:cNvPr id="25" name="Picture 24"/>
            <p:cNvPicPr>
              <a:picLocks noChangeAspect="1"/>
            </p:cNvPicPr>
            <p:nvPr/>
          </p:nvPicPr>
          <p:blipFill>
            <a:blip r:embed="rId4"/>
            <a:stretch>
              <a:fillRect/>
            </a:stretch>
          </p:blipFill>
          <p:spPr>
            <a:xfrm>
              <a:off x="1282283" y="3609748"/>
              <a:ext cx="697500" cy="1226250"/>
            </a:xfrm>
            <a:prstGeom prst="rect">
              <a:avLst/>
            </a:prstGeom>
          </p:spPr>
        </p:pic>
      </p:grpSp>
      <p:sp>
        <p:nvSpPr>
          <p:cNvPr id="18" name="Rectangle 17"/>
          <p:cNvSpPr/>
          <p:nvPr/>
        </p:nvSpPr>
        <p:spPr bwMode="auto">
          <a:xfrm>
            <a:off x="432670" y="4919986"/>
            <a:ext cx="2331768" cy="1631167"/>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32" name="Rectangle 31"/>
          <p:cNvSpPr/>
          <p:nvPr/>
        </p:nvSpPr>
        <p:spPr bwMode="auto">
          <a:xfrm>
            <a:off x="0" y="982096"/>
            <a:ext cx="430665" cy="5896222"/>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grpSp>
        <p:nvGrpSpPr>
          <p:cNvPr id="3" name="Group 4"/>
          <p:cNvGrpSpPr>
            <a:grpSpLocks noChangeAspect="1"/>
          </p:cNvGrpSpPr>
          <p:nvPr/>
        </p:nvGrpSpPr>
        <p:grpSpPr bwMode="auto">
          <a:xfrm>
            <a:off x="818397" y="4919542"/>
            <a:ext cx="1496764" cy="1333395"/>
            <a:chOff x="526" y="3161"/>
            <a:chExt cx="962" cy="857"/>
          </a:xfrm>
        </p:grpSpPr>
        <p:sp>
          <p:nvSpPr>
            <p:cNvPr id="4" name="AutoShape 3"/>
            <p:cNvSpPr>
              <a:spLocks noChangeAspect="1" noChangeArrowheads="1" noTextEdit="1"/>
            </p:cNvSpPr>
            <p:nvPr/>
          </p:nvSpPr>
          <p:spPr bwMode="auto">
            <a:xfrm>
              <a:off x="526" y="3161"/>
              <a:ext cx="962" cy="8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5" name="Rectangle 5"/>
            <p:cNvSpPr>
              <a:spLocks noChangeArrowheads="1"/>
            </p:cNvSpPr>
            <p:nvPr/>
          </p:nvSpPr>
          <p:spPr bwMode="auto">
            <a:xfrm>
              <a:off x="841" y="3607"/>
              <a:ext cx="648" cy="41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7" name="Freeform 6"/>
            <p:cNvSpPr>
              <a:spLocks/>
            </p:cNvSpPr>
            <p:nvPr/>
          </p:nvSpPr>
          <p:spPr bwMode="auto">
            <a:xfrm>
              <a:off x="841" y="3607"/>
              <a:ext cx="648" cy="412"/>
            </a:xfrm>
            <a:custGeom>
              <a:avLst/>
              <a:gdLst>
                <a:gd name="T0" fmla="*/ 648 w 648"/>
                <a:gd name="T1" fmla="*/ 412 h 412"/>
                <a:gd name="T2" fmla="*/ 648 w 648"/>
                <a:gd name="T3" fmla="*/ 0 h 412"/>
                <a:gd name="T4" fmla="*/ 0 w 648"/>
                <a:gd name="T5" fmla="*/ 0 h 412"/>
                <a:gd name="T6" fmla="*/ 0 w 648"/>
                <a:gd name="T7" fmla="*/ 412 h 412"/>
              </a:gdLst>
              <a:ahLst/>
              <a:cxnLst>
                <a:cxn ang="0">
                  <a:pos x="T0" y="T1"/>
                </a:cxn>
                <a:cxn ang="0">
                  <a:pos x="T2" y="T3"/>
                </a:cxn>
                <a:cxn ang="0">
                  <a:pos x="T4" y="T5"/>
                </a:cxn>
                <a:cxn ang="0">
                  <a:pos x="T6" y="T7"/>
                </a:cxn>
              </a:cxnLst>
              <a:rect l="0" t="0" r="r" b="b"/>
              <a:pathLst>
                <a:path w="648" h="412">
                  <a:moveTo>
                    <a:pt x="648" y="412"/>
                  </a:moveTo>
                  <a:lnTo>
                    <a:pt x="648" y="0"/>
                  </a:lnTo>
                  <a:lnTo>
                    <a:pt x="0" y="0"/>
                  </a:lnTo>
                  <a:lnTo>
                    <a:pt x="0" y="4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8" name="Rectangle 7"/>
            <p:cNvSpPr>
              <a:spLocks noChangeArrowheads="1"/>
            </p:cNvSpPr>
            <p:nvPr/>
          </p:nvSpPr>
          <p:spPr bwMode="auto">
            <a:xfrm>
              <a:off x="881" y="3648"/>
              <a:ext cx="568" cy="330"/>
            </a:xfrm>
            <a:prstGeom prst="rect">
              <a:avLst/>
            </a:prstGeom>
            <a:solidFill>
              <a:srgbClr val="F78C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9" name="Rectangle 8"/>
            <p:cNvSpPr>
              <a:spLocks noChangeArrowheads="1"/>
            </p:cNvSpPr>
            <p:nvPr/>
          </p:nvSpPr>
          <p:spPr bwMode="auto">
            <a:xfrm>
              <a:off x="675" y="3653"/>
              <a:ext cx="152" cy="15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10" name="Rectangle 9"/>
            <p:cNvSpPr>
              <a:spLocks noChangeArrowheads="1"/>
            </p:cNvSpPr>
            <p:nvPr/>
          </p:nvSpPr>
          <p:spPr bwMode="auto">
            <a:xfrm>
              <a:off x="663" y="3642"/>
              <a:ext cx="176" cy="178"/>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11" name="Freeform 10"/>
            <p:cNvSpPr>
              <a:spLocks noEditPoints="1"/>
            </p:cNvSpPr>
            <p:nvPr/>
          </p:nvSpPr>
          <p:spPr bwMode="auto">
            <a:xfrm>
              <a:off x="660" y="3640"/>
              <a:ext cx="181" cy="182"/>
            </a:xfrm>
            <a:custGeom>
              <a:avLst/>
              <a:gdLst>
                <a:gd name="T0" fmla="*/ 181 w 181"/>
                <a:gd name="T1" fmla="*/ 0 h 182"/>
                <a:gd name="T2" fmla="*/ 176 w 181"/>
                <a:gd name="T3" fmla="*/ 0 h 182"/>
                <a:gd name="T4" fmla="*/ 5 w 181"/>
                <a:gd name="T5" fmla="*/ 0 h 182"/>
                <a:gd name="T6" fmla="*/ 0 w 181"/>
                <a:gd name="T7" fmla="*/ 0 h 182"/>
                <a:gd name="T8" fmla="*/ 0 w 181"/>
                <a:gd name="T9" fmla="*/ 5 h 182"/>
                <a:gd name="T10" fmla="*/ 0 w 181"/>
                <a:gd name="T11" fmla="*/ 178 h 182"/>
                <a:gd name="T12" fmla="*/ 0 w 181"/>
                <a:gd name="T13" fmla="*/ 182 h 182"/>
                <a:gd name="T14" fmla="*/ 5 w 181"/>
                <a:gd name="T15" fmla="*/ 182 h 182"/>
                <a:gd name="T16" fmla="*/ 176 w 181"/>
                <a:gd name="T17" fmla="*/ 182 h 182"/>
                <a:gd name="T18" fmla="*/ 181 w 181"/>
                <a:gd name="T19" fmla="*/ 182 h 182"/>
                <a:gd name="T20" fmla="*/ 181 w 181"/>
                <a:gd name="T21" fmla="*/ 178 h 182"/>
                <a:gd name="T22" fmla="*/ 181 w 181"/>
                <a:gd name="T23" fmla="*/ 5 h 182"/>
                <a:gd name="T24" fmla="*/ 181 w 181"/>
                <a:gd name="T25" fmla="*/ 0 h 182"/>
                <a:gd name="T26" fmla="*/ 176 w 181"/>
                <a:gd name="T27" fmla="*/ 178 h 182"/>
                <a:gd name="T28" fmla="*/ 5 w 181"/>
                <a:gd name="T29" fmla="*/ 178 h 182"/>
                <a:gd name="T30" fmla="*/ 5 w 181"/>
                <a:gd name="T31" fmla="*/ 5 h 182"/>
                <a:gd name="T32" fmla="*/ 176 w 181"/>
                <a:gd name="T33" fmla="*/ 5 h 182"/>
                <a:gd name="T34" fmla="*/ 176 w 181"/>
                <a:gd name="T35" fmla="*/ 178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1" h="182">
                  <a:moveTo>
                    <a:pt x="181" y="0"/>
                  </a:moveTo>
                  <a:lnTo>
                    <a:pt x="176" y="0"/>
                  </a:lnTo>
                  <a:lnTo>
                    <a:pt x="5" y="0"/>
                  </a:lnTo>
                  <a:lnTo>
                    <a:pt x="0" y="0"/>
                  </a:lnTo>
                  <a:lnTo>
                    <a:pt x="0" y="5"/>
                  </a:lnTo>
                  <a:lnTo>
                    <a:pt x="0" y="178"/>
                  </a:lnTo>
                  <a:lnTo>
                    <a:pt x="0" y="182"/>
                  </a:lnTo>
                  <a:lnTo>
                    <a:pt x="5" y="182"/>
                  </a:lnTo>
                  <a:lnTo>
                    <a:pt x="176" y="182"/>
                  </a:lnTo>
                  <a:lnTo>
                    <a:pt x="181" y="182"/>
                  </a:lnTo>
                  <a:lnTo>
                    <a:pt x="181" y="178"/>
                  </a:lnTo>
                  <a:lnTo>
                    <a:pt x="181" y="5"/>
                  </a:lnTo>
                  <a:lnTo>
                    <a:pt x="181" y="0"/>
                  </a:lnTo>
                  <a:close/>
                  <a:moveTo>
                    <a:pt x="176" y="178"/>
                  </a:moveTo>
                  <a:lnTo>
                    <a:pt x="5" y="178"/>
                  </a:lnTo>
                  <a:lnTo>
                    <a:pt x="5" y="5"/>
                  </a:lnTo>
                  <a:lnTo>
                    <a:pt x="176" y="5"/>
                  </a:lnTo>
                  <a:lnTo>
                    <a:pt x="176" y="1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12" name="Freeform 11"/>
            <p:cNvSpPr>
              <a:spLocks/>
            </p:cNvSpPr>
            <p:nvPr/>
          </p:nvSpPr>
          <p:spPr bwMode="auto">
            <a:xfrm>
              <a:off x="525" y="3763"/>
              <a:ext cx="128" cy="256"/>
            </a:xfrm>
            <a:custGeom>
              <a:avLst/>
              <a:gdLst>
                <a:gd name="T0" fmla="*/ 10 w 223"/>
                <a:gd name="T1" fmla="*/ 0 h 447"/>
                <a:gd name="T2" fmla="*/ 0 w 223"/>
                <a:gd name="T3" fmla="*/ 10 h 447"/>
                <a:gd name="T4" fmla="*/ 0 w 223"/>
                <a:gd name="T5" fmla="*/ 437 h 447"/>
                <a:gd name="T6" fmla="*/ 10 w 223"/>
                <a:gd name="T7" fmla="*/ 447 h 447"/>
                <a:gd name="T8" fmla="*/ 213 w 223"/>
                <a:gd name="T9" fmla="*/ 447 h 447"/>
                <a:gd name="T10" fmla="*/ 223 w 223"/>
                <a:gd name="T11" fmla="*/ 437 h 447"/>
                <a:gd name="T12" fmla="*/ 223 w 223"/>
                <a:gd name="T13" fmla="*/ 10 h 447"/>
                <a:gd name="T14" fmla="*/ 213 w 223"/>
                <a:gd name="T15" fmla="*/ 0 h 447"/>
                <a:gd name="T16" fmla="*/ 28 w 223"/>
                <a:gd name="T17" fmla="*/ 0 h 447"/>
                <a:gd name="T18" fmla="*/ 10 w 223"/>
                <a:gd name="T19" fmla="*/ 0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3" h="447">
                  <a:moveTo>
                    <a:pt x="10" y="0"/>
                  </a:moveTo>
                  <a:cubicBezTo>
                    <a:pt x="10" y="0"/>
                    <a:pt x="0" y="0"/>
                    <a:pt x="0" y="10"/>
                  </a:cubicBezTo>
                  <a:cubicBezTo>
                    <a:pt x="0" y="437"/>
                    <a:pt x="0" y="437"/>
                    <a:pt x="0" y="437"/>
                  </a:cubicBezTo>
                  <a:cubicBezTo>
                    <a:pt x="0" y="437"/>
                    <a:pt x="0" y="447"/>
                    <a:pt x="10" y="447"/>
                  </a:cubicBezTo>
                  <a:cubicBezTo>
                    <a:pt x="213" y="447"/>
                    <a:pt x="213" y="447"/>
                    <a:pt x="213" y="447"/>
                  </a:cubicBezTo>
                  <a:cubicBezTo>
                    <a:pt x="213" y="447"/>
                    <a:pt x="223" y="447"/>
                    <a:pt x="223" y="437"/>
                  </a:cubicBezTo>
                  <a:cubicBezTo>
                    <a:pt x="223" y="10"/>
                    <a:pt x="223" y="10"/>
                    <a:pt x="223" y="10"/>
                  </a:cubicBezTo>
                  <a:cubicBezTo>
                    <a:pt x="223" y="10"/>
                    <a:pt x="223" y="0"/>
                    <a:pt x="213" y="0"/>
                  </a:cubicBezTo>
                  <a:cubicBezTo>
                    <a:pt x="28" y="0"/>
                    <a:pt x="28" y="0"/>
                    <a:pt x="28" y="0"/>
                  </a:cubicBezTo>
                  <a:lnTo>
                    <a:pt x="10" y="0"/>
                  </a:lnTo>
                  <a:close/>
                </a:path>
              </a:pathLst>
            </a:custGeom>
            <a:solidFill>
              <a:srgbClr val="21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13" name="Rectangle 12"/>
            <p:cNvSpPr>
              <a:spLocks noChangeArrowheads="1"/>
            </p:cNvSpPr>
            <p:nvPr/>
          </p:nvSpPr>
          <p:spPr bwMode="auto">
            <a:xfrm>
              <a:off x="537" y="3819"/>
              <a:ext cx="104" cy="157"/>
            </a:xfrm>
            <a:prstGeom prst="rect">
              <a:avLst/>
            </a:prstGeom>
            <a:solidFill>
              <a:srgbClr val="F78C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14" name="Freeform 13"/>
            <p:cNvSpPr>
              <a:spLocks/>
            </p:cNvSpPr>
            <p:nvPr/>
          </p:nvSpPr>
          <p:spPr bwMode="auto">
            <a:xfrm>
              <a:off x="733" y="3748"/>
              <a:ext cx="299" cy="187"/>
            </a:xfrm>
            <a:custGeom>
              <a:avLst/>
              <a:gdLst>
                <a:gd name="T0" fmla="*/ 523 w 523"/>
                <a:gd name="T1" fmla="*/ 0 h 326"/>
                <a:gd name="T2" fmla="*/ 523 w 523"/>
                <a:gd name="T3" fmla="*/ 126 h 326"/>
                <a:gd name="T4" fmla="*/ 366 w 523"/>
                <a:gd name="T5" fmla="*/ 125 h 326"/>
                <a:gd name="T6" fmla="*/ 233 w 523"/>
                <a:gd name="T7" fmla="*/ 292 h 326"/>
                <a:gd name="T8" fmla="*/ 233 w 523"/>
                <a:gd name="T9" fmla="*/ 292 h 326"/>
                <a:gd name="T10" fmla="*/ 233 w 523"/>
                <a:gd name="T11" fmla="*/ 292 h 326"/>
                <a:gd name="T12" fmla="*/ 126 w 523"/>
                <a:gd name="T13" fmla="*/ 326 h 326"/>
                <a:gd name="T14" fmla="*/ 146 w 523"/>
                <a:gd name="T15" fmla="*/ 286 h 326"/>
                <a:gd name="T16" fmla="*/ 207 w 523"/>
                <a:gd name="T17" fmla="*/ 267 h 326"/>
                <a:gd name="T18" fmla="*/ 230 w 523"/>
                <a:gd name="T19" fmla="*/ 238 h 326"/>
                <a:gd name="T20" fmla="*/ 176 w 523"/>
                <a:gd name="T21" fmla="*/ 269 h 326"/>
                <a:gd name="T22" fmla="*/ 176 w 523"/>
                <a:gd name="T23" fmla="*/ 269 h 326"/>
                <a:gd name="T24" fmla="*/ 27 w 523"/>
                <a:gd name="T25" fmla="*/ 298 h 326"/>
                <a:gd name="T26" fmla="*/ 52 w 523"/>
                <a:gd name="T27" fmla="*/ 261 h 326"/>
                <a:gd name="T28" fmla="*/ 163 w 523"/>
                <a:gd name="T29" fmla="*/ 240 h 326"/>
                <a:gd name="T30" fmla="*/ 222 w 523"/>
                <a:gd name="T31" fmla="*/ 208 h 326"/>
                <a:gd name="T32" fmla="*/ 146 w 523"/>
                <a:gd name="T33" fmla="*/ 237 h 326"/>
                <a:gd name="T34" fmla="*/ 1 w 523"/>
                <a:gd name="T35" fmla="*/ 242 h 326"/>
                <a:gd name="T36" fmla="*/ 32 w 523"/>
                <a:gd name="T37" fmla="*/ 210 h 326"/>
                <a:gd name="T38" fmla="*/ 135 w 523"/>
                <a:gd name="T39" fmla="*/ 206 h 326"/>
                <a:gd name="T40" fmla="*/ 212 w 523"/>
                <a:gd name="T41" fmla="*/ 182 h 326"/>
                <a:gd name="T42" fmla="*/ 119 w 523"/>
                <a:gd name="T43" fmla="*/ 202 h 326"/>
                <a:gd name="T44" fmla="*/ 84 w 523"/>
                <a:gd name="T45" fmla="*/ 133 h 326"/>
                <a:gd name="T46" fmla="*/ 128 w 523"/>
                <a:gd name="T47" fmla="*/ 142 h 326"/>
                <a:gd name="T48" fmla="*/ 142 w 523"/>
                <a:gd name="T49" fmla="*/ 169 h 326"/>
                <a:gd name="T50" fmla="*/ 232 w 523"/>
                <a:gd name="T51" fmla="*/ 130 h 326"/>
                <a:gd name="T52" fmla="*/ 277 w 523"/>
                <a:gd name="T53" fmla="*/ 69 h 326"/>
                <a:gd name="T54" fmla="*/ 238 w 523"/>
                <a:gd name="T55" fmla="*/ 56 h 326"/>
                <a:gd name="T56" fmla="*/ 167 w 523"/>
                <a:gd name="T57" fmla="*/ 106 h 326"/>
                <a:gd name="T58" fmla="*/ 119 w 523"/>
                <a:gd name="T59" fmla="*/ 94 h 326"/>
                <a:gd name="T60" fmla="*/ 249 w 523"/>
                <a:gd name="T61" fmla="*/ 0 h 326"/>
                <a:gd name="T62" fmla="*/ 523 w 523"/>
                <a:gd name="T63" fmla="*/ 0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23" h="326">
                  <a:moveTo>
                    <a:pt x="523" y="0"/>
                  </a:moveTo>
                  <a:cubicBezTo>
                    <a:pt x="523" y="126"/>
                    <a:pt x="523" y="126"/>
                    <a:pt x="523" y="126"/>
                  </a:cubicBezTo>
                  <a:cubicBezTo>
                    <a:pt x="366" y="125"/>
                    <a:pt x="366" y="125"/>
                    <a:pt x="366" y="125"/>
                  </a:cubicBezTo>
                  <a:cubicBezTo>
                    <a:pt x="233" y="292"/>
                    <a:pt x="233" y="292"/>
                    <a:pt x="233" y="292"/>
                  </a:cubicBezTo>
                  <a:cubicBezTo>
                    <a:pt x="233" y="292"/>
                    <a:pt x="233" y="292"/>
                    <a:pt x="233" y="292"/>
                  </a:cubicBezTo>
                  <a:cubicBezTo>
                    <a:pt x="233" y="292"/>
                    <a:pt x="233" y="292"/>
                    <a:pt x="233" y="292"/>
                  </a:cubicBezTo>
                  <a:cubicBezTo>
                    <a:pt x="126" y="326"/>
                    <a:pt x="126" y="326"/>
                    <a:pt x="126" y="326"/>
                  </a:cubicBezTo>
                  <a:cubicBezTo>
                    <a:pt x="120" y="310"/>
                    <a:pt x="129" y="292"/>
                    <a:pt x="146" y="286"/>
                  </a:cubicBezTo>
                  <a:cubicBezTo>
                    <a:pt x="207" y="267"/>
                    <a:pt x="207" y="267"/>
                    <a:pt x="207" y="267"/>
                  </a:cubicBezTo>
                  <a:cubicBezTo>
                    <a:pt x="230" y="238"/>
                    <a:pt x="230" y="238"/>
                    <a:pt x="230" y="238"/>
                  </a:cubicBezTo>
                  <a:cubicBezTo>
                    <a:pt x="176" y="269"/>
                    <a:pt x="176" y="269"/>
                    <a:pt x="176" y="269"/>
                  </a:cubicBezTo>
                  <a:cubicBezTo>
                    <a:pt x="176" y="269"/>
                    <a:pt x="176" y="269"/>
                    <a:pt x="176" y="269"/>
                  </a:cubicBezTo>
                  <a:cubicBezTo>
                    <a:pt x="27" y="298"/>
                    <a:pt x="27" y="298"/>
                    <a:pt x="27" y="298"/>
                  </a:cubicBezTo>
                  <a:cubicBezTo>
                    <a:pt x="24" y="281"/>
                    <a:pt x="35" y="264"/>
                    <a:pt x="52" y="261"/>
                  </a:cubicBezTo>
                  <a:cubicBezTo>
                    <a:pt x="163" y="240"/>
                    <a:pt x="163" y="240"/>
                    <a:pt x="163" y="240"/>
                  </a:cubicBezTo>
                  <a:cubicBezTo>
                    <a:pt x="222" y="208"/>
                    <a:pt x="222" y="208"/>
                    <a:pt x="222" y="208"/>
                  </a:cubicBezTo>
                  <a:cubicBezTo>
                    <a:pt x="146" y="237"/>
                    <a:pt x="146" y="237"/>
                    <a:pt x="146" y="237"/>
                  </a:cubicBezTo>
                  <a:cubicBezTo>
                    <a:pt x="1" y="242"/>
                    <a:pt x="1" y="242"/>
                    <a:pt x="1" y="242"/>
                  </a:cubicBezTo>
                  <a:cubicBezTo>
                    <a:pt x="0" y="225"/>
                    <a:pt x="14" y="210"/>
                    <a:pt x="32" y="210"/>
                  </a:cubicBezTo>
                  <a:cubicBezTo>
                    <a:pt x="135" y="206"/>
                    <a:pt x="135" y="206"/>
                    <a:pt x="135" y="206"/>
                  </a:cubicBezTo>
                  <a:cubicBezTo>
                    <a:pt x="212" y="182"/>
                    <a:pt x="212" y="182"/>
                    <a:pt x="212" y="182"/>
                  </a:cubicBezTo>
                  <a:cubicBezTo>
                    <a:pt x="119" y="202"/>
                    <a:pt x="119" y="202"/>
                    <a:pt x="119" y="202"/>
                  </a:cubicBezTo>
                  <a:cubicBezTo>
                    <a:pt x="84" y="133"/>
                    <a:pt x="84" y="133"/>
                    <a:pt x="84" y="133"/>
                  </a:cubicBezTo>
                  <a:cubicBezTo>
                    <a:pt x="99" y="123"/>
                    <a:pt x="119" y="128"/>
                    <a:pt x="128" y="142"/>
                  </a:cubicBezTo>
                  <a:cubicBezTo>
                    <a:pt x="142" y="169"/>
                    <a:pt x="142" y="169"/>
                    <a:pt x="142" y="169"/>
                  </a:cubicBezTo>
                  <a:cubicBezTo>
                    <a:pt x="232" y="130"/>
                    <a:pt x="232" y="130"/>
                    <a:pt x="232" y="130"/>
                  </a:cubicBezTo>
                  <a:cubicBezTo>
                    <a:pt x="232" y="130"/>
                    <a:pt x="286" y="114"/>
                    <a:pt x="277" y="69"/>
                  </a:cubicBezTo>
                  <a:cubicBezTo>
                    <a:pt x="253" y="60"/>
                    <a:pt x="238" y="56"/>
                    <a:pt x="238" y="56"/>
                  </a:cubicBezTo>
                  <a:cubicBezTo>
                    <a:pt x="167" y="106"/>
                    <a:pt x="167" y="106"/>
                    <a:pt x="167" y="106"/>
                  </a:cubicBezTo>
                  <a:cubicBezTo>
                    <a:pt x="152" y="117"/>
                    <a:pt x="129" y="109"/>
                    <a:pt x="119" y="94"/>
                  </a:cubicBezTo>
                  <a:cubicBezTo>
                    <a:pt x="249" y="0"/>
                    <a:pt x="249" y="0"/>
                    <a:pt x="249" y="0"/>
                  </a:cubicBezTo>
                  <a:lnTo>
                    <a:pt x="523" y="0"/>
                  </a:lnTo>
                  <a:close/>
                </a:path>
              </a:pathLst>
            </a:custGeom>
            <a:solidFill>
              <a:srgbClr val="F9E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15" name="Freeform 14"/>
            <p:cNvSpPr>
              <a:spLocks/>
            </p:cNvSpPr>
            <p:nvPr/>
          </p:nvSpPr>
          <p:spPr bwMode="auto">
            <a:xfrm>
              <a:off x="835" y="3875"/>
              <a:ext cx="20" cy="23"/>
            </a:xfrm>
            <a:custGeom>
              <a:avLst/>
              <a:gdLst>
                <a:gd name="T0" fmla="*/ 12 w 20"/>
                <a:gd name="T1" fmla="*/ 23 h 23"/>
                <a:gd name="T2" fmla="*/ 0 w 20"/>
                <a:gd name="T3" fmla="*/ 4 h 23"/>
                <a:gd name="T4" fmla="*/ 8 w 20"/>
                <a:gd name="T5" fmla="*/ 0 h 23"/>
                <a:gd name="T6" fmla="*/ 20 w 20"/>
                <a:gd name="T7" fmla="*/ 18 h 23"/>
                <a:gd name="T8" fmla="*/ 12 w 20"/>
                <a:gd name="T9" fmla="*/ 23 h 23"/>
              </a:gdLst>
              <a:ahLst/>
              <a:cxnLst>
                <a:cxn ang="0">
                  <a:pos x="T0" y="T1"/>
                </a:cxn>
                <a:cxn ang="0">
                  <a:pos x="T2" y="T3"/>
                </a:cxn>
                <a:cxn ang="0">
                  <a:pos x="T4" y="T5"/>
                </a:cxn>
                <a:cxn ang="0">
                  <a:pos x="T6" y="T7"/>
                </a:cxn>
                <a:cxn ang="0">
                  <a:pos x="T8" y="T9"/>
                </a:cxn>
              </a:cxnLst>
              <a:rect l="0" t="0" r="r" b="b"/>
              <a:pathLst>
                <a:path w="20" h="23">
                  <a:moveTo>
                    <a:pt x="12" y="23"/>
                  </a:moveTo>
                  <a:lnTo>
                    <a:pt x="0" y="4"/>
                  </a:lnTo>
                  <a:lnTo>
                    <a:pt x="8" y="0"/>
                  </a:lnTo>
                  <a:lnTo>
                    <a:pt x="20" y="18"/>
                  </a:lnTo>
                  <a:lnTo>
                    <a:pt x="12"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19" name="Freeform 15"/>
            <p:cNvSpPr>
              <a:spLocks/>
            </p:cNvSpPr>
            <p:nvPr/>
          </p:nvSpPr>
          <p:spPr bwMode="auto">
            <a:xfrm>
              <a:off x="989" y="3812"/>
              <a:ext cx="18" cy="18"/>
            </a:xfrm>
            <a:custGeom>
              <a:avLst/>
              <a:gdLst>
                <a:gd name="T0" fmla="*/ 16 w 32"/>
                <a:gd name="T1" fmla="*/ 0 h 31"/>
                <a:gd name="T2" fmla="*/ 31 w 32"/>
                <a:gd name="T3" fmla="*/ 15 h 31"/>
                <a:gd name="T4" fmla="*/ 16 w 32"/>
                <a:gd name="T5" fmla="*/ 31 h 31"/>
                <a:gd name="T6" fmla="*/ 0 w 32"/>
                <a:gd name="T7" fmla="*/ 16 h 31"/>
                <a:gd name="T8" fmla="*/ 16 w 32"/>
                <a:gd name="T9" fmla="*/ 0 h 31"/>
              </a:gdLst>
              <a:ahLst/>
              <a:cxnLst>
                <a:cxn ang="0">
                  <a:pos x="T0" y="T1"/>
                </a:cxn>
                <a:cxn ang="0">
                  <a:pos x="T2" y="T3"/>
                </a:cxn>
                <a:cxn ang="0">
                  <a:pos x="T4" y="T5"/>
                </a:cxn>
                <a:cxn ang="0">
                  <a:pos x="T6" y="T7"/>
                </a:cxn>
                <a:cxn ang="0">
                  <a:pos x="T8" y="T9"/>
                </a:cxn>
              </a:cxnLst>
              <a:rect l="0" t="0" r="r" b="b"/>
              <a:pathLst>
                <a:path w="32" h="31">
                  <a:moveTo>
                    <a:pt x="16" y="0"/>
                  </a:moveTo>
                  <a:cubicBezTo>
                    <a:pt x="24" y="0"/>
                    <a:pt x="31" y="7"/>
                    <a:pt x="31" y="15"/>
                  </a:cubicBezTo>
                  <a:cubicBezTo>
                    <a:pt x="32" y="24"/>
                    <a:pt x="25" y="31"/>
                    <a:pt x="16" y="31"/>
                  </a:cubicBezTo>
                  <a:cubicBezTo>
                    <a:pt x="7" y="31"/>
                    <a:pt x="0" y="24"/>
                    <a:pt x="0" y="16"/>
                  </a:cubicBezTo>
                  <a:cubicBezTo>
                    <a:pt x="0" y="7"/>
                    <a:pt x="7" y="0"/>
                    <a:pt x="1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3" name="Freeform 16"/>
            <p:cNvSpPr>
              <a:spLocks/>
            </p:cNvSpPr>
            <p:nvPr/>
          </p:nvSpPr>
          <p:spPr bwMode="auto">
            <a:xfrm>
              <a:off x="989" y="3794"/>
              <a:ext cx="18" cy="18"/>
            </a:xfrm>
            <a:custGeom>
              <a:avLst/>
              <a:gdLst>
                <a:gd name="T0" fmla="*/ 15 w 31"/>
                <a:gd name="T1" fmla="*/ 0 h 32"/>
                <a:gd name="T2" fmla="*/ 31 w 31"/>
                <a:gd name="T3" fmla="*/ 16 h 32"/>
                <a:gd name="T4" fmla="*/ 16 w 31"/>
                <a:gd name="T5" fmla="*/ 32 h 32"/>
                <a:gd name="T6" fmla="*/ 0 w 31"/>
                <a:gd name="T7" fmla="*/ 16 h 32"/>
                <a:gd name="T8" fmla="*/ 15 w 31"/>
                <a:gd name="T9" fmla="*/ 0 h 32"/>
              </a:gdLst>
              <a:ahLst/>
              <a:cxnLst>
                <a:cxn ang="0">
                  <a:pos x="T0" y="T1"/>
                </a:cxn>
                <a:cxn ang="0">
                  <a:pos x="T2" y="T3"/>
                </a:cxn>
                <a:cxn ang="0">
                  <a:pos x="T4" y="T5"/>
                </a:cxn>
                <a:cxn ang="0">
                  <a:pos x="T6" y="T7"/>
                </a:cxn>
                <a:cxn ang="0">
                  <a:pos x="T8" y="T9"/>
                </a:cxn>
              </a:cxnLst>
              <a:rect l="0" t="0" r="r" b="b"/>
              <a:pathLst>
                <a:path w="31" h="32">
                  <a:moveTo>
                    <a:pt x="15" y="0"/>
                  </a:moveTo>
                  <a:cubicBezTo>
                    <a:pt x="24" y="0"/>
                    <a:pt x="31" y="7"/>
                    <a:pt x="31" y="16"/>
                  </a:cubicBezTo>
                  <a:cubicBezTo>
                    <a:pt x="31" y="25"/>
                    <a:pt x="24" y="32"/>
                    <a:pt x="16" y="32"/>
                  </a:cubicBezTo>
                  <a:cubicBezTo>
                    <a:pt x="7" y="32"/>
                    <a:pt x="0" y="25"/>
                    <a:pt x="0" y="16"/>
                  </a:cubicBezTo>
                  <a:cubicBezTo>
                    <a:pt x="0" y="8"/>
                    <a:pt x="7" y="1"/>
                    <a:pt x="1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4" name="Freeform 17"/>
            <p:cNvSpPr>
              <a:spLocks/>
            </p:cNvSpPr>
            <p:nvPr/>
          </p:nvSpPr>
          <p:spPr bwMode="auto">
            <a:xfrm>
              <a:off x="989" y="3776"/>
              <a:ext cx="18" cy="18"/>
            </a:xfrm>
            <a:custGeom>
              <a:avLst/>
              <a:gdLst>
                <a:gd name="T0" fmla="*/ 15 w 31"/>
                <a:gd name="T1" fmla="*/ 0 h 32"/>
                <a:gd name="T2" fmla="*/ 31 w 31"/>
                <a:gd name="T3" fmla="*/ 16 h 32"/>
                <a:gd name="T4" fmla="*/ 15 w 31"/>
                <a:gd name="T5" fmla="*/ 32 h 32"/>
                <a:gd name="T6" fmla="*/ 0 w 31"/>
                <a:gd name="T7" fmla="*/ 16 h 32"/>
                <a:gd name="T8" fmla="*/ 15 w 31"/>
                <a:gd name="T9" fmla="*/ 0 h 32"/>
              </a:gdLst>
              <a:ahLst/>
              <a:cxnLst>
                <a:cxn ang="0">
                  <a:pos x="T0" y="T1"/>
                </a:cxn>
                <a:cxn ang="0">
                  <a:pos x="T2" y="T3"/>
                </a:cxn>
                <a:cxn ang="0">
                  <a:pos x="T4" y="T5"/>
                </a:cxn>
                <a:cxn ang="0">
                  <a:pos x="T6" y="T7"/>
                </a:cxn>
                <a:cxn ang="0">
                  <a:pos x="T8" y="T9"/>
                </a:cxn>
              </a:cxnLst>
              <a:rect l="0" t="0" r="r" b="b"/>
              <a:pathLst>
                <a:path w="31" h="32">
                  <a:moveTo>
                    <a:pt x="15" y="0"/>
                  </a:moveTo>
                  <a:cubicBezTo>
                    <a:pt x="24" y="0"/>
                    <a:pt x="31" y="7"/>
                    <a:pt x="31" y="16"/>
                  </a:cubicBezTo>
                  <a:cubicBezTo>
                    <a:pt x="31" y="24"/>
                    <a:pt x="24" y="31"/>
                    <a:pt x="15" y="32"/>
                  </a:cubicBezTo>
                  <a:cubicBezTo>
                    <a:pt x="7" y="32"/>
                    <a:pt x="0" y="25"/>
                    <a:pt x="0" y="16"/>
                  </a:cubicBezTo>
                  <a:cubicBezTo>
                    <a:pt x="0" y="7"/>
                    <a:pt x="7" y="0"/>
                    <a:pt x="1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6" name="Freeform 18"/>
            <p:cNvSpPr>
              <a:spLocks/>
            </p:cNvSpPr>
            <p:nvPr/>
          </p:nvSpPr>
          <p:spPr bwMode="auto">
            <a:xfrm>
              <a:off x="988" y="3758"/>
              <a:ext cx="19" cy="18"/>
            </a:xfrm>
            <a:custGeom>
              <a:avLst/>
              <a:gdLst>
                <a:gd name="T0" fmla="*/ 16 w 32"/>
                <a:gd name="T1" fmla="*/ 0 h 31"/>
                <a:gd name="T2" fmla="*/ 32 w 32"/>
                <a:gd name="T3" fmla="*/ 15 h 31"/>
                <a:gd name="T4" fmla="*/ 16 w 32"/>
                <a:gd name="T5" fmla="*/ 31 h 31"/>
                <a:gd name="T6" fmla="*/ 0 w 32"/>
                <a:gd name="T7" fmla="*/ 16 h 31"/>
                <a:gd name="T8" fmla="*/ 16 w 32"/>
                <a:gd name="T9" fmla="*/ 0 h 31"/>
              </a:gdLst>
              <a:ahLst/>
              <a:cxnLst>
                <a:cxn ang="0">
                  <a:pos x="T0" y="T1"/>
                </a:cxn>
                <a:cxn ang="0">
                  <a:pos x="T2" y="T3"/>
                </a:cxn>
                <a:cxn ang="0">
                  <a:pos x="T4" y="T5"/>
                </a:cxn>
                <a:cxn ang="0">
                  <a:pos x="T6" y="T7"/>
                </a:cxn>
                <a:cxn ang="0">
                  <a:pos x="T8" y="T9"/>
                </a:cxn>
              </a:cxnLst>
              <a:rect l="0" t="0" r="r" b="b"/>
              <a:pathLst>
                <a:path w="32" h="31">
                  <a:moveTo>
                    <a:pt x="16" y="0"/>
                  </a:moveTo>
                  <a:cubicBezTo>
                    <a:pt x="25" y="0"/>
                    <a:pt x="32" y="7"/>
                    <a:pt x="32" y="15"/>
                  </a:cubicBezTo>
                  <a:cubicBezTo>
                    <a:pt x="32" y="24"/>
                    <a:pt x="25" y="31"/>
                    <a:pt x="16" y="31"/>
                  </a:cubicBezTo>
                  <a:cubicBezTo>
                    <a:pt x="8" y="31"/>
                    <a:pt x="0" y="24"/>
                    <a:pt x="0" y="16"/>
                  </a:cubicBezTo>
                  <a:cubicBezTo>
                    <a:pt x="0" y="7"/>
                    <a:pt x="7" y="0"/>
                    <a:pt x="1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31" name="Freeform 19"/>
            <p:cNvSpPr>
              <a:spLocks/>
            </p:cNvSpPr>
            <p:nvPr/>
          </p:nvSpPr>
          <p:spPr bwMode="auto">
            <a:xfrm>
              <a:off x="988" y="3740"/>
              <a:ext cx="18" cy="18"/>
            </a:xfrm>
            <a:custGeom>
              <a:avLst/>
              <a:gdLst>
                <a:gd name="T0" fmla="*/ 16 w 31"/>
                <a:gd name="T1" fmla="*/ 0 h 31"/>
                <a:gd name="T2" fmla="*/ 31 w 31"/>
                <a:gd name="T3" fmla="*/ 15 h 31"/>
                <a:gd name="T4" fmla="*/ 16 w 31"/>
                <a:gd name="T5" fmla="*/ 31 h 31"/>
                <a:gd name="T6" fmla="*/ 0 w 31"/>
                <a:gd name="T7" fmla="*/ 15 h 31"/>
                <a:gd name="T8" fmla="*/ 16 w 31"/>
                <a:gd name="T9" fmla="*/ 0 h 31"/>
              </a:gdLst>
              <a:ahLst/>
              <a:cxnLst>
                <a:cxn ang="0">
                  <a:pos x="T0" y="T1"/>
                </a:cxn>
                <a:cxn ang="0">
                  <a:pos x="T2" y="T3"/>
                </a:cxn>
                <a:cxn ang="0">
                  <a:pos x="T4" y="T5"/>
                </a:cxn>
                <a:cxn ang="0">
                  <a:pos x="T6" y="T7"/>
                </a:cxn>
                <a:cxn ang="0">
                  <a:pos x="T8" y="T9"/>
                </a:cxn>
              </a:cxnLst>
              <a:rect l="0" t="0" r="r" b="b"/>
              <a:pathLst>
                <a:path w="31" h="31">
                  <a:moveTo>
                    <a:pt x="16" y="0"/>
                  </a:moveTo>
                  <a:cubicBezTo>
                    <a:pt x="24" y="0"/>
                    <a:pt x="31" y="6"/>
                    <a:pt x="31" y="15"/>
                  </a:cubicBezTo>
                  <a:cubicBezTo>
                    <a:pt x="31" y="24"/>
                    <a:pt x="25" y="31"/>
                    <a:pt x="16" y="31"/>
                  </a:cubicBezTo>
                  <a:cubicBezTo>
                    <a:pt x="7" y="31"/>
                    <a:pt x="0" y="24"/>
                    <a:pt x="0" y="15"/>
                  </a:cubicBezTo>
                  <a:cubicBezTo>
                    <a:pt x="0" y="7"/>
                    <a:pt x="7" y="0"/>
                    <a:pt x="1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33" name="Freeform 20"/>
            <p:cNvSpPr>
              <a:spLocks/>
            </p:cNvSpPr>
            <p:nvPr/>
          </p:nvSpPr>
          <p:spPr bwMode="auto">
            <a:xfrm>
              <a:off x="1032" y="3748"/>
              <a:ext cx="417" cy="150"/>
            </a:xfrm>
            <a:custGeom>
              <a:avLst/>
              <a:gdLst>
                <a:gd name="T0" fmla="*/ 417 w 417"/>
                <a:gd name="T1" fmla="*/ 150 h 150"/>
                <a:gd name="T2" fmla="*/ 0 w 417"/>
                <a:gd name="T3" fmla="*/ 75 h 150"/>
                <a:gd name="T4" fmla="*/ 0 w 417"/>
                <a:gd name="T5" fmla="*/ 0 h 150"/>
                <a:gd name="T6" fmla="*/ 186 w 417"/>
                <a:gd name="T7" fmla="*/ 0 h 150"/>
                <a:gd name="T8" fmla="*/ 417 w 417"/>
                <a:gd name="T9" fmla="*/ 0 h 150"/>
                <a:gd name="T10" fmla="*/ 417 w 417"/>
                <a:gd name="T11" fmla="*/ 150 h 150"/>
              </a:gdLst>
              <a:ahLst/>
              <a:cxnLst>
                <a:cxn ang="0">
                  <a:pos x="T0" y="T1"/>
                </a:cxn>
                <a:cxn ang="0">
                  <a:pos x="T2" y="T3"/>
                </a:cxn>
                <a:cxn ang="0">
                  <a:pos x="T4" y="T5"/>
                </a:cxn>
                <a:cxn ang="0">
                  <a:pos x="T6" y="T7"/>
                </a:cxn>
                <a:cxn ang="0">
                  <a:pos x="T8" y="T9"/>
                </a:cxn>
                <a:cxn ang="0">
                  <a:pos x="T10" y="T11"/>
                </a:cxn>
              </a:cxnLst>
              <a:rect l="0" t="0" r="r" b="b"/>
              <a:pathLst>
                <a:path w="417" h="150">
                  <a:moveTo>
                    <a:pt x="417" y="150"/>
                  </a:moveTo>
                  <a:lnTo>
                    <a:pt x="0" y="75"/>
                  </a:lnTo>
                  <a:lnTo>
                    <a:pt x="0" y="0"/>
                  </a:lnTo>
                  <a:lnTo>
                    <a:pt x="186" y="0"/>
                  </a:lnTo>
                  <a:lnTo>
                    <a:pt x="417" y="0"/>
                  </a:lnTo>
                  <a:lnTo>
                    <a:pt x="417" y="150"/>
                  </a:lnTo>
                  <a:close/>
                </a:path>
              </a:pathLst>
            </a:custGeom>
            <a:solidFill>
              <a:srgbClr val="67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34" name="Rectangle 21"/>
            <p:cNvSpPr>
              <a:spLocks noChangeArrowheads="1"/>
            </p:cNvSpPr>
            <p:nvPr/>
          </p:nvSpPr>
          <p:spPr bwMode="auto">
            <a:xfrm>
              <a:off x="1127" y="3484"/>
              <a:ext cx="177" cy="178"/>
            </a:xfrm>
            <a:prstGeom prst="rect">
              <a:avLst/>
            </a:prstGeom>
            <a:solidFill>
              <a:srgbClr val="0083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35" name="Freeform 22"/>
            <p:cNvSpPr>
              <a:spLocks noEditPoints="1"/>
            </p:cNvSpPr>
            <p:nvPr/>
          </p:nvSpPr>
          <p:spPr bwMode="auto">
            <a:xfrm>
              <a:off x="1125" y="3482"/>
              <a:ext cx="181" cy="182"/>
            </a:xfrm>
            <a:custGeom>
              <a:avLst/>
              <a:gdLst>
                <a:gd name="T0" fmla="*/ 181 w 181"/>
                <a:gd name="T1" fmla="*/ 0 h 182"/>
                <a:gd name="T2" fmla="*/ 177 w 181"/>
                <a:gd name="T3" fmla="*/ 0 h 182"/>
                <a:gd name="T4" fmla="*/ 5 w 181"/>
                <a:gd name="T5" fmla="*/ 0 h 182"/>
                <a:gd name="T6" fmla="*/ 0 w 181"/>
                <a:gd name="T7" fmla="*/ 0 h 182"/>
                <a:gd name="T8" fmla="*/ 0 w 181"/>
                <a:gd name="T9" fmla="*/ 5 h 182"/>
                <a:gd name="T10" fmla="*/ 0 w 181"/>
                <a:gd name="T11" fmla="*/ 178 h 182"/>
                <a:gd name="T12" fmla="*/ 0 w 181"/>
                <a:gd name="T13" fmla="*/ 182 h 182"/>
                <a:gd name="T14" fmla="*/ 5 w 181"/>
                <a:gd name="T15" fmla="*/ 182 h 182"/>
                <a:gd name="T16" fmla="*/ 177 w 181"/>
                <a:gd name="T17" fmla="*/ 182 h 182"/>
                <a:gd name="T18" fmla="*/ 181 w 181"/>
                <a:gd name="T19" fmla="*/ 182 h 182"/>
                <a:gd name="T20" fmla="*/ 181 w 181"/>
                <a:gd name="T21" fmla="*/ 178 h 182"/>
                <a:gd name="T22" fmla="*/ 181 w 181"/>
                <a:gd name="T23" fmla="*/ 5 h 182"/>
                <a:gd name="T24" fmla="*/ 181 w 181"/>
                <a:gd name="T25" fmla="*/ 0 h 182"/>
                <a:gd name="T26" fmla="*/ 177 w 181"/>
                <a:gd name="T27" fmla="*/ 178 h 182"/>
                <a:gd name="T28" fmla="*/ 5 w 181"/>
                <a:gd name="T29" fmla="*/ 178 h 182"/>
                <a:gd name="T30" fmla="*/ 5 w 181"/>
                <a:gd name="T31" fmla="*/ 5 h 182"/>
                <a:gd name="T32" fmla="*/ 177 w 181"/>
                <a:gd name="T33" fmla="*/ 5 h 182"/>
                <a:gd name="T34" fmla="*/ 177 w 181"/>
                <a:gd name="T35" fmla="*/ 178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1" h="182">
                  <a:moveTo>
                    <a:pt x="181" y="0"/>
                  </a:moveTo>
                  <a:lnTo>
                    <a:pt x="177" y="0"/>
                  </a:lnTo>
                  <a:lnTo>
                    <a:pt x="5" y="0"/>
                  </a:lnTo>
                  <a:lnTo>
                    <a:pt x="0" y="0"/>
                  </a:lnTo>
                  <a:lnTo>
                    <a:pt x="0" y="5"/>
                  </a:lnTo>
                  <a:lnTo>
                    <a:pt x="0" y="178"/>
                  </a:lnTo>
                  <a:lnTo>
                    <a:pt x="0" y="182"/>
                  </a:lnTo>
                  <a:lnTo>
                    <a:pt x="5" y="182"/>
                  </a:lnTo>
                  <a:lnTo>
                    <a:pt x="177" y="182"/>
                  </a:lnTo>
                  <a:lnTo>
                    <a:pt x="181" y="182"/>
                  </a:lnTo>
                  <a:lnTo>
                    <a:pt x="181" y="178"/>
                  </a:lnTo>
                  <a:lnTo>
                    <a:pt x="181" y="5"/>
                  </a:lnTo>
                  <a:lnTo>
                    <a:pt x="181" y="0"/>
                  </a:lnTo>
                  <a:close/>
                  <a:moveTo>
                    <a:pt x="177" y="178"/>
                  </a:moveTo>
                  <a:lnTo>
                    <a:pt x="5" y="178"/>
                  </a:lnTo>
                  <a:lnTo>
                    <a:pt x="5" y="5"/>
                  </a:lnTo>
                  <a:lnTo>
                    <a:pt x="177" y="5"/>
                  </a:lnTo>
                  <a:lnTo>
                    <a:pt x="177" y="1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36" name="Freeform 23"/>
            <p:cNvSpPr>
              <a:spLocks/>
            </p:cNvSpPr>
            <p:nvPr/>
          </p:nvSpPr>
          <p:spPr bwMode="auto">
            <a:xfrm>
              <a:off x="1034" y="3325"/>
              <a:ext cx="222" cy="198"/>
            </a:xfrm>
            <a:custGeom>
              <a:avLst/>
              <a:gdLst>
                <a:gd name="T0" fmla="*/ 260 w 389"/>
                <a:gd name="T1" fmla="*/ 0 h 346"/>
                <a:gd name="T2" fmla="*/ 250 w 389"/>
                <a:gd name="T3" fmla="*/ 18 h 346"/>
                <a:gd name="T4" fmla="*/ 13 w 389"/>
                <a:gd name="T5" fmla="*/ 115 h 346"/>
                <a:gd name="T6" fmla="*/ 16 w 389"/>
                <a:gd name="T7" fmla="*/ 158 h 346"/>
                <a:gd name="T8" fmla="*/ 59 w 389"/>
                <a:gd name="T9" fmla="*/ 143 h 346"/>
                <a:gd name="T10" fmla="*/ 0 w 389"/>
                <a:gd name="T11" fmla="*/ 194 h 346"/>
                <a:gd name="T12" fmla="*/ 0 w 389"/>
                <a:gd name="T13" fmla="*/ 194 h 346"/>
                <a:gd name="T14" fmla="*/ 30 w 389"/>
                <a:gd name="T15" fmla="*/ 221 h 346"/>
                <a:gd name="T16" fmla="*/ 93 w 389"/>
                <a:gd name="T17" fmla="*/ 165 h 346"/>
                <a:gd name="T18" fmla="*/ 25 w 389"/>
                <a:gd name="T19" fmla="*/ 242 h 346"/>
                <a:gd name="T20" fmla="*/ 58 w 389"/>
                <a:gd name="T21" fmla="*/ 268 h 346"/>
                <a:gd name="T22" fmla="*/ 119 w 389"/>
                <a:gd name="T23" fmla="*/ 188 h 346"/>
                <a:gd name="T24" fmla="*/ 57 w 389"/>
                <a:gd name="T25" fmla="*/ 289 h 346"/>
                <a:gd name="T26" fmla="*/ 154 w 389"/>
                <a:gd name="T27" fmla="*/ 346 h 346"/>
                <a:gd name="T28" fmla="*/ 139 w 389"/>
                <a:gd name="T29" fmla="*/ 291 h 346"/>
                <a:gd name="T30" fmla="*/ 107 w 389"/>
                <a:gd name="T31" fmla="*/ 273 h 346"/>
                <a:gd name="T32" fmla="*/ 189 w 389"/>
                <a:gd name="T33" fmla="*/ 185 h 346"/>
                <a:gd name="T34" fmla="*/ 281 w 389"/>
                <a:gd name="T35" fmla="*/ 158 h 346"/>
                <a:gd name="T36" fmla="*/ 284 w 389"/>
                <a:gd name="T37" fmla="*/ 213 h 346"/>
                <a:gd name="T38" fmla="*/ 195 w 389"/>
                <a:gd name="T39" fmla="*/ 277 h 346"/>
                <a:gd name="T40" fmla="*/ 185 w 389"/>
                <a:gd name="T41" fmla="*/ 335 h 346"/>
                <a:gd name="T42" fmla="*/ 253 w 389"/>
                <a:gd name="T43" fmla="*/ 287 h 346"/>
                <a:gd name="T44" fmla="*/ 311 w 389"/>
                <a:gd name="T45" fmla="*/ 245 h 346"/>
                <a:gd name="T46" fmla="*/ 351 w 389"/>
                <a:gd name="T47" fmla="*/ 217 h 346"/>
                <a:gd name="T48" fmla="*/ 351 w 389"/>
                <a:gd name="T49" fmla="*/ 217 h 346"/>
                <a:gd name="T50" fmla="*/ 351 w 389"/>
                <a:gd name="T51" fmla="*/ 217 h 346"/>
                <a:gd name="T52" fmla="*/ 389 w 389"/>
                <a:gd name="T53" fmla="*/ 67 h 346"/>
                <a:gd name="T54" fmla="*/ 260 w 389"/>
                <a:gd name="T55" fmla="*/ 0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89" h="346">
                  <a:moveTo>
                    <a:pt x="260" y="0"/>
                  </a:moveTo>
                  <a:cubicBezTo>
                    <a:pt x="250" y="18"/>
                    <a:pt x="250" y="18"/>
                    <a:pt x="250" y="18"/>
                  </a:cubicBezTo>
                  <a:cubicBezTo>
                    <a:pt x="13" y="115"/>
                    <a:pt x="13" y="115"/>
                    <a:pt x="13" y="115"/>
                  </a:cubicBezTo>
                  <a:cubicBezTo>
                    <a:pt x="16" y="158"/>
                    <a:pt x="16" y="158"/>
                    <a:pt x="16" y="158"/>
                  </a:cubicBezTo>
                  <a:cubicBezTo>
                    <a:pt x="59" y="143"/>
                    <a:pt x="59" y="143"/>
                    <a:pt x="59" y="143"/>
                  </a:cubicBezTo>
                  <a:cubicBezTo>
                    <a:pt x="0" y="194"/>
                    <a:pt x="0" y="194"/>
                    <a:pt x="0" y="194"/>
                  </a:cubicBezTo>
                  <a:cubicBezTo>
                    <a:pt x="0" y="194"/>
                    <a:pt x="0" y="194"/>
                    <a:pt x="0" y="194"/>
                  </a:cubicBezTo>
                  <a:cubicBezTo>
                    <a:pt x="30" y="221"/>
                    <a:pt x="30" y="221"/>
                    <a:pt x="30" y="221"/>
                  </a:cubicBezTo>
                  <a:cubicBezTo>
                    <a:pt x="93" y="165"/>
                    <a:pt x="93" y="165"/>
                    <a:pt x="93" y="165"/>
                  </a:cubicBezTo>
                  <a:cubicBezTo>
                    <a:pt x="25" y="242"/>
                    <a:pt x="25" y="242"/>
                    <a:pt x="25" y="242"/>
                  </a:cubicBezTo>
                  <a:cubicBezTo>
                    <a:pt x="58" y="268"/>
                    <a:pt x="58" y="268"/>
                    <a:pt x="58" y="268"/>
                  </a:cubicBezTo>
                  <a:cubicBezTo>
                    <a:pt x="119" y="188"/>
                    <a:pt x="119" y="188"/>
                    <a:pt x="119" y="188"/>
                  </a:cubicBezTo>
                  <a:cubicBezTo>
                    <a:pt x="57" y="289"/>
                    <a:pt x="57" y="289"/>
                    <a:pt x="57" y="289"/>
                  </a:cubicBezTo>
                  <a:cubicBezTo>
                    <a:pt x="154" y="346"/>
                    <a:pt x="154" y="346"/>
                    <a:pt x="154" y="346"/>
                  </a:cubicBezTo>
                  <a:cubicBezTo>
                    <a:pt x="165" y="327"/>
                    <a:pt x="158" y="302"/>
                    <a:pt x="139" y="291"/>
                  </a:cubicBezTo>
                  <a:cubicBezTo>
                    <a:pt x="107" y="273"/>
                    <a:pt x="107" y="273"/>
                    <a:pt x="107" y="273"/>
                  </a:cubicBezTo>
                  <a:cubicBezTo>
                    <a:pt x="189" y="185"/>
                    <a:pt x="189" y="185"/>
                    <a:pt x="189" y="185"/>
                  </a:cubicBezTo>
                  <a:cubicBezTo>
                    <a:pt x="189" y="185"/>
                    <a:pt x="231" y="127"/>
                    <a:pt x="281" y="158"/>
                  </a:cubicBezTo>
                  <a:cubicBezTo>
                    <a:pt x="303" y="172"/>
                    <a:pt x="308" y="195"/>
                    <a:pt x="284" y="213"/>
                  </a:cubicBezTo>
                  <a:cubicBezTo>
                    <a:pt x="195" y="277"/>
                    <a:pt x="195" y="277"/>
                    <a:pt x="195" y="277"/>
                  </a:cubicBezTo>
                  <a:cubicBezTo>
                    <a:pt x="176" y="290"/>
                    <a:pt x="171" y="316"/>
                    <a:pt x="185" y="335"/>
                  </a:cubicBezTo>
                  <a:cubicBezTo>
                    <a:pt x="253" y="287"/>
                    <a:pt x="253" y="287"/>
                    <a:pt x="253" y="287"/>
                  </a:cubicBezTo>
                  <a:cubicBezTo>
                    <a:pt x="311" y="245"/>
                    <a:pt x="311" y="245"/>
                    <a:pt x="311" y="245"/>
                  </a:cubicBezTo>
                  <a:cubicBezTo>
                    <a:pt x="351" y="217"/>
                    <a:pt x="351" y="217"/>
                    <a:pt x="351" y="217"/>
                  </a:cubicBezTo>
                  <a:cubicBezTo>
                    <a:pt x="351" y="217"/>
                    <a:pt x="351" y="217"/>
                    <a:pt x="351" y="217"/>
                  </a:cubicBezTo>
                  <a:cubicBezTo>
                    <a:pt x="351" y="217"/>
                    <a:pt x="351" y="217"/>
                    <a:pt x="351" y="217"/>
                  </a:cubicBezTo>
                  <a:cubicBezTo>
                    <a:pt x="389" y="67"/>
                    <a:pt x="389" y="67"/>
                    <a:pt x="389" y="67"/>
                  </a:cubicBezTo>
                  <a:lnTo>
                    <a:pt x="260" y="0"/>
                  </a:lnTo>
                  <a:close/>
                </a:path>
              </a:pathLst>
            </a:custGeom>
            <a:solidFill>
              <a:srgbClr val="F9E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37" name="Freeform 24"/>
            <p:cNvSpPr>
              <a:spLocks/>
            </p:cNvSpPr>
            <p:nvPr/>
          </p:nvSpPr>
          <p:spPr bwMode="auto">
            <a:xfrm>
              <a:off x="1165" y="3160"/>
              <a:ext cx="118" cy="186"/>
            </a:xfrm>
            <a:custGeom>
              <a:avLst/>
              <a:gdLst>
                <a:gd name="T0" fmla="*/ 0 w 118"/>
                <a:gd name="T1" fmla="*/ 0 h 186"/>
                <a:gd name="T2" fmla="*/ 22 w 118"/>
                <a:gd name="T3" fmla="*/ 137 h 186"/>
                <a:gd name="T4" fmla="*/ 115 w 118"/>
                <a:gd name="T5" fmla="*/ 186 h 186"/>
                <a:gd name="T6" fmla="*/ 118 w 118"/>
                <a:gd name="T7" fmla="*/ 0 h 186"/>
                <a:gd name="T8" fmla="*/ 0 w 118"/>
                <a:gd name="T9" fmla="*/ 0 h 186"/>
              </a:gdLst>
              <a:ahLst/>
              <a:cxnLst>
                <a:cxn ang="0">
                  <a:pos x="T0" y="T1"/>
                </a:cxn>
                <a:cxn ang="0">
                  <a:pos x="T2" y="T3"/>
                </a:cxn>
                <a:cxn ang="0">
                  <a:pos x="T4" y="T5"/>
                </a:cxn>
                <a:cxn ang="0">
                  <a:pos x="T6" y="T7"/>
                </a:cxn>
                <a:cxn ang="0">
                  <a:pos x="T8" y="T9"/>
                </a:cxn>
              </a:cxnLst>
              <a:rect l="0" t="0" r="r" b="b"/>
              <a:pathLst>
                <a:path w="118" h="186">
                  <a:moveTo>
                    <a:pt x="0" y="0"/>
                  </a:moveTo>
                  <a:lnTo>
                    <a:pt x="22" y="137"/>
                  </a:lnTo>
                  <a:lnTo>
                    <a:pt x="115" y="186"/>
                  </a:lnTo>
                  <a:lnTo>
                    <a:pt x="118" y="0"/>
                  </a:lnTo>
                  <a:lnTo>
                    <a:pt x="0" y="0"/>
                  </a:lnTo>
                  <a:close/>
                </a:path>
              </a:pathLst>
            </a:custGeom>
            <a:solidFill>
              <a:srgbClr val="F78C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38" name="Freeform 25"/>
            <p:cNvSpPr>
              <a:spLocks/>
            </p:cNvSpPr>
            <p:nvPr/>
          </p:nvSpPr>
          <p:spPr bwMode="auto">
            <a:xfrm>
              <a:off x="1178" y="3299"/>
              <a:ext cx="100" cy="69"/>
            </a:xfrm>
            <a:custGeom>
              <a:avLst/>
              <a:gdLst>
                <a:gd name="T0" fmla="*/ 0 w 100"/>
                <a:gd name="T1" fmla="*/ 23 h 69"/>
                <a:gd name="T2" fmla="*/ 12 w 100"/>
                <a:gd name="T3" fmla="*/ 0 h 69"/>
                <a:gd name="T4" fmla="*/ 100 w 100"/>
                <a:gd name="T5" fmla="*/ 46 h 69"/>
                <a:gd name="T6" fmla="*/ 88 w 100"/>
                <a:gd name="T7" fmla="*/ 69 h 69"/>
                <a:gd name="T8" fmla="*/ 0 w 100"/>
                <a:gd name="T9" fmla="*/ 23 h 69"/>
              </a:gdLst>
              <a:ahLst/>
              <a:cxnLst>
                <a:cxn ang="0">
                  <a:pos x="T0" y="T1"/>
                </a:cxn>
                <a:cxn ang="0">
                  <a:pos x="T2" y="T3"/>
                </a:cxn>
                <a:cxn ang="0">
                  <a:pos x="T4" y="T5"/>
                </a:cxn>
                <a:cxn ang="0">
                  <a:pos x="T6" y="T7"/>
                </a:cxn>
                <a:cxn ang="0">
                  <a:pos x="T8" y="T9"/>
                </a:cxn>
              </a:cxnLst>
              <a:rect l="0" t="0" r="r" b="b"/>
              <a:pathLst>
                <a:path w="100" h="69">
                  <a:moveTo>
                    <a:pt x="0" y="23"/>
                  </a:moveTo>
                  <a:lnTo>
                    <a:pt x="12" y="0"/>
                  </a:lnTo>
                  <a:lnTo>
                    <a:pt x="100" y="46"/>
                  </a:lnTo>
                  <a:lnTo>
                    <a:pt x="88" y="69"/>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39" name="Freeform 26"/>
            <p:cNvSpPr>
              <a:spLocks/>
            </p:cNvSpPr>
            <p:nvPr/>
          </p:nvSpPr>
          <p:spPr bwMode="auto">
            <a:xfrm>
              <a:off x="1175" y="3620"/>
              <a:ext cx="223" cy="198"/>
            </a:xfrm>
            <a:custGeom>
              <a:avLst/>
              <a:gdLst>
                <a:gd name="T0" fmla="*/ 360 w 390"/>
                <a:gd name="T1" fmla="*/ 124 h 346"/>
                <a:gd name="T2" fmla="*/ 297 w 390"/>
                <a:gd name="T3" fmla="*/ 181 h 346"/>
                <a:gd name="T4" fmla="*/ 364 w 390"/>
                <a:gd name="T5" fmla="*/ 103 h 346"/>
                <a:gd name="T6" fmla="*/ 332 w 390"/>
                <a:gd name="T7" fmla="*/ 77 h 346"/>
                <a:gd name="T8" fmla="*/ 271 w 390"/>
                <a:gd name="T9" fmla="*/ 158 h 346"/>
                <a:gd name="T10" fmla="*/ 333 w 390"/>
                <a:gd name="T11" fmla="*/ 56 h 346"/>
                <a:gd name="T12" fmla="*/ 235 w 390"/>
                <a:gd name="T13" fmla="*/ 0 h 346"/>
                <a:gd name="T14" fmla="*/ 250 w 390"/>
                <a:gd name="T15" fmla="*/ 54 h 346"/>
                <a:gd name="T16" fmla="*/ 282 w 390"/>
                <a:gd name="T17" fmla="*/ 73 h 346"/>
                <a:gd name="T18" fmla="*/ 201 w 390"/>
                <a:gd name="T19" fmla="*/ 161 h 346"/>
                <a:gd name="T20" fmla="*/ 109 w 390"/>
                <a:gd name="T21" fmla="*/ 188 h 346"/>
                <a:gd name="T22" fmla="*/ 105 w 390"/>
                <a:gd name="T23" fmla="*/ 132 h 346"/>
                <a:gd name="T24" fmla="*/ 195 w 390"/>
                <a:gd name="T25" fmla="*/ 69 h 346"/>
                <a:gd name="T26" fmla="*/ 205 w 390"/>
                <a:gd name="T27" fmla="*/ 11 h 346"/>
                <a:gd name="T28" fmla="*/ 137 w 390"/>
                <a:gd name="T29" fmla="*/ 59 h 346"/>
                <a:gd name="T30" fmla="*/ 78 w 390"/>
                <a:gd name="T31" fmla="*/ 101 h 346"/>
                <a:gd name="T32" fmla="*/ 39 w 390"/>
                <a:gd name="T33" fmla="*/ 129 h 346"/>
                <a:gd name="T34" fmla="*/ 39 w 390"/>
                <a:gd name="T35" fmla="*/ 129 h 346"/>
                <a:gd name="T36" fmla="*/ 39 w 390"/>
                <a:gd name="T37" fmla="*/ 129 h 346"/>
                <a:gd name="T38" fmla="*/ 0 w 390"/>
                <a:gd name="T39" fmla="*/ 279 h 346"/>
                <a:gd name="T40" fmla="*/ 130 w 390"/>
                <a:gd name="T41" fmla="*/ 346 h 346"/>
                <a:gd name="T42" fmla="*/ 140 w 390"/>
                <a:gd name="T43" fmla="*/ 328 h 346"/>
                <a:gd name="T44" fmla="*/ 377 w 390"/>
                <a:gd name="T45" fmla="*/ 231 h 346"/>
                <a:gd name="T46" fmla="*/ 374 w 390"/>
                <a:gd name="T47" fmla="*/ 188 h 346"/>
                <a:gd name="T48" fmla="*/ 331 w 390"/>
                <a:gd name="T49" fmla="*/ 203 h 346"/>
                <a:gd name="T50" fmla="*/ 390 w 390"/>
                <a:gd name="T51" fmla="*/ 152 h 346"/>
                <a:gd name="T52" fmla="*/ 360 w 390"/>
                <a:gd name="T53" fmla="*/ 124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90" h="346">
                  <a:moveTo>
                    <a:pt x="360" y="124"/>
                  </a:moveTo>
                  <a:cubicBezTo>
                    <a:pt x="297" y="181"/>
                    <a:pt x="297" y="181"/>
                    <a:pt x="297" y="181"/>
                  </a:cubicBezTo>
                  <a:cubicBezTo>
                    <a:pt x="364" y="103"/>
                    <a:pt x="364" y="103"/>
                    <a:pt x="364" y="103"/>
                  </a:cubicBezTo>
                  <a:cubicBezTo>
                    <a:pt x="332" y="77"/>
                    <a:pt x="332" y="77"/>
                    <a:pt x="332" y="77"/>
                  </a:cubicBezTo>
                  <a:cubicBezTo>
                    <a:pt x="271" y="158"/>
                    <a:pt x="271" y="158"/>
                    <a:pt x="271" y="158"/>
                  </a:cubicBezTo>
                  <a:cubicBezTo>
                    <a:pt x="333" y="56"/>
                    <a:pt x="333" y="56"/>
                    <a:pt x="333" y="56"/>
                  </a:cubicBezTo>
                  <a:cubicBezTo>
                    <a:pt x="235" y="0"/>
                    <a:pt x="235" y="0"/>
                    <a:pt x="235" y="0"/>
                  </a:cubicBezTo>
                  <a:cubicBezTo>
                    <a:pt x="224" y="19"/>
                    <a:pt x="231" y="44"/>
                    <a:pt x="250" y="54"/>
                  </a:cubicBezTo>
                  <a:cubicBezTo>
                    <a:pt x="282" y="73"/>
                    <a:pt x="282" y="73"/>
                    <a:pt x="282" y="73"/>
                  </a:cubicBezTo>
                  <a:cubicBezTo>
                    <a:pt x="201" y="161"/>
                    <a:pt x="201" y="161"/>
                    <a:pt x="201" y="161"/>
                  </a:cubicBezTo>
                  <a:cubicBezTo>
                    <a:pt x="201" y="161"/>
                    <a:pt x="158" y="218"/>
                    <a:pt x="109" y="188"/>
                  </a:cubicBezTo>
                  <a:cubicBezTo>
                    <a:pt x="87" y="174"/>
                    <a:pt x="82" y="151"/>
                    <a:pt x="105" y="132"/>
                  </a:cubicBezTo>
                  <a:cubicBezTo>
                    <a:pt x="195" y="69"/>
                    <a:pt x="195" y="69"/>
                    <a:pt x="195" y="69"/>
                  </a:cubicBezTo>
                  <a:cubicBezTo>
                    <a:pt x="214" y="56"/>
                    <a:pt x="218" y="30"/>
                    <a:pt x="205" y="11"/>
                  </a:cubicBezTo>
                  <a:cubicBezTo>
                    <a:pt x="137" y="59"/>
                    <a:pt x="137" y="59"/>
                    <a:pt x="137" y="59"/>
                  </a:cubicBezTo>
                  <a:cubicBezTo>
                    <a:pt x="78" y="101"/>
                    <a:pt x="78" y="101"/>
                    <a:pt x="78" y="101"/>
                  </a:cubicBezTo>
                  <a:cubicBezTo>
                    <a:pt x="39" y="129"/>
                    <a:pt x="39" y="129"/>
                    <a:pt x="39" y="129"/>
                  </a:cubicBezTo>
                  <a:cubicBezTo>
                    <a:pt x="39" y="129"/>
                    <a:pt x="39" y="129"/>
                    <a:pt x="39" y="129"/>
                  </a:cubicBezTo>
                  <a:cubicBezTo>
                    <a:pt x="39" y="129"/>
                    <a:pt x="39" y="129"/>
                    <a:pt x="39" y="129"/>
                  </a:cubicBezTo>
                  <a:cubicBezTo>
                    <a:pt x="0" y="279"/>
                    <a:pt x="0" y="279"/>
                    <a:pt x="0" y="279"/>
                  </a:cubicBezTo>
                  <a:cubicBezTo>
                    <a:pt x="130" y="346"/>
                    <a:pt x="130" y="346"/>
                    <a:pt x="130" y="346"/>
                  </a:cubicBezTo>
                  <a:cubicBezTo>
                    <a:pt x="140" y="328"/>
                    <a:pt x="140" y="328"/>
                    <a:pt x="140" y="328"/>
                  </a:cubicBezTo>
                  <a:cubicBezTo>
                    <a:pt x="377" y="231"/>
                    <a:pt x="377" y="231"/>
                    <a:pt x="377" y="231"/>
                  </a:cubicBezTo>
                  <a:cubicBezTo>
                    <a:pt x="374" y="188"/>
                    <a:pt x="374" y="188"/>
                    <a:pt x="374" y="188"/>
                  </a:cubicBezTo>
                  <a:cubicBezTo>
                    <a:pt x="331" y="203"/>
                    <a:pt x="331" y="203"/>
                    <a:pt x="331" y="203"/>
                  </a:cubicBezTo>
                  <a:cubicBezTo>
                    <a:pt x="390" y="152"/>
                    <a:pt x="390" y="152"/>
                    <a:pt x="390" y="152"/>
                  </a:cubicBezTo>
                  <a:lnTo>
                    <a:pt x="360" y="124"/>
                  </a:lnTo>
                  <a:close/>
                </a:path>
              </a:pathLst>
            </a:custGeom>
            <a:solidFill>
              <a:srgbClr val="F9E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40" name="Freeform 27"/>
            <p:cNvSpPr>
              <a:spLocks/>
            </p:cNvSpPr>
            <p:nvPr/>
          </p:nvSpPr>
          <p:spPr bwMode="auto">
            <a:xfrm>
              <a:off x="1152" y="3797"/>
              <a:ext cx="117" cy="181"/>
            </a:xfrm>
            <a:custGeom>
              <a:avLst/>
              <a:gdLst>
                <a:gd name="T0" fmla="*/ 117 w 117"/>
                <a:gd name="T1" fmla="*/ 181 h 181"/>
                <a:gd name="T2" fmla="*/ 92 w 117"/>
                <a:gd name="T3" fmla="*/ 48 h 181"/>
                <a:gd name="T4" fmla="*/ 0 w 117"/>
                <a:gd name="T5" fmla="*/ 0 h 181"/>
                <a:gd name="T6" fmla="*/ 0 w 117"/>
                <a:gd name="T7" fmla="*/ 181 h 181"/>
                <a:gd name="T8" fmla="*/ 117 w 117"/>
                <a:gd name="T9" fmla="*/ 181 h 181"/>
              </a:gdLst>
              <a:ahLst/>
              <a:cxnLst>
                <a:cxn ang="0">
                  <a:pos x="T0" y="T1"/>
                </a:cxn>
                <a:cxn ang="0">
                  <a:pos x="T2" y="T3"/>
                </a:cxn>
                <a:cxn ang="0">
                  <a:pos x="T4" y="T5"/>
                </a:cxn>
                <a:cxn ang="0">
                  <a:pos x="T6" y="T7"/>
                </a:cxn>
                <a:cxn ang="0">
                  <a:pos x="T8" y="T9"/>
                </a:cxn>
              </a:cxnLst>
              <a:rect l="0" t="0" r="r" b="b"/>
              <a:pathLst>
                <a:path w="117" h="181">
                  <a:moveTo>
                    <a:pt x="117" y="181"/>
                  </a:moveTo>
                  <a:lnTo>
                    <a:pt x="92" y="48"/>
                  </a:lnTo>
                  <a:lnTo>
                    <a:pt x="0" y="0"/>
                  </a:lnTo>
                  <a:lnTo>
                    <a:pt x="0" y="181"/>
                  </a:lnTo>
                  <a:lnTo>
                    <a:pt x="117" y="181"/>
                  </a:lnTo>
                  <a:close/>
                </a:path>
              </a:pathLst>
            </a:custGeom>
            <a:solidFill>
              <a:srgbClr val="EA0B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41" name="Freeform 28"/>
            <p:cNvSpPr>
              <a:spLocks/>
            </p:cNvSpPr>
            <p:nvPr/>
          </p:nvSpPr>
          <p:spPr bwMode="auto">
            <a:xfrm>
              <a:off x="1153" y="3775"/>
              <a:ext cx="100" cy="68"/>
            </a:xfrm>
            <a:custGeom>
              <a:avLst/>
              <a:gdLst>
                <a:gd name="T0" fmla="*/ 100 w 100"/>
                <a:gd name="T1" fmla="*/ 45 h 68"/>
                <a:gd name="T2" fmla="*/ 88 w 100"/>
                <a:gd name="T3" fmla="*/ 68 h 68"/>
                <a:gd name="T4" fmla="*/ 0 w 100"/>
                <a:gd name="T5" fmla="*/ 23 h 68"/>
                <a:gd name="T6" fmla="*/ 12 w 100"/>
                <a:gd name="T7" fmla="*/ 0 h 68"/>
                <a:gd name="T8" fmla="*/ 100 w 100"/>
                <a:gd name="T9" fmla="*/ 45 h 68"/>
              </a:gdLst>
              <a:ahLst/>
              <a:cxnLst>
                <a:cxn ang="0">
                  <a:pos x="T0" y="T1"/>
                </a:cxn>
                <a:cxn ang="0">
                  <a:pos x="T2" y="T3"/>
                </a:cxn>
                <a:cxn ang="0">
                  <a:pos x="T4" y="T5"/>
                </a:cxn>
                <a:cxn ang="0">
                  <a:pos x="T6" y="T7"/>
                </a:cxn>
                <a:cxn ang="0">
                  <a:pos x="T8" y="T9"/>
                </a:cxn>
              </a:cxnLst>
              <a:rect l="0" t="0" r="r" b="b"/>
              <a:pathLst>
                <a:path w="100" h="68">
                  <a:moveTo>
                    <a:pt x="100" y="45"/>
                  </a:moveTo>
                  <a:lnTo>
                    <a:pt x="88" y="68"/>
                  </a:lnTo>
                  <a:lnTo>
                    <a:pt x="0" y="23"/>
                  </a:lnTo>
                  <a:lnTo>
                    <a:pt x="12" y="0"/>
                  </a:lnTo>
                  <a:lnTo>
                    <a:pt x="100" y="4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42" name="Freeform 29"/>
            <p:cNvSpPr>
              <a:spLocks/>
            </p:cNvSpPr>
            <p:nvPr/>
          </p:nvSpPr>
          <p:spPr bwMode="auto">
            <a:xfrm>
              <a:off x="549" y="3711"/>
              <a:ext cx="134" cy="265"/>
            </a:xfrm>
            <a:custGeom>
              <a:avLst/>
              <a:gdLst>
                <a:gd name="T0" fmla="*/ 154 w 233"/>
                <a:gd name="T1" fmla="*/ 463 h 463"/>
                <a:gd name="T2" fmla="*/ 232 w 233"/>
                <a:gd name="T3" fmla="*/ 354 h 463"/>
                <a:gd name="T4" fmla="*/ 233 w 233"/>
                <a:gd name="T5" fmla="*/ 193 h 463"/>
                <a:gd name="T6" fmla="*/ 194 w 233"/>
                <a:gd name="T7" fmla="*/ 225 h 463"/>
                <a:gd name="T8" fmla="*/ 194 w 233"/>
                <a:gd name="T9" fmla="*/ 313 h 463"/>
                <a:gd name="T10" fmla="*/ 161 w 233"/>
                <a:gd name="T11" fmla="*/ 336 h 463"/>
                <a:gd name="T12" fmla="*/ 137 w 233"/>
                <a:gd name="T13" fmla="*/ 264 h 463"/>
                <a:gd name="T14" fmla="*/ 158 w 233"/>
                <a:gd name="T15" fmla="*/ 168 h 463"/>
                <a:gd name="T16" fmla="*/ 188 w 233"/>
                <a:gd name="T17" fmla="*/ 173 h 463"/>
                <a:gd name="T18" fmla="*/ 221 w 233"/>
                <a:gd name="T19" fmla="*/ 143 h 463"/>
                <a:gd name="T20" fmla="*/ 145 w 233"/>
                <a:gd name="T21" fmla="*/ 131 h 463"/>
                <a:gd name="T22" fmla="*/ 107 w 233"/>
                <a:gd name="T23" fmla="*/ 217 h 463"/>
                <a:gd name="T24" fmla="*/ 132 w 233"/>
                <a:gd name="T25" fmla="*/ 141 h 463"/>
                <a:gd name="T26" fmla="*/ 189 w 233"/>
                <a:gd name="T27" fmla="*/ 55 h 463"/>
                <a:gd name="T28" fmla="*/ 181 w 233"/>
                <a:gd name="T29" fmla="*/ 11 h 463"/>
                <a:gd name="T30" fmla="*/ 100 w 233"/>
                <a:gd name="T31" fmla="*/ 132 h 463"/>
                <a:gd name="T32" fmla="*/ 80 w 233"/>
                <a:gd name="T33" fmla="*/ 211 h 463"/>
                <a:gd name="T34" fmla="*/ 88 w 233"/>
                <a:gd name="T35" fmla="*/ 144 h 463"/>
                <a:gd name="T36" fmla="*/ 136 w 233"/>
                <a:gd name="T37" fmla="*/ 42 h 463"/>
                <a:gd name="T38" fmla="*/ 121 w 233"/>
                <a:gd name="T39" fmla="*/ 0 h 463"/>
                <a:gd name="T40" fmla="*/ 57 w 233"/>
                <a:gd name="T41" fmla="*/ 137 h 463"/>
                <a:gd name="T42" fmla="*/ 57 w 233"/>
                <a:gd name="T43" fmla="*/ 137 h 463"/>
                <a:gd name="T44" fmla="*/ 51 w 233"/>
                <a:gd name="T45" fmla="*/ 199 h 463"/>
                <a:gd name="T46" fmla="*/ 41 w 233"/>
                <a:gd name="T47" fmla="*/ 164 h 463"/>
                <a:gd name="T48" fmla="*/ 61 w 233"/>
                <a:gd name="T49" fmla="*/ 103 h 463"/>
                <a:gd name="T50" fmla="*/ 40 w 233"/>
                <a:gd name="T51" fmla="*/ 63 h 463"/>
                <a:gd name="T52" fmla="*/ 6 w 233"/>
                <a:gd name="T53" fmla="*/ 170 h 463"/>
                <a:gd name="T54" fmla="*/ 6 w 233"/>
                <a:gd name="T55" fmla="*/ 170 h 463"/>
                <a:gd name="T56" fmla="*/ 6 w 233"/>
                <a:gd name="T57" fmla="*/ 170 h 463"/>
                <a:gd name="T58" fmla="*/ 63 w 233"/>
                <a:gd name="T59" fmla="*/ 376 h 463"/>
                <a:gd name="T60" fmla="*/ 0 w 233"/>
                <a:gd name="T61" fmla="*/ 462 h 463"/>
                <a:gd name="T62" fmla="*/ 154 w 233"/>
                <a:gd name="T63" fmla="*/ 463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3" h="463">
                  <a:moveTo>
                    <a:pt x="154" y="463"/>
                  </a:moveTo>
                  <a:cubicBezTo>
                    <a:pt x="232" y="354"/>
                    <a:pt x="232" y="354"/>
                    <a:pt x="232" y="354"/>
                  </a:cubicBezTo>
                  <a:cubicBezTo>
                    <a:pt x="233" y="193"/>
                    <a:pt x="233" y="193"/>
                    <a:pt x="233" y="193"/>
                  </a:cubicBezTo>
                  <a:cubicBezTo>
                    <a:pt x="214" y="193"/>
                    <a:pt x="195" y="207"/>
                    <a:pt x="194" y="225"/>
                  </a:cubicBezTo>
                  <a:cubicBezTo>
                    <a:pt x="194" y="313"/>
                    <a:pt x="194" y="313"/>
                    <a:pt x="194" y="313"/>
                  </a:cubicBezTo>
                  <a:cubicBezTo>
                    <a:pt x="194" y="313"/>
                    <a:pt x="182" y="323"/>
                    <a:pt x="161" y="336"/>
                  </a:cubicBezTo>
                  <a:cubicBezTo>
                    <a:pt x="119" y="318"/>
                    <a:pt x="137" y="264"/>
                    <a:pt x="137" y="264"/>
                  </a:cubicBezTo>
                  <a:cubicBezTo>
                    <a:pt x="158" y="168"/>
                    <a:pt x="158" y="168"/>
                    <a:pt x="158" y="168"/>
                  </a:cubicBezTo>
                  <a:cubicBezTo>
                    <a:pt x="188" y="173"/>
                    <a:pt x="188" y="173"/>
                    <a:pt x="188" y="173"/>
                  </a:cubicBezTo>
                  <a:cubicBezTo>
                    <a:pt x="205" y="174"/>
                    <a:pt x="220" y="160"/>
                    <a:pt x="221" y="143"/>
                  </a:cubicBezTo>
                  <a:cubicBezTo>
                    <a:pt x="145" y="131"/>
                    <a:pt x="145" y="131"/>
                    <a:pt x="145" y="131"/>
                  </a:cubicBezTo>
                  <a:cubicBezTo>
                    <a:pt x="107" y="217"/>
                    <a:pt x="107" y="217"/>
                    <a:pt x="107" y="217"/>
                  </a:cubicBezTo>
                  <a:cubicBezTo>
                    <a:pt x="132" y="141"/>
                    <a:pt x="132" y="141"/>
                    <a:pt x="132" y="141"/>
                  </a:cubicBezTo>
                  <a:cubicBezTo>
                    <a:pt x="189" y="55"/>
                    <a:pt x="189" y="55"/>
                    <a:pt x="189" y="55"/>
                  </a:cubicBezTo>
                  <a:cubicBezTo>
                    <a:pt x="199" y="40"/>
                    <a:pt x="195" y="21"/>
                    <a:pt x="181" y="11"/>
                  </a:cubicBezTo>
                  <a:cubicBezTo>
                    <a:pt x="100" y="132"/>
                    <a:pt x="100" y="132"/>
                    <a:pt x="100" y="132"/>
                  </a:cubicBezTo>
                  <a:cubicBezTo>
                    <a:pt x="80" y="211"/>
                    <a:pt x="80" y="211"/>
                    <a:pt x="80" y="211"/>
                  </a:cubicBezTo>
                  <a:cubicBezTo>
                    <a:pt x="88" y="144"/>
                    <a:pt x="88" y="144"/>
                    <a:pt x="88" y="144"/>
                  </a:cubicBezTo>
                  <a:cubicBezTo>
                    <a:pt x="136" y="42"/>
                    <a:pt x="136" y="42"/>
                    <a:pt x="136" y="42"/>
                  </a:cubicBezTo>
                  <a:cubicBezTo>
                    <a:pt x="143" y="26"/>
                    <a:pt x="136" y="7"/>
                    <a:pt x="121" y="0"/>
                  </a:cubicBezTo>
                  <a:cubicBezTo>
                    <a:pt x="57" y="137"/>
                    <a:pt x="57" y="137"/>
                    <a:pt x="57" y="137"/>
                  </a:cubicBezTo>
                  <a:cubicBezTo>
                    <a:pt x="57" y="137"/>
                    <a:pt x="57" y="137"/>
                    <a:pt x="57" y="137"/>
                  </a:cubicBezTo>
                  <a:cubicBezTo>
                    <a:pt x="51" y="199"/>
                    <a:pt x="51" y="199"/>
                    <a:pt x="51" y="199"/>
                  </a:cubicBezTo>
                  <a:cubicBezTo>
                    <a:pt x="41" y="164"/>
                    <a:pt x="41" y="164"/>
                    <a:pt x="41" y="164"/>
                  </a:cubicBezTo>
                  <a:cubicBezTo>
                    <a:pt x="61" y="103"/>
                    <a:pt x="61" y="103"/>
                    <a:pt x="61" y="103"/>
                  </a:cubicBezTo>
                  <a:cubicBezTo>
                    <a:pt x="66" y="86"/>
                    <a:pt x="57" y="68"/>
                    <a:pt x="40" y="63"/>
                  </a:cubicBezTo>
                  <a:cubicBezTo>
                    <a:pt x="6" y="170"/>
                    <a:pt x="6" y="170"/>
                    <a:pt x="6" y="170"/>
                  </a:cubicBezTo>
                  <a:cubicBezTo>
                    <a:pt x="6" y="170"/>
                    <a:pt x="6" y="170"/>
                    <a:pt x="6" y="170"/>
                  </a:cubicBezTo>
                  <a:cubicBezTo>
                    <a:pt x="6" y="170"/>
                    <a:pt x="6" y="170"/>
                    <a:pt x="6" y="170"/>
                  </a:cubicBezTo>
                  <a:cubicBezTo>
                    <a:pt x="63" y="376"/>
                    <a:pt x="63" y="376"/>
                    <a:pt x="63" y="376"/>
                  </a:cubicBezTo>
                  <a:cubicBezTo>
                    <a:pt x="0" y="462"/>
                    <a:pt x="0" y="462"/>
                    <a:pt x="0" y="462"/>
                  </a:cubicBezTo>
                  <a:lnTo>
                    <a:pt x="154" y="463"/>
                  </a:lnTo>
                  <a:close/>
                </a:path>
              </a:pathLst>
            </a:custGeom>
            <a:solidFill>
              <a:srgbClr val="F9E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43" name="Freeform 30"/>
            <p:cNvSpPr>
              <a:spLocks/>
            </p:cNvSpPr>
            <p:nvPr/>
          </p:nvSpPr>
          <p:spPr bwMode="auto">
            <a:xfrm>
              <a:off x="577" y="3804"/>
              <a:ext cx="23" cy="10"/>
            </a:xfrm>
            <a:custGeom>
              <a:avLst/>
              <a:gdLst>
                <a:gd name="T0" fmla="*/ 1 w 23"/>
                <a:gd name="T1" fmla="*/ 0 h 10"/>
                <a:gd name="T2" fmla="*/ 23 w 23"/>
                <a:gd name="T3" fmla="*/ 1 h 10"/>
                <a:gd name="T4" fmla="*/ 22 w 23"/>
                <a:gd name="T5" fmla="*/ 10 h 10"/>
                <a:gd name="T6" fmla="*/ 0 w 23"/>
                <a:gd name="T7" fmla="*/ 8 h 10"/>
                <a:gd name="T8" fmla="*/ 1 w 23"/>
                <a:gd name="T9" fmla="*/ 0 h 10"/>
              </a:gdLst>
              <a:ahLst/>
              <a:cxnLst>
                <a:cxn ang="0">
                  <a:pos x="T0" y="T1"/>
                </a:cxn>
                <a:cxn ang="0">
                  <a:pos x="T2" y="T3"/>
                </a:cxn>
                <a:cxn ang="0">
                  <a:pos x="T4" y="T5"/>
                </a:cxn>
                <a:cxn ang="0">
                  <a:pos x="T6" y="T7"/>
                </a:cxn>
                <a:cxn ang="0">
                  <a:pos x="T8" y="T9"/>
                </a:cxn>
              </a:cxnLst>
              <a:rect l="0" t="0" r="r" b="b"/>
              <a:pathLst>
                <a:path w="23" h="10">
                  <a:moveTo>
                    <a:pt x="1" y="0"/>
                  </a:moveTo>
                  <a:lnTo>
                    <a:pt x="23" y="1"/>
                  </a:lnTo>
                  <a:lnTo>
                    <a:pt x="22" y="10"/>
                  </a:lnTo>
                  <a:lnTo>
                    <a:pt x="0" y="8"/>
                  </a:lnTo>
                  <a:lnTo>
                    <a:pt x="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spTree>
    <p:extLst>
      <p:ext uri="{BB962C8B-B14F-4D97-AF65-F5344CB8AC3E}">
        <p14:creationId xmlns:p14="http://schemas.microsoft.com/office/powerpoint/2010/main" val="6538117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900"/>
                                        <p:tgtEl>
                                          <p:spTgt spid="28"/>
                                        </p:tgtEl>
                                      </p:cBhvr>
                                    </p:animEffect>
                                  </p:childTnLst>
                                </p:cTn>
                              </p:par>
                              <p:par>
                                <p:cTn id="8" presetID="63" presetClass="path" presetSubtype="0" decel="100000" fill="hold" nodeType="withEffect">
                                  <p:stCondLst>
                                    <p:cond delay="500"/>
                                  </p:stCondLst>
                                  <p:childTnLst>
                                    <p:animMotion origin="layout" path="M -0.02413 1.07127E-6 L 4.77406E-6 1.07127E-6 " pathEditMode="relative" rAng="0" ptsTypes="AA">
                                      <p:cBhvr>
                                        <p:cTn id="9" dur="900" fill="hold"/>
                                        <p:tgtEl>
                                          <p:spTgt spid="28"/>
                                        </p:tgtEl>
                                        <p:attrNameLst>
                                          <p:attrName>ppt_x</p:attrName>
                                          <p:attrName>ppt_y</p:attrName>
                                        </p:attrNameLst>
                                      </p:cBhvr>
                                      <p:rCtr x="1200" y="0"/>
                                    </p:animMotion>
                                  </p:childTnLst>
                                </p:cTn>
                              </p:par>
                              <p:par>
                                <p:cTn id="10" presetID="6" presetClass="emph" presetSubtype="0" accel="100000" autoRev="1" fill="hold" nodeType="withEffect">
                                  <p:stCondLst>
                                    <p:cond delay="0"/>
                                  </p:stCondLst>
                                  <p:childTnLst>
                                    <p:animScale>
                                      <p:cBhvr>
                                        <p:cTn id="11" dur="500" fill="hold"/>
                                        <p:tgtEl>
                                          <p:spTgt spid="28"/>
                                        </p:tgtEl>
                                      </p:cBhvr>
                                      <p:by x="80000" y="80000"/>
                                    </p:animScale>
                                  </p:childTnLst>
                                </p:cTn>
                              </p:par>
                              <p:par>
                                <p:cTn id="12" presetID="10" presetClass="entr" presetSubtype="0" fill="hold" nodeType="withEffect">
                                  <p:stCondLst>
                                    <p:cond delay="600"/>
                                  </p:stCondLst>
                                  <p:childTnLst>
                                    <p:set>
                                      <p:cBhvr>
                                        <p:cTn id="13" dur="1" fill="hold">
                                          <p:stCondLst>
                                            <p:cond delay="0"/>
                                          </p:stCondLst>
                                        </p:cTn>
                                        <p:tgtEl>
                                          <p:spTgt spid="29"/>
                                        </p:tgtEl>
                                        <p:attrNameLst>
                                          <p:attrName>style.visibility</p:attrName>
                                        </p:attrNameLst>
                                      </p:cBhvr>
                                      <p:to>
                                        <p:strVal val="visible"/>
                                      </p:to>
                                    </p:set>
                                    <p:animEffect transition="in" filter="fade">
                                      <p:cBhvr>
                                        <p:cTn id="14" dur="900"/>
                                        <p:tgtEl>
                                          <p:spTgt spid="29"/>
                                        </p:tgtEl>
                                      </p:cBhvr>
                                    </p:animEffect>
                                  </p:childTnLst>
                                </p:cTn>
                              </p:par>
                              <p:par>
                                <p:cTn id="15" presetID="63" presetClass="path" presetSubtype="0" decel="100000" fill="hold" nodeType="withEffect">
                                  <p:stCondLst>
                                    <p:cond delay="600"/>
                                  </p:stCondLst>
                                  <p:childTnLst>
                                    <p:animMotion origin="layout" path="M -0.02413 4.8434E-6 L 4.77406E-6 4.8434E-6 " pathEditMode="relative" rAng="0" ptsTypes="AA">
                                      <p:cBhvr>
                                        <p:cTn id="16" dur="900" fill="hold"/>
                                        <p:tgtEl>
                                          <p:spTgt spid="29"/>
                                        </p:tgtEl>
                                        <p:attrNameLst>
                                          <p:attrName>ppt_x</p:attrName>
                                          <p:attrName>ppt_y</p:attrName>
                                        </p:attrNameLst>
                                      </p:cBhvr>
                                      <p:rCtr x="1200" y="0"/>
                                    </p:animMotion>
                                  </p:childTnLst>
                                </p:cTn>
                              </p:par>
                              <p:par>
                                <p:cTn id="17" presetID="6" presetClass="emph" presetSubtype="0" accel="100000" autoRev="1" fill="hold" nodeType="withEffect">
                                  <p:stCondLst>
                                    <p:cond delay="0"/>
                                  </p:stCondLst>
                                  <p:childTnLst>
                                    <p:animScale>
                                      <p:cBhvr>
                                        <p:cTn id="18" dur="600" fill="hold"/>
                                        <p:tgtEl>
                                          <p:spTgt spid="29"/>
                                        </p:tgtEl>
                                      </p:cBhvr>
                                      <p:by x="80000" y="80000"/>
                                    </p:animScale>
                                  </p:childTnLst>
                                </p:cTn>
                              </p:par>
                              <p:par>
                                <p:cTn id="19" presetID="2" presetClass="entr" presetSubtype="2" decel="100000" fill="hold" grpId="0" nodeType="withEffect">
                                  <p:stCondLst>
                                    <p:cond delay="1000"/>
                                  </p:stCondLst>
                                  <p:childTnLst>
                                    <p:set>
                                      <p:cBhvr>
                                        <p:cTn id="20" dur="1" fill="hold">
                                          <p:stCondLst>
                                            <p:cond delay="0"/>
                                          </p:stCondLst>
                                        </p:cTn>
                                        <p:tgtEl>
                                          <p:spTgt spid="20"/>
                                        </p:tgtEl>
                                        <p:attrNameLst>
                                          <p:attrName>style.visibility</p:attrName>
                                        </p:attrNameLst>
                                      </p:cBhvr>
                                      <p:to>
                                        <p:strVal val="visible"/>
                                      </p:to>
                                    </p:set>
                                    <p:anim calcmode="lin" valueType="num">
                                      <p:cBhvr additive="base">
                                        <p:cTn id="21" dur="500" fill="hold"/>
                                        <p:tgtEl>
                                          <p:spTgt spid="20"/>
                                        </p:tgtEl>
                                        <p:attrNameLst>
                                          <p:attrName>ppt_x</p:attrName>
                                        </p:attrNameLst>
                                      </p:cBhvr>
                                      <p:tavLst>
                                        <p:tav tm="0">
                                          <p:val>
                                            <p:strVal val="1+#ppt_w/2"/>
                                          </p:val>
                                        </p:tav>
                                        <p:tav tm="100000">
                                          <p:val>
                                            <p:strVal val="#ppt_x"/>
                                          </p:val>
                                        </p:tav>
                                      </p:tavLst>
                                    </p:anim>
                                    <p:anim calcmode="lin" valueType="num">
                                      <p:cBhvr additive="base">
                                        <p:cTn id="22" dur="500" fill="hold"/>
                                        <p:tgtEl>
                                          <p:spTgt spid="20"/>
                                        </p:tgtEl>
                                        <p:attrNameLst>
                                          <p:attrName>ppt_y</p:attrName>
                                        </p:attrNameLst>
                                      </p:cBhvr>
                                      <p:tavLst>
                                        <p:tav tm="0">
                                          <p:val>
                                            <p:strVal val="#ppt_y"/>
                                          </p:val>
                                        </p:tav>
                                        <p:tav tm="100000">
                                          <p:val>
                                            <p:strVal val="#ppt_y"/>
                                          </p:val>
                                        </p:tav>
                                      </p:tavLst>
                                    </p:anim>
                                  </p:childTnLst>
                                </p:cTn>
                              </p:par>
                              <p:par>
                                <p:cTn id="23" presetID="2" presetClass="entr" presetSubtype="2" decel="100000" fill="hold" grpId="0" nodeType="withEffect">
                                  <p:stCondLst>
                                    <p:cond delay="1100"/>
                                  </p:stCondLst>
                                  <p:childTnLst>
                                    <p:set>
                                      <p:cBhvr>
                                        <p:cTn id="24" dur="1" fill="hold">
                                          <p:stCondLst>
                                            <p:cond delay="0"/>
                                          </p:stCondLst>
                                        </p:cTn>
                                        <p:tgtEl>
                                          <p:spTgt spid="21"/>
                                        </p:tgtEl>
                                        <p:attrNameLst>
                                          <p:attrName>style.visibility</p:attrName>
                                        </p:attrNameLst>
                                      </p:cBhvr>
                                      <p:to>
                                        <p:strVal val="visible"/>
                                      </p:to>
                                    </p:set>
                                    <p:anim calcmode="lin" valueType="num">
                                      <p:cBhvr additive="base">
                                        <p:cTn id="25" dur="500" fill="hold"/>
                                        <p:tgtEl>
                                          <p:spTgt spid="21"/>
                                        </p:tgtEl>
                                        <p:attrNameLst>
                                          <p:attrName>ppt_x</p:attrName>
                                        </p:attrNameLst>
                                      </p:cBhvr>
                                      <p:tavLst>
                                        <p:tav tm="0">
                                          <p:val>
                                            <p:strVal val="1+#ppt_w/2"/>
                                          </p:val>
                                        </p:tav>
                                        <p:tav tm="100000">
                                          <p:val>
                                            <p:strVal val="#ppt_x"/>
                                          </p:val>
                                        </p:tav>
                                      </p:tavLst>
                                    </p:anim>
                                    <p:anim calcmode="lin" valueType="num">
                                      <p:cBhvr additive="base">
                                        <p:cTn id="26" dur="500" fill="hold"/>
                                        <p:tgtEl>
                                          <p:spTgt spid="21"/>
                                        </p:tgtEl>
                                        <p:attrNameLst>
                                          <p:attrName>ppt_y</p:attrName>
                                        </p:attrNameLst>
                                      </p:cBhvr>
                                      <p:tavLst>
                                        <p:tav tm="0">
                                          <p:val>
                                            <p:strVal val="#ppt_y"/>
                                          </p:val>
                                        </p:tav>
                                        <p:tav tm="100000">
                                          <p:val>
                                            <p:strVal val="#ppt_y"/>
                                          </p:val>
                                        </p:tav>
                                      </p:tavLst>
                                    </p:anim>
                                  </p:childTnLst>
                                </p:cTn>
                              </p:par>
                              <p:par>
                                <p:cTn id="27" presetID="2" presetClass="entr" presetSubtype="2" decel="100000" fill="hold" grpId="0" nodeType="withEffect">
                                  <p:stCondLst>
                                    <p:cond delay="1200"/>
                                  </p:stCondLst>
                                  <p:childTnLst>
                                    <p:set>
                                      <p:cBhvr>
                                        <p:cTn id="28" dur="1" fill="hold">
                                          <p:stCondLst>
                                            <p:cond delay="0"/>
                                          </p:stCondLst>
                                        </p:cTn>
                                        <p:tgtEl>
                                          <p:spTgt spid="22"/>
                                        </p:tgtEl>
                                        <p:attrNameLst>
                                          <p:attrName>style.visibility</p:attrName>
                                        </p:attrNameLst>
                                      </p:cBhvr>
                                      <p:to>
                                        <p:strVal val="visible"/>
                                      </p:to>
                                    </p:set>
                                    <p:anim calcmode="lin" valueType="num">
                                      <p:cBhvr additive="base">
                                        <p:cTn id="29" dur="500" fill="hold"/>
                                        <p:tgtEl>
                                          <p:spTgt spid="22"/>
                                        </p:tgtEl>
                                        <p:attrNameLst>
                                          <p:attrName>ppt_x</p:attrName>
                                        </p:attrNameLst>
                                      </p:cBhvr>
                                      <p:tavLst>
                                        <p:tav tm="0">
                                          <p:val>
                                            <p:strVal val="1+#ppt_w/2"/>
                                          </p:val>
                                        </p:tav>
                                        <p:tav tm="100000">
                                          <p:val>
                                            <p:strVal val="#ppt_x"/>
                                          </p:val>
                                        </p:tav>
                                      </p:tavLst>
                                    </p:anim>
                                    <p:anim calcmode="lin" valueType="num">
                                      <p:cBhvr additive="base">
                                        <p:cTn id="30" dur="500" fill="hold"/>
                                        <p:tgtEl>
                                          <p:spTgt spid="2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animBg="1"/>
      <p:bldP spid="22"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0" y="1380"/>
            <a:ext cx="6094413" cy="685524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269171" y="2104657"/>
            <a:ext cx="5825243" cy="899303"/>
          </a:xfrm>
        </p:spPr>
        <p:txBody>
          <a:bodyPr/>
          <a:lstStyle/>
          <a:p>
            <a:r>
              <a:rPr lang="en-US" dirty="0" smtClean="0">
                <a:gradFill>
                  <a:gsLst>
                    <a:gs pos="1250">
                      <a:schemeClr val="bg1"/>
                    </a:gs>
                    <a:gs pos="100000">
                      <a:schemeClr val="bg1"/>
                    </a:gs>
                  </a:gsLst>
                  <a:lin ang="5400000" scaled="0"/>
                </a:gradFill>
              </a:rPr>
              <a:t>Connect to Office 365 services</a:t>
            </a:r>
            <a:endParaRPr lang="en-US" dirty="0">
              <a:gradFill>
                <a:gsLst>
                  <a:gs pos="1250">
                    <a:schemeClr val="bg1"/>
                  </a:gs>
                  <a:gs pos="100000">
                    <a:schemeClr val="bg1"/>
                  </a:gs>
                </a:gsLst>
                <a:lin ang="5400000" scaled="0"/>
              </a:gradFill>
            </a:endParaRPr>
          </a:p>
        </p:txBody>
      </p:sp>
      <p:pic>
        <p:nvPicPr>
          <p:cNvPr id="17" name="Picture 1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49983" y="3145915"/>
            <a:ext cx="2188440" cy="475985"/>
          </a:xfrm>
          <a:prstGeom prst="rect">
            <a:avLst/>
          </a:prstGeom>
        </p:spPr>
      </p:pic>
      <p:cxnSp>
        <p:nvCxnSpPr>
          <p:cNvPr id="20" name="Straight Arrow Connector 19"/>
          <p:cNvCxnSpPr/>
          <p:nvPr/>
        </p:nvCxnSpPr>
        <p:spPr>
          <a:xfrm>
            <a:off x="8420465" y="3383907"/>
            <a:ext cx="904852" cy="0"/>
          </a:xfrm>
          <a:prstGeom prst="straightConnector1">
            <a:avLst/>
          </a:prstGeom>
          <a:ln w="44450">
            <a:solidFill>
              <a:schemeClr val="tx1">
                <a:lumMod val="60000"/>
                <a:lumOff val="40000"/>
              </a:schemeClr>
            </a:solidFill>
            <a:prstDash val="sysDot"/>
            <a:headEnd type="triangle" w="lg" len="med"/>
            <a:tailEnd type="triangle" w="lg" len="med"/>
          </a:ln>
        </p:spPr>
        <p:style>
          <a:lnRef idx="1">
            <a:schemeClr val="accent1"/>
          </a:lnRef>
          <a:fillRef idx="0">
            <a:schemeClr val="accent1"/>
          </a:fillRef>
          <a:effectRef idx="0">
            <a:schemeClr val="accent1"/>
          </a:effectRef>
          <a:fontRef idx="minor">
            <a:schemeClr val="tx1"/>
          </a:fontRef>
        </p:style>
      </p:cxnSp>
      <p:grpSp>
        <p:nvGrpSpPr>
          <p:cNvPr id="151" name="Group 150"/>
          <p:cNvGrpSpPr/>
          <p:nvPr/>
        </p:nvGrpSpPr>
        <p:grpSpPr>
          <a:xfrm>
            <a:off x="6852695" y="2075763"/>
            <a:ext cx="1343103" cy="2635632"/>
            <a:chOff x="904876" y="2800737"/>
            <a:chExt cx="1370392" cy="2689182"/>
          </a:xfrm>
        </p:grpSpPr>
        <p:grpSp>
          <p:nvGrpSpPr>
            <p:cNvPr id="7" name="Group 6"/>
            <p:cNvGrpSpPr/>
            <p:nvPr/>
          </p:nvGrpSpPr>
          <p:grpSpPr>
            <a:xfrm>
              <a:off x="904876" y="2800737"/>
              <a:ext cx="1370392" cy="2689182"/>
              <a:chOff x="6771331" y="5225872"/>
              <a:chExt cx="856313" cy="1680381"/>
            </a:xfrm>
          </p:grpSpPr>
          <p:sp>
            <p:nvSpPr>
              <p:cNvPr id="8" name="Rectangle 7"/>
              <p:cNvSpPr/>
              <p:nvPr/>
            </p:nvSpPr>
            <p:spPr bwMode="auto">
              <a:xfrm>
                <a:off x="6854966" y="5292433"/>
                <a:ext cx="671514" cy="1250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p:nvSpPr>
            <p:spPr bwMode="auto">
              <a:xfrm>
                <a:off x="6854966" y="6694648"/>
                <a:ext cx="671514" cy="12504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0" name="Group 9"/>
              <p:cNvGrpSpPr/>
              <p:nvPr/>
            </p:nvGrpSpPr>
            <p:grpSpPr>
              <a:xfrm>
                <a:off x="6771331" y="5225872"/>
                <a:ext cx="856313" cy="1680381"/>
                <a:chOff x="4605046" y="4596753"/>
                <a:chExt cx="856313" cy="1680381"/>
              </a:xfrm>
            </p:grpSpPr>
            <p:sp>
              <p:nvSpPr>
                <p:cNvPr id="11" name="Freeform 5"/>
                <p:cNvSpPr>
                  <a:spLocks noEditPoints="1"/>
                </p:cNvSpPr>
                <p:nvPr/>
              </p:nvSpPr>
              <p:spPr bwMode="auto">
                <a:xfrm>
                  <a:off x="4605046" y="4596753"/>
                  <a:ext cx="856313" cy="1680381"/>
                </a:xfrm>
                <a:custGeom>
                  <a:avLst/>
                  <a:gdLst>
                    <a:gd name="T0" fmla="*/ 196 w 200"/>
                    <a:gd name="T1" fmla="*/ 294 h 394"/>
                    <a:gd name="T2" fmla="*/ 196 w 200"/>
                    <a:gd name="T3" fmla="*/ 8 h 394"/>
                    <a:gd name="T4" fmla="*/ 188 w 200"/>
                    <a:gd name="T5" fmla="*/ 0 h 394"/>
                    <a:gd name="T6" fmla="*/ 8 w 200"/>
                    <a:gd name="T7" fmla="*/ 0 h 394"/>
                    <a:gd name="T8" fmla="*/ 0 w 200"/>
                    <a:gd name="T9" fmla="*/ 8 h 394"/>
                    <a:gd name="T10" fmla="*/ 0 w 200"/>
                    <a:gd name="T11" fmla="*/ 386 h 394"/>
                    <a:gd name="T12" fmla="*/ 8 w 200"/>
                    <a:gd name="T13" fmla="*/ 394 h 394"/>
                    <a:gd name="T14" fmla="*/ 188 w 200"/>
                    <a:gd name="T15" fmla="*/ 394 h 394"/>
                    <a:gd name="T16" fmla="*/ 196 w 200"/>
                    <a:gd name="T17" fmla="*/ 386 h 394"/>
                    <a:gd name="T18" fmla="*/ 196 w 200"/>
                    <a:gd name="T19" fmla="*/ 339 h 394"/>
                    <a:gd name="T20" fmla="*/ 200 w 200"/>
                    <a:gd name="T21" fmla="*/ 339 h 394"/>
                    <a:gd name="T22" fmla="*/ 200 w 200"/>
                    <a:gd name="T23" fmla="*/ 294 h 394"/>
                    <a:gd name="T24" fmla="*/ 196 w 200"/>
                    <a:gd name="T25" fmla="*/ 294 h 394"/>
                    <a:gd name="T26" fmla="*/ 77 w 200"/>
                    <a:gd name="T27" fmla="*/ 22 h 394"/>
                    <a:gd name="T28" fmla="*/ 123 w 200"/>
                    <a:gd name="T29" fmla="*/ 22 h 394"/>
                    <a:gd name="T30" fmla="*/ 127 w 200"/>
                    <a:gd name="T31" fmla="*/ 26 h 394"/>
                    <a:gd name="T32" fmla="*/ 123 w 200"/>
                    <a:gd name="T33" fmla="*/ 30 h 394"/>
                    <a:gd name="T34" fmla="*/ 77 w 200"/>
                    <a:gd name="T35" fmla="*/ 30 h 394"/>
                    <a:gd name="T36" fmla="*/ 73 w 200"/>
                    <a:gd name="T37" fmla="*/ 26 h 394"/>
                    <a:gd name="T38" fmla="*/ 77 w 200"/>
                    <a:gd name="T39" fmla="*/ 22 h 394"/>
                    <a:gd name="T40" fmla="*/ 106 w 200"/>
                    <a:gd name="T41" fmla="*/ 370 h 394"/>
                    <a:gd name="T42" fmla="*/ 88 w 200"/>
                    <a:gd name="T43" fmla="*/ 368 h 394"/>
                    <a:gd name="T44" fmla="*/ 88 w 200"/>
                    <a:gd name="T45" fmla="*/ 354 h 394"/>
                    <a:gd name="T46" fmla="*/ 106 w 200"/>
                    <a:gd name="T47" fmla="*/ 352 h 394"/>
                    <a:gd name="T48" fmla="*/ 106 w 200"/>
                    <a:gd name="T49" fmla="*/ 370 h 394"/>
                    <a:gd name="T50" fmla="*/ 176 w 200"/>
                    <a:gd name="T51" fmla="*/ 331 h 394"/>
                    <a:gd name="T52" fmla="*/ 20 w 200"/>
                    <a:gd name="T53" fmla="*/ 331 h 394"/>
                    <a:gd name="T54" fmla="*/ 20 w 200"/>
                    <a:gd name="T55" fmla="*/ 63 h 394"/>
                    <a:gd name="T56" fmla="*/ 176 w 200"/>
                    <a:gd name="T57" fmla="*/ 63 h 394"/>
                    <a:gd name="T58" fmla="*/ 176 w 200"/>
                    <a:gd name="T59" fmla="*/ 331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0" h="394">
                      <a:moveTo>
                        <a:pt x="196" y="294"/>
                      </a:moveTo>
                      <a:cubicBezTo>
                        <a:pt x="196" y="8"/>
                        <a:pt x="196" y="8"/>
                        <a:pt x="196" y="8"/>
                      </a:cubicBezTo>
                      <a:cubicBezTo>
                        <a:pt x="196" y="4"/>
                        <a:pt x="192" y="0"/>
                        <a:pt x="188" y="0"/>
                      </a:cubicBezTo>
                      <a:cubicBezTo>
                        <a:pt x="8" y="0"/>
                        <a:pt x="8" y="0"/>
                        <a:pt x="8" y="0"/>
                      </a:cubicBezTo>
                      <a:cubicBezTo>
                        <a:pt x="4" y="0"/>
                        <a:pt x="0" y="4"/>
                        <a:pt x="0" y="8"/>
                      </a:cubicBezTo>
                      <a:cubicBezTo>
                        <a:pt x="0" y="386"/>
                        <a:pt x="0" y="386"/>
                        <a:pt x="0" y="386"/>
                      </a:cubicBezTo>
                      <a:cubicBezTo>
                        <a:pt x="0" y="391"/>
                        <a:pt x="4" y="394"/>
                        <a:pt x="8" y="394"/>
                      </a:cubicBezTo>
                      <a:cubicBezTo>
                        <a:pt x="188" y="394"/>
                        <a:pt x="188" y="394"/>
                        <a:pt x="188" y="394"/>
                      </a:cubicBezTo>
                      <a:cubicBezTo>
                        <a:pt x="192" y="394"/>
                        <a:pt x="196" y="391"/>
                        <a:pt x="196" y="386"/>
                      </a:cubicBezTo>
                      <a:cubicBezTo>
                        <a:pt x="196" y="339"/>
                        <a:pt x="196" y="339"/>
                        <a:pt x="196" y="339"/>
                      </a:cubicBezTo>
                      <a:cubicBezTo>
                        <a:pt x="200" y="339"/>
                        <a:pt x="200" y="339"/>
                        <a:pt x="200" y="339"/>
                      </a:cubicBezTo>
                      <a:cubicBezTo>
                        <a:pt x="200" y="294"/>
                        <a:pt x="200" y="294"/>
                        <a:pt x="200" y="294"/>
                      </a:cubicBezTo>
                      <a:cubicBezTo>
                        <a:pt x="196" y="294"/>
                        <a:pt x="196" y="294"/>
                        <a:pt x="196" y="294"/>
                      </a:cubicBezTo>
                      <a:moveTo>
                        <a:pt x="77" y="22"/>
                      </a:moveTo>
                      <a:cubicBezTo>
                        <a:pt x="123" y="22"/>
                        <a:pt x="123" y="22"/>
                        <a:pt x="123" y="22"/>
                      </a:cubicBezTo>
                      <a:cubicBezTo>
                        <a:pt x="125" y="22"/>
                        <a:pt x="127" y="24"/>
                        <a:pt x="127" y="26"/>
                      </a:cubicBezTo>
                      <a:cubicBezTo>
                        <a:pt x="127" y="28"/>
                        <a:pt x="125" y="30"/>
                        <a:pt x="123" y="30"/>
                      </a:cubicBezTo>
                      <a:cubicBezTo>
                        <a:pt x="77" y="30"/>
                        <a:pt x="77" y="30"/>
                        <a:pt x="77" y="30"/>
                      </a:cubicBezTo>
                      <a:cubicBezTo>
                        <a:pt x="75" y="30"/>
                        <a:pt x="73" y="28"/>
                        <a:pt x="73" y="26"/>
                      </a:cubicBezTo>
                      <a:cubicBezTo>
                        <a:pt x="73" y="24"/>
                        <a:pt x="75" y="22"/>
                        <a:pt x="77" y="22"/>
                      </a:cubicBezTo>
                      <a:moveTo>
                        <a:pt x="106" y="370"/>
                      </a:moveTo>
                      <a:cubicBezTo>
                        <a:pt x="88" y="368"/>
                        <a:pt x="88" y="368"/>
                        <a:pt x="88" y="368"/>
                      </a:cubicBezTo>
                      <a:cubicBezTo>
                        <a:pt x="88" y="354"/>
                        <a:pt x="88" y="354"/>
                        <a:pt x="88" y="354"/>
                      </a:cubicBezTo>
                      <a:cubicBezTo>
                        <a:pt x="106" y="352"/>
                        <a:pt x="106" y="352"/>
                        <a:pt x="106" y="352"/>
                      </a:cubicBezTo>
                      <a:cubicBezTo>
                        <a:pt x="106" y="370"/>
                        <a:pt x="106" y="370"/>
                        <a:pt x="106" y="370"/>
                      </a:cubicBezTo>
                      <a:moveTo>
                        <a:pt x="176" y="331"/>
                      </a:moveTo>
                      <a:cubicBezTo>
                        <a:pt x="20" y="331"/>
                        <a:pt x="20" y="331"/>
                        <a:pt x="20" y="331"/>
                      </a:cubicBezTo>
                      <a:cubicBezTo>
                        <a:pt x="20" y="63"/>
                        <a:pt x="20" y="63"/>
                        <a:pt x="20" y="63"/>
                      </a:cubicBezTo>
                      <a:cubicBezTo>
                        <a:pt x="176" y="63"/>
                        <a:pt x="176" y="63"/>
                        <a:pt x="176" y="63"/>
                      </a:cubicBezTo>
                      <a:cubicBezTo>
                        <a:pt x="176" y="331"/>
                        <a:pt x="176" y="331"/>
                        <a:pt x="176" y="331"/>
                      </a:cubicBezTo>
                    </a:path>
                  </a:pathLst>
                </a:custGeom>
                <a:solidFill>
                  <a:schemeClr val="tx1"/>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a:gradFill>
                      <a:gsLst>
                        <a:gs pos="0">
                          <a:srgbClr val="FFFFFF"/>
                        </a:gs>
                        <a:gs pos="100000">
                          <a:srgbClr val="FFFFFF"/>
                        </a:gs>
                      </a:gsLst>
                      <a:lin ang="5400000" scaled="0"/>
                    </a:gradFill>
                    <a:ea typeface="Segoe UI" pitchFamily="34" charset="0"/>
                    <a:cs typeface="Segoe UI" pitchFamily="34" charset="0"/>
                  </a:endParaRPr>
                </a:p>
              </p:txBody>
            </p:sp>
            <p:sp>
              <p:nvSpPr>
                <p:cNvPr id="12" name="Freeform 7"/>
                <p:cNvSpPr>
                  <a:spLocks/>
                </p:cNvSpPr>
                <p:nvPr/>
              </p:nvSpPr>
              <p:spPr bwMode="auto">
                <a:xfrm>
                  <a:off x="4689244" y="5510393"/>
                  <a:ext cx="670002" cy="498023"/>
                </a:xfrm>
                <a:custGeom>
                  <a:avLst/>
                  <a:gdLst>
                    <a:gd name="T0" fmla="*/ 374 w 374"/>
                    <a:gd name="T1" fmla="*/ 0 h 278"/>
                    <a:gd name="T2" fmla="*/ 0 w 374"/>
                    <a:gd name="T3" fmla="*/ 209 h 278"/>
                    <a:gd name="T4" fmla="*/ 0 w 374"/>
                    <a:gd name="T5" fmla="*/ 278 h 278"/>
                    <a:gd name="T6" fmla="*/ 374 w 374"/>
                    <a:gd name="T7" fmla="*/ 278 h 278"/>
                    <a:gd name="T8" fmla="*/ 374 w 374"/>
                    <a:gd name="T9" fmla="*/ 0 h 278"/>
                  </a:gdLst>
                  <a:ahLst/>
                  <a:cxnLst>
                    <a:cxn ang="0">
                      <a:pos x="T0" y="T1"/>
                    </a:cxn>
                    <a:cxn ang="0">
                      <a:pos x="T2" y="T3"/>
                    </a:cxn>
                    <a:cxn ang="0">
                      <a:pos x="T4" y="T5"/>
                    </a:cxn>
                    <a:cxn ang="0">
                      <a:pos x="T6" y="T7"/>
                    </a:cxn>
                    <a:cxn ang="0">
                      <a:pos x="T8" y="T9"/>
                    </a:cxn>
                  </a:cxnLst>
                  <a:rect l="0" t="0" r="r" b="b"/>
                  <a:pathLst>
                    <a:path w="374" h="278">
                      <a:moveTo>
                        <a:pt x="374" y="0"/>
                      </a:moveTo>
                      <a:lnTo>
                        <a:pt x="0" y="209"/>
                      </a:lnTo>
                      <a:lnTo>
                        <a:pt x="0" y="278"/>
                      </a:lnTo>
                      <a:lnTo>
                        <a:pt x="374" y="278"/>
                      </a:lnTo>
                      <a:lnTo>
                        <a:pt x="37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grpSp>
          <p:nvGrpSpPr>
            <p:cNvPr id="28" name="Group 27"/>
            <p:cNvGrpSpPr/>
            <p:nvPr/>
          </p:nvGrpSpPr>
          <p:grpSpPr bwMode="gray">
            <a:xfrm>
              <a:off x="1261574" y="3758681"/>
              <a:ext cx="631596" cy="631594"/>
              <a:chOff x="2659018" y="0"/>
              <a:chExt cx="6669132" cy="6669132"/>
            </a:xfrm>
          </p:grpSpPr>
          <p:grpSp>
            <p:nvGrpSpPr>
              <p:cNvPr id="29" name="Group 28"/>
              <p:cNvGrpSpPr/>
              <p:nvPr/>
            </p:nvGrpSpPr>
            <p:grpSpPr bwMode="gray">
              <a:xfrm>
                <a:off x="2659018" y="0"/>
                <a:ext cx="6669132" cy="6669132"/>
                <a:chOff x="1353639" y="994954"/>
                <a:chExt cx="3657273" cy="3657273"/>
              </a:xfrm>
            </p:grpSpPr>
            <p:sp>
              <p:nvSpPr>
                <p:cNvPr id="31" name="Oval 30"/>
                <p:cNvSpPr/>
                <p:nvPr/>
              </p:nvSpPr>
              <p:spPr bwMode="gray">
                <a:xfrm>
                  <a:off x="1353639" y="994954"/>
                  <a:ext cx="3657273" cy="3657273"/>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450"/>
                  <a:endParaRPr lang="en-US" sz="1735" dirty="0">
                    <a:solidFill>
                      <a:srgbClr val="FFFFFF"/>
                    </a:solidFill>
                  </a:endParaRPr>
                </a:p>
              </p:txBody>
            </p:sp>
            <p:sp>
              <p:nvSpPr>
                <p:cNvPr id="32" name="Oval 31"/>
                <p:cNvSpPr/>
                <p:nvPr/>
              </p:nvSpPr>
              <p:spPr bwMode="gray">
                <a:xfrm>
                  <a:off x="1985971" y="1627286"/>
                  <a:ext cx="2392609" cy="239260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450"/>
                  <a:endParaRPr lang="en-US" sz="1735" dirty="0">
                    <a:solidFill>
                      <a:srgbClr val="FFFFFF"/>
                    </a:solidFill>
                  </a:endParaRPr>
                </a:p>
              </p:txBody>
            </p:sp>
          </p:grpSp>
          <p:pic>
            <p:nvPicPr>
              <p:cNvPr id="30" name="Picture 29"/>
              <p:cNvPicPr>
                <a:picLocks noChangeAspect="1"/>
              </p:cNvPicPr>
              <p:nvPr/>
            </p:nvPicPr>
            <p:blipFill>
              <a:blip r:embed="rId4"/>
              <a:stretch>
                <a:fillRect/>
              </a:stretch>
            </p:blipFill>
            <p:spPr bwMode="gray">
              <a:xfrm>
                <a:off x="4265827" y="2127820"/>
                <a:ext cx="3421148" cy="2132019"/>
              </a:xfrm>
              <a:prstGeom prst="rect">
                <a:avLst/>
              </a:prstGeom>
            </p:spPr>
          </p:pic>
        </p:grpSp>
      </p:grpSp>
    </p:spTree>
    <p:extLst>
      <p:ext uri="{BB962C8B-B14F-4D97-AF65-F5344CB8AC3E}">
        <p14:creationId xmlns:p14="http://schemas.microsoft.com/office/powerpoint/2010/main" val="2111802580"/>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448096" y="2084715"/>
            <a:ext cx="3719194" cy="3584765"/>
            <a:chOff x="457200" y="2125663"/>
            <a:chExt cx="3794760" cy="3657600"/>
          </a:xfrm>
        </p:grpSpPr>
        <p:sp>
          <p:nvSpPr>
            <p:cNvPr id="2" name="Rectangle 1"/>
            <p:cNvSpPr/>
            <p:nvPr/>
          </p:nvSpPr>
          <p:spPr bwMode="auto">
            <a:xfrm>
              <a:off x="457200" y="2125663"/>
              <a:ext cx="3794760" cy="365760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pPr>
              <a:r>
                <a:rPr lang="en-US" sz="3136" dirty="0">
                  <a:gradFill>
                    <a:gsLst>
                      <a:gs pos="0">
                        <a:srgbClr val="FFFFFF"/>
                      </a:gs>
                      <a:gs pos="100000">
                        <a:srgbClr val="FFFFFF"/>
                      </a:gs>
                    </a:gsLst>
                    <a:lin ang="5400000" scaled="0"/>
                  </a:gradFill>
                  <a:latin typeface="Segoe UI Light"/>
                  <a:ea typeface="Segoe UI" pitchFamily="34" charset="0"/>
                  <a:cs typeface="Segoe UI" pitchFamily="34" charset="0"/>
                </a:rPr>
                <a:t>Designed for </a:t>
              </a:r>
              <a:r>
                <a:rPr lang="en-US" sz="3136"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openness</a:t>
              </a:r>
              <a:r>
                <a:rPr lang="en-US" sz="3136" dirty="0">
                  <a:gradFill>
                    <a:gsLst>
                      <a:gs pos="0">
                        <a:srgbClr val="FFFFFF"/>
                      </a:gs>
                      <a:gs pos="100000">
                        <a:srgbClr val="FFFFFF"/>
                      </a:gs>
                    </a:gsLst>
                    <a:lin ang="5400000" scaled="0"/>
                  </a:gradFill>
                  <a:latin typeface="Segoe UI Light"/>
                  <a:ea typeface="Segoe UI" pitchFamily="34" charset="0"/>
                  <a:cs typeface="Segoe UI" pitchFamily="34" charset="0"/>
                </a:rPr>
                <a:t> and </a:t>
              </a:r>
              <a:r>
                <a:rPr lang="en-US" sz="3136"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flexibility </a:t>
              </a:r>
            </a:p>
          </p:txBody>
        </p:sp>
        <p:sp>
          <p:nvSpPr>
            <p:cNvPr id="69" name="Freeform 5"/>
            <p:cNvSpPr>
              <a:spLocks noChangeAspect="1" noEditPoints="1"/>
            </p:cNvSpPr>
            <p:nvPr/>
          </p:nvSpPr>
          <p:spPr bwMode="auto">
            <a:xfrm>
              <a:off x="1426585" y="4210078"/>
              <a:ext cx="1855990" cy="1186661"/>
            </a:xfrm>
            <a:custGeom>
              <a:avLst/>
              <a:gdLst>
                <a:gd name="T0" fmla="*/ 54 w 266"/>
                <a:gd name="T1" fmla="*/ 154 h 169"/>
                <a:gd name="T2" fmla="*/ 25 w 266"/>
                <a:gd name="T3" fmla="*/ 154 h 169"/>
                <a:gd name="T4" fmla="*/ 0 w 266"/>
                <a:gd name="T5" fmla="*/ 116 h 169"/>
                <a:gd name="T6" fmla="*/ 29 w 266"/>
                <a:gd name="T7" fmla="*/ 75 h 169"/>
                <a:gd name="T8" fmla="*/ 55 w 266"/>
                <a:gd name="T9" fmla="*/ 29 h 169"/>
                <a:gd name="T10" fmla="*/ 99 w 266"/>
                <a:gd name="T11" fmla="*/ 30 h 169"/>
                <a:gd name="T12" fmla="*/ 144 w 266"/>
                <a:gd name="T13" fmla="*/ 0 h 169"/>
                <a:gd name="T14" fmla="*/ 200 w 266"/>
                <a:gd name="T15" fmla="*/ 54 h 169"/>
                <a:gd name="T16" fmla="*/ 182 w 266"/>
                <a:gd name="T17" fmla="*/ 56 h 169"/>
                <a:gd name="T18" fmla="*/ 141 w 266"/>
                <a:gd name="T19" fmla="*/ 33 h 169"/>
                <a:gd name="T20" fmla="*/ 91 w 266"/>
                <a:gd name="T21" fmla="*/ 81 h 169"/>
                <a:gd name="T22" fmla="*/ 50 w 266"/>
                <a:gd name="T23" fmla="*/ 129 h 169"/>
                <a:gd name="T24" fmla="*/ 54 w 266"/>
                <a:gd name="T25" fmla="*/ 154 h 169"/>
                <a:gd name="T26" fmla="*/ 89 w 266"/>
                <a:gd name="T27" fmla="*/ 168 h 169"/>
                <a:gd name="T28" fmla="*/ 245 w 266"/>
                <a:gd name="T29" fmla="*/ 168 h 169"/>
                <a:gd name="T30" fmla="*/ 266 w 266"/>
                <a:gd name="T31" fmla="*/ 137 h 169"/>
                <a:gd name="T32" fmla="*/ 242 w 266"/>
                <a:gd name="T33" fmla="*/ 104 h 169"/>
                <a:gd name="T34" fmla="*/ 220 w 266"/>
                <a:gd name="T35" fmla="*/ 64 h 169"/>
                <a:gd name="T36" fmla="*/ 179 w 266"/>
                <a:gd name="T37" fmla="*/ 64 h 169"/>
                <a:gd name="T38" fmla="*/ 141 w 266"/>
                <a:gd name="T39" fmla="*/ 42 h 169"/>
                <a:gd name="T40" fmla="*/ 98 w 266"/>
                <a:gd name="T41" fmla="*/ 87 h 169"/>
                <a:gd name="T42" fmla="*/ 58 w 266"/>
                <a:gd name="T43" fmla="*/ 126 h 169"/>
                <a:gd name="T44" fmla="*/ 89 w 266"/>
                <a:gd name="T45" fmla="*/ 168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6" h="169">
                  <a:moveTo>
                    <a:pt x="54" y="154"/>
                  </a:moveTo>
                  <a:cubicBezTo>
                    <a:pt x="25" y="154"/>
                    <a:pt x="25" y="154"/>
                    <a:pt x="25" y="154"/>
                  </a:cubicBezTo>
                  <a:cubicBezTo>
                    <a:pt x="25" y="154"/>
                    <a:pt x="1" y="149"/>
                    <a:pt x="0" y="116"/>
                  </a:cubicBezTo>
                  <a:cubicBezTo>
                    <a:pt x="0" y="83"/>
                    <a:pt x="29" y="75"/>
                    <a:pt x="29" y="75"/>
                  </a:cubicBezTo>
                  <a:cubicBezTo>
                    <a:pt x="29" y="75"/>
                    <a:pt x="27" y="41"/>
                    <a:pt x="55" y="29"/>
                  </a:cubicBezTo>
                  <a:cubicBezTo>
                    <a:pt x="83" y="17"/>
                    <a:pt x="99" y="30"/>
                    <a:pt x="99" y="30"/>
                  </a:cubicBezTo>
                  <a:cubicBezTo>
                    <a:pt x="99" y="30"/>
                    <a:pt x="109" y="0"/>
                    <a:pt x="144" y="0"/>
                  </a:cubicBezTo>
                  <a:cubicBezTo>
                    <a:pt x="175" y="0"/>
                    <a:pt x="207" y="30"/>
                    <a:pt x="200" y="54"/>
                  </a:cubicBezTo>
                  <a:cubicBezTo>
                    <a:pt x="189" y="54"/>
                    <a:pt x="182" y="56"/>
                    <a:pt x="182" y="56"/>
                  </a:cubicBezTo>
                  <a:cubicBezTo>
                    <a:pt x="182" y="56"/>
                    <a:pt x="174" y="33"/>
                    <a:pt x="141" y="33"/>
                  </a:cubicBezTo>
                  <a:cubicBezTo>
                    <a:pt x="113" y="33"/>
                    <a:pt x="84" y="60"/>
                    <a:pt x="91" y="81"/>
                  </a:cubicBezTo>
                  <a:cubicBezTo>
                    <a:pt x="91" y="81"/>
                    <a:pt x="50" y="83"/>
                    <a:pt x="50" y="129"/>
                  </a:cubicBezTo>
                  <a:cubicBezTo>
                    <a:pt x="50" y="140"/>
                    <a:pt x="52" y="148"/>
                    <a:pt x="54" y="154"/>
                  </a:cubicBezTo>
                  <a:close/>
                  <a:moveTo>
                    <a:pt x="89" y="168"/>
                  </a:moveTo>
                  <a:cubicBezTo>
                    <a:pt x="245" y="168"/>
                    <a:pt x="245" y="168"/>
                    <a:pt x="245" y="168"/>
                  </a:cubicBezTo>
                  <a:cubicBezTo>
                    <a:pt x="245" y="168"/>
                    <a:pt x="265" y="164"/>
                    <a:pt x="266" y="137"/>
                  </a:cubicBezTo>
                  <a:cubicBezTo>
                    <a:pt x="266" y="110"/>
                    <a:pt x="242" y="104"/>
                    <a:pt x="242" y="104"/>
                  </a:cubicBezTo>
                  <a:cubicBezTo>
                    <a:pt x="242" y="104"/>
                    <a:pt x="244" y="74"/>
                    <a:pt x="220" y="64"/>
                  </a:cubicBezTo>
                  <a:cubicBezTo>
                    <a:pt x="197" y="54"/>
                    <a:pt x="179" y="64"/>
                    <a:pt x="179" y="64"/>
                  </a:cubicBezTo>
                  <a:cubicBezTo>
                    <a:pt x="179" y="64"/>
                    <a:pt x="171" y="42"/>
                    <a:pt x="141" y="42"/>
                  </a:cubicBezTo>
                  <a:cubicBezTo>
                    <a:pt x="115" y="42"/>
                    <a:pt x="92" y="68"/>
                    <a:pt x="98" y="87"/>
                  </a:cubicBezTo>
                  <a:cubicBezTo>
                    <a:pt x="98" y="87"/>
                    <a:pt x="58" y="84"/>
                    <a:pt x="58" y="126"/>
                  </a:cubicBezTo>
                  <a:cubicBezTo>
                    <a:pt x="58" y="169"/>
                    <a:pt x="89" y="168"/>
                    <a:pt x="89" y="168"/>
                  </a:cubicBezTo>
                  <a:close/>
                </a:path>
              </a:pathLst>
            </a:custGeom>
            <a:solidFill>
              <a:schemeClr val="tx1"/>
            </a:solidFill>
            <a:ln>
              <a:noFill/>
            </a:ln>
            <a:extLst/>
          </p:spPr>
          <p:txBody>
            <a:bodyPr vert="horz" wrap="square" lIns="89619" tIns="44809" rIns="89619" bIns="44809" numCol="1" anchor="t" anchorCtr="0" compatLnSpc="1">
              <a:prstTxWarp prst="textNoShape">
                <a:avLst/>
              </a:prstTxWarp>
            </a:bodyPr>
            <a:lstStyle/>
            <a:p>
              <a:pPr defTabSz="914093">
                <a:lnSpc>
                  <a:spcPct val="90000"/>
                </a:lnSpc>
              </a:pPr>
              <a:endParaRPr lang="en-US" sz="1764">
                <a:solidFill>
                  <a:srgbClr val="505050"/>
                </a:solidFill>
              </a:endParaRPr>
            </a:p>
          </p:txBody>
        </p:sp>
      </p:grpSp>
      <p:grpSp>
        <p:nvGrpSpPr>
          <p:cNvPr id="6" name="Group 5"/>
          <p:cNvGrpSpPr/>
          <p:nvPr/>
        </p:nvGrpSpPr>
        <p:grpSpPr>
          <a:xfrm>
            <a:off x="4213572" y="2084715"/>
            <a:ext cx="3719194" cy="3584765"/>
            <a:chOff x="4299181" y="2125663"/>
            <a:chExt cx="3794760" cy="3657600"/>
          </a:xfrm>
        </p:grpSpPr>
        <p:sp>
          <p:nvSpPr>
            <p:cNvPr id="20" name="Rectangle 19"/>
            <p:cNvSpPr/>
            <p:nvPr/>
          </p:nvSpPr>
          <p:spPr bwMode="auto">
            <a:xfrm>
              <a:off x="4299181" y="2125663"/>
              <a:ext cx="3794760" cy="365760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pPr>
              <a:r>
                <a:rPr lang="en-US" sz="3136" dirty="0">
                  <a:gradFill>
                    <a:gsLst>
                      <a:gs pos="0">
                        <a:srgbClr val="FFFFFF"/>
                      </a:gs>
                      <a:gs pos="100000">
                        <a:srgbClr val="FFFFFF"/>
                      </a:gs>
                    </a:gsLst>
                    <a:lin ang="5400000" scaled="0"/>
                  </a:gradFill>
                  <a:latin typeface="Segoe UI Light"/>
                  <a:ea typeface="Segoe UI" pitchFamily="34" charset="0"/>
                  <a:cs typeface="Segoe UI" pitchFamily="34" charset="0"/>
                </a:rPr>
                <a:t>Enabling a </a:t>
              </a:r>
              <a:r>
                <a:rPr lang="en-US" sz="3136"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nsistent </a:t>
              </a:r>
              <a:r>
                <a:rPr lang="en-US" sz="3136" dirty="0">
                  <a:gradFill>
                    <a:gsLst>
                      <a:gs pos="0">
                        <a:srgbClr val="FFFFFF"/>
                      </a:gs>
                      <a:gs pos="100000">
                        <a:srgbClr val="FFFFFF"/>
                      </a:gs>
                    </a:gsLst>
                    <a:lin ang="5400000" scaled="0"/>
                  </a:gradFill>
                  <a:latin typeface="Segoe UI Light"/>
                  <a:ea typeface="Segoe UI" pitchFamily="34" charset="0"/>
                  <a:cs typeface="Segoe UI" pitchFamily="34" charset="0"/>
                </a:rPr>
                <a:t>development platform</a:t>
              </a:r>
            </a:p>
          </p:txBody>
        </p:sp>
        <p:grpSp>
          <p:nvGrpSpPr>
            <p:cNvPr id="3" name="Group 2"/>
            <p:cNvGrpSpPr/>
            <p:nvPr/>
          </p:nvGrpSpPr>
          <p:grpSpPr>
            <a:xfrm>
              <a:off x="5068119" y="4163051"/>
              <a:ext cx="2125713" cy="1280715"/>
              <a:chOff x="6260063" y="-2487289"/>
              <a:chExt cx="1534235" cy="924357"/>
            </a:xfrm>
          </p:grpSpPr>
          <p:sp>
            <p:nvSpPr>
              <p:cNvPr id="70" name="Arc 69"/>
              <p:cNvSpPr/>
              <p:nvPr/>
            </p:nvSpPr>
            <p:spPr>
              <a:xfrm rot="20676240">
                <a:off x="6970810" y="-2050012"/>
                <a:ext cx="716800" cy="448792"/>
              </a:xfrm>
              <a:prstGeom prst="arc">
                <a:avLst>
                  <a:gd name="adj1" fmla="val 21436060"/>
                  <a:gd name="adj2" fmla="val 9297984"/>
                </a:avLst>
              </a:prstGeom>
              <a:ln w="317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914093">
                  <a:lnSpc>
                    <a:spcPct val="90000"/>
                  </a:lnSpc>
                </a:pPr>
                <a:endParaRPr lang="en-US" sz="1764">
                  <a:solidFill>
                    <a:srgbClr val="505050"/>
                  </a:solidFill>
                </a:endParaRPr>
              </a:p>
            </p:txBody>
          </p:sp>
          <p:grpSp>
            <p:nvGrpSpPr>
              <p:cNvPr id="76" name="Group 75"/>
              <p:cNvGrpSpPr/>
              <p:nvPr/>
            </p:nvGrpSpPr>
            <p:grpSpPr>
              <a:xfrm>
                <a:off x="6260063" y="-2487289"/>
                <a:ext cx="1534235" cy="924357"/>
                <a:chOff x="6293519" y="1918846"/>
                <a:chExt cx="1534235" cy="924357"/>
              </a:xfrm>
            </p:grpSpPr>
            <p:sp>
              <p:nvSpPr>
                <p:cNvPr id="77" name="Freeform 5"/>
                <p:cNvSpPr>
                  <a:spLocks noChangeAspect="1" noEditPoints="1"/>
                </p:cNvSpPr>
                <p:nvPr/>
              </p:nvSpPr>
              <p:spPr bwMode="auto">
                <a:xfrm>
                  <a:off x="6293519" y="2400273"/>
                  <a:ext cx="692760" cy="442930"/>
                </a:xfrm>
                <a:custGeom>
                  <a:avLst/>
                  <a:gdLst>
                    <a:gd name="T0" fmla="*/ 54 w 266"/>
                    <a:gd name="T1" fmla="*/ 154 h 169"/>
                    <a:gd name="T2" fmla="*/ 25 w 266"/>
                    <a:gd name="T3" fmla="*/ 154 h 169"/>
                    <a:gd name="T4" fmla="*/ 0 w 266"/>
                    <a:gd name="T5" fmla="*/ 116 h 169"/>
                    <a:gd name="T6" fmla="*/ 29 w 266"/>
                    <a:gd name="T7" fmla="*/ 75 h 169"/>
                    <a:gd name="T8" fmla="*/ 55 w 266"/>
                    <a:gd name="T9" fmla="*/ 29 h 169"/>
                    <a:gd name="T10" fmla="*/ 99 w 266"/>
                    <a:gd name="T11" fmla="*/ 30 h 169"/>
                    <a:gd name="T12" fmla="*/ 144 w 266"/>
                    <a:gd name="T13" fmla="*/ 0 h 169"/>
                    <a:gd name="T14" fmla="*/ 200 w 266"/>
                    <a:gd name="T15" fmla="*/ 54 h 169"/>
                    <a:gd name="T16" fmla="*/ 182 w 266"/>
                    <a:gd name="T17" fmla="*/ 56 h 169"/>
                    <a:gd name="T18" fmla="*/ 141 w 266"/>
                    <a:gd name="T19" fmla="*/ 33 h 169"/>
                    <a:gd name="T20" fmla="*/ 91 w 266"/>
                    <a:gd name="T21" fmla="*/ 81 h 169"/>
                    <a:gd name="T22" fmla="*/ 50 w 266"/>
                    <a:gd name="T23" fmla="*/ 129 h 169"/>
                    <a:gd name="T24" fmla="*/ 54 w 266"/>
                    <a:gd name="T25" fmla="*/ 154 h 169"/>
                    <a:gd name="T26" fmla="*/ 89 w 266"/>
                    <a:gd name="T27" fmla="*/ 168 h 169"/>
                    <a:gd name="T28" fmla="*/ 245 w 266"/>
                    <a:gd name="T29" fmla="*/ 168 h 169"/>
                    <a:gd name="T30" fmla="*/ 266 w 266"/>
                    <a:gd name="T31" fmla="*/ 137 h 169"/>
                    <a:gd name="T32" fmla="*/ 242 w 266"/>
                    <a:gd name="T33" fmla="*/ 104 h 169"/>
                    <a:gd name="T34" fmla="*/ 220 w 266"/>
                    <a:gd name="T35" fmla="*/ 64 h 169"/>
                    <a:gd name="T36" fmla="*/ 179 w 266"/>
                    <a:gd name="T37" fmla="*/ 64 h 169"/>
                    <a:gd name="T38" fmla="*/ 141 w 266"/>
                    <a:gd name="T39" fmla="*/ 42 h 169"/>
                    <a:gd name="T40" fmla="*/ 98 w 266"/>
                    <a:gd name="T41" fmla="*/ 87 h 169"/>
                    <a:gd name="T42" fmla="*/ 58 w 266"/>
                    <a:gd name="T43" fmla="*/ 126 h 169"/>
                    <a:gd name="T44" fmla="*/ 89 w 266"/>
                    <a:gd name="T45" fmla="*/ 168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6" h="169">
                      <a:moveTo>
                        <a:pt x="54" y="154"/>
                      </a:moveTo>
                      <a:cubicBezTo>
                        <a:pt x="25" y="154"/>
                        <a:pt x="25" y="154"/>
                        <a:pt x="25" y="154"/>
                      </a:cubicBezTo>
                      <a:cubicBezTo>
                        <a:pt x="25" y="154"/>
                        <a:pt x="1" y="149"/>
                        <a:pt x="0" y="116"/>
                      </a:cubicBezTo>
                      <a:cubicBezTo>
                        <a:pt x="0" y="83"/>
                        <a:pt x="29" y="75"/>
                        <a:pt x="29" y="75"/>
                      </a:cubicBezTo>
                      <a:cubicBezTo>
                        <a:pt x="29" y="75"/>
                        <a:pt x="27" y="41"/>
                        <a:pt x="55" y="29"/>
                      </a:cubicBezTo>
                      <a:cubicBezTo>
                        <a:pt x="83" y="17"/>
                        <a:pt x="99" y="30"/>
                        <a:pt x="99" y="30"/>
                      </a:cubicBezTo>
                      <a:cubicBezTo>
                        <a:pt x="99" y="30"/>
                        <a:pt x="109" y="0"/>
                        <a:pt x="144" y="0"/>
                      </a:cubicBezTo>
                      <a:cubicBezTo>
                        <a:pt x="175" y="0"/>
                        <a:pt x="207" y="30"/>
                        <a:pt x="200" y="54"/>
                      </a:cubicBezTo>
                      <a:cubicBezTo>
                        <a:pt x="189" y="54"/>
                        <a:pt x="182" y="56"/>
                        <a:pt x="182" y="56"/>
                      </a:cubicBezTo>
                      <a:cubicBezTo>
                        <a:pt x="182" y="56"/>
                        <a:pt x="174" y="33"/>
                        <a:pt x="141" y="33"/>
                      </a:cubicBezTo>
                      <a:cubicBezTo>
                        <a:pt x="113" y="33"/>
                        <a:pt x="84" y="60"/>
                        <a:pt x="91" y="81"/>
                      </a:cubicBezTo>
                      <a:cubicBezTo>
                        <a:pt x="91" y="81"/>
                        <a:pt x="50" y="83"/>
                        <a:pt x="50" y="129"/>
                      </a:cubicBezTo>
                      <a:cubicBezTo>
                        <a:pt x="50" y="140"/>
                        <a:pt x="52" y="148"/>
                        <a:pt x="54" y="154"/>
                      </a:cubicBezTo>
                      <a:close/>
                      <a:moveTo>
                        <a:pt x="89" y="168"/>
                      </a:moveTo>
                      <a:cubicBezTo>
                        <a:pt x="245" y="168"/>
                        <a:pt x="245" y="168"/>
                        <a:pt x="245" y="168"/>
                      </a:cubicBezTo>
                      <a:cubicBezTo>
                        <a:pt x="245" y="168"/>
                        <a:pt x="265" y="164"/>
                        <a:pt x="266" y="137"/>
                      </a:cubicBezTo>
                      <a:cubicBezTo>
                        <a:pt x="266" y="110"/>
                        <a:pt x="242" y="104"/>
                        <a:pt x="242" y="104"/>
                      </a:cubicBezTo>
                      <a:cubicBezTo>
                        <a:pt x="242" y="104"/>
                        <a:pt x="244" y="74"/>
                        <a:pt x="220" y="64"/>
                      </a:cubicBezTo>
                      <a:cubicBezTo>
                        <a:pt x="197" y="54"/>
                        <a:pt x="179" y="64"/>
                        <a:pt x="179" y="64"/>
                      </a:cubicBezTo>
                      <a:cubicBezTo>
                        <a:pt x="179" y="64"/>
                        <a:pt x="171" y="42"/>
                        <a:pt x="141" y="42"/>
                      </a:cubicBezTo>
                      <a:cubicBezTo>
                        <a:pt x="115" y="42"/>
                        <a:pt x="92" y="68"/>
                        <a:pt x="98" y="87"/>
                      </a:cubicBezTo>
                      <a:cubicBezTo>
                        <a:pt x="98" y="87"/>
                        <a:pt x="58" y="84"/>
                        <a:pt x="58" y="126"/>
                      </a:cubicBezTo>
                      <a:cubicBezTo>
                        <a:pt x="58" y="169"/>
                        <a:pt x="89" y="168"/>
                        <a:pt x="89" y="168"/>
                      </a:cubicBezTo>
                      <a:close/>
                    </a:path>
                  </a:pathLst>
                </a:custGeom>
                <a:solidFill>
                  <a:schemeClr val="tx1"/>
                </a:solidFill>
                <a:ln>
                  <a:noFill/>
                </a:ln>
                <a:extLst/>
              </p:spPr>
              <p:txBody>
                <a:bodyPr vert="horz" wrap="square" lIns="89619" tIns="44809" rIns="89619" bIns="44809" numCol="1" anchor="t" anchorCtr="0" compatLnSpc="1">
                  <a:prstTxWarp prst="textNoShape">
                    <a:avLst/>
                  </a:prstTxWarp>
                </a:bodyPr>
                <a:lstStyle/>
                <a:p>
                  <a:pPr defTabSz="914093">
                    <a:lnSpc>
                      <a:spcPct val="90000"/>
                    </a:lnSpc>
                  </a:pPr>
                  <a:endParaRPr lang="en-US" sz="1764">
                    <a:solidFill>
                      <a:srgbClr val="505050"/>
                    </a:solidFill>
                  </a:endParaRPr>
                </a:p>
              </p:txBody>
            </p:sp>
            <p:sp>
              <p:nvSpPr>
                <p:cNvPr id="78" name="Freeform 27"/>
                <p:cNvSpPr>
                  <a:spLocks noChangeAspect="1" noEditPoints="1"/>
                </p:cNvSpPr>
                <p:nvPr/>
              </p:nvSpPr>
              <p:spPr bwMode="black">
                <a:xfrm>
                  <a:off x="7137798" y="1918846"/>
                  <a:ext cx="689956" cy="4444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a:extLst/>
              </p:spPr>
              <p:txBody>
                <a:bodyPr vert="horz" wrap="square" lIns="89619" tIns="44809" rIns="89619" bIns="44809" numCol="1" anchor="t" anchorCtr="0" compatLnSpc="1">
                  <a:prstTxWarp prst="textNoShape">
                    <a:avLst/>
                  </a:prstTxWarp>
                </a:bodyPr>
                <a:lstStyle/>
                <a:p>
                  <a:pPr defTabSz="914093">
                    <a:lnSpc>
                      <a:spcPct val="90000"/>
                    </a:lnSpc>
                  </a:pPr>
                  <a:endParaRPr lang="en-US" sz="1764">
                    <a:solidFill>
                      <a:srgbClr val="505050"/>
                    </a:solidFill>
                  </a:endParaRPr>
                </a:p>
              </p:txBody>
            </p:sp>
          </p:grpSp>
          <p:sp>
            <p:nvSpPr>
              <p:cNvPr id="79" name="Arc 78"/>
              <p:cNvSpPr/>
              <p:nvPr/>
            </p:nvSpPr>
            <p:spPr>
              <a:xfrm rot="9876240">
                <a:off x="6411401" y="-2432125"/>
                <a:ext cx="716800" cy="448792"/>
              </a:xfrm>
              <a:prstGeom prst="arc">
                <a:avLst>
                  <a:gd name="adj1" fmla="val 21436060"/>
                  <a:gd name="adj2" fmla="val 9297984"/>
                </a:avLst>
              </a:prstGeom>
              <a:ln w="317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914093">
                  <a:lnSpc>
                    <a:spcPct val="90000"/>
                  </a:lnSpc>
                </a:pPr>
                <a:endParaRPr lang="en-US" sz="1764">
                  <a:solidFill>
                    <a:srgbClr val="505050"/>
                  </a:solidFill>
                </a:endParaRPr>
              </a:p>
            </p:txBody>
          </p:sp>
        </p:grpSp>
      </p:grpSp>
      <p:grpSp>
        <p:nvGrpSpPr>
          <p:cNvPr id="7" name="Group 6"/>
          <p:cNvGrpSpPr/>
          <p:nvPr/>
        </p:nvGrpSpPr>
        <p:grpSpPr>
          <a:xfrm>
            <a:off x="7976077" y="2084715"/>
            <a:ext cx="3764004" cy="3584765"/>
            <a:chOff x="8138133" y="2125663"/>
            <a:chExt cx="3840480" cy="3657600"/>
          </a:xfrm>
        </p:grpSpPr>
        <p:sp>
          <p:nvSpPr>
            <p:cNvPr id="21" name="Rectangle 20"/>
            <p:cNvSpPr/>
            <p:nvPr/>
          </p:nvSpPr>
          <p:spPr bwMode="auto">
            <a:xfrm>
              <a:off x="8138133" y="2125663"/>
              <a:ext cx="3840480" cy="365760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pPr>
              <a:r>
                <a:rPr lang="en-US" sz="3136" dirty="0">
                  <a:gradFill>
                    <a:gsLst>
                      <a:gs pos="0">
                        <a:srgbClr val="FFFFFF"/>
                      </a:gs>
                      <a:gs pos="100000">
                        <a:srgbClr val="FFFFFF"/>
                      </a:gs>
                    </a:gsLst>
                    <a:lin ang="5400000" scaled="0"/>
                  </a:gradFill>
                  <a:latin typeface="Segoe UI Light"/>
                  <a:ea typeface="Segoe UI" pitchFamily="34" charset="0"/>
                  <a:cs typeface="Segoe UI" pitchFamily="34" charset="0"/>
                </a:rPr>
                <a:t>Powering a world </a:t>
              </a:r>
              <a:br>
                <a:rPr lang="en-US" sz="3136" dirty="0">
                  <a:gradFill>
                    <a:gsLst>
                      <a:gs pos="0">
                        <a:srgbClr val="FFFFFF"/>
                      </a:gs>
                      <a:gs pos="100000">
                        <a:srgbClr val="FFFFFF"/>
                      </a:gs>
                    </a:gsLst>
                    <a:lin ang="5400000" scaled="0"/>
                  </a:gradFill>
                  <a:latin typeface="Segoe UI Light"/>
                  <a:ea typeface="Segoe UI" pitchFamily="34" charset="0"/>
                  <a:cs typeface="Segoe UI" pitchFamily="34" charset="0"/>
                </a:rPr>
              </a:br>
              <a:r>
                <a:rPr lang="en-US" sz="3136"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of devices</a:t>
              </a:r>
            </a:p>
          </p:txBody>
        </p:sp>
        <p:sp>
          <p:nvSpPr>
            <p:cNvPr id="8" name="Freeform 5"/>
            <p:cNvSpPr>
              <a:spLocks noEditPoints="1"/>
            </p:cNvSpPr>
            <p:nvPr/>
          </p:nvSpPr>
          <p:spPr bwMode="auto">
            <a:xfrm>
              <a:off x="8404227" y="4278739"/>
              <a:ext cx="3309938" cy="1049338"/>
            </a:xfrm>
            <a:custGeom>
              <a:avLst/>
              <a:gdLst>
                <a:gd name="T0" fmla="*/ 2279 w 2540"/>
                <a:gd name="T1" fmla="*/ 738 h 803"/>
                <a:gd name="T2" fmla="*/ 2279 w 2540"/>
                <a:gd name="T3" fmla="*/ 738 h 803"/>
                <a:gd name="T4" fmla="*/ 2279 w 2540"/>
                <a:gd name="T5" fmla="*/ 738 h 803"/>
                <a:gd name="T6" fmla="*/ 2279 w 2540"/>
                <a:gd name="T7" fmla="*/ 738 h 803"/>
                <a:gd name="T8" fmla="*/ 2279 w 2540"/>
                <a:gd name="T9" fmla="*/ 738 h 803"/>
                <a:gd name="T10" fmla="*/ 2279 w 2540"/>
                <a:gd name="T11" fmla="*/ 738 h 803"/>
                <a:gd name="T12" fmla="*/ 2233 w 2540"/>
                <a:gd name="T13" fmla="*/ 803 h 803"/>
                <a:gd name="T14" fmla="*/ 2286 w 2540"/>
                <a:gd name="T15" fmla="*/ 756 h 803"/>
                <a:gd name="T16" fmla="*/ 2288 w 2540"/>
                <a:gd name="T17" fmla="*/ 744 h 803"/>
                <a:gd name="T18" fmla="*/ 2364 w 2540"/>
                <a:gd name="T19" fmla="*/ 747 h 803"/>
                <a:gd name="T20" fmla="*/ 2362 w 2540"/>
                <a:gd name="T21" fmla="*/ 737 h 803"/>
                <a:gd name="T22" fmla="*/ 2369 w 2540"/>
                <a:gd name="T23" fmla="*/ 738 h 803"/>
                <a:gd name="T24" fmla="*/ 2373 w 2540"/>
                <a:gd name="T25" fmla="*/ 737 h 803"/>
                <a:gd name="T26" fmla="*/ 2376 w 2540"/>
                <a:gd name="T27" fmla="*/ 747 h 803"/>
                <a:gd name="T28" fmla="*/ 2364 w 2540"/>
                <a:gd name="T29" fmla="*/ 747 h 803"/>
                <a:gd name="T30" fmla="*/ 2380 w 2540"/>
                <a:gd name="T31" fmla="*/ 733 h 803"/>
                <a:gd name="T32" fmla="*/ 2389 w 2540"/>
                <a:gd name="T33" fmla="*/ 744 h 803"/>
                <a:gd name="T34" fmla="*/ 2389 w 2540"/>
                <a:gd name="T35" fmla="*/ 744 h 803"/>
                <a:gd name="T36" fmla="*/ 2377 w 2540"/>
                <a:gd name="T37" fmla="*/ 746 h 803"/>
                <a:gd name="T38" fmla="*/ 2375 w 2540"/>
                <a:gd name="T39" fmla="*/ 735 h 803"/>
                <a:gd name="T40" fmla="*/ 2375 w 2540"/>
                <a:gd name="T41" fmla="*/ 760 h 803"/>
                <a:gd name="T42" fmla="*/ 2368 w 2540"/>
                <a:gd name="T43" fmla="*/ 758 h 803"/>
                <a:gd name="T44" fmla="*/ 2366 w 2540"/>
                <a:gd name="T45" fmla="*/ 748 h 803"/>
                <a:gd name="T46" fmla="*/ 2377 w 2540"/>
                <a:gd name="T47" fmla="*/ 748 h 803"/>
                <a:gd name="T48" fmla="*/ 2380 w 2540"/>
                <a:gd name="T49" fmla="*/ 757 h 803"/>
                <a:gd name="T50" fmla="*/ 2391 w 2540"/>
                <a:gd name="T51" fmla="*/ 756 h 803"/>
                <a:gd name="T52" fmla="*/ 2381 w 2540"/>
                <a:gd name="T53" fmla="*/ 757 h 803"/>
                <a:gd name="T54" fmla="*/ 2378 w 2540"/>
                <a:gd name="T55" fmla="*/ 747 h 803"/>
                <a:gd name="T56" fmla="*/ 2387 w 2540"/>
                <a:gd name="T57" fmla="*/ 746 h 803"/>
                <a:gd name="T58" fmla="*/ 2474 w 2540"/>
                <a:gd name="T59" fmla="*/ 755 h 803"/>
                <a:gd name="T60" fmla="*/ 2478 w 2540"/>
                <a:gd name="T61" fmla="*/ 744 h 803"/>
                <a:gd name="T62" fmla="*/ 2474 w 2540"/>
                <a:gd name="T63" fmla="*/ 755 h 803"/>
                <a:gd name="T64" fmla="*/ 2510 w 2540"/>
                <a:gd name="T65" fmla="*/ 669 h 803"/>
                <a:gd name="T66" fmla="*/ 2285 w 2540"/>
                <a:gd name="T67" fmla="*/ 744 h 803"/>
                <a:gd name="T68" fmla="*/ 2285 w 2540"/>
                <a:gd name="T69" fmla="*/ 744 h 803"/>
                <a:gd name="T70" fmla="*/ 2285 w 2540"/>
                <a:gd name="T71" fmla="*/ 744 h 803"/>
                <a:gd name="T72" fmla="*/ 2285 w 2540"/>
                <a:gd name="T73" fmla="*/ 744 h 803"/>
                <a:gd name="T74" fmla="*/ 2285 w 2540"/>
                <a:gd name="T75" fmla="*/ 744 h 803"/>
                <a:gd name="T76" fmla="*/ 1164 w 2540"/>
                <a:gd name="T77" fmla="*/ 29 h 803"/>
                <a:gd name="T78" fmla="*/ 2059 w 2540"/>
                <a:gd name="T79" fmla="*/ 787 h 803"/>
                <a:gd name="T80" fmla="*/ 1479 w 2540"/>
                <a:gd name="T81" fmla="*/ 743 h 803"/>
                <a:gd name="T82" fmla="*/ 1644 w 2540"/>
                <a:gd name="T83" fmla="*/ 698 h 803"/>
                <a:gd name="T84" fmla="*/ 1154 w 2540"/>
                <a:gd name="T85" fmla="*/ 83 h 803"/>
                <a:gd name="T86" fmla="*/ 1992 w 2540"/>
                <a:gd name="T87" fmla="*/ 617 h 803"/>
                <a:gd name="T88" fmla="*/ 374 w 2540"/>
                <a:gd name="T89" fmla="*/ 20 h 803"/>
                <a:gd name="T90" fmla="*/ 906 w 2540"/>
                <a:gd name="T91" fmla="*/ 803 h 803"/>
                <a:gd name="T92" fmla="*/ 374 w 2540"/>
                <a:gd name="T93" fmla="*/ 614 h 803"/>
                <a:gd name="T94" fmla="*/ 857 w 2540"/>
                <a:gd name="T95" fmla="*/ 749 h 803"/>
                <a:gd name="T96" fmla="*/ 426 w 2540"/>
                <a:gd name="T97" fmla="*/ 73 h 803"/>
                <a:gd name="T98" fmla="*/ 305 w 2540"/>
                <a:gd name="T99" fmla="*/ 699 h 803"/>
                <a:gd name="T100" fmla="*/ 316 w 2540"/>
                <a:gd name="T101" fmla="*/ 615 h 803"/>
                <a:gd name="T102" fmla="*/ 393 w 2540"/>
                <a:gd name="T103" fmla="*/ 464 h 803"/>
                <a:gd name="T104" fmla="*/ 263 w 2540"/>
                <a:gd name="T105" fmla="*/ 434 h 803"/>
                <a:gd name="T106" fmla="*/ 110 w 2540"/>
                <a:gd name="T107" fmla="*/ 471 h 803"/>
                <a:gd name="T108" fmla="*/ 122 w 2540"/>
                <a:gd name="T109" fmla="*/ 752 h 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40" h="803">
                  <a:moveTo>
                    <a:pt x="2279" y="738"/>
                  </a:moveTo>
                  <a:cubicBezTo>
                    <a:pt x="2275" y="738"/>
                    <a:pt x="2272" y="740"/>
                    <a:pt x="2272" y="744"/>
                  </a:cubicBezTo>
                  <a:cubicBezTo>
                    <a:pt x="2272" y="747"/>
                    <a:pt x="2275" y="751"/>
                    <a:pt x="2279" y="751"/>
                  </a:cubicBezTo>
                  <a:cubicBezTo>
                    <a:pt x="2282" y="751"/>
                    <a:pt x="2285" y="747"/>
                    <a:pt x="2285" y="744"/>
                  </a:cubicBezTo>
                  <a:cubicBezTo>
                    <a:pt x="2285" y="740"/>
                    <a:pt x="2282" y="738"/>
                    <a:pt x="2279" y="738"/>
                  </a:cubicBezTo>
                  <a:close/>
                  <a:moveTo>
                    <a:pt x="2279" y="738"/>
                  </a:moveTo>
                  <a:cubicBezTo>
                    <a:pt x="2275" y="738"/>
                    <a:pt x="2272" y="740"/>
                    <a:pt x="2272" y="744"/>
                  </a:cubicBezTo>
                  <a:cubicBezTo>
                    <a:pt x="2272" y="747"/>
                    <a:pt x="2275" y="751"/>
                    <a:pt x="2279" y="751"/>
                  </a:cubicBezTo>
                  <a:cubicBezTo>
                    <a:pt x="2282" y="751"/>
                    <a:pt x="2285" y="747"/>
                    <a:pt x="2285" y="744"/>
                  </a:cubicBezTo>
                  <a:cubicBezTo>
                    <a:pt x="2285" y="740"/>
                    <a:pt x="2282" y="738"/>
                    <a:pt x="2279" y="738"/>
                  </a:cubicBezTo>
                  <a:close/>
                  <a:moveTo>
                    <a:pt x="2279" y="738"/>
                  </a:moveTo>
                  <a:cubicBezTo>
                    <a:pt x="2275" y="738"/>
                    <a:pt x="2272" y="740"/>
                    <a:pt x="2272" y="744"/>
                  </a:cubicBezTo>
                  <a:cubicBezTo>
                    <a:pt x="2272" y="747"/>
                    <a:pt x="2275" y="751"/>
                    <a:pt x="2279" y="751"/>
                  </a:cubicBezTo>
                  <a:cubicBezTo>
                    <a:pt x="2282" y="751"/>
                    <a:pt x="2285" y="747"/>
                    <a:pt x="2285" y="744"/>
                  </a:cubicBezTo>
                  <a:cubicBezTo>
                    <a:pt x="2285" y="740"/>
                    <a:pt x="2282" y="738"/>
                    <a:pt x="2279" y="738"/>
                  </a:cubicBezTo>
                  <a:close/>
                  <a:moveTo>
                    <a:pt x="2279" y="738"/>
                  </a:moveTo>
                  <a:cubicBezTo>
                    <a:pt x="2275" y="738"/>
                    <a:pt x="2272" y="740"/>
                    <a:pt x="2272" y="744"/>
                  </a:cubicBezTo>
                  <a:cubicBezTo>
                    <a:pt x="2272" y="747"/>
                    <a:pt x="2275" y="751"/>
                    <a:pt x="2279" y="751"/>
                  </a:cubicBezTo>
                  <a:cubicBezTo>
                    <a:pt x="2282" y="751"/>
                    <a:pt x="2285" y="747"/>
                    <a:pt x="2285" y="744"/>
                  </a:cubicBezTo>
                  <a:cubicBezTo>
                    <a:pt x="2285" y="740"/>
                    <a:pt x="2282" y="738"/>
                    <a:pt x="2279" y="738"/>
                  </a:cubicBezTo>
                  <a:close/>
                  <a:moveTo>
                    <a:pt x="2279" y="738"/>
                  </a:moveTo>
                  <a:cubicBezTo>
                    <a:pt x="2275" y="738"/>
                    <a:pt x="2272" y="740"/>
                    <a:pt x="2272" y="744"/>
                  </a:cubicBezTo>
                  <a:cubicBezTo>
                    <a:pt x="2272" y="747"/>
                    <a:pt x="2275" y="751"/>
                    <a:pt x="2279" y="751"/>
                  </a:cubicBezTo>
                  <a:cubicBezTo>
                    <a:pt x="2282" y="751"/>
                    <a:pt x="2285" y="747"/>
                    <a:pt x="2285" y="744"/>
                  </a:cubicBezTo>
                  <a:cubicBezTo>
                    <a:pt x="2285" y="740"/>
                    <a:pt x="2282" y="738"/>
                    <a:pt x="2279" y="738"/>
                  </a:cubicBezTo>
                  <a:close/>
                  <a:moveTo>
                    <a:pt x="2279" y="738"/>
                  </a:moveTo>
                  <a:cubicBezTo>
                    <a:pt x="2275" y="738"/>
                    <a:pt x="2272" y="740"/>
                    <a:pt x="2272" y="744"/>
                  </a:cubicBezTo>
                  <a:cubicBezTo>
                    <a:pt x="2272" y="747"/>
                    <a:pt x="2275" y="751"/>
                    <a:pt x="2279" y="751"/>
                  </a:cubicBezTo>
                  <a:cubicBezTo>
                    <a:pt x="2282" y="751"/>
                    <a:pt x="2285" y="747"/>
                    <a:pt x="2285" y="744"/>
                  </a:cubicBezTo>
                  <a:cubicBezTo>
                    <a:pt x="2285" y="740"/>
                    <a:pt x="2282" y="738"/>
                    <a:pt x="2279" y="738"/>
                  </a:cubicBezTo>
                  <a:close/>
                  <a:moveTo>
                    <a:pt x="2518" y="170"/>
                  </a:moveTo>
                  <a:cubicBezTo>
                    <a:pt x="2233" y="170"/>
                    <a:pt x="2233" y="170"/>
                    <a:pt x="2233" y="170"/>
                  </a:cubicBezTo>
                  <a:cubicBezTo>
                    <a:pt x="2220" y="170"/>
                    <a:pt x="2211" y="179"/>
                    <a:pt x="2211" y="192"/>
                  </a:cubicBezTo>
                  <a:cubicBezTo>
                    <a:pt x="2211" y="781"/>
                    <a:pt x="2211" y="781"/>
                    <a:pt x="2211" y="781"/>
                  </a:cubicBezTo>
                  <a:cubicBezTo>
                    <a:pt x="2211" y="793"/>
                    <a:pt x="2220" y="803"/>
                    <a:pt x="2233" y="803"/>
                  </a:cubicBezTo>
                  <a:cubicBezTo>
                    <a:pt x="2518" y="803"/>
                    <a:pt x="2518" y="803"/>
                    <a:pt x="2518" y="803"/>
                  </a:cubicBezTo>
                  <a:cubicBezTo>
                    <a:pt x="2531" y="803"/>
                    <a:pt x="2540" y="793"/>
                    <a:pt x="2540" y="781"/>
                  </a:cubicBezTo>
                  <a:cubicBezTo>
                    <a:pt x="2540" y="192"/>
                    <a:pt x="2540" y="192"/>
                    <a:pt x="2540" y="192"/>
                  </a:cubicBezTo>
                  <a:cubicBezTo>
                    <a:pt x="2540" y="179"/>
                    <a:pt x="2531" y="170"/>
                    <a:pt x="2518" y="170"/>
                  </a:cubicBezTo>
                  <a:close/>
                  <a:moveTo>
                    <a:pt x="2286" y="756"/>
                  </a:moveTo>
                  <a:cubicBezTo>
                    <a:pt x="2282" y="751"/>
                    <a:pt x="2282" y="751"/>
                    <a:pt x="2282" y="751"/>
                  </a:cubicBezTo>
                  <a:cubicBezTo>
                    <a:pt x="2281" y="752"/>
                    <a:pt x="2280" y="752"/>
                    <a:pt x="2279" y="752"/>
                  </a:cubicBezTo>
                  <a:cubicBezTo>
                    <a:pt x="2274" y="752"/>
                    <a:pt x="2270" y="748"/>
                    <a:pt x="2270" y="744"/>
                  </a:cubicBezTo>
                  <a:cubicBezTo>
                    <a:pt x="2270" y="739"/>
                    <a:pt x="2274" y="735"/>
                    <a:pt x="2279" y="735"/>
                  </a:cubicBezTo>
                  <a:cubicBezTo>
                    <a:pt x="2284" y="735"/>
                    <a:pt x="2288" y="739"/>
                    <a:pt x="2288" y="744"/>
                  </a:cubicBezTo>
                  <a:cubicBezTo>
                    <a:pt x="2288" y="746"/>
                    <a:pt x="2286" y="748"/>
                    <a:pt x="2285" y="749"/>
                  </a:cubicBezTo>
                  <a:cubicBezTo>
                    <a:pt x="2288" y="755"/>
                    <a:pt x="2288" y="755"/>
                    <a:pt x="2288" y="755"/>
                  </a:cubicBezTo>
                  <a:cubicBezTo>
                    <a:pt x="2286" y="756"/>
                    <a:pt x="2286" y="756"/>
                    <a:pt x="2286" y="756"/>
                  </a:cubicBezTo>
                  <a:cubicBezTo>
                    <a:pt x="2286" y="756"/>
                    <a:pt x="2286" y="756"/>
                    <a:pt x="2286" y="756"/>
                  </a:cubicBezTo>
                  <a:close/>
                  <a:moveTo>
                    <a:pt x="2364" y="747"/>
                  </a:moveTo>
                  <a:cubicBezTo>
                    <a:pt x="2362" y="737"/>
                    <a:pt x="2362" y="737"/>
                    <a:pt x="2362" y="737"/>
                  </a:cubicBezTo>
                  <a:cubicBezTo>
                    <a:pt x="2362" y="737"/>
                    <a:pt x="2362" y="737"/>
                    <a:pt x="2362" y="737"/>
                  </a:cubicBezTo>
                  <a:cubicBezTo>
                    <a:pt x="2362" y="737"/>
                    <a:pt x="2362" y="737"/>
                    <a:pt x="2362" y="737"/>
                  </a:cubicBezTo>
                  <a:cubicBezTo>
                    <a:pt x="2362" y="737"/>
                    <a:pt x="2362" y="737"/>
                    <a:pt x="2362" y="737"/>
                  </a:cubicBezTo>
                  <a:cubicBezTo>
                    <a:pt x="2362" y="737"/>
                    <a:pt x="2362" y="737"/>
                    <a:pt x="2362" y="737"/>
                  </a:cubicBezTo>
                  <a:cubicBezTo>
                    <a:pt x="2362" y="737"/>
                    <a:pt x="2362" y="737"/>
                    <a:pt x="2362" y="737"/>
                  </a:cubicBezTo>
                  <a:cubicBezTo>
                    <a:pt x="2363" y="737"/>
                    <a:pt x="2363" y="737"/>
                    <a:pt x="2364" y="737"/>
                  </a:cubicBezTo>
                  <a:cubicBezTo>
                    <a:pt x="2364" y="738"/>
                    <a:pt x="2366" y="738"/>
                    <a:pt x="2366" y="738"/>
                  </a:cubicBezTo>
                  <a:cubicBezTo>
                    <a:pt x="2367" y="738"/>
                    <a:pt x="2367" y="738"/>
                    <a:pt x="2367" y="738"/>
                  </a:cubicBezTo>
                  <a:cubicBezTo>
                    <a:pt x="2368" y="738"/>
                    <a:pt x="2368" y="738"/>
                    <a:pt x="2369" y="738"/>
                  </a:cubicBezTo>
                  <a:cubicBezTo>
                    <a:pt x="2369" y="738"/>
                    <a:pt x="2371" y="738"/>
                    <a:pt x="2371" y="737"/>
                  </a:cubicBezTo>
                  <a:cubicBezTo>
                    <a:pt x="2372" y="737"/>
                    <a:pt x="2372" y="737"/>
                    <a:pt x="2373" y="735"/>
                  </a:cubicBezTo>
                  <a:cubicBezTo>
                    <a:pt x="2373" y="735"/>
                    <a:pt x="2373" y="735"/>
                    <a:pt x="2373" y="735"/>
                  </a:cubicBezTo>
                  <a:cubicBezTo>
                    <a:pt x="2373" y="735"/>
                    <a:pt x="2373" y="735"/>
                    <a:pt x="2373" y="735"/>
                  </a:cubicBezTo>
                  <a:cubicBezTo>
                    <a:pt x="2373" y="737"/>
                    <a:pt x="2373" y="737"/>
                    <a:pt x="2373" y="737"/>
                  </a:cubicBezTo>
                  <a:cubicBezTo>
                    <a:pt x="2373" y="737"/>
                    <a:pt x="2373" y="737"/>
                    <a:pt x="2373" y="737"/>
                  </a:cubicBezTo>
                  <a:cubicBezTo>
                    <a:pt x="2376" y="746"/>
                    <a:pt x="2376" y="746"/>
                    <a:pt x="2376" y="746"/>
                  </a:cubicBezTo>
                  <a:cubicBezTo>
                    <a:pt x="2376" y="746"/>
                    <a:pt x="2376" y="746"/>
                    <a:pt x="2376" y="746"/>
                  </a:cubicBezTo>
                  <a:cubicBezTo>
                    <a:pt x="2376" y="746"/>
                    <a:pt x="2376" y="746"/>
                    <a:pt x="2376" y="746"/>
                  </a:cubicBezTo>
                  <a:cubicBezTo>
                    <a:pt x="2376" y="747"/>
                    <a:pt x="2376" y="747"/>
                    <a:pt x="2376" y="747"/>
                  </a:cubicBezTo>
                  <a:cubicBezTo>
                    <a:pt x="2375" y="747"/>
                    <a:pt x="2373" y="748"/>
                    <a:pt x="2372" y="748"/>
                  </a:cubicBezTo>
                  <a:cubicBezTo>
                    <a:pt x="2371" y="748"/>
                    <a:pt x="2371" y="748"/>
                    <a:pt x="2371" y="748"/>
                  </a:cubicBezTo>
                  <a:cubicBezTo>
                    <a:pt x="2369" y="748"/>
                    <a:pt x="2369" y="748"/>
                    <a:pt x="2368" y="748"/>
                  </a:cubicBezTo>
                  <a:cubicBezTo>
                    <a:pt x="2367" y="748"/>
                    <a:pt x="2366" y="747"/>
                    <a:pt x="2364" y="747"/>
                  </a:cubicBezTo>
                  <a:cubicBezTo>
                    <a:pt x="2364" y="747"/>
                    <a:pt x="2364" y="747"/>
                    <a:pt x="2364" y="747"/>
                  </a:cubicBezTo>
                  <a:close/>
                  <a:moveTo>
                    <a:pt x="2375" y="735"/>
                  </a:moveTo>
                  <a:cubicBezTo>
                    <a:pt x="2375" y="735"/>
                    <a:pt x="2375" y="735"/>
                    <a:pt x="2375" y="735"/>
                  </a:cubicBezTo>
                  <a:cubicBezTo>
                    <a:pt x="2375" y="735"/>
                    <a:pt x="2375" y="735"/>
                    <a:pt x="2375" y="735"/>
                  </a:cubicBezTo>
                  <a:cubicBezTo>
                    <a:pt x="2375" y="734"/>
                    <a:pt x="2376" y="734"/>
                    <a:pt x="2376" y="734"/>
                  </a:cubicBezTo>
                  <a:cubicBezTo>
                    <a:pt x="2377" y="733"/>
                    <a:pt x="2378" y="733"/>
                    <a:pt x="2380" y="733"/>
                  </a:cubicBezTo>
                  <a:cubicBezTo>
                    <a:pt x="2381" y="733"/>
                    <a:pt x="2382" y="733"/>
                    <a:pt x="2382" y="733"/>
                  </a:cubicBezTo>
                  <a:cubicBezTo>
                    <a:pt x="2384" y="733"/>
                    <a:pt x="2385" y="734"/>
                    <a:pt x="2386" y="734"/>
                  </a:cubicBezTo>
                  <a:cubicBezTo>
                    <a:pt x="2386" y="734"/>
                    <a:pt x="2386" y="734"/>
                    <a:pt x="2386" y="734"/>
                  </a:cubicBezTo>
                  <a:cubicBezTo>
                    <a:pt x="2386" y="735"/>
                    <a:pt x="2386" y="735"/>
                    <a:pt x="2386" y="735"/>
                  </a:cubicBezTo>
                  <a:cubicBezTo>
                    <a:pt x="2389" y="744"/>
                    <a:pt x="2389" y="744"/>
                    <a:pt x="2389" y="744"/>
                  </a:cubicBezTo>
                  <a:cubicBezTo>
                    <a:pt x="2389" y="744"/>
                    <a:pt x="2389" y="744"/>
                    <a:pt x="2389" y="744"/>
                  </a:cubicBezTo>
                  <a:cubicBezTo>
                    <a:pt x="2389" y="744"/>
                    <a:pt x="2389" y="744"/>
                    <a:pt x="2389" y="744"/>
                  </a:cubicBezTo>
                  <a:cubicBezTo>
                    <a:pt x="2389" y="744"/>
                    <a:pt x="2389" y="744"/>
                    <a:pt x="2389" y="744"/>
                  </a:cubicBezTo>
                  <a:cubicBezTo>
                    <a:pt x="2389" y="744"/>
                    <a:pt x="2389" y="744"/>
                    <a:pt x="2389" y="744"/>
                  </a:cubicBezTo>
                  <a:cubicBezTo>
                    <a:pt x="2389" y="744"/>
                    <a:pt x="2389" y="744"/>
                    <a:pt x="2389" y="744"/>
                  </a:cubicBezTo>
                  <a:cubicBezTo>
                    <a:pt x="2389" y="744"/>
                    <a:pt x="2389" y="744"/>
                    <a:pt x="2389" y="744"/>
                  </a:cubicBezTo>
                  <a:cubicBezTo>
                    <a:pt x="2386" y="743"/>
                    <a:pt x="2384" y="743"/>
                    <a:pt x="2382" y="743"/>
                  </a:cubicBezTo>
                  <a:cubicBezTo>
                    <a:pt x="2381" y="743"/>
                    <a:pt x="2381" y="743"/>
                    <a:pt x="2380" y="744"/>
                  </a:cubicBezTo>
                  <a:cubicBezTo>
                    <a:pt x="2380" y="744"/>
                    <a:pt x="2378" y="744"/>
                    <a:pt x="2378" y="746"/>
                  </a:cubicBezTo>
                  <a:cubicBezTo>
                    <a:pt x="2378" y="746"/>
                    <a:pt x="2378" y="746"/>
                    <a:pt x="2377" y="746"/>
                  </a:cubicBezTo>
                  <a:cubicBezTo>
                    <a:pt x="2377" y="746"/>
                    <a:pt x="2377" y="746"/>
                    <a:pt x="2377" y="746"/>
                  </a:cubicBezTo>
                  <a:cubicBezTo>
                    <a:pt x="2377" y="744"/>
                    <a:pt x="2377" y="744"/>
                    <a:pt x="2377" y="744"/>
                  </a:cubicBezTo>
                  <a:cubicBezTo>
                    <a:pt x="2376" y="739"/>
                    <a:pt x="2376" y="739"/>
                    <a:pt x="2376" y="739"/>
                  </a:cubicBezTo>
                  <a:cubicBezTo>
                    <a:pt x="2375" y="735"/>
                    <a:pt x="2375" y="735"/>
                    <a:pt x="2375" y="735"/>
                  </a:cubicBezTo>
                  <a:cubicBezTo>
                    <a:pt x="2375" y="735"/>
                    <a:pt x="2375" y="735"/>
                    <a:pt x="2375" y="735"/>
                  </a:cubicBezTo>
                  <a:cubicBezTo>
                    <a:pt x="2375" y="735"/>
                    <a:pt x="2375" y="735"/>
                    <a:pt x="2375" y="735"/>
                  </a:cubicBezTo>
                  <a:close/>
                  <a:moveTo>
                    <a:pt x="2380" y="758"/>
                  </a:moveTo>
                  <a:cubicBezTo>
                    <a:pt x="2378" y="758"/>
                    <a:pt x="2378" y="758"/>
                    <a:pt x="2377" y="758"/>
                  </a:cubicBezTo>
                  <a:cubicBezTo>
                    <a:pt x="2377" y="760"/>
                    <a:pt x="2377" y="760"/>
                    <a:pt x="2376" y="760"/>
                  </a:cubicBezTo>
                  <a:cubicBezTo>
                    <a:pt x="2376" y="760"/>
                    <a:pt x="2376" y="760"/>
                    <a:pt x="2375" y="760"/>
                  </a:cubicBezTo>
                  <a:cubicBezTo>
                    <a:pt x="2375" y="760"/>
                    <a:pt x="2375" y="760"/>
                    <a:pt x="2373" y="760"/>
                  </a:cubicBezTo>
                  <a:cubicBezTo>
                    <a:pt x="2372" y="760"/>
                    <a:pt x="2372" y="760"/>
                    <a:pt x="2372" y="760"/>
                  </a:cubicBezTo>
                  <a:cubicBezTo>
                    <a:pt x="2371" y="760"/>
                    <a:pt x="2371" y="760"/>
                    <a:pt x="2369" y="760"/>
                  </a:cubicBezTo>
                  <a:cubicBezTo>
                    <a:pt x="2368" y="758"/>
                    <a:pt x="2368" y="758"/>
                    <a:pt x="2368" y="758"/>
                  </a:cubicBezTo>
                  <a:cubicBezTo>
                    <a:pt x="2368" y="758"/>
                    <a:pt x="2368" y="758"/>
                    <a:pt x="2368" y="758"/>
                  </a:cubicBezTo>
                  <a:cubicBezTo>
                    <a:pt x="2366" y="749"/>
                    <a:pt x="2366" y="749"/>
                    <a:pt x="2366" y="749"/>
                  </a:cubicBezTo>
                  <a:cubicBezTo>
                    <a:pt x="2366" y="748"/>
                    <a:pt x="2366" y="748"/>
                    <a:pt x="2366" y="748"/>
                  </a:cubicBezTo>
                  <a:cubicBezTo>
                    <a:pt x="2366" y="748"/>
                    <a:pt x="2366" y="748"/>
                    <a:pt x="2366" y="748"/>
                  </a:cubicBezTo>
                  <a:cubicBezTo>
                    <a:pt x="2366" y="748"/>
                    <a:pt x="2366" y="748"/>
                    <a:pt x="2366" y="748"/>
                  </a:cubicBezTo>
                  <a:cubicBezTo>
                    <a:pt x="2366" y="748"/>
                    <a:pt x="2366" y="748"/>
                    <a:pt x="2366" y="748"/>
                  </a:cubicBezTo>
                  <a:cubicBezTo>
                    <a:pt x="2367" y="749"/>
                    <a:pt x="2367" y="749"/>
                    <a:pt x="2367" y="749"/>
                  </a:cubicBezTo>
                  <a:cubicBezTo>
                    <a:pt x="2368" y="749"/>
                    <a:pt x="2368" y="749"/>
                    <a:pt x="2369" y="749"/>
                  </a:cubicBezTo>
                  <a:cubicBezTo>
                    <a:pt x="2371" y="749"/>
                    <a:pt x="2371" y="749"/>
                    <a:pt x="2372" y="749"/>
                  </a:cubicBezTo>
                  <a:cubicBezTo>
                    <a:pt x="2373" y="749"/>
                    <a:pt x="2373" y="749"/>
                    <a:pt x="2375" y="748"/>
                  </a:cubicBezTo>
                  <a:cubicBezTo>
                    <a:pt x="2375" y="748"/>
                    <a:pt x="2376" y="748"/>
                    <a:pt x="2377" y="748"/>
                  </a:cubicBezTo>
                  <a:cubicBezTo>
                    <a:pt x="2377" y="747"/>
                    <a:pt x="2377" y="747"/>
                    <a:pt x="2377" y="747"/>
                  </a:cubicBezTo>
                  <a:cubicBezTo>
                    <a:pt x="2377" y="748"/>
                    <a:pt x="2377" y="748"/>
                    <a:pt x="2377" y="748"/>
                  </a:cubicBezTo>
                  <a:cubicBezTo>
                    <a:pt x="2377" y="748"/>
                    <a:pt x="2377" y="748"/>
                    <a:pt x="2377" y="748"/>
                  </a:cubicBezTo>
                  <a:cubicBezTo>
                    <a:pt x="2377" y="748"/>
                    <a:pt x="2377" y="748"/>
                    <a:pt x="2377" y="748"/>
                  </a:cubicBezTo>
                  <a:cubicBezTo>
                    <a:pt x="2380" y="757"/>
                    <a:pt x="2380" y="757"/>
                    <a:pt x="2380" y="757"/>
                  </a:cubicBezTo>
                  <a:cubicBezTo>
                    <a:pt x="2380" y="758"/>
                    <a:pt x="2380" y="758"/>
                    <a:pt x="2380" y="758"/>
                  </a:cubicBezTo>
                  <a:close/>
                  <a:moveTo>
                    <a:pt x="2392" y="756"/>
                  </a:moveTo>
                  <a:cubicBezTo>
                    <a:pt x="2391" y="756"/>
                    <a:pt x="2391" y="756"/>
                    <a:pt x="2391" y="756"/>
                  </a:cubicBezTo>
                  <a:cubicBezTo>
                    <a:pt x="2391" y="756"/>
                    <a:pt x="2391" y="756"/>
                    <a:pt x="2391" y="756"/>
                  </a:cubicBezTo>
                  <a:cubicBezTo>
                    <a:pt x="2391" y="756"/>
                    <a:pt x="2391" y="756"/>
                    <a:pt x="2391" y="756"/>
                  </a:cubicBezTo>
                  <a:cubicBezTo>
                    <a:pt x="2391" y="756"/>
                    <a:pt x="2390" y="756"/>
                    <a:pt x="2389" y="756"/>
                  </a:cubicBezTo>
                  <a:cubicBezTo>
                    <a:pt x="2387" y="755"/>
                    <a:pt x="2387" y="755"/>
                    <a:pt x="2386" y="755"/>
                  </a:cubicBezTo>
                  <a:cubicBezTo>
                    <a:pt x="2386" y="755"/>
                    <a:pt x="2385" y="755"/>
                    <a:pt x="2385" y="756"/>
                  </a:cubicBezTo>
                  <a:cubicBezTo>
                    <a:pt x="2384" y="756"/>
                    <a:pt x="2384" y="756"/>
                    <a:pt x="2384" y="756"/>
                  </a:cubicBezTo>
                  <a:cubicBezTo>
                    <a:pt x="2382" y="756"/>
                    <a:pt x="2382" y="757"/>
                    <a:pt x="2381" y="757"/>
                  </a:cubicBezTo>
                  <a:cubicBezTo>
                    <a:pt x="2381" y="757"/>
                    <a:pt x="2381" y="757"/>
                    <a:pt x="2381" y="757"/>
                  </a:cubicBezTo>
                  <a:cubicBezTo>
                    <a:pt x="2381" y="757"/>
                    <a:pt x="2381" y="757"/>
                    <a:pt x="2381" y="757"/>
                  </a:cubicBezTo>
                  <a:cubicBezTo>
                    <a:pt x="2381" y="757"/>
                    <a:pt x="2381" y="757"/>
                    <a:pt x="2381" y="757"/>
                  </a:cubicBezTo>
                  <a:cubicBezTo>
                    <a:pt x="2378" y="747"/>
                    <a:pt x="2378" y="747"/>
                    <a:pt x="2378" y="747"/>
                  </a:cubicBezTo>
                  <a:cubicBezTo>
                    <a:pt x="2378" y="747"/>
                    <a:pt x="2378" y="747"/>
                    <a:pt x="2378" y="747"/>
                  </a:cubicBezTo>
                  <a:cubicBezTo>
                    <a:pt x="2378" y="747"/>
                    <a:pt x="2378" y="747"/>
                    <a:pt x="2378" y="747"/>
                  </a:cubicBezTo>
                  <a:cubicBezTo>
                    <a:pt x="2380" y="746"/>
                    <a:pt x="2381" y="746"/>
                    <a:pt x="2382" y="744"/>
                  </a:cubicBezTo>
                  <a:cubicBezTo>
                    <a:pt x="2384" y="744"/>
                    <a:pt x="2384" y="744"/>
                    <a:pt x="2384" y="744"/>
                  </a:cubicBezTo>
                  <a:cubicBezTo>
                    <a:pt x="2385" y="744"/>
                    <a:pt x="2385" y="744"/>
                    <a:pt x="2385" y="744"/>
                  </a:cubicBezTo>
                  <a:cubicBezTo>
                    <a:pt x="2386" y="744"/>
                    <a:pt x="2386" y="746"/>
                    <a:pt x="2387" y="746"/>
                  </a:cubicBezTo>
                  <a:cubicBezTo>
                    <a:pt x="2389" y="746"/>
                    <a:pt x="2389" y="746"/>
                    <a:pt x="2389" y="746"/>
                  </a:cubicBezTo>
                  <a:cubicBezTo>
                    <a:pt x="2389" y="746"/>
                    <a:pt x="2389" y="746"/>
                    <a:pt x="2389" y="746"/>
                  </a:cubicBezTo>
                  <a:cubicBezTo>
                    <a:pt x="2392" y="756"/>
                    <a:pt x="2392" y="756"/>
                    <a:pt x="2392" y="756"/>
                  </a:cubicBezTo>
                  <a:cubicBezTo>
                    <a:pt x="2392" y="756"/>
                    <a:pt x="2392" y="756"/>
                    <a:pt x="2392" y="756"/>
                  </a:cubicBezTo>
                  <a:close/>
                  <a:moveTo>
                    <a:pt x="2474" y="755"/>
                  </a:moveTo>
                  <a:cubicBezTo>
                    <a:pt x="2470" y="755"/>
                    <a:pt x="2470" y="755"/>
                    <a:pt x="2470" y="755"/>
                  </a:cubicBezTo>
                  <a:cubicBezTo>
                    <a:pt x="2478" y="747"/>
                    <a:pt x="2478" y="747"/>
                    <a:pt x="2478" y="747"/>
                  </a:cubicBezTo>
                  <a:cubicBezTo>
                    <a:pt x="2464" y="747"/>
                    <a:pt x="2464" y="747"/>
                    <a:pt x="2464" y="747"/>
                  </a:cubicBezTo>
                  <a:cubicBezTo>
                    <a:pt x="2464" y="744"/>
                    <a:pt x="2464" y="744"/>
                    <a:pt x="2464" y="744"/>
                  </a:cubicBezTo>
                  <a:cubicBezTo>
                    <a:pt x="2478" y="744"/>
                    <a:pt x="2478" y="744"/>
                    <a:pt x="2478" y="744"/>
                  </a:cubicBezTo>
                  <a:cubicBezTo>
                    <a:pt x="2470" y="737"/>
                    <a:pt x="2470" y="737"/>
                    <a:pt x="2470" y="737"/>
                  </a:cubicBezTo>
                  <a:cubicBezTo>
                    <a:pt x="2474" y="737"/>
                    <a:pt x="2474" y="737"/>
                    <a:pt x="2474" y="737"/>
                  </a:cubicBezTo>
                  <a:cubicBezTo>
                    <a:pt x="2483" y="746"/>
                    <a:pt x="2483" y="746"/>
                    <a:pt x="2483" y="746"/>
                  </a:cubicBezTo>
                  <a:cubicBezTo>
                    <a:pt x="2474" y="755"/>
                    <a:pt x="2474" y="755"/>
                    <a:pt x="2474" y="755"/>
                  </a:cubicBezTo>
                  <a:cubicBezTo>
                    <a:pt x="2474" y="755"/>
                    <a:pt x="2474" y="755"/>
                    <a:pt x="2474" y="755"/>
                  </a:cubicBezTo>
                  <a:close/>
                  <a:moveTo>
                    <a:pt x="2510" y="669"/>
                  </a:moveTo>
                  <a:cubicBezTo>
                    <a:pt x="2242" y="669"/>
                    <a:pt x="2242" y="669"/>
                    <a:pt x="2242" y="669"/>
                  </a:cubicBezTo>
                  <a:cubicBezTo>
                    <a:pt x="2242" y="221"/>
                    <a:pt x="2242" y="221"/>
                    <a:pt x="2242" y="221"/>
                  </a:cubicBezTo>
                  <a:cubicBezTo>
                    <a:pt x="2510" y="221"/>
                    <a:pt x="2510" y="221"/>
                    <a:pt x="2510" y="221"/>
                  </a:cubicBezTo>
                  <a:cubicBezTo>
                    <a:pt x="2510" y="669"/>
                    <a:pt x="2510" y="669"/>
                    <a:pt x="2510" y="669"/>
                  </a:cubicBezTo>
                  <a:cubicBezTo>
                    <a:pt x="2510" y="669"/>
                    <a:pt x="2510" y="669"/>
                    <a:pt x="2510" y="669"/>
                  </a:cubicBezTo>
                  <a:close/>
                  <a:moveTo>
                    <a:pt x="2279" y="738"/>
                  </a:moveTo>
                  <a:cubicBezTo>
                    <a:pt x="2275" y="738"/>
                    <a:pt x="2272" y="740"/>
                    <a:pt x="2272" y="744"/>
                  </a:cubicBezTo>
                  <a:cubicBezTo>
                    <a:pt x="2272" y="747"/>
                    <a:pt x="2275" y="751"/>
                    <a:pt x="2279" y="751"/>
                  </a:cubicBezTo>
                  <a:cubicBezTo>
                    <a:pt x="2282" y="751"/>
                    <a:pt x="2285" y="747"/>
                    <a:pt x="2285" y="744"/>
                  </a:cubicBezTo>
                  <a:cubicBezTo>
                    <a:pt x="2285" y="740"/>
                    <a:pt x="2282" y="738"/>
                    <a:pt x="2279" y="738"/>
                  </a:cubicBezTo>
                  <a:close/>
                  <a:moveTo>
                    <a:pt x="2279" y="738"/>
                  </a:moveTo>
                  <a:cubicBezTo>
                    <a:pt x="2275" y="738"/>
                    <a:pt x="2272" y="740"/>
                    <a:pt x="2272" y="744"/>
                  </a:cubicBezTo>
                  <a:cubicBezTo>
                    <a:pt x="2272" y="747"/>
                    <a:pt x="2275" y="751"/>
                    <a:pt x="2279" y="751"/>
                  </a:cubicBezTo>
                  <a:cubicBezTo>
                    <a:pt x="2282" y="751"/>
                    <a:pt x="2285" y="747"/>
                    <a:pt x="2285" y="744"/>
                  </a:cubicBezTo>
                  <a:cubicBezTo>
                    <a:pt x="2285" y="740"/>
                    <a:pt x="2282" y="738"/>
                    <a:pt x="2279" y="738"/>
                  </a:cubicBezTo>
                  <a:close/>
                  <a:moveTo>
                    <a:pt x="2279" y="738"/>
                  </a:moveTo>
                  <a:cubicBezTo>
                    <a:pt x="2275" y="738"/>
                    <a:pt x="2272" y="740"/>
                    <a:pt x="2272" y="744"/>
                  </a:cubicBezTo>
                  <a:cubicBezTo>
                    <a:pt x="2272" y="747"/>
                    <a:pt x="2275" y="751"/>
                    <a:pt x="2279" y="751"/>
                  </a:cubicBezTo>
                  <a:cubicBezTo>
                    <a:pt x="2282" y="751"/>
                    <a:pt x="2285" y="747"/>
                    <a:pt x="2285" y="744"/>
                  </a:cubicBezTo>
                  <a:cubicBezTo>
                    <a:pt x="2285" y="740"/>
                    <a:pt x="2282" y="738"/>
                    <a:pt x="2279" y="738"/>
                  </a:cubicBezTo>
                  <a:close/>
                  <a:moveTo>
                    <a:pt x="2279" y="738"/>
                  </a:moveTo>
                  <a:cubicBezTo>
                    <a:pt x="2275" y="738"/>
                    <a:pt x="2272" y="740"/>
                    <a:pt x="2272" y="744"/>
                  </a:cubicBezTo>
                  <a:cubicBezTo>
                    <a:pt x="2272" y="747"/>
                    <a:pt x="2275" y="751"/>
                    <a:pt x="2279" y="751"/>
                  </a:cubicBezTo>
                  <a:cubicBezTo>
                    <a:pt x="2282" y="751"/>
                    <a:pt x="2285" y="747"/>
                    <a:pt x="2285" y="744"/>
                  </a:cubicBezTo>
                  <a:cubicBezTo>
                    <a:pt x="2285" y="740"/>
                    <a:pt x="2282" y="738"/>
                    <a:pt x="2279" y="738"/>
                  </a:cubicBezTo>
                  <a:close/>
                  <a:moveTo>
                    <a:pt x="2279" y="738"/>
                  </a:moveTo>
                  <a:cubicBezTo>
                    <a:pt x="2275" y="738"/>
                    <a:pt x="2272" y="740"/>
                    <a:pt x="2272" y="744"/>
                  </a:cubicBezTo>
                  <a:cubicBezTo>
                    <a:pt x="2272" y="747"/>
                    <a:pt x="2275" y="751"/>
                    <a:pt x="2279" y="751"/>
                  </a:cubicBezTo>
                  <a:cubicBezTo>
                    <a:pt x="2282" y="751"/>
                    <a:pt x="2285" y="747"/>
                    <a:pt x="2285" y="744"/>
                  </a:cubicBezTo>
                  <a:cubicBezTo>
                    <a:pt x="2285" y="740"/>
                    <a:pt x="2282" y="738"/>
                    <a:pt x="2279" y="738"/>
                  </a:cubicBezTo>
                  <a:close/>
                  <a:moveTo>
                    <a:pt x="2025" y="617"/>
                  </a:moveTo>
                  <a:cubicBezTo>
                    <a:pt x="2025" y="75"/>
                    <a:pt x="2025" y="75"/>
                    <a:pt x="2025" y="75"/>
                  </a:cubicBezTo>
                  <a:cubicBezTo>
                    <a:pt x="2025" y="50"/>
                    <a:pt x="2004" y="29"/>
                    <a:pt x="1978" y="29"/>
                  </a:cubicBezTo>
                  <a:cubicBezTo>
                    <a:pt x="1164" y="29"/>
                    <a:pt x="1164" y="29"/>
                    <a:pt x="1164" y="29"/>
                  </a:cubicBezTo>
                  <a:cubicBezTo>
                    <a:pt x="1139" y="29"/>
                    <a:pt x="1118" y="50"/>
                    <a:pt x="1118" y="75"/>
                  </a:cubicBezTo>
                  <a:cubicBezTo>
                    <a:pt x="1118" y="617"/>
                    <a:pt x="1118" y="617"/>
                    <a:pt x="1118" y="617"/>
                  </a:cubicBezTo>
                  <a:cubicBezTo>
                    <a:pt x="1028" y="730"/>
                    <a:pt x="1028" y="730"/>
                    <a:pt x="1028" y="730"/>
                  </a:cubicBezTo>
                  <a:cubicBezTo>
                    <a:pt x="1028" y="761"/>
                    <a:pt x="1053" y="787"/>
                    <a:pt x="1084" y="787"/>
                  </a:cubicBezTo>
                  <a:cubicBezTo>
                    <a:pt x="2059" y="787"/>
                    <a:pt x="2059" y="787"/>
                    <a:pt x="2059" y="787"/>
                  </a:cubicBezTo>
                  <a:cubicBezTo>
                    <a:pt x="2089" y="787"/>
                    <a:pt x="2116" y="761"/>
                    <a:pt x="2116" y="730"/>
                  </a:cubicBezTo>
                  <a:cubicBezTo>
                    <a:pt x="2025" y="617"/>
                    <a:pt x="2025" y="617"/>
                    <a:pt x="2025" y="617"/>
                  </a:cubicBezTo>
                  <a:cubicBezTo>
                    <a:pt x="2025" y="617"/>
                    <a:pt x="2025" y="617"/>
                    <a:pt x="2025" y="617"/>
                  </a:cubicBezTo>
                  <a:close/>
                  <a:moveTo>
                    <a:pt x="1648" y="743"/>
                  </a:moveTo>
                  <a:cubicBezTo>
                    <a:pt x="1479" y="743"/>
                    <a:pt x="1479" y="743"/>
                    <a:pt x="1479" y="743"/>
                  </a:cubicBezTo>
                  <a:cubicBezTo>
                    <a:pt x="1469" y="743"/>
                    <a:pt x="1461" y="739"/>
                    <a:pt x="1461" y="734"/>
                  </a:cubicBezTo>
                  <a:cubicBezTo>
                    <a:pt x="1482" y="698"/>
                    <a:pt x="1482" y="698"/>
                    <a:pt x="1482" y="698"/>
                  </a:cubicBezTo>
                  <a:cubicBezTo>
                    <a:pt x="1482" y="694"/>
                    <a:pt x="1488" y="692"/>
                    <a:pt x="1496" y="692"/>
                  </a:cubicBezTo>
                  <a:cubicBezTo>
                    <a:pt x="1631" y="692"/>
                    <a:pt x="1631" y="692"/>
                    <a:pt x="1631" y="692"/>
                  </a:cubicBezTo>
                  <a:cubicBezTo>
                    <a:pt x="1638" y="692"/>
                    <a:pt x="1644" y="694"/>
                    <a:pt x="1644" y="698"/>
                  </a:cubicBezTo>
                  <a:cubicBezTo>
                    <a:pt x="1665" y="734"/>
                    <a:pt x="1665" y="734"/>
                    <a:pt x="1665" y="734"/>
                  </a:cubicBezTo>
                  <a:cubicBezTo>
                    <a:pt x="1665" y="739"/>
                    <a:pt x="1657" y="743"/>
                    <a:pt x="1648" y="743"/>
                  </a:cubicBezTo>
                  <a:close/>
                  <a:moveTo>
                    <a:pt x="1992" y="617"/>
                  </a:moveTo>
                  <a:cubicBezTo>
                    <a:pt x="1154" y="617"/>
                    <a:pt x="1154" y="617"/>
                    <a:pt x="1154" y="617"/>
                  </a:cubicBezTo>
                  <a:cubicBezTo>
                    <a:pt x="1154" y="83"/>
                    <a:pt x="1154" y="83"/>
                    <a:pt x="1154" y="83"/>
                  </a:cubicBezTo>
                  <a:cubicBezTo>
                    <a:pt x="1154" y="70"/>
                    <a:pt x="1164" y="60"/>
                    <a:pt x="1179" y="60"/>
                  </a:cubicBezTo>
                  <a:cubicBezTo>
                    <a:pt x="1969" y="60"/>
                    <a:pt x="1969" y="60"/>
                    <a:pt x="1969" y="60"/>
                  </a:cubicBezTo>
                  <a:cubicBezTo>
                    <a:pt x="1982" y="60"/>
                    <a:pt x="1992" y="70"/>
                    <a:pt x="1992" y="83"/>
                  </a:cubicBezTo>
                  <a:cubicBezTo>
                    <a:pt x="1992" y="617"/>
                    <a:pt x="1992" y="617"/>
                    <a:pt x="1992" y="617"/>
                  </a:cubicBezTo>
                  <a:cubicBezTo>
                    <a:pt x="1992" y="617"/>
                    <a:pt x="1992" y="617"/>
                    <a:pt x="1992" y="617"/>
                  </a:cubicBezTo>
                  <a:close/>
                  <a:moveTo>
                    <a:pt x="426" y="73"/>
                  </a:moveTo>
                  <a:cubicBezTo>
                    <a:pt x="426" y="73"/>
                    <a:pt x="426" y="73"/>
                    <a:pt x="426" y="73"/>
                  </a:cubicBezTo>
                  <a:cubicBezTo>
                    <a:pt x="426" y="419"/>
                    <a:pt x="426" y="419"/>
                    <a:pt x="426" y="419"/>
                  </a:cubicBezTo>
                  <a:cubicBezTo>
                    <a:pt x="426" y="419"/>
                    <a:pt x="426" y="419"/>
                    <a:pt x="374" y="465"/>
                  </a:cubicBezTo>
                  <a:cubicBezTo>
                    <a:pt x="374" y="465"/>
                    <a:pt x="374" y="465"/>
                    <a:pt x="374" y="20"/>
                  </a:cubicBezTo>
                  <a:cubicBezTo>
                    <a:pt x="374" y="7"/>
                    <a:pt x="382" y="0"/>
                    <a:pt x="394" y="0"/>
                  </a:cubicBezTo>
                  <a:cubicBezTo>
                    <a:pt x="394" y="0"/>
                    <a:pt x="394" y="0"/>
                    <a:pt x="906" y="0"/>
                  </a:cubicBezTo>
                  <a:cubicBezTo>
                    <a:pt x="918" y="0"/>
                    <a:pt x="928" y="7"/>
                    <a:pt x="928" y="20"/>
                  </a:cubicBezTo>
                  <a:cubicBezTo>
                    <a:pt x="928" y="20"/>
                    <a:pt x="928" y="20"/>
                    <a:pt x="928" y="783"/>
                  </a:cubicBezTo>
                  <a:cubicBezTo>
                    <a:pt x="928" y="796"/>
                    <a:pt x="918" y="803"/>
                    <a:pt x="906" y="803"/>
                  </a:cubicBezTo>
                  <a:cubicBezTo>
                    <a:pt x="906" y="803"/>
                    <a:pt x="906" y="803"/>
                    <a:pt x="394" y="803"/>
                  </a:cubicBezTo>
                  <a:cubicBezTo>
                    <a:pt x="382" y="803"/>
                    <a:pt x="374" y="796"/>
                    <a:pt x="374" y="783"/>
                  </a:cubicBezTo>
                  <a:cubicBezTo>
                    <a:pt x="374" y="783"/>
                    <a:pt x="374" y="760"/>
                    <a:pt x="374" y="687"/>
                  </a:cubicBezTo>
                  <a:cubicBezTo>
                    <a:pt x="374" y="675"/>
                    <a:pt x="374" y="662"/>
                    <a:pt x="374" y="648"/>
                  </a:cubicBezTo>
                  <a:cubicBezTo>
                    <a:pt x="374" y="638"/>
                    <a:pt x="374" y="626"/>
                    <a:pt x="374" y="614"/>
                  </a:cubicBezTo>
                  <a:cubicBezTo>
                    <a:pt x="374" y="607"/>
                    <a:pt x="374" y="599"/>
                    <a:pt x="374" y="590"/>
                  </a:cubicBezTo>
                  <a:cubicBezTo>
                    <a:pt x="374" y="590"/>
                    <a:pt x="374" y="590"/>
                    <a:pt x="426" y="543"/>
                  </a:cubicBezTo>
                  <a:cubicBezTo>
                    <a:pt x="426" y="543"/>
                    <a:pt x="426" y="585"/>
                    <a:pt x="426" y="730"/>
                  </a:cubicBezTo>
                  <a:cubicBezTo>
                    <a:pt x="426" y="740"/>
                    <a:pt x="434" y="749"/>
                    <a:pt x="442" y="749"/>
                  </a:cubicBezTo>
                  <a:cubicBezTo>
                    <a:pt x="442" y="749"/>
                    <a:pt x="442" y="749"/>
                    <a:pt x="857" y="749"/>
                  </a:cubicBezTo>
                  <a:cubicBezTo>
                    <a:pt x="866" y="749"/>
                    <a:pt x="874" y="740"/>
                    <a:pt x="874" y="730"/>
                  </a:cubicBezTo>
                  <a:cubicBezTo>
                    <a:pt x="874" y="730"/>
                    <a:pt x="874" y="730"/>
                    <a:pt x="874" y="73"/>
                  </a:cubicBezTo>
                  <a:cubicBezTo>
                    <a:pt x="874" y="62"/>
                    <a:pt x="866" y="53"/>
                    <a:pt x="857" y="53"/>
                  </a:cubicBezTo>
                  <a:cubicBezTo>
                    <a:pt x="857" y="53"/>
                    <a:pt x="857" y="53"/>
                    <a:pt x="442" y="53"/>
                  </a:cubicBezTo>
                  <a:cubicBezTo>
                    <a:pt x="434" y="53"/>
                    <a:pt x="426" y="62"/>
                    <a:pt x="426" y="73"/>
                  </a:cubicBezTo>
                  <a:close/>
                  <a:moveTo>
                    <a:pt x="122" y="752"/>
                  </a:moveTo>
                  <a:cubicBezTo>
                    <a:pt x="132" y="742"/>
                    <a:pt x="155" y="726"/>
                    <a:pt x="169" y="724"/>
                  </a:cubicBezTo>
                  <a:cubicBezTo>
                    <a:pt x="187" y="720"/>
                    <a:pt x="205" y="720"/>
                    <a:pt x="224" y="720"/>
                  </a:cubicBezTo>
                  <a:cubicBezTo>
                    <a:pt x="241" y="719"/>
                    <a:pt x="256" y="711"/>
                    <a:pt x="274" y="707"/>
                  </a:cubicBezTo>
                  <a:cubicBezTo>
                    <a:pt x="288" y="702"/>
                    <a:pt x="295" y="702"/>
                    <a:pt x="305" y="699"/>
                  </a:cubicBezTo>
                  <a:cubicBezTo>
                    <a:pt x="328" y="696"/>
                    <a:pt x="325" y="696"/>
                    <a:pt x="336" y="693"/>
                  </a:cubicBezTo>
                  <a:cubicBezTo>
                    <a:pt x="348" y="690"/>
                    <a:pt x="364" y="680"/>
                    <a:pt x="366" y="666"/>
                  </a:cubicBezTo>
                  <a:cubicBezTo>
                    <a:pt x="369" y="652"/>
                    <a:pt x="355" y="635"/>
                    <a:pt x="341" y="637"/>
                  </a:cubicBezTo>
                  <a:cubicBezTo>
                    <a:pt x="309" y="639"/>
                    <a:pt x="304" y="646"/>
                    <a:pt x="275" y="647"/>
                  </a:cubicBezTo>
                  <a:cubicBezTo>
                    <a:pt x="292" y="633"/>
                    <a:pt x="300" y="630"/>
                    <a:pt x="316" y="615"/>
                  </a:cubicBezTo>
                  <a:cubicBezTo>
                    <a:pt x="334" y="599"/>
                    <a:pt x="347" y="589"/>
                    <a:pt x="364" y="574"/>
                  </a:cubicBezTo>
                  <a:cubicBezTo>
                    <a:pt x="382" y="558"/>
                    <a:pt x="397" y="546"/>
                    <a:pt x="417" y="528"/>
                  </a:cubicBezTo>
                  <a:cubicBezTo>
                    <a:pt x="433" y="514"/>
                    <a:pt x="453" y="497"/>
                    <a:pt x="462" y="478"/>
                  </a:cubicBezTo>
                  <a:cubicBezTo>
                    <a:pt x="478" y="447"/>
                    <a:pt x="466" y="430"/>
                    <a:pt x="444" y="433"/>
                  </a:cubicBezTo>
                  <a:cubicBezTo>
                    <a:pt x="426" y="434"/>
                    <a:pt x="407" y="452"/>
                    <a:pt x="393" y="464"/>
                  </a:cubicBezTo>
                  <a:cubicBezTo>
                    <a:pt x="356" y="496"/>
                    <a:pt x="318" y="526"/>
                    <a:pt x="281" y="558"/>
                  </a:cubicBezTo>
                  <a:cubicBezTo>
                    <a:pt x="295" y="546"/>
                    <a:pt x="307" y="533"/>
                    <a:pt x="323" y="519"/>
                  </a:cubicBezTo>
                  <a:cubicBezTo>
                    <a:pt x="339" y="503"/>
                    <a:pt x="342" y="488"/>
                    <a:pt x="332" y="476"/>
                  </a:cubicBezTo>
                  <a:cubicBezTo>
                    <a:pt x="301" y="440"/>
                    <a:pt x="272" y="487"/>
                    <a:pt x="236" y="510"/>
                  </a:cubicBezTo>
                  <a:cubicBezTo>
                    <a:pt x="278" y="474"/>
                    <a:pt x="292" y="455"/>
                    <a:pt x="263" y="434"/>
                  </a:cubicBezTo>
                  <a:cubicBezTo>
                    <a:pt x="238" y="417"/>
                    <a:pt x="208" y="466"/>
                    <a:pt x="187" y="479"/>
                  </a:cubicBezTo>
                  <a:cubicBezTo>
                    <a:pt x="195" y="470"/>
                    <a:pt x="208" y="460"/>
                    <a:pt x="215" y="452"/>
                  </a:cubicBezTo>
                  <a:cubicBezTo>
                    <a:pt x="222" y="446"/>
                    <a:pt x="231" y="435"/>
                    <a:pt x="224" y="425"/>
                  </a:cubicBezTo>
                  <a:cubicBezTo>
                    <a:pt x="205" y="394"/>
                    <a:pt x="187" y="412"/>
                    <a:pt x="173" y="424"/>
                  </a:cubicBezTo>
                  <a:cubicBezTo>
                    <a:pt x="151" y="438"/>
                    <a:pt x="131" y="455"/>
                    <a:pt x="110" y="471"/>
                  </a:cubicBezTo>
                  <a:cubicBezTo>
                    <a:pt x="93" y="488"/>
                    <a:pt x="69" y="502"/>
                    <a:pt x="63" y="525"/>
                  </a:cubicBezTo>
                  <a:cubicBezTo>
                    <a:pt x="58" y="542"/>
                    <a:pt x="58" y="557"/>
                    <a:pt x="46" y="571"/>
                  </a:cubicBezTo>
                  <a:cubicBezTo>
                    <a:pt x="35" y="584"/>
                    <a:pt x="13" y="601"/>
                    <a:pt x="0" y="612"/>
                  </a:cubicBezTo>
                  <a:cubicBezTo>
                    <a:pt x="9" y="622"/>
                    <a:pt x="20" y="634"/>
                    <a:pt x="30" y="646"/>
                  </a:cubicBezTo>
                  <a:cubicBezTo>
                    <a:pt x="43" y="661"/>
                    <a:pt x="109" y="737"/>
                    <a:pt x="122" y="752"/>
                  </a:cubicBezTo>
                  <a:close/>
                </a:path>
              </a:pathLst>
            </a:cu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sp>
        <p:nvSpPr>
          <p:cNvPr id="5" name="Title 4"/>
          <p:cNvSpPr>
            <a:spLocks noGrp="1"/>
          </p:cNvSpPr>
          <p:nvPr>
            <p:ph type="title"/>
          </p:nvPr>
        </p:nvSpPr>
        <p:spPr/>
        <p:txBody>
          <a:bodyPr/>
          <a:lstStyle/>
          <a:p>
            <a:r>
              <a:rPr lang="en-US" dirty="0"/>
              <a:t>Robust Office 365 </a:t>
            </a:r>
            <a:r>
              <a:rPr lang="en-US" dirty="0" smtClean="0"/>
              <a:t>APIs</a:t>
            </a:r>
            <a:endParaRPr lang="en-US" dirty="0"/>
          </a:p>
        </p:txBody>
      </p:sp>
      <p:sp>
        <p:nvSpPr>
          <p:cNvPr id="18" name="Rectangle 17"/>
          <p:cNvSpPr/>
          <p:nvPr/>
        </p:nvSpPr>
        <p:spPr>
          <a:xfrm>
            <a:off x="1" y="6416306"/>
            <a:ext cx="11919657" cy="301648"/>
          </a:xfrm>
          <a:prstGeom prst="rect">
            <a:avLst/>
          </a:prstGeom>
        </p:spPr>
        <p:txBody>
          <a:bodyPr wrap="square">
            <a:spAutoFit/>
          </a:bodyPr>
          <a:lstStyle/>
          <a:p>
            <a:pPr algn="r" defTabSz="565936"/>
            <a:r>
              <a:rPr lang="en-US" sz="1372" dirty="0">
                <a:solidFill>
                  <a:srgbClr val="505050">
                    <a:lumMod val="75000"/>
                  </a:srgbClr>
                </a:solidFill>
                <a:cs typeface="Segoe UI" panose="020B0502040204020203" pitchFamily="34" charset="0"/>
              </a:rPr>
              <a:t>https://api.office.com/discovery/me</a:t>
            </a:r>
          </a:p>
        </p:txBody>
      </p:sp>
    </p:spTree>
    <p:extLst>
      <p:ext uri="{BB962C8B-B14F-4D97-AF65-F5344CB8AC3E}">
        <p14:creationId xmlns:p14="http://schemas.microsoft.com/office/powerpoint/2010/main" val="12111633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decel="100000" fill="hold" nodeType="clickEffect">
                                  <p:stCondLst>
                                    <p:cond delay="0"/>
                                  </p:stCondLst>
                                  <p:childTnLst>
                                    <p:set>
                                      <p:cBhvr>
                                        <p:cTn id="12" dur="1" fill="hold">
                                          <p:stCondLst>
                                            <p:cond delay="0"/>
                                          </p:stCondLst>
                                        </p:cTn>
                                        <p:tgtEl>
                                          <p:spTgt spid="6"/>
                                        </p:tgtEl>
                                        <p:attrNameLst>
                                          <p:attrName>style.visibility</p:attrName>
                                        </p:attrNameLst>
                                      </p:cBhvr>
                                      <p:to>
                                        <p:strVal val="visible"/>
                                      </p:to>
                                    </p:set>
                                    <p:anim calcmode="lin" valueType="num">
                                      <p:cBhvr additive="base">
                                        <p:cTn id="13" dur="500" fill="hold"/>
                                        <p:tgtEl>
                                          <p:spTgt spid="6"/>
                                        </p:tgtEl>
                                        <p:attrNameLst>
                                          <p:attrName>ppt_x</p:attrName>
                                        </p:attrNameLst>
                                      </p:cBhvr>
                                      <p:tavLst>
                                        <p:tav tm="0">
                                          <p:val>
                                            <p:strVal val="#ppt_x"/>
                                          </p:val>
                                        </p:tav>
                                        <p:tav tm="100000">
                                          <p:val>
                                            <p:strVal val="#ppt_x"/>
                                          </p:val>
                                        </p:tav>
                                      </p:tavLst>
                                    </p:anim>
                                    <p:anim calcmode="lin" valueType="num">
                                      <p:cBhvr additive="base">
                                        <p:cTn id="14"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decel="100000" fill="hold" nodeType="clickEffect">
                                  <p:stCondLst>
                                    <p:cond delay="0"/>
                                  </p:stCondLst>
                                  <p:childTnLst>
                                    <p:set>
                                      <p:cBhvr>
                                        <p:cTn id="18" dur="1" fill="hold">
                                          <p:stCondLst>
                                            <p:cond delay="0"/>
                                          </p:stCondLst>
                                        </p:cTn>
                                        <p:tgtEl>
                                          <p:spTgt spid="7"/>
                                        </p:tgtEl>
                                        <p:attrNameLst>
                                          <p:attrName>style.visibility</p:attrName>
                                        </p:attrNameLst>
                                      </p:cBhvr>
                                      <p:to>
                                        <p:strVal val="visible"/>
                                      </p:to>
                                    </p:set>
                                    <p:anim calcmode="lin" valueType="num">
                                      <p:cBhvr additive="base">
                                        <p:cTn id="19" dur="500" fill="hold"/>
                                        <p:tgtEl>
                                          <p:spTgt spid="7"/>
                                        </p:tgtEl>
                                        <p:attrNameLst>
                                          <p:attrName>ppt_x</p:attrName>
                                        </p:attrNameLst>
                                      </p:cBhvr>
                                      <p:tavLst>
                                        <p:tav tm="0">
                                          <p:val>
                                            <p:strVal val="#ppt_x"/>
                                          </p:val>
                                        </p:tav>
                                        <p:tav tm="100000">
                                          <p:val>
                                            <p:strVal val="#ppt_x"/>
                                          </p:val>
                                        </p:tav>
                                      </p:tavLst>
                                    </p:anim>
                                    <p:anim calcmode="lin" valueType="num">
                                      <p:cBhvr additive="base">
                                        <p:cTn id="20" dur="500" fill="hold"/>
                                        <p:tgtEl>
                                          <p:spTgt spid="7"/>
                                        </p:tgtEl>
                                        <p:attrNameLst>
                                          <p:attrName>ppt_y</p:attrName>
                                        </p:attrNameLst>
                                      </p:cBhvr>
                                      <p:tavLst>
                                        <p:tav tm="0">
                                          <p:val>
                                            <p:strVal val="1+#ppt_h/2"/>
                                          </p:val>
                                        </p:tav>
                                        <p:tav tm="100000">
                                          <p:val>
                                            <p:strVal val="#ppt_y"/>
                                          </p:val>
                                        </p:tav>
                                      </p:tavLst>
                                    </p:anim>
                                  </p:childTnLst>
                                </p:cTn>
                              </p:par>
                              <p:par>
                                <p:cTn id="21" presetID="10" presetClass="entr" presetSubtype="0" fill="hold" grpId="0" nodeType="withEffect">
                                  <p:stCondLst>
                                    <p:cond delay="1100"/>
                                  </p:stCondLst>
                                  <p:childTnLst>
                                    <p:set>
                                      <p:cBhvr>
                                        <p:cTn id="22" dur="1" fill="hold">
                                          <p:stCondLst>
                                            <p:cond delay="0"/>
                                          </p:stCondLst>
                                        </p:cTn>
                                        <p:tgtEl>
                                          <p:spTgt spid="18"/>
                                        </p:tgtEl>
                                        <p:attrNameLst>
                                          <p:attrName>style.visibility</p:attrName>
                                        </p:attrNameLst>
                                      </p:cBhvr>
                                      <p:to>
                                        <p:strVal val="visible"/>
                                      </p:to>
                                    </p:set>
                                    <p:animEffect transition="in" filter="fade">
                                      <p:cBhvr>
                                        <p:cTn id="23"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bwMode="auto">
          <a:xfrm>
            <a:off x="0" y="4374784"/>
            <a:ext cx="12188824" cy="2482323"/>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650" fontAlgn="base">
              <a:spcBef>
                <a:spcPct val="0"/>
              </a:spcBef>
              <a:spcAft>
                <a:spcPct val="0"/>
              </a:spcAft>
            </a:pPr>
            <a:endParaRPr lang="en-US" sz="1764" dirty="0">
              <a:gradFill>
                <a:gsLst>
                  <a:gs pos="10619">
                    <a:srgbClr val="505050"/>
                  </a:gs>
                  <a:gs pos="28000">
                    <a:srgbClr val="505050"/>
                  </a:gs>
                </a:gsLst>
                <a:lin ang="5400000" scaled="0"/>
              </a:gradFill>
            </a:endParaRPr>
          </a:p>
        </p:txBody>
      </p:sp>
      <p:sp>
        <p:nvSpPr>
          <p:cNvPr id="2" name="Title 1"/>
          <p:cNvSpPr>
            <a:spLocks noGrp="1"/>
          </p:cNvSpPr>
          <p:nvPr>
            <p:ph type="title"/>
          </p:nvPr>
        </p:nvSpPr>
        <p:spPr/>
        <p:txBody>
          <a:bodyPr/>
          <a:lstStyle/>
          <a:p>
            <a:r>
              <a:rPr lang="en-US" dirty="0" smtClean="0">
                <a:solidFill>
                  <a:schemeClr val="bg1">
                    <a:lumMod val="75000"/>
                  </a:schemeClr>
                </a:solidFill>
              </a:rPr>
              <a:t>Office </a:t>
            </a:r>
            <a:r>
              <a:rPr lang="en-US" dirty="0">
                <a:solidFill>
                  <a:schemeClr val="bg1">
                    <a:lumMod val="75000"/>
                  </a:schemeClr>
                </a:solidFill>
              </a:rPr>
              <a:t>365 </a:t>
            </a:r>
            <a:r>
              <a:rPr lang="en-US" dirty="0" smtClean="0">
                <a:solidFill>
                  <a:schemeClr val="bg1">
                    <a:lumMod val="75000"/>
                  </a:schemeClr>
                </a:solidFill>
              </a:rPr>
              <a:t>APIs</a:t>
            </a:r>
            <a:endParaRPr lang="en-US" dirty="0">
              <a:solidFill>
                <a:schemeClr val="bg1">
                  <a:lumMod val="75000"/>
                </a:schemeClr>
              </a:solidFill>
            </a:endParaRPr>
          </a:p>
        </p:txBody>
      </p:sp>
      <p:sp>
        <p:nvSpPr>
          <p:cNvPr id="5" name="Text Placeholder 4"/>
          <p:cNvSpPr>
            <a:spLocks noGrp="1"/>
          </p:cNvSpPr>
          <p:nvPr>
            <p:ph sz="quarter" idx="10"/>
          </p:nvPr>
        </p:nvSpPr>
        <p:spPr>
          <a:xfrm>
            <a:off x="263878" y="1632183"/>
            <a:ext cx="10542890" cy="2742601"/>
          </a:xfrm>
        </p:spPr>
        <p:txBody>
          <a:bodyPr/>
          <a:lstStyle/>
          <a:p>
            <a:r>
              <a:rPr lang="en-US" sz="3136" dirty="0">
                <a:solidFill>
                  <a:schemeClr val="bg1">
                    <a:lumMod val="75000"/>
                  </a:schemeClr>
                </a:solidFill>
              </a:rPr>
              <a:t>Simple REST/OData APIs</a:t>
            </a:r>
          </a:p>
          <a:p>
            <a:r>
              <a:rPr lang="en-US" sz="3136" dirty="0">
                <a:solidFill>
                  <a:schemeClr val="bg1">
                    <a:lumMod val="75000"/>
                  </a:schemeClr>
                </a:solidFill>
              </a:rPr>
              <a:t>Versioned</a:t>
            </a:r>
          </a:p>
          <a:p>
            <a:r>
              <a:rPr lang="en-US" sz="3136" dirty="0">
                <a:solidFill>
                  <a:schemeClr val="bg1">
                    <a:lumMod val="75000"/>
                  </a:schemeClr>
                </a:solidFill>
              </a:rPr>
              <a:t>Expose Files, Sites, Mail, Calendar and Users</a:t>
            </a:r>
          </a:p>
          <a:p>
            <a:r>
              <a:rPr lang="en-US" sz="3136" dirty="0" err="1">
                <a:solidFill>
                  <a:schemeClr val="bg1">
                    <a:lumMod val="75000"/>
                  </a:schemeClr>
                </a:solidFill>
              </a:rPr>
              <a:t>AuthN</a:t>
            </a:r>
            <a:r>
              <a:rPr lang="en-US" sz="3136" dirty="0">
                <a:solidFill>
                  <a:schemeClr val="bg1">
                    <a:lumMod val="75000"/>
                  </a:schemeClr>
                </a:solidFill>
              </a:rPr>
              <a:t>/</a:t>
            </a:r>
            <a:r>
              <a:rPr lang="en-US" sz="3136" dirty="0" err="1">
                <a:solidFill>
                  <a:schemeClr val="bg1">
                    <a:lumMod val="75000"/>
                  </a:schemeClr>
                </a:solidFill>
              </a:rPr>
              <a:t>AuthZ</a:t>
            </a:r>
            <a:r>
              <a:rPr lang="en-US" sz="3136" dirty="0">
                <a:solidFill>
                  <a:schemeClr val="bg1">
                    <a:lumMod val="75000"/>
                  </a:schemeClr>
                </a:solidFill>
              </a:rPr>
              <a:t> via Azure AD and </a:t>
            </a:r>
            <a:r>
              <a:rPr lang="en-US" sz="3136" dirty="0" err="1">
                <a:solidFill>
                  <a:schemeClr val="bg1">
                    <a:lumMod val="75000"/>
                  </a:schemeClr>
                </a:solidFill>
              </a:rPr>
              <a:t>OAuth</a:t>
            </a:r>
            <a:endParaRPr lang="en-US" sz="3136" dirty="0">
              <a:solidFill>
                <a:schemeClr val="bg1">
                  <a:lumMod val="75000"/>
                </a:schemeClr>
              </a:solidFill>
            </a:endParaRPr>
          </a:p>
          <a:p>
            <a:endParaRPr lang="en-US" sz="3136" dirty="0">
              <a:solidFill>
                <a:schemeClr val="bg1">
                  <a:lumMod val="75000"/>
                </a:schemeClr>
              </a:solidFill>
            </a:endParaRPr>
          </a:p>
        </p:txBody>
      </p:sp>
      <p:pic>
        <p:nvPicPr>
          <p:cNvPr id="5122" name="Picture 2" descr="Free your developers Left Imag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 y="4991484"/>
            <a:ext cx="1407331" cy="1865137"/>
          </a:xfrm>
          <a:prstGeom prst="rect">
            <a:avLst/>
          </a:prstGeom>
          <a:noFill/>
          <a:extLst>
            <a:ext uri="{909E8E84-426E-40DD-AFC4-6F175D3DCCD1}">
              <a14:hiddenFill xmlns:a14="http://schemas.microsoft.com/office/drawing/2010/main">
                <a:solidFill>
                  <a:srgbClr val="FFFFFF"/>
                </a:solidFill>
              </a14:hiddenFill>
            </a:ext>
          </a:extLst>
        </p:spPr>
      </p:pic>
      <p:sp>
        <p:nvSpPr>
          <p:cNvPr id="92" name="Freeform 5"/>
          <p:cNvSpPr>
            <a:spLocks noChangeAspect="1" noEditPoints="1"/>
          </p:cNvSpPr>
          <p:nvPr/>
        </p:nvSpPr>
        <p:spPr bwMode="auto">
          <a:xfrm>
            <a:off x="4265354" y="5142189"/>
            <a:ext cx="465022" cy="618102"/>
          </a:xfrm>
          <a:custGeom>
            <a:avLst/>
            <a:gdLst>
              <a:gd name="T0" fmla="*/ 120 w 304"/>
              <a:gd name="T1" fmla="*/ 0 h 390"/>
              <a:gd name="T2" fmla="*/ 45 w 304"/>
              <a:gd name="T3" fmla="*/ 65 h 390"/>
              <a:gd name="T4" fmla="*/ 45 w 304"/>
              <a:gd name="T5" fmla="*/ 91 h 390"/>
              <a:gd name="T6" fmla="*/ 0 w 304"/>
              <a:gd name="T7" fmla="*/ 132 h 390"/>
              <a:gd name="T8" fmla="*/ 0 w 304"/>
              <a:gd name="T9" fmla="*/ 390 h 390"/>
              <a:gd name="T10" fmla="*/ 263 w 304"/>
              <a:gd name="T11" fmla="*/ 390 h 390"/>
              <a:gd name="T12" fmla="*/ 263 w 304"/>
              <a:gd name="T13" fmla="*/ 323 h 390"/>
              <a:gd name="T14" fmla="*/ 304 w 304"/>
              <a:gd name="T15" fmla="*/ 323 h 390"/>
              <a:gd name="T16" fmla="*/ 304 w 304"/>
              <a:gd name="T17" fmla="*/ 0 h 390"/>
              <a:gd name="T18" fmla="*/ 120 w 304"/>
              <a:gd name="T19" fmla="*/ 0 h 390"/>
              <a:gd name="T20" fmla="*/ 120 w 304"/>
              <a:gd name="T21" fmla="*/ 0 h 390"/>
              <a:gd name="T22" fmla="*/ 120 w 304"/>
              <a:gd name="T23" fmla="*/ 0 h 390"/>
              <a:gd name="T24" fmla="*/ 237 w 304"/>
              <a:gd name="T25" fmla="*/ 366 h 390"/>
              <a:gd name="T26" fmla="*/ 26 w 304"/>
              <a:gd name="T27" fmla="*/ 366 h 390"/>
              <a:gd name="T28" fmla="*/ 26 w 304"/>
              <a:gd name="T29" fmla="*/ 156 h 390"/>
              <a:gd name="T30" fmla="*/ 45 w 304"/>
              <a:gd name="T31" fmla="*/ 156 h 390"/>
              <a:gd name="T32" fmla="*/ 45 w 304"/>
              <a:gd name="T33" fmla="*/ 323 h 390"/>
              <a:gd name="T34" fmla="*/ 237 w 304"/>
              <a:gd name="T35" fmla="*/ 323 h 390"/>
              <a:gd name="T36" fmla="*/ 237 w 304"/>
              <a:gd name="T37" fmla="*/ 366 h 390"/>
              <a:gd name="T38" fmla="*/ 237 w 304"/>
              <a:gd name="T39" fmla="*/ 366 h 390"/>
              <a:gd name="T40" fmla="*/ 237 w 304"/>
              <a:gd name="T41" fmla="*/ 366 h 390"/>
              <a:gd name="T42" fmla="*/ 278 w 304"/>
              <a:gd name="T43" fmla="*/ 299 h 390"/>
              <a:gd name="T44" fmla="*/ 72 w 304"/>
              <a:gd name="T45" fmla="*/ 299 h 390"/>
              <a:gd name="T46" fmla="*/ 72 w 304"/>
              <a:gd name="T47" fmla="*/ 87 h 390"/>
              <a:gd name="T48" fmla="*/ 152 w 304"/>
              <a:gd name="T49" fmla="*/ 87 h 390"/>
              <a:gd name="T50" fmla="*/ 152 w 304"/>
              <a:gd name="T51" fmla="*/ 24 h 390"/>
              <a:gd name="T52" fmla="*/ 278 w 304"/>
              <a:gd name="T53" fmla="*/ 24 h 390"/>
              <a:gd name="T54" fmla="*/ 278 w 304"/>
              <a:gd name="T55" fmla="*/ 299 h 390"/>
              <a:gd name="T56" fmla="*/ 278 w 304"/>
              <a:gd name="T57" fmla="*/ 299 h 390"/>
              <a:gd name="T58" fmla="*/ 278 w 304"/>
              <a:gd name="T59" fmla="*/ 299 h 390"/>
              <a:gd name="T60" fmla="*/ 113 w 304"/>
              <a:gd name="T61" fmla="*/ 135 h 390"/>
              <a:gd name="T62" fmla="*/ 251 w 304"/>
              <a:gd name="T63" fmla="*/ 135 h 390"/>
              <a:gd name="T64" fmla="*/ 251 w 304"/>
              <a:gd name="T65" fmla="*/ 159 h 390"/>
              <a:gd name="T66" fmla="*/ 113 w 304"/>
              <a:gd name="T67" fmla="*/ 159 h 390"/>
              <a:gd name="T68" fmla="*/ 113 w 304"/>
              <a:gd name="T69" fmla="*/ 135 h 390"/>
              <a:gd name="T70" fmla="*/ 113 w 304"/>
              <a:gd name="T71" fmla="*/ 135 h 390"/>
              <a:gd name="T72" fmla="*/ 113 w 304"/>
              <a:gd name="T73" fmla="*/ 173 h 390"/>
              <a:gd name="T74" fmla="*/ 251 w 304"/>
              <a:gd name="T75" fmla="*/ 173 h 390"/>
              <a:gd name="T76" fmla="*/ 251 w 304"/>
              <a:gd name="T77" fmla="*/ 197 h 390"/>
              <a:gd name="T78" fmla="*/ 113 w 304"/>
              <a:gd name="T79" fmla="*/ 197 h 390"/>
              <a:gd name="T80" fmla="*/ 113 w 304"/>
              <a:gd name="T81" fmla="*/ 173 h 390"/>
              <a:gd name="T82" fmla="*/ 113 w 304"/>
              <a:gd name="T83" fmla="*/ 173 h 390"/>
              <a:gd name="T84" fmla="*/ 113 w 304"/>
              <a:gd name="T85" fmla="*/ 212 h 390"/>
              <a:gd name="T86" fmla="*/ 251 w 304"/>
              <a:gd name="T87" fmla="*/ 212 h 390"/>
              <a:gd name="T88" fmla="*/ 251 w 304"/>
              <a:gd name="T89" fmla="*/ 236 h 390"/>
              <a:gd name="T90" fmla="*/ 113 w 304"/>
              <a:gd name="T91" fmla="*/ 236 h 390"/>
              <a:gd name="T92" fmla="*/ 113 w 304"/>
              <a:gd name="T93" fmla="*/ 212 h 390"/>
              <a:gd name="T94" fmla="*/ 113 w 304"/>
              <a:gd name="T95" fmla="*/ 212 h 390"/>
              <a:gd name="T96" fmla="*/ 113 w 304"/>
              <a:gd name="T97" fmla="*/ 250 h 390"/>
              <a:gd name="T98" fmla="*/ 251 w 304"/>
              <a:gd name="T99" fmla="*/ 250 h 390"/>
              <a:gd name="T100" fmla="*/ 251 w 304"/>
              <a:gd name="T101" fmla="*/ 274 h 390"/>
              <a:gd name="T102" fmla="*/ 113 w 304"/>
              <a:gd name="T103" fmla="*/ 274 h 390"/>
              <a:gd name="T104" fmla="*/ 113 w 304"/>
              <a:gd name="T105" fmla="*/ 250 h 390"/>
              <a:gd name="T106" fmla="*/ 113 w 304"/>
              <a:gd name="T107" fmla="*/ 250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90">
                <a:moveTo>
                  <a:pt x="120" y="0"/>
                </a:moveTo>
                <a:lnTo>
                  <a:pt x="45" y="65"/>
                </a:lnTo>
                <a:lnTo>
                  <a:pt x="45" y="91"/>
                </a:lnTo>
                <a:lnTo>
                  <a:pt x="0" y="132"/>
                </a:lnTo>
                <a:lnTo>
                  <a:pt x="0" y="390"/>
                </a:lnTo>
                <a:lnTo>
                  <a:pt x="263" y="390"/>
                </a:lnTo>
                <a:lnTo>
                  <a:pt x="263" y="323"/>
                </a:lnTo>
                <a:lnTo>
                  <a:pt x="304" y="323"/>
                </a:lnTo>
                <a:lnTo>
                  <a:pt x="304" y="0"/>
                </a:lnTo>
                <a:lnTo>
                  <a:pt x="120" y="0"/>
                </a:lnTo>
                <a:lnTo>
                  <a:pt x="120" y="0"/>
                </a:lnTo>
                <a:lnTo>
                  <a:pt x="120" y="0"/>
                </a:lnTo>
                <a:close/>
                <a:moveTo>
                  <a:pt x="237" y="366"/>
                </a:moveTo>
                <a:lnTo>
                  <a:pt x="26" y="366"/>
                </a:lnTo>
                <a:lnTo>
                  <a:pt x="26" y="156"/>
                </a:lnTo>
                <a:lnTo>
                  <a:pt x="45" y="156"/>
                </a:lnTo>
                <a:lnTo>
                  <a:pt x="45" y="323"/>
                </a:lnTo>
                <a:lnTo>
                  <a:pt x="237" y="323"/>
                </a:lnTo>
                <a:lnTo>
                  <a:pt x="237" y="366"/>
                </a:lnTo>
                <a:lnTo>
                  <a:pt x="237" y="366"/>
                </a:lnTo>
                <a:lnTo>
                  <a:pt x="237" y="366"/>
                </a:lnTo>
                <a:close/>
                <a:moveTo>
                  <a:pt x="278" y="299"/>
                </a:moveTo>
                <a:lnTo>
                  <a:pt x="72" y="299"/>
                </a:lnTo>
                <a:lnTo>
                  <a:pt x="72" y="87"/>
                </a:lnTo>
                <a:lnTo>
                  <a:pt x="152" y="87"/>
                </a:lnTo>
                <a:lnTo>
                  <a:pt x="152" y="24"/>
                </a:lnTo>
                <a:lnTo>
                  <a:pt x="278" y="24"/>
                </a:lnTo>
                <a:lnTo>
                  <a:pt x="278" y="299"/>
                </a:lnTo>
                <a:lnTo>
                  <a:pt x="278" y="299"/>
                </a:lnTo>
                <a:lnTo>
                  <a:pt x="278" y="299"/>
                </a:lnTo>
                <a:close/>
                <a:moveTo>
                  <a:pt x="113" y="135"/>
                </a:moveTo>
                <a:lnTo>
                  <a:pt x="251" y="135"/>
                </a:lnTo>
                <a:lnTo>
                  <a:pt x="251" y="159"/>
                </a:lnTo>
                <a:lnTo>
                  <a:pt x="113" y="159"/>
                </a:lnTo>
                <a:lnTo>
                  <a:pt x="113" y="135"/>
                </a:lnTo>
                <a:lnTo>
                  <a:pt x="113" y="135"/>
                </a:lnTo>
                <a:close/>
                <a:moveTo>
                  <a:pt x="113" y="173"/>
                </a:moveTo>
                <a:lnTo>
                  <a:pt x="251" y="173"/>
                </a:lnTo>
                <a:lnTo>
                  <a:pt x="251" y="197"/>
                </a:lnTo>
                <a:lnTo>
                  <a:pt x="113" y="197"/>
                </a:lnTo>
                <a:lnTo>
                  <a:pt x="113" y="173"/>
                </a:lnTo>
                <a:lnTo>
                  <a:pt x="113" y="173"/>
                </a:lnTo>
                <a:close/>
                <a:moveTo>
                  <a:pt x="113" y="212"/>
                </a:moveTo>
                <a:lnTo>
                  <a:pt x="251" y="212"/>
                </a:lnTo>
                <a:lnTo>
                  <a:pt x="251" y="236"/>
                </a:lnTo>
                <a:lnTo>
                  <a:pt x="113" y="236"/>
                </a:lnTo>
                <a:lnTo>
                  <a:pt x="113" y="212"/>
                </a:lnTo>
                <a:lnTo>
                  <a:pt x="113" y="212"/>
                </a:lnTo>
                <a:close/>
                <a:moveTo>
                  <a:pt x="113" y="250"/>
                </a:moveTo>
                <a:lnTo>
                  <a:pt x="251" y="250"/>
                </a:lnTo>
                <a:lnTo>
                  <a:pt x="251" y="274"/>
                </a:lnTo>
                <a:lnTo>
                  <a:pt x="113" y="274"/>
                </a:lnTo>
                <a:lnTo>
                  <a:pt x="113" y="250"/>
                </a:lnTo>
                <a:lnTo>
                  <a:pt x="113" y="250"/>
                </a:lnTo>
                <a:close/>
              </a:path>
            </a:pathLst>
          </a:cu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10" tIns="44786" rIns="0" bIns="44786" numCol="1" spcCol="0" rtlCol="0" fromWordArt="0" anchor="ctr" anchorCtr="0" forceAA="0" compatLnSpc="1">
            <a:prstTxWarp prst="textNoShape">
              <a:avLst/>
            </a:prstTxWarp>
            <a:noAutofit/>
          </a:bodyPr>
          <a:lstStyle/>
          <a:p>
            <a:pPr defTabSz="913469">
              <a:lnSpc>
                <a:spcPct val="90000"/>
              </a:lnSpc>
              <a:spcAft>
                <a:spcPts val="588"/>
              </a:spcAft>
            </a:pPr>
            <a:endParaRPr lang="en-US" sz="1370" b="1" dirty="0">
              <a:solidFill>
                <a:srgbClr val="505050">
                  <a:lumMod val="75000"/>
                </a:srgbClr>
              </a:solidFill>
            </a:endParaRPr>
          </a:p>
        </p:txBody>
      </p:sp>
      <p:sp>
        <p:nvSpPr>
          <p:cNvPr id="97" name="TextBox 96"/>
          <p:cNvSpPr txBox="1"/>
          <p:nvPr/>
        </p:nvSpPr>
        <p:spPr>
          <a:xfrm>
            <a:off x="2869311" y="5770413"/>
            <a:ext cx="1130573" cy="669658"/>
          </a:xfrm>
          <a:prstGeom prst="rect">
            <a:avLst/>
          </a:prstGeom>
          <a:noFill/>
        </p:spPr>
        <p:txBody>
          <a:bodyPr wrap="square" lIns="179238" tIns="143391" rIns="179238" bIns="143391" rtlCol="0">
            <a:spAutoFit/>
          </a:bodyPr>
          <a:lstStyle/>
          <a:p>
            <a:pPr algn="ctr" defTabSz="914093">
              <a:lnSpc>
                <a:spcPct val="90000"/>
              </a:lnSpc>
              <a:spcAft>
                <a:spcPts val="588"/>
              </a:spcAft>
            </a:pPr>
            <a:r>
              <a:rPr lang="en-US" sz="1372" dirty="0">
                <a:solidFill>
                  <a:srgbClr val="505050">
                    <a:lumMod val="75000"/>
                  </a:srgbClr>
                </a:solidFill>
              </a:rPr>
              <a:t>Users and </a:t>
            </a:r>
            <a:br>
              <a:rPr lang="en-US" sz="1372" dirty="0">
                <a:solidFill>
                  <a:srgbClr val="505050">
                    <a:lumMod val="75000"/>
                  </a:srgbClr>
                </a:solidFill>
              </a:rPr>
            </a:br>
            <a:r>
              <a:rPr lang="en-US" sz="1372" dirty="0">
                <a:solidFill>
                  <a:srgbClr val="505050">
                    <a:lumMod val="75000"/>
                  </a:srgbClr>
                </a:solidFill>
              </a:rPr>
              <a:t>groups</a:t>
            </a:r>
          </a:p>
        </p:txBody>
      </p:sp>
      <p:sp>
        <p:nvSpPr>
          <p:cNvPr id="98" name="TextBox 97"/>
          <p:cNvSpPr txBox="1"/>
          <p:nvPr/>
        </p:nvSpPr>
        <p:spPr>
          <a:xfrm>
            <a:off x="3932579" y="5785252"/>
            <a:ext cx="1130573" cy="479620"/>
          </a:xfrm>
          <a:prstGeom prst="rect">
            <a:avLst/>
          </a:prstGeom>
          <a:noFill/>
        </p:spPr>
        <p:txBody>
          <a:bodyPr wrap="square" lIns="179238" tIns="143391" rIns="179238" bIns="143391" rtlCol="0">
            <a:spAutoFit/>
          </a:bodyPr>
          <a:lstStyle/>
          <a:p>
            <a:pPr algn="ctr" defTabSz="914093">
              <a:lnSpc>
                <a:spcPct val="90000"/>
              </a:lnSpc>
              <a:spcAft>
                <a:spcPts val="588"/>
              </a:spcAft>
            </a:pPr>
            <a:r>
              <a:rPr lang="en-US" sz="1372" dirty="0">
                <a:solidFill>
                  <a:srgbClr val="505050">
                    <a:lumMod val="75000"/>
                  </a:srgbClr>
                </a:solidFill>
              </a:rPr>
              <a:t>Files</a:t>
            </a:r>
          </a:p>
        </p:txBody>
      </p:sp>
      <p:sp>
        <p:nvSpPr>
          <p:cNvPr id="99" name="TextBox 98"/>
          <p:cNvSpPr txBox="1"/>
          <p:nvPr/>
        </p:nvSpPr>
        <p:spPr>
          <a:xfrm>
            <a:off x="4927861" y="5770414"/>
            <a:ext cx="1130573" cy="479620"/>
          </a:xfrm>
          <a:prstGeom prst="rect">
            <a:avLst/>
          </a:prstGeom>
          <a:noFill/>
        </p:spPr>
        <p:txBody>
          <a:bodyPr wrap="square" lIns="179238" tIns="143391" rIns="179238" bIns="143391" rtlCol="0">
            <a:spAutoFit/>
          </a:bodyPr>
          <a:lstStyle/>
          <a:p>
            <a:pPr algn="ctr" defTabSz="914093">
              <a:lnSpc>
                <a:spcPct val="90000"/>
              </a:lnSpc>
              <a:spcAft>
                <a:spcPts val="588"/>
              </a:spcAft>
            </a:pPr>
            <a:r>
              <a:rPr lang="en-US" sz="1372" dirty="0">
                <a:solidFill>
                  <a:srgbClr val="505050">
                    <a:lumMod val="75000"/>
                  </a:srgbClr>
                </a:solidFill>
              </a:rPr>
              <a:t>Mail</a:t>
            </a:r>
          </a:p>
        </p:txBody>
      </p:sp>
      <p:sp>
        <p:nvSpPr>
          <p:cNvPr id="100" name="TextBox 99"/>
          <p:cNvSpPr txBox="1"/>
          <p:nvPr/>
        </p:nvSpPr>
        <p:spPr>
          <a:xfrm>
            <a:off x="6108020" y="5770413"/>
            <a:ext cx="1130573" cy="479620"/>
          </a:xfrm>
          <a:prstGeom prst="rect">
            <a:avLst/>
          </a:prstGeom>
          <a:noFill/>
        </p:spPr>
        <p:txBody>
          <a:bodyPr wrap="square" lIns="179238" tIns="143391" rIns="179238" bIns="143391" rtlCol="0">
            <a:spAutoFit/>
          </a:bodyPr>
          <a:lstStyle/>
          <a:p>
            <a:pPr algn="ctr" defTabSz="914093">
              <a:lnSpc>
                <a:spcPct val="90000"/>
              </a:lnSpc>
              <a:spcAft>
                <a:spcPts val="588"/>
              </a:spcAft>
            </a:pPr>
            <a:r>
              <a:rPr lang="en-US" sz="1372" dirty="0">
                <a:solidFill>
                  <a:srgbClr val="505050">
                    <a:lumMod val="75000"/>
                  </a:srgbClr>
                </a:solidFill>
              </a:rPr>
              <a:t>Calendar</a:t>
            </a:r>
          </a:p>
        </p:txBody>
      </p:sp>
      <p:sp>
        <p:nvSpPr>
          <p:cNvPr id="101" name="TextBox 100"/>
          <p:cNvSpPr txBox="1"/>
          <p:nvPr/>
        </p:nvSpPr>
        <p:spPr>
          <a:xfrm>
            <a:off x="7186581" y="5770412"/>
            <a:ext cx="1130573" cy="479620"/>
          </a:xfrm>
          <a:prstGeom prst="rect">
            <a:avLst/>
          </a:prstGeom>
          <a:noFill/>
        </p:spPr>
        <p:txBody>
          <a:bodyPr wrap="square" lIns="179238" tIns="143391" rIns="179238" bIns="143391" rtlCol="0">
            <a:spAutoFit/>
          </a:bodyPr>
          <a:lstStyle/>
          <a:p>
            <a:pPr algn="ctr" defTabSz="914093">
              <a:lnSpc>
                <a:spcPct val="90000"/>
              </a:lnSpc>
              <a:spcAft>
                <a:spcPts val="588"/>
              </a:spcAft>
            </a:pPr>
            <a:r>
              <a:rPr lang="en-US" sz="1372" dirty="0">
                <a:solidFill>
                  <a:srgbClr val="505050">
                    <a:lumMod val="75000"/>
                  </a:srgbClr>
                </a:solidFill>
              </a:rPr>
              <a:t>Contacts</a:t>
            </a:r>
          </a:p>
        </p:txBody>
      </p:sp>
      <p:sp>
        <p:nvSpPr>
          <p:cNvPr id="94" name="Freeform 18"/>
          <p:cNvSpPr>
            <a:spLocks noChangeAspect="1" noEditPoints="1"/>
          </p:cNvSpPr>
          <p:nvPr/>
        </p:nvSpPr>
        <p:spPr bwMode="auto">
          <a:xfrm>
            <a:off x="5163110" y="5163340"/>
            <a:ext cx="660073" cy="487276"/>
          </a:xfrm>
          <a:custGeom>
            <a:avLst/>
            <a:gdLst>
              <a:gd name="T0" fmla="*/ 364 w 780"/>
              <a:gd name="T1" fmla="*/ 241 h 440"/>
              <a:gd name="T2" fmla="*/ 5 w 780"/>
              <a:gd name="T3" fmla="*/ 27 h 440"/>
              <a:gd name="T4" fmla="*/ 48 w 780"/>
              <a:gd name="T5" fmla="*/ 0 h 440"/>
              <a:gd name="T6" fmla="*/ 732 w 780"/>
              <a:gd name="T7" fmla="*/ 0 h 440"/>
              <a:gd name="T8" fmla="*/ 775 w 780"/>
              <a:gd name="T9" fmla="*/ 27 h 440"/>
              <a:gd name="T10" fmla="*/ 416 w 780"/>
              <a:gd name="T11" fmla="*/ 240 h 440"/>
              <a:gd name="T12" fmla="*/ 416 w 780"/>
              <a:gd name="T13" fmla="*/ 241 h 440"/>
              <a:gd name="T14" fmla="*/ 390 w 780"/>
              <a:gd name="T15" fmla="*/ 247 h 440"/>
              <a:gd name="T16" fmla="*/ 364 w 780"/>
              <a:gd name="T17" fmla="*/ 241 h 440"/>
              <a:gd name="T18" fmla="*/ 780 w 780"/>
              <a:gd name="T19" fmla="*/ 324 h 440"/>
              <a:gd name="T20" fmla="*/ 780 w 780"/>
              <a:gd name="T21" fmla="*/ 66 h 440"/>
              <a:gd name="T22" fmla="*/ 563 w 780"/>
              <a:gd name="T23" fmla="*/ 195 h 440"/>
              <a:gd name="T24" fmla="*/ 780 w 780"/>
              <a:gd name="T25" fmla="*/ 324 h 440"/>
              <a:gd name="T26" fmla="*/ 0 w 780"/>
              <a:gd name="T27" fmla="*/ 392 h 440"/>
              <a:gd name="T28" fmla="*/ 48 w 780"/>
              <a:gd name="T29" fmla="*/ 440 h 440"/>
              <a:gd name="T30" fmla="*/ 732 w 780"/>
              <a:gd name="T31" fmla="*/ 440 h 440"/>
              <a:gd name="T32" fmla="*/ 780 w 780"/>
              <a:gd name="T33" fmla="*/ 392 h 440"/>
              <a:gd name="T34" fmla="*/ 780 w 780"/>
              <a:gd name="T35" fmla="*/ 366 h 440"/>
              <a:gd name="T36" fmla="*/ 528 w 780"/>
              <a:gd name="T37" fmla="*/ 216 h 440"/>
              <a:gd name="T38" fmla="*/ 435 w 780"/>
              <a:gd name="T39" fmla="*/ 271 h 440"/>
              <a:gd name="T40" fmla="*/ 390 w 780"/>
              <a:gd name="T41" fmla="*/ 283 h 440"/>
              <a:gd name="T42" fmla="*/ 390 w 780"/>
              <a:gd name="T43" fmla="*/ 283 h 440"/>
              <a:gd name="T44" fmla="*/ 344 w 780"/>
              <a:gd name="T45" fmla="*/ 271 h 440"/>
              <a:gd name="T46" fmla="*/ 252 w 780"/>
              <a:gd name="T47" fmla="*/ 216 h 440"/>
              <a:gd name="T48" fmla="*/ 0 w 780"/>
              <a:gd name="T49" fmla="*/ 366 h 440"/>
              <a:gd name="T50" fmla="*/ 0 w 780"/>
              <a:gd name="T51" fmla="*/ 392 h 440"/>
              <a:gd name="T52" fmla="*/ 217 w 780"/>
              <a:gd name="T53" fmla="*/ 195 h 440"/>
              <a:gd name="T54" fmla="*/ 0 w 780"/>
              <a:gd name="T55" fmla="*/ 66 h 440"/>
              <a:gd name="T56" fmla="*/ 0 w 780"/>
              <a:gd name="T57" fmla="*/ 324 h 440"/>
              <a:gd name="T58" fmla="*/ 217 w 780"/>
              <a:gd name="T59" fmla="*/ 195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80" h="440">
                <a:moveTo>
                  <a:pt x="364" y="241"/>
                </a:moveTo>
                <a:cubicBezTo>
                  <a:pt x="5" y="27"/>
                  <a:pt x="5" y="27"/>
                  <a:pt x="5" y="27"/>
                </a:cubicBezTo>
                <a:cubicBezTo>
                  <a:pt x="13" y="11"/>
                  <a:pt x="29" y="0"/>
                  <a:pt x="48" y="0"/>
                </a:cubicBezTo>
                <a:cubicBezTo>
                  <a:pt x="732" y="0"/>
                  <a:pt x="732" y="0"/>
                  <a:pt x="732" y="0"/>
                </a:cubicBezTo>
                <a:cubicBezTo>
                  <a:pt x="751" y="0"/>
                  <a:pt x="767" y="11"/>
                  <a:pt x="775" y="27"/>
                </a:cubicBezTo>
                <a:cubicBezTo>
                  <a:pt x="416" y="240"/>
                  <a:pt x="416" y="240"/>
                  <a:pt x="416" y="240"/>
                </a:cubicBezTo>
                <a:cubicBezTo>
                  <a:pt x="416" y="241"/>
                  <a:pt x="416" y="241"/>
                  <a:pt x="416" y="241"/>
                </a:cubicBezTo>
                <a:cubicBezTo>
                  <a:pt x="409" y="245"/>
                  <a:pt x="400" y="247"/>
                  <a:pt x="390" y="247"/>
                </a:cubicBezTo>
                <a:cubicBezTo>
                  <a:pt x="380" y="247"/>
                  <a:pt x="370" y="245"/>
                  <a:pt x="364" y="241"/>
                </a:cubicBezTo>
                <a:close/>
                <a:moveTo>
                  <a:pt x="780" y="324"/>
                </a:moveTo>
                <a:cubicBezTo>
                  <a:pt x="780" y="66"/>
                  <a:pt x="780" y="66"/>
                  <a:pt x="780" y="66"/>
                </a:cubicBezTo>
                <a:cubicBezTo>
                  <a:pt x="563" y="195"/>
                  <a:pt x="563" y="195"/>
                  <a:pt x="563" y="195"/>
                </a:cubicBezTo>
                <a:lnTo>
                  <a:pt x="780" y="324"/>
                </a:lnTo>
                <a:close/>
                <a:moveTo>
                  <a:pt x="0" y="392"/>
                </a:moveTo>
                <a:cubicBezTo>
                  <a:pt x="0" y="419"/>
                  <a:pt x="21" y="440"/>
                  <a:pt x="48" y="440"/>
                </a:cubicBezTo>
                <a:cubicBezTo>
                  <a:pt x="732" y="440"/>
                  <a:pt x="732" y="440"/>
                  <a:pt x="732" y="440"/>
                </a:cubicBezTo>
                <a:cubicBezTo>
                  <a:pt x="758" y="440"/>
                  <a:pt x="780" y="419"/>
                  <a:pt x="780" y="392"/>
                </a:cubicBezTo>
                <a:cubicBezTo>
                  <a:pt x="780" y="366"/>
                  <a:pt x="780" y="366"/>
                  <a:pt x="780" y="366"/>
                </a:cubicBezTo>
                <a:cubicBezTo>
                  <a:pt x="528" y="216"/>
                  <a:pt x="528" y="216"/>
                  <a:pt x="528" y="216"/>
                </a:cubicBezTo>
                <a:cubicBezTo>
                  <a:pt x="435" y="271"/>
                  <a:pt x="435" y="271"/>
                  <a:pt x="435" y="271"/>
                </a:cubicBezTo>
                <a:cubicBezTo>
                  <a:pt x="423" y="279"/>
                  <a:pt x="407" y="283"/>
                  <a:pt x="390" y="283"/>
                </a:cubicBezTo>
                <a:cubicBezTo>
                  <a:pt x="390" y="283"/>
                  <a:pt x="390" y="283"/>
                  <a:pt x="390" y="283"/>
                </a:cubicBezTo>
                <a:cubicBezTo>
                  <a:pt x="373" y="283"/>
                  <a:pt x="357" y="279"/>
                  <a:pt x="344" y="271"/>
                </a:cubicBezTo>
                <a:cubicBezTo>
                  <a:pt x="252" y="216"/>
                  <a:pt x="252" y="216"/>
                  <a:pt x="252" y="216"/>
                </a:cubicBezTo>
                <a:cubicBezTo>
                  <a:pt x="0" y="366"/>
                  <a:pt x="0" y="366"/>
                  <a:pt x="0" y="366"/>
                </a:cubicBezTo>
                <a:lnTo>
                  <a:pt x="0" y="392"/>
                </a:lnTo>
                <a:close/>
                <a:moveTo>
                  <a:pt x="217" y="195"/>
                </a:moveTo>
                <a:cubicBezTo>
                  <a:pt x="0" y="66"/>
                  <a:pt x="0" y="66"/>
                  <a:pt x="0" y="66"/>
                </a:cubicBezTo>
                <a:cubicBezTo>
                  <a:pt x="0" y="324"/>
                  <a:pt x="0" y="324"/>
                  <a:pt x="0" y="324"/>
                </a:cubicBezTo>
                <a:lnTo>
                  <a:pt x="217" y="195"/>
                </a:lnTo>
                <a:close/>
              </a:path>
            </a:pathLst>
          </a:custGeom>
          <a:solidFill>
            <a:schemeClr val="bg1">
              <a:lumMod val="75000"/>
            </a:schemeClr>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10" tIns="44786" rIns="0" bIns="44786" numCol="1" spcCol="0" rtlCol="0" fromWordArt="0" anchor="ctr" anchorCtr="0" forceAA="0" compatLnSpc="1">
            <a:prstTxWarp prst="textNoShape">
              <a:avLst/>
            </a:prstTxWarp>
            <a:noAutofit/>
          </a:bodyPr>
          <a:lstStyle/>
          <a:p>
            <a:pPr defTabSz="913469">
              <a:lnSpc>
                <a:spcPct val="90000"/>
              </a:lnSpc>
              <a:spcAft>
                <a:spcPts val="588"/>
              </a:spcAft>
            </a:pPr>
            <a:endParaRPr lang="en-US" sz="1370" b="1" dirty="0">
              <a:solidFill>
                <a:srgbClr val="505050">
                  <a:lumMod val="75000"/>
                </a:srgbClr>
              </a:solidFill>
            </a:endParaRPr>
          </a:p>
        </p:txBody>
      </p:sp>
      <p:sp>
        <p:nvSpPr>
          <p:cNvPr id="95" name="Freeform 109"/>
          <p:cNvSpPr>
            <a:spLocks noChangeAspect="1" noEditPoints="1"/>
          </p:cNvSpPr>
          <p:nvPr/>
        </p:nvSpPr>
        <p:spPr bwMode="auto">
          <a:xfrm>
            <a:off x="6377395" y="5142189"/>
            <a:ext cx="591820" cy="555070"/>
          </a:xfrm>
          <a:custGeom>
            <a:avLst/>
            <a:gdLst>
              <a:gd name="T0" fmla="*/ 49 w 80"/>
              <a:gd name="T1" fmla="*/ 51 h 65"/>
              <a:gd name="T2" fmla="*/ 43 w 80"/>
              <a:gd name="T3" fmla="*/ 50 h 65"/>
              <a:gd name="T4" fmla="*/ 42 w 80"/>
              <a:gd name="T5" fmla="*/ 50 h 65"/>
              <a:gd name="T6" fmla="*/ 42 w 80"/>
              <a:gd name="T7" fmla="*/ 44 h 65"/>
              <a:gd name="T8" fmla="*/ 43 w 80"/>
              <a:gd name="T9" fmla="*/ 44 h 65"/>
              <a:gd name="T10" fmla="*/ 51 w 80"/>
              <a:gd name="T11" fmla="*/ 45 h 65"/>
              <a:gd name="T12" fmla="*/ 52 w 80"/>
              <a:gd name="T13" fmla="*/ 42 h 65"/>
              <a:gd name="T14" fmla="*/ 44 w 80"/>
              <a:gd name="T15" fmla="*/ 40 h 65"/>
              <a:gd name="T16" fmla="*/ 43 w 80"/>
              <a:gd name="T17" fmla="*/ 40 h 65"/>
              <a:gd name="T18" fmla="*/ 43 w 80"/>
              <a:gd name="T19" fmla="*/ 25 h 65"/>
              <a:gd name="T20" fmla="*/ 58 w 80"/>
              <a:gd name="T21" fmla="*/ 25 h 65"/>
              <a:gd name="T22" fmla="*/ 58 w 80"/>
              <a:gd name="T23" fmla="*/ 30 h 65"/>
              <a:gd name="T24" fmla="*/ 49 w 80"/>
              <a:gd name="T25" fmla="*/ 30 h 65"/>
              <a:gd name="T26" fmla="*/ 49 w 80"/>
              <a:gd name="T27" fmla="*/ 34 h 65"/>
              <a:gd name="T28" fmla="*/ 57 w 80"/>
              <a:gd name="T29" fmla="*/ 36 h 65"/>
              <a:gd name="T30" fmla="*/ 59 w 80"/>
              <a:gd name="T31" fmla="*/ 42 h 65"/>
              <a:gd name="T32" fmla="*/ 56 w 80"/>
              <a:gd name="T33" fmla="*/ 48 h 65"/>
              <a:gd name="T34" fmla="*/ 49 w 80"/>
              <a:gd name="T35" fmla="*/ 51 h 65"/>
              <a:gd name="T36" fmla="*/ 38 w 80"/>
              <a:gd name="T37" fmla="*/ 45 h 65"/>
              <a:gd name="T38" fmla="*/ 29 w 80"/>
              <a:gd name="T39" fmla="*/ 45 h 65"/>
              <a:gd name="T40" fmla="*/ 33 w 80"/>
              <a:gd name="T41" fmla="*/ 41 h 65"/>
              <a:gd name="T42" fmla="*/ 39 w 80"/>
              <a:gd name="T43" fmla="*/ 32 h 65"/>
              <a:gd name="T44" fmla="*/ 36 w 80"/>
              <a:gd name="T45" fmla="*/ 26 h 65"/>
              <a:gd name="T46" fmla="*/ 30 w 80"/>
              <a:gd name="T47" fmla="*/ 24 h 65"/>
              <a:gd name="T48" fmla="*/ 22 w 80"/>
              <a:gd name="T49" fmla="*/ 26 h 65"/>
              <a:gd name="T50" fmla="*/ 22 w 80"/>
              <a:gd name="T51" fmla="*/ 27 h 65"/>
              <a:gd name="T52" fmla="*/ 22 w 80"/>
              <a:gd name="T53" fmla="*/ 33 h 65"/>
              <a:gd name="T54" fmla="*/ 23 w 80"/>
              <a:gd name="T55" fmla="*/ 32 h 65"/>
              <a:gd name="T56" fmla="*/ 29 w 80"/>
              <a:gd name="T57" fmla="*/ 30 h 65"/>
              <a:gd name="T58" fmla="*/ 32 w 80"/>
              <a:gd name="T59" fmla="*/ 33 h 65"/>
              <a:gd name="T60" fmla="*/ 31 w 80"/>
              <a:gd name="T61" fmla="*/ 35 h 65"/>
              <a:gd name="T62" fmla="*/ 28 w 80"/>
              <a:gd name="T63" fmla="*/ 39 h 65"/>
              <a:gd name="T64" fmla="*/ 21 w 80"/>
              <a:gd name="T65" fmla="*/ 46 h 65"/>
              <a:gd name="T66" fmla="*/ 21 w 80"/>
              <a:gd name="T67" fmla="*/ 50 h 65"/>
              <a:gd name="T68" fmla="*/ 38 w 80"/>
              <a:gd name="T69" fmla="*/ 50 h 65"/>
              <a:gd name="T70" fmla="*/ 38 w 80"/>
              <a:gd name="T71" fmla="*/ 45 h 65"/>
              <a:gd name="T72" fmla="*/ 71 w 80"/>
              <a:gd name="T73" fmla="*/ 19 h 65"/>
              <a:gd name="T74" fmla="*/ 9 w 80"/>
              <a:gd name="T75" fmla="*/ 19 h 65"/>
              <a:gd name="T76" fmla="*/ 9 w 80"/>
              <a:gd name="T77" fmla="*/ 56 h 65"/>
              <a:gd name="T78" fmla="*/ 9 w 80"/>
              <a:gd name="T79" fmla="*/ 57 h 65"/>
              <a:gd name="T80" fmla="*/ 70 w 80"/>
              <a:gd name="T81" fmla="*/ 57 h 65"/>
              <a:gd name="T82" fmla="*/ 71 w 80"/>
              <a:gd name="T83" fmla="*/ 56 h 65"/>
              <a:gd name="T84" fmla="*/ 71 w 80"/>
              <a:gd name="T85" fmla="*/ 19 h 65"/>
              <a:gd name="T86" fmla="*/ 76 w 80"/>
              <a:gd name="T87" fmla="*/ 0 h 65"/>
              <a:gd name="T88" fmla="*/ 80 w 80"/>
              <a:gd name="T89" fmla="*/ 4 h 65"/>
              <a:gd name="T90" fmla="*/ 80 w 80"/>
              <a:gd name="T91" fmla="*/ 62 h 65"/>
              <a:gd name="T92" fmla="*/ 76 w 80"/>
              <a:gd name="T93" fmla="*/ 65 h 65"/>
              <a:gd name="T94" fmla="*/ 4 w 80"/>
              <a:gd name="T95" fmla="*/ 65 h 65"/>
              <a:gd name="T96" fmla="*/ 0 w 80"/>
              <a:gd name="T97" fmla="*/ 62 h 65"/>
              <a:gd name="T98" fmla="*/ 0 w 80"/>
              <a:gd name="T99" fmla="*/ 4 h 65"/>
              <a:gd name="T100" fmla="*/ 4 w 80"/>
              <a:gd name="T101" fmla="*/ 0 h 65"/>
              <a:gd name="T102" fmla="*/ 76 w 80"/>
              <a:gd name="T103"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0" h="65">
                <a:moveTo>
                  <a:pt x="49" y="51"/>
                </a:moveTo>
                <a:cubicBezTo>
                  <a:pt x="46" y="51"/>
                  <a:pt x="44" y="51"/>
                  <a:pt x="43" y="50"/>
                </a:cubicBezTo>
                <a:cubicBezTo>
                  <a:pt x="42" y="50"/>
                  <a:pt x="42" y="50"/>
                  <a:pt x="42" y="50"/>
                </a:cubicBezTo>
                <a:cubicBezTo>
                  <a:pt x="42" y="44"/>
                  <a:pt x="42" y="44"/>
                  <a:pt x="42" y="44"/>
                </a:cubicBezTo>
                <a:cubicBezTo>
                  <a:pt x="43" y="44"/>
                  <a:pt x="43" y="44"/>
                  <a:pt x="43" y="44"/>
                </a:cubicBezTo>
                <a:cubicBezTo>
                  <a:pt x="46" y="46"/>
                  <a:pt x="50" y="46"/>
                  <a:pt x="51" y="45"/>
                </a:cubicBezTo>
                <a:cubicBezTo>
                  <a:pt x="52" y="44"/>
                  <a:pt x="52" y="43"/>
                  <a:pt x="52" y="42"/>
                </a:cubicBezTo>
                <a:cubicBezTo>
                  <a:pt x="52" y="41"/>
                  <a:pt x="51" y="39"/>
                  <a:pt x="44" y="40"/>
                </a:cubicBezTo>
                <a:cubicBezTo>
                  <a:pt x="43" y="40"/>
                  <a:pt x="43" y="40"/>
                  <a:pt x="43" y="40"/>
                </a:cubicBezTo>
                <a:cubicBezTo>
                  <a:pt x="43" y="25"/>
                  <a:pt x="43" y="25"/>
                  <a:pt x="43" y="25"/>
                </a:cubicBezTo>
                <a:cubicBezTo>
                  <a:pt x="58" y="25"/>
                  <a:pt x="58" y="25"/>
                  <a:pt x="58" y="25"/>
                </a:cubicBezTo>
                <a:cubicBezTo>
                  <a:pt x="58" y="30"/>
                  <a:pt x="58" y="30"/>
                  <a:pt x="58" y="30"/>
                </a:cubicBezTo>
                <a:cubicBezTo>
                  <a:pt x="49" y="30"/>
                  <a:pt x="49" y="30"/>
                  <a:pt x="49" y="30"/>
                </a:cubicBezTo>
                <a:cubicBezTo>
                  <a:pt x="49" y="34"/>
                  <a:pt x="49" y="34"/>
                  <a:pt x="49" y="34"/>
                </a:cubicBezTo>
                <a:cubicBezTo>
                  <a:pt x="52" y="34"/>
                  <a:pt x="55" y="34"/>
                  <a:pt x="57" y="36"/>
                </a:cubicBezTo>
                <a:cubicBezTo>
                  <a:pt x="58" y="38"/>
                  <a:pt x="59" y="40"/>
                  <a:pt x="59" y="42"/>
                </a:cubicBezTo>
                <a:cubicBezTo>
                  <a:pt x="59" y="44"/>
                  <a:pt x="58" y="47"/>
                  <a:pt x="56" y="48"/>
                </a:cubicBezTo>
                <a:cubicBezTo>
                  <a:pt x="55" y="50"/>
                  <a:pt x="52" y="51"/>
                  <a:pt x="49" y="51"/>
                </a:cubicBezTo>
                <a:moveTo>
                  <a:pt x="38" y="45"/>
                </a:moveTo>
                <a:cubicBezTo>
                  <a:pt x="29" y="45"/>
                  <a:pt x="29" y="45"/>
                  <a:pt x="29" y="45"/>
                </a:cubicBezTo>
                <a:cubicBezTo>
                  <a:pt x="33" y="41"/>
                  <a:pt x="33" y="41"/>
                  <a:pt x="33" y="41"/>
                </a:cubicBezTo>
                <a:cubicBezTo>
                  <a:pt x="37" y="38"/>
                  <a:pt x="39" y="35"/>
                  <a:pt x="39" y="32"/>
                </a:cubicBezTo>
                <a:cubicBezTo>
                  <a:pt x="39" y="30"/>
                  <a:pt x="38" y="28"/>
                  <a:pt x="36" y="26"/>
                </a:cubicBezTo>
                <a:cubicBezTo>
                  <a:pt x="35" y="25"/>
                  <a:pt x="33" y="24"/>
                  <a:pt x="30" y="24"/>
                </a:cubicBezTo>
                <a:cubicBezTo>
                  <a:pt x="27" y="24"/>
                  <a:pt x="25" y="25"/>
                  <a:pt x="22" y="26"/>
                </a:cubicBezTo>
                <a:cubicBezTo>
                  <a:pt x="22" y="27"/>
                  <a:pt x="22" y="27"/>
                  <a:pt x="22" y="27"/>
                </a:cubicBezTo>
                <a:cubicBezTo>
                  <a:pt x="22" y="33"/>
                  <a:pt x="22" y="33"/>
                  <a:pt x="22" y="33"/>
                </a:cubicBezTo>
                <a:cubicBezTo>
                  <a:pt x="23" y="32"/>
                  <a:pt x="23" y="32"/>
                  <a:pt x="23" y="32"/>
                </a:cubicBezTo>
                <a:cubicBezTo>
                  <a:pt x="25" y="30"/>
                  <a:pt x="27" y="30"/>
                  <a:pt x="29" y="30"/>
                </a:cubicBezTo>
                <a:cubicBezTo>
                  <a:pt x="31" y="30"/>
                  <a:pt x="32" y="31"/>
                  <a:pt x="32" y="33"/>
                </a:cubicBezTo>
                <a:cubicBezTo>
                  <a:pt x="32" y="33"/>
                  <a:pt x="32" y="34"/>
                  <a:pt x="31" y="35"/>
                </a:cubicBezTo>
                <a:cubicBezTo>
                  <a:pt x="31" y="36"/>
                  <a:pt x="30" y="37"/>
                  <a:pt x="28" y="39"/>
                </a:cubicBezTo>
                <a:cubicBezTo>
                  <a:pt x="21" y="46"/>
                  <a:pt x="21" y="46"/>
                  <a:pt x="21" y="46"/>
                </a:cubicBezTo>
                <a:cubicBezTo>
                  <a:pt x="21" y="50"/>
                  <a:pt x="21" y="50"/>
                  <a:pt x="21" y="50"/>
                </a:cubicBezTo>
                <a:cubicBezTo>
                  <a:pt x="38" y="50"/>
                  <a:pt x="38" y="50"/>
                  <a:pt x="38" y="50"/>
                </a:cubicBezTo>
                <a:lnTo>
                  <a:pt x="38" y="45"/>
                </a:lnTo>
                <a:close/>
                <a:moveTo>
                  <a:pt x="71" y="19"/>
                </a:moveTo>
                <a:cubicBezTo>
                  <a:pt x="9" y="19"/>
                  <a:pt x="9" y="19"/>
                  <a:pt x="9" y="19"/>
                </a:cubicBezTo>
                <a:cubicBezTo>
                  <a:pt x="9" y="56"/>
                  <a:pt x="9" y="56"/>
                  <a:pt x="9" y="56"/>
                </a:cubicBezTo>
                <a:cubicBezTo>
                  <a:pt x="9" y="57"/>
                  <a:pt x="9" y="57"/>
                  <a:pt x="9" y="57"/>
                </a:cubicBezTo>
                <a:cubicBezTo>
                  <a:pt x="70" y="57"/>
                  <a:pt x="70" y="57"/>
                  <a:pt x="70" y="57"/>
                </a:cubicBezTo>
                <a:cubicBezTo>
                  <a:pt x="71" y="57"/>
                  <a:pt x="71" y="57"/>
                  <a:pt x="71" y="56"/>
                </a:cubicBezTo>
                <a:lnTo>
                  <a:pt x="71" y="19"/>
                </a:lnTo>
                <a:close/>
                <a:moveTo>
                  <a:pt x="76" y="0"/>
                </a:moveTo>
                <a:cubicBezTo>
                  <a:pt x="78" y="0"/>
                  <a:pt x="80" y="1"/>
                  <a:pt x="80" y="4"/>
                </a:cubicBezTo>
                <a:cubicBezTo>
                  <a:pt x="80" y="62"/>
                  <a:pt x="80" y="62"/>
                  <a:pt x="80" y="62"/>
                </a:cubicBezTo>
                <a:cubicBezTo>
                  <a:pt x="80" y="64"/>
                  <a:pt x="78" y="65"/>
                  <a:pt x="76" y="65"/>
                </a:cubicBezTo>
                <a:cubicBezTo>
                  <a:pt x="4" y="65"/>
                  <a:pt x="4" y="65"/>
                  <a:pt x="4" y="65"/>
                </a:cubicBezTo>
                <a:cubicBezTo>
                  <a:pt x="2" y="65"/>
                  <a:pt x="0" y="64"/>
                  <a:pt x="0" y="62"/>
                </a:cubicBezTo>
                <a:cubicBezTo>
                  <a:pt x="0" y="4"/>
                  <a:pt x="0" y="4"/>
                  <a:pt x="0" y="4"/>
                </a:cubicBezTo>
                <a:cubicBezTo>
                  <a:pt x="0" y="1"/>
                  <a:pt x="2" y="0"/>
                  <a:pt x="4" y="0"/>
                </a:cubicBezTo>
                <a:cubicBezTo>
                  <a:pt x="76" y="0"/>
                  <a:pt x="76" y="0"/>
                  <a:pt x="76" y="0"/>
                </a:cubicBezTo>
              </a:path>
            </a:pathLst>
          </a:custGeom>
          <a:solidFill>
            <a:schemeClr val="bg1">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7810" tIns="43903" rIns="87810" bIns="43903" numCol="1" anchor="t" anchorCtr="0" compatLnSpc="1">
            <a:prstTxWarp prst="textNoShape">
              <a:avLst/>
            </a:prstTxWarp>
          </a:bodyPr>
          <a:lstStyle/>
          <a:p>
            <a:pPr defTabSz="895470"/>
            <a:endParaRPr lang="en-US" sz="1763" dirty="0">
              <a:solidFill>
                <a:srgbClr val="505050">
                  <a:lumMod val="75000"/>
                </a:srgbClr>
              </a:solidFill>
            </a:endParaRPr>
          </a:p>
        </p:txBody>
      </p:sp>
      <p:sp>
        <p:nvSpPr>
          <p:cNvPr id="96" name="Freeform 5"/>
          <p:cNvSpPr>
            <a:spLocks noEditPoints="1"/>
          </p:cNvSpPr>
          <p:nvPr/>
        </p:nvSpPr>
        <p:spPr bwMode="auto">
          <a:xfrm>
            <a:off x="7506404" y="5136697"/>
            <a:ext cx="477591" cy="535564"/>
          </a:xfrm>
          <a:custGeom>
            <a:avLst/>
            <a:gdLst>
              <a:gd name="T0" fmla="*/ 1986 w 2166"/>
              <a:gd name="T1" fmla="*/ 74 h 2429"/>
              <a:gd name="T2" fmla="*/ 2166 w 2166"/>
              <a:gd name="T3" fmla="*/ 169 h 2429"/>
              <a:gd name="T4" fmla="*/ 1986 w 2166"/>
              <a:gd name="T5" fmla="*/ 848 h 2429"/>
              <a:gd name="T6" fmla="*/ 1986 w 2166"/>
              <a:gd name="T7" fmla="*/ 880 h 2429"/>
              <a:gd name="T8" fmla="*/ 2166 w 2166"/>
              <a:gd name="T9" fmla="*/ 1485 h 2429"/>
              <a:gd name="T10" fmla="*/ 2071 w 2166"/>
              <a:gd name="T11" fmla="*/ 880 h 2429"/>
              <a:gd name="T12" fmla="*/ 850 w 2166"/>
              <a:gd name="T13" fmla="*/ 880 h 2429"/>
              <a:gd name="T14" fmla="*/ 743 w 2166"/>
              <a:gd name="T15" fmla="*/ 1156 h 2429"/>
              <a:gd name="T16" fmla="*/ 871 w 2166"/>
              <a:gd name="T17" fmla="*/ 1315 h 2429"/>
              <a:gd name="T18" fmla="*/ 988 w 2166"/>
              <a:gd name="T19" fmla="*/ 1251 h 2429"/>
              <a:gd name="T20" fmla="*/ 1073 w 2166"/>
              <a:gd name="T21" fmla="*/ 986 h 2429"/>
              <a:gd name="T22" fmla="*/ 956 w 2166"/>
              <a:gd name="T23" fmla="*/ 827 h 2429"/>
              <a:gd name="T24" fmla="*/ 1954 w 2166"/>
              <a:gd name="T25" fmla="*/ 2333 h 2429"/>
              <a:gd name="T26" fmla="*/ 96 w 2166"/>
              <a:gd name="T27" fmla="*/ 2429 h 2429"/>
              <a:gd name="T28" fmla="*/ 0 w 2166"/>
              <a:gd name="T29" fmla="*/ 95 h 2429"/>
              <a:gd name="T30" fmla="*/ 1858 w 2166"/>
              <a:gd name="T31" fmla="*/ 0 h 2429"/>
              <a:gd name="T32" fmla="*/ 1614 w 2166"/>
              <a:gd name="T33" fmla="*/ 1432 h 2429"/>
              <a:gd name="T34" fmla="*/ 1285 w 2166"/>
              <a:gd name="T35" fmla="*/ 1559 h 2429"/>
              <a:gd name="T36" fmla="*/ 712 w 2166"/>
              <a:gd name="T37" fmla="*/ 1548 h 2429"/>
              <a:gd name="T38" fmla="*/ 446 w 2166"/>
              <a:gd name="T39" fmla="*/ 1124 h 2429"/>
              <a:gd name="T40" fmla="*/ 701 w 2166"/>
              <a:gd name="T41" fmla="*/ 636 h 2429"/>
              <a:gd name="T42" fmla="*/ 1338 w 2166"/>
              <a:gd name="T43" fmla="*/ 668 h 2429"/>
              <a:gd name="T44" fmla="*/ 1423 w 2166"/>
              <a:gd name="T45" fmla="*/ 1124 h 2429"/>
              <a:gd name="T46" fmla="*/ 1221 w 2166"/>
              <a:gd name="T47" fmla="*/ 1304 h 2429"/>
              <a:gd name="T48" fmla="*/ 1200 w 2166"/>
              <a:gd name="T49" fmla="*/ 1273 h 2429"/>
              <a:gd name="T50" fmla="*/ 1306 w 2166"/>
              <a:gd name="T51" fmla="*/ 732 h 2429"/>
              <a:gd name="T52" fmla="*/ 1115 w 2166"/>
              <a:gd name="T53" fmla="*/ 806 h 2429"/>
              <a:gd name="T54" fmla="*/ 658 w 2166"/>
              <a:gd name="T55" fmla="*/ 870 h 2429"/>
              <a:gd name="T56" fmla="*/ 648 w 2166"/>
              <a:gd name="T57" fmla="*/ 1368 h 2429"/>
              <a:gd name="T58" fmla="*/ 1020 w 2166"/>
              <a:gd name="T59" fmla="*/ 1368 h 2429"/>
              <a:gd name="T60" fmla="*/ 1136 w 2166"/>
              <a:gd name="T61" fmla="*/ 1442 h 2429"/>
              <a:gd name="T62" fmla="*/ 1582 w 2166"/>
              <a:gd name="T63" fmla="*/ 954 h 2429"/>
              <a:gd name="T64" fmla="*/ 1306 w 2166"/>
              <a:gd name="T65" fmla="*/ 498 h 2429"/>
              <a:gd name="T66" fmla="*/ 648 w 2166"/>
              <a:gd name="T67" fmla="*/ 519 h 2429"/>
              <a:gd name="T68" fmla="*/ 319 w 2166"/>
              <a:gd name="T69" fmla="*/ 1113 h 2429"/>
              <a:gd name="T70" fmla="*/ 637 w 2166"/>
              <a:gd name="T71" fmla="*/ 1654 h 2429"/>
              <a:gd name="T72" fmla="*/ 1412 w 2166"/>
              <a:gd name="T73" fmla="*/ 1644 h 2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166" h="2429">
                <a:moveTo>
                  <a:pt x="1986" y="848"/>
                </a:moveTo>
                <a:cubicBezTo>
                  <a:pt x="1986" y="74"/>
                  <a:pt x="1986" y="74"/>
                  <a:pt x="1986" y="74"/>
                </a:cubicBezTo>
                <a:cubicBezTo>
                  <a:pt x="2071" y="74"/>
                  <a:pt x="2071" y="74"/>
                  <a:pt x="2071" y="74"/>
                </a:cubicBezTo>
                <a:cubicBezTo>
                  <a:pt x="2124" y="74"/>
                  <a:pt x="2166" y="116"/>
                  <a:pt x="2166" y="169"/>
                </a:cubicBezTo>
                <a:cubicBezTo>
                  <a:pt x="2166" y="169"/>
                  <a:pt x="2166" y="583"/>
                  <a:pt x="2166" y="679"/>
                </a:cubicBezTo>
                <a:cubicBezTo>
                  <a:pt x="2156" y="763"/>
                  <a:pt x="2028" y="795"/>
                  <a:pt x="1986" y="848"/>
                </a:cubicBezTo>
                <a:close/>
                <a:moveTo>
                  <a:pt x="2071" y="880"/>
                </a:moveTo>
                <a:cubicBezTo>
                  <a:pt x="1986" y="880"/>
                  <a:pt x="1986" y="880"/>
                  <a:pt x="1986" y="880"/>
                </a:cubicBezTo>
                <a:cubicBezTo>
                  <a:pt x="1986" y="1654"/>
                  <a:pt x="1986" y="1654"/>
                  <a:pt x="1986" y="1654"/>
                </a:cubicBezTo>
                <a:cubicBezTo>
                  <a:pt x="2028" y="1601"/>
                  <a:pt x="2156" y="1570"/>
                  <a:pt x="2166" y="1485"/>
                </a:cubicBezTo>
                <a:cubicBezTo>
                  <a:pt x="2166" y="1389"/>
                  <a:pt x="2166" y="976"/>
                  <a:pt x="2166" y="976"/>
                </a:cubicBezTo>
                <a:cubicBezTo>
                  <a:pt x="2166" y="923"/>
                  <a:pt x="2124" y="880"/>
                  <a:pt x="2071" y="880"/>
                </a:cubicBezTo>
                <a:close/>
                <a:moveTo>
                  <a:pt x="956" y="827"/>
                </a:moveTo>
                <a:cubicBezTo>
                  <a:pt x="913" y="827"/>
                  <a:pt x="881" y="848"/>
                  <a:pt x="850" y="880"/>
                </a:cubicBezTo>
                <a:cubicBezTo>
                  <a:pt x="807" y="901"/>
                  <a:pt x="786" y="944"/>
                  <a:pt x="775" y="1007"/>
                </a:cubicBezTo>
                <a:cubicBezTo>
                  <a:pt x="754" y="1060"/>
                  <a:pt x="743" y="1113"/>
                  <a:pt x="743" y="1156"/>
                </a:cubicBezTo>
                <a:cubicBezTo>
                  <a:pt x="743" y="1209"/>
                  <a:pt x="754" y="1251"/>
                  <a:pt x="786" y="1273"/>
                </a:cubicBezTo>
                <a:cubicBezTo>
                  <a:pt x="807" y="1304"/>
                  <a:pt x="828" y="1315"/>
                  <a:pt x="871" y="1315"/>
                </a:cubicBezTo>
                <a:cubicBezTo>
                  <a:pt x="892" y="1315"/>
                  <a:pt x="913" y="1315"/>
                  <a:pt x="935" y="1294"/>
                </a:cubicBezTo>
                <a:cubicBezTo>
                  <a:pt x="956" y="1294"/>
                  <a:pt x="977" y="1273"/>
                  <a:pt x="988" y="1251"/>
                </a:cubicBezTo>
                <a:cubicBezTo>
                  <a:pt x="1009" y="1230"/>
                  <a:pt x="1030" y="1188"/>
                  <a:pt x="1051" y="1135"/>
                </a:cubicBezTo>
                <a:cubicBezTo>
                  <a:pt x="1073" y="1082"/>
                  <a:pt x="1073" y="1039"/>
                  <a:pt x="1073" y="986"/>
                </a:cubicBezTo>
                <a:cubicBezTo>
                  <a:pt x="1073" y="944"/>
                  <a:pt x="1062" y="901"/>
                  <a:pt x="1041" y="870"/>
                </a:cubicBezTo>
                <a:cubicBezTo>
                  <a:pt x="1020" y="848"/>
                  <a:pt x="988" y="827"/>
                  <a:pt x="956" y="827"/>
                </a:cubicBezTo>
                <a:close/>
                <a:moveTo>
                  <a:pt x="1954" y="95"/>
                </a:moveTo>
                <a:cubicBezTo>
                  <a:pt x="1954" y="2333"/>
                  <a:pt x="1954" y="2333"/>
                  <a:pt x="1954" y="2333"/>
                </a:cubicBezTo>
                <a:cubicBezTo>
                  <a:pt x="1954" y="2386"/>
                  <a:pt x="1912" y="2429"/>
                  <a:pt x="1858" y="2429"/>
                </a:cubicBezTo>
                <a:cubicBezTo>
                  <a:pt x="96" y="2429"/>
                  <a:pt x="96" y="2429"/>
                  <a:pt x="96" y="2429"/>
                </a:cubicBezTo>
                <a:cubicBezTo>
                  <a:pt x="42" y="2429"/>
                  <a:pt x="0" y="2386"/>
                  <a:pt x="0" y="2333"/>
                </a:cubicBezTo>
                <a:cubicBezTo>
                  <a:pt x="0" y="95"/>
                  <a:pt x="0" y="95"/>
                  <a:pt x="0" y="95"/>
                </a:cubicBezTo>
                <a:cubicBezTo>
                  <a:pt x="0" y="42"/>
                  <a:pt x="42" y="0"/>
                  <a:pt x="96" y="0"/>
                </a:cubicBezTo>
                <a:cubicBezTo>
                  <a:pt x="1858" y="0"/>
                  <a:pt x="1858" y="0"/>
                  <a:pt x="1858" y="0"/>
                </a:cubicBezTo>
                <a:cubicBezTo>
                  <a:pt x="1912" y="0"/>
                  <a:pt x="1954" y="42"/>
                  <a:pt x="1954" y="95"/>
                </a:cubicBezTo>
                <a:close/>
                <a:moveTo>
                  <a:pt x="1614" y="1432"/>
                </a:moveTo>
                <a:cubicBezTo>
                  <a:pt x="1476" y="1432"/>
                  <a:pt x="1476" y="1432"/>
                  <a:pt x="1476" y="1432"/>
                </a:cubicBezTo>
                <a:cubicBezTo>
                  <a:pt x="1423" y="1485"/>
                  <a:pt x="1370" y="1527"/>
                  <a:pt x="1285" y="1559"/>
                </a:cubicBezTo>
                <a:cubicBezTo>
                  <a:pt x="1211" y="1591"/>
                  <a:pt x="1115" y="1612"/>
                  <a:pt x="1009" y="1612"/>
                </a:cubicBezTo>
                <a:cubicBezTo>
                  <a:pt x="903" y="1612"/>
                  <a:pt x="796" y="1591"/>
                  <a:pt x="712" y="1548"/>
                </a:cubicBezTo>
                <a:cubicBezTo>
                  <a:pt x="627" y="1517"/>
                  <a:pt x="563" y="1464"/>
                  <a:pt x="510" y="1379"/>
                </a:cubicBezTo>
                <a:cubicBezTo>
                  <a:pt x="467" y="1304"/>
                  <a:pt x="446" y="1220"/>
                  <a:pt x="446" y="1124"/>
                </a:cubicBezTo>
                <a:cubicBezTo>
                  <a:pt x="446" y="1029"/>
                  <a:pt x="467" y="933"/>
                  <a:pt x="510" y="848"/>
                </a:cubicBezTo>
                <a:cubicBezTo>
                  <a:pt x="552" y="753"/>
                  <a:pt x="616" y="679"/>
                  <a:pt x="701" y="636"/>
                </a:cubicBezTo>
                <a:cubicBezTo>
                  <a:pt x="786" y="583"/>
                  <a:pt x="881" y="562"/>
                  <a:pt x="1009" y="562"/>
                </a:cubicBezTo>
                <a:cubicBezTo>
                  <a:pt x="1147" y="562"/>
                  <a:pt x="1264" y="594"/>
                  <a:pt x="1338" y="668"/>
                </a:cubicBezTo>
                <a:cubicBezTo>
                  <a:pt x="1423" y="742"/>
                  <a:pt x="1466" y="838"/>
                  <a:pt x="1466" y="944"/>
                </a:cubicBezTo>
                <a:cubicBezTo>
                  <a:pt x="1466" y="1007"/>
                  <a:pt x="1444" y="1071"/>
                  <a:pt x="1423" y="1124"/>
                </a:cubicBezTo>
                <a:cubicBezTo>
                  <a:pt x="1391" y="1188"/>
                  <a:pt x="1349" y="1230"/>
                  <a:pt x="1306" y="1262"/>
                </a:cubicBezTo>
                <a:cubicBezTo>
                  <a:pt x="1274" y="1294"/>
                  <a:pt x="1243" y="1304"/>
                  <a:pt x="1221" y="1304"/>
                </a:cubicBezTo>
                <a:cubicBezTo>
                  <a:pt x="1221" y="1304"/>
                  <a:pt x="1211" y="1304"/>
                  <a:pt x="1211" y="1294"/>
                </a:cubicBezTo>
                <a:cubicBezTo>
                  <a:pt x="1200" y="1294"/>
                  <a:pt x="1200" y="1283"/>
                  <a:pt x="1200" y="1273"/>
                </a:cubicBezTo>
                <a:cubicBezTo>
                  <a:pt x="1200" y="1262"/>
                  <a:pt x="1200" y="1241"/>
                  <a:pt x="1211" y="1209"/>
                </a:cubicBezTo>
                <a:cubicBezTo>
                  <a:pt x="1306" y="732"/>
                  <a:pt x="1306" y="732"/>
                  <a:pt x="1306" y="732"/>
                </a:cubicBezTo>
                <a:cubicBezTo>
                  <a:pt x="1136" y="732"/>
                  <a:pt x="1136" y="732"/>
                  <a:pt x="1136" y="732"/>
                </a:cubicBezTo>
                <a:cubicBezTo>
                  <a:pt x="1115" y="806"/>
                  <a:pt x="1115" y="806"/>
                  <a:pt x="1115" y="806"/>
                </a:cubicBezTo>
                <a:cubicBezTo>
                  <a:pt x="1073" y="742"/>
                  <a:pt x="1020" y="710"/>
                  <a:pt x="935" y="710"/>
                </a:cubicBezTo>
                <a:cubicBezTo>
                  <a:pt x="828" y="710"/>
                  <a:pt x="733" y="763"/>
                  <a:pt x="658" y="870"/>
                </a:cubicBezTo>
                <a:cubicBezTo>
                  <a:pt x="605" y="954"/>
                  <a:pt x="573" y="1050"/>
                  <a:pt x="573" y="1156"/>
                </a:cubicBezTo>
                <a:cubicBezTo>
                  <a:pt x="573" y="1241"/>
                  <a:pt x="595" y="1315"/>
                  <a:pt x="648" y="1368"/>
                </a:cubicBezTo>
                <a:cubicBezTo>
                  <a:pt x="690" y="1411"/>
                  <a:pt x="754" y="1442"/>
                  <a:pt x="828" y="1442"/>
                </a:cubicBezTo>
                <a:cubicBezTo>
                  <a:pt x="903" y="1442"/>
                  <a:pt x="966" y="1411"/>
                  <a:pt x="1020" y="1368"/>
                </a:cubicBezTo>
                <a:cubicBezTo>
                  <a:pt x="1020" y="1389"/>
                  <a:pt x="1030" y="1411"/>
                  <a:pt x="1051" y="1421"/>
                </a:cubicBezTo>
                <a:cubicBezTo>
                  <a:pt x="1073" y="1432"/>
                  <a:pt x="1094" y="1442"/>
                  <a:pt x="1136" y="1442"/>
                </a:cubicBezTo>
                <a:cubicBezTo>
                  <a:pt x="1274" y="1442"/>
                  <a:pt x="1391" y="1379"/>
                  <a:pt x="1476" y="1262"/>
                </a:cubicBezTo>
                <a:cubicBezTo>
                  <a:pt x="1551" y="1177"/>
                  <a:pt x="1582" y="1071"/>
                  <a:pt x="1582" y="954"/>
                </a:cubicBezTo>
                <a:cubicBezTo>
                  <a:pt x="1582" y="859"/>
                  <a:pt x="1561" y="774"/>
                  <a:pt x="1508" y="689"/>
                </a:cubicBezTo>
                <a:cubicBezTo>
                  <a:pt x="1466" y="604"/>
                  <a:pt x="1402" y="541"/>
                  <a:pt x="1306" y="498"/>
                </a:cubicBezTo>
                <a:cubicBezTo>
                  <a:pt x="1221" y="456"/>
                  <a:pt x="1126" y="435"/>
                  <a:pt x="1009" y="435"/>
                </a:cubicBezTo>
                <a:cubicBezTo>
                  <a:pt x="871" y="435"/>
                  <a:pt x="754" y="466"/>
                  <a:pt x="648" y="519"/>
                </a:cubicBezTo>
                <a:cubicBezTo>
                  <a:pt x="552" y="573"/>
                  <a:pt x="467" y="657"/>
                  <a:pt x="404" y="763"/>
                </a:cubicBezTo>
                <a:cubicBezTo>
                  <a:pt x="350" y="870"/>
                  <a:pt x="319" y="986"/>
                  <a:pt x="319" y="1113"/>
                </a:cubicBezTo>
                <a:cubicBezTo>
                  <a:pt x="319" y="1230"/>
                  <a:pt x="340" y="1336"/>
                  <a:pt x="393" y="1432"/>
                </a:cubicBezTo>
                <a:cubicBezTo>
                  <a:pt x="446" y="1527"/>
                  <a:pt x="531" y="1601"/>
                  <a:pt x="637" y="1654"/>
                </a:cubicBezTo>
                <a:cubicBezTo>
                  <a:pt x="743" y="1707"/>
                  <a:pt x="871" y="1729"/>
                  <a:pt x="1020" y="1729"/>
                </a:cubicBezTo>
                <a:cubicBezTo>
                  <a:pt x="1179" y="1729"/>
                  <a:pt x="1306" y="1697"/>
                  <a:pt x="1412" y="1644"/>
                </a:cubicBezTo>
                <a:cubicBezTo>
                  <a:pt x="1508" y="1591"/>
                  <a:pt x="1572" y="1517"/>
                  <a:pt x="1614" y="1432"/>
                </a:cubicBezTo>
                <a:close/>
              </a:path>
            </a:pathLst>
          </a:custGeom>
          <a:solidFill>
            <a:schemeClr val="bg1">
              <a:lumMod val="75000"/>
            </a:schemeClr>
          </a:solidFill>
          <a:ln>
            <a:noFill/>
          </a:ln>
        </p:spPr>
        <p:txBody>
          <a:bodyPr vert="horz" wrap="square" lIns="89607" tIns="44802" rIns="89607" bIns="44802" numCol="1" anchor="t" anchorCtr="0" compatLnSpc="1">
            <a:prstTxWarp prst="textNoShape">
              <a:avLst/>
            </a:prstTxWarp>
          </a:bodyPr>
          <a:lstStyle/>
          <a:p>
            <a:pPr defTabSz="913918"/>
            <a:endParaRPr lang="en-US" sz="1764">
              <a:solidFill>
                <a:srgbClr val="505050">
                  <a:lumMod val="75000"/>
                </a:srgbClr>
              </a:solidFill>
            </a:endParaRPr>
          </a:p>
        </p:txBody>
      </p:sp>
      <p:grpSp>
        <p:nvGrpSpPr>
          <p:cNvPr id="3" name="Group 2"/>
          <p:cNvGrpSpPr/>
          <p:nvPr/>
        </p:nvGrpSpPr>
        <p:grpSpPr>
          <a:xfrm>
            <a:off x="3211689" y="5250976"/>
            <a:ext cx="523984" cy="400526"/>
            <a:chOff x="3225522" y="4932144"/>
            <a:chExt cx="524120" cy="400630"/>
          </a:xfrm>
        </p:grpSpPr>
        <p:sp>
          <p:nvSpPr>
            <p:cNvPr id="102" name="Freeform 101"/>
            <p:cNvSpPr>
              <a:spLocks/>
            </p:cNvSpPr>
            <p:nvPr/>
          </p:nvSpPr>
          <p:spPr bwMode="auto">
            <a:xfrm>
              <a:off x="3301135" y="4961392"/>
              <a:ext cx="181248" cy="181243"/>
            </a:xfrm>
            <a:custGeom>
              <a:avLst/>
              <a:gdLst>
                <a:gd name="T0" fmla="*/ 172 w 326"/>
                <a:gd name="T1" fmla="*/ 1 h 326"/>
                <a:gd name="T2" fmla="*/ 189 w 326"/>
                <a:gd name="T3" fmla="*/ 3 h 326"/>
                <a:gd name="T4" fmla="*/ 212 w 326"/>
                <a:gd name="T5" fmla="*/ 7 h 326"/>
                <a:gd name="T6" fmla="*/ 242 w 326"/>
                <a:gd name="T7" fmla="*/ 20 h 326"/>
                <a:gd name="T8" fmla="*/ 267 w 326"/>
                <a:gd name="T9" fmla="*/ 37 h 326"/>
                <a:gd name="T10" fmla="*/ 290 w 326"/>
                <a:gd name="T11" fmla="*/ 59 h 326"/>
                <a:gd name="T12" fmla="*/ 308 w 326"/>
                <a:gd name="T13" fmla="*/ 86 h 326"/>
                <a:gd name="T14" fmla="*/ 320 w 326"/>
                <a:gd name="T15" fmla="*/ 115 h 326"/>
                <a:gd name="T16" fmla="*/ 325 w 326"/>
                <a:gd name="T17" fmla="*/ 139 h 326"/>
                <a:gd name="T18" fmla="*/ 326 w 326"/>
                <a:gd name="T19" fmla="*/ 154 h 326"/>
                <a:gd name="T20" fmla="*/ 326 w 326"/>
                <a:gd name="T21" fmla="*/ 171 h 326"/>
                <a:gd name="T22" fmla="*/ 325 w 326"/>
                <a:gd name="T23" fmla="*/ 187 h 326"/>
                <a:gd name="T24" fmla="*/ 320 w 326"/>
                <a:gd name="T25" fmla="*/ 210 h 326"/>
                <a:gd name="T26" fmla="*/ 308 w 326"/>
                <a:gd name="T27" fmla="*/ 240 h 326"/>
                <a:gd name="T28" fmla="*/ 290 w 326"/>
                <a:gd name="T29" fmla="*/ 267 h 326"/>
                <a:gd name="T30" fmla="*/ 267 w 326"/>
                <a:gd name="T31" fmla="*/ 289 h 326"/>
                <a:gd name="T32" fmla="*/ 242 w 326"/>
                <a:gd name="T33" fmla="*/ 306 h 326"/>
                <a:gd name="T34" fmla="*/ 212 w 326"/>
                <a:gd name="T35" fmla="*/ 318 h 326"/>
                <a:gd name="T36" fmla="*/ 189 w 326"/>
                <a:gd name="T37" fmla="*/ 323 h 326"/>
                <a:gd name="T38" fmla="*/ 172 w 326"/>
                <a:gd name="T39" fmla="*/ 326 h 326"/>
                <a:gd name="T40" fmla="*/ 156 w 326"/>
                <a:gd name="T41" fmla="*/ 326 h 326"/>
                <a:gd name="T42" fmla="*/ 139 w 326"/>
                <a:gd name="T43" fmla="*/ 323 h 326"/>
                <a:gd name="T44" fmla="*/ 116 w 326"/>
                <a:gd name="T45" fmla="*/ 318 h 326"/>
                <a:gd name="T46" fmla="*/ 86 w 326"/>
                <a:gd name="T47" fmla="*/ 306 h 326"/>
                <a:gd name="T48" fmla="*/ 60 w 326"/>
                <a:gd name="T49" fmla="*/ 289 h 326"/>
                <a:gd name="T50" fmla="*/ 38 w 326"/>
                <a:gd name="T51" fmla="*/ 267 h 326"/>
                <a:gd name="T52" fmla="*/ 20 w 326"/>
                <a:gd name="T53" fmla="*/ 240 h 326"/>
                <a:gd name="T54" fmla="*/ 8 w 326"/>
                <a:gd name="T55" fmla="*/ 210 h 326"/>
                <a:gd name="T56" fmla="*/ 2 w 326"/>
                <a:gd name="T57" fmla="*/ 187 h 326"/>
                <a:gd name="T58" fmla="*/ 0 w 326"/>
                <a:gd name="T59" fmla="*/ 171 h 326"/>
                <a:gd name="T60" fmla="*/ 0 w 326"/>
                <a:gd name="T61" fmla="*/ 154 h 326"/>
                <a:gd name="T62" fmla="*/ 2 w 326"/>
                <a:gd name="T63" fmla="*/ 139 h 326"/>
                <a:gd name="T64" fmla="*/ 8 w 326"/>
                <a:gd name="T65" fmla="*/ 115 h 326"/>
                <a:gd name="T66" fmla="*/ 20 w 326"/>
                <a:gd name="T67" fmla="*/ 86 h 326"/>
                <a:gd name="T68" fmla="*/ 38 w 326"/>
                <a:gd name="T69" fmla="*/ 59 h 326"/>
                <a:gd name="T70" fmla="*/ 60 w 326"/>
                <a:gd name="T71" fmla="*/ 37 h 326"/>
                <a:gd name="T72" fmla="*/ 86 w 326"/>
                <a:gd name="T73" fmla="*/ 20 h 326"/>
                <a:gd name="T74" fmla="*/ 116 w 326"/>
                <a:gd name="T75" fmla="*/ 7 h 326"/>
                <a:gd name="T76" fmla="*/ 139 w 326"/>
                <a:gd name="T77" fmla="*/ 3 h 326"/>
                <a:gd name="T78" fmla="*/ 156 w 326"/>
                <a:gd name="T79" fmla="*/ 1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26" h="326">
                  <a:moveTo>
                    <a:pt x="164" y="0"/>
                  </a:moveTo>
                  <a:lnTo>
                    <a:pt x="172" y="1"/>
                  </a:lnTo>
                  <a:lnTo>
                    <a:pt x="181" y="1"/>
                  </a:lnTo>
                  <a:lnTo>
                    <a:pt x="189" y="3"/>
                  </a:lnTo>
                  <a:lnTo>
                    <a:pt x="197" y="4"/>
                  </a:lnTo>
                  <a:lnTo>
                    <a:pt x="212" y="7"/>
                  </a:lnTo>
                  <a:lnTo>
                    <a:pt x="228" y="14"/>
                  </a:lnTo>
                  <a:lnTo>
                    <a:pt x="242" y="20"/>
                  </a:lnTo>
                  <a:lnTo>
                    <a:pt x="255" y="28"/>
                  </a:lnTo>
                  <a:lnTo>
                    <a:pt x="267" y="37"/>
                  </a:lnTo>
                  <a:lnTo>
                    <a:pt x="280" y="48"/>
                  </a:lnTo>
                  <a:lnTo>
                    <a:pt x="290" y="59"/>
                  </a:lnTo>
                  <a:lnTo>
                    <a:pt x="300" y="72"/>
                  </a:lnTo>
                  <a:lnTo>
                    <a:pt x="308" y="86"/>
                  </a:lnTo>
                  <a:lnTo>
                    <a:pt x="314" y="100"/>
                  </a:lnTo>
                  <a:lnTo>
                    <a:pt x="320" y="115"/>
                  </a:lnTo>
                  <a:lnTo>
                    <a:pt x="323" y="131"/>
                  </a:lnTo>
                  <a:lnTo>
                    <a:pt x="325" y="139"/>
                  </a:lnTo>
                  <a:lnTo>
                    <a:pt x="326" y="146"/>
                  </a:lnTo>
                  <a:lnTo>
                    <a:pt x="326" y="154"/>
                  </a:lnTo>
                  <a:lnTo>
                    <a:pt x="326" y="164"/>
                  </a:lnTo>
                  <a:lnTo>
                    <a:pt x="326" y="171"/>
                  </a:lnTo>
                  <a:lnTo>
                    <a:pt x="326" y="179"/>
                  </a:lnTo>
                  <a:lnTo>
                    <a:pt x="325" y="187"/>
                  </a:lnTo>
                  <a:lnTo>
                    <a:pt x="323" y="196"/>
                  </a:lnTo>
                  <a:lnTo>
                    <a:pt x="320" y="210"/>
                  </a:lnTo>
                  <a:lnTo>
                    <a:pt x="314" y="226"/>
                  </a:lnTo>
                  <a:lnTo>
                    <a:pt x="308" y="240"/>
                  </a:lnTo>
                  <a:lnTo>
                    <a:pt x="300" y="254"/>
                  </a:lnTo>
                  <a:lnTo>
                    <a:pt x="290" y="267"/>
                  </a:lnTo>
                  <a:lnTo>
                    <a:pt x="280" y="278"/>
                  </a:lnTo>
                  <a:lnTo>
                    <a:pt x="267" y="289"/>
                  </a:lnTo>
                  <a:lnTo>
                    <a:pt x="255" y="298"/>
                  </a:lnTo>
                  <a:lnTo>
                    <a:pt x="242" y="306"/>
                  </a:lnTo>
                  <a:lnTo>
                    <a:pt x="228" y="312"/>
                  </a:lnTo>
                  <a:lnTo>
                    <a:pt x="212" y="318"/>
                  </a:lnTo>
                  <a:lnTo>
                    <a:pt x="197" y="323"/>
                  </a:lnTo>
                  <a:lnTo>
                    <a:pt x="189" y="323"/>
                  </a:lnTo>
                  <a:lnTo>
                    <a:pt x="181" y="324"/>
                  </a:lnTo>
                  <a:lnTo>
                    <a:pt x="172" y="326"/>
                  </a:lnTo>
                  <a:lnTo>
                    <a:pt x="164" y="326"/>
                  </a:lnTo>
                  <a:lnTo>
                    <a:pt x="156" y="326"/>
                  </a:lnTo>
                  <a:lnTo>
                    <a:pt x="147" y="324"/>
                  </a:lnTo>
                  <a:lnTo>
                    <a:pt x="139" y="323"/>
                  </a:lnTo>
                  <a:lnTo>
                    <a:pt x="131" y="323"/>
                  </a:lnTo>
                  <a:lnTo>
                    <a:pt x="116" y="318"/>
                  </a:lnTo>
                  <a:lnTo>
                    <a:pt x="100" y="312"/>
                  </a:lnTo>
                  <a:lnTo>
                    <a:pt x="86" y="306"/>
                  </a:lnTo>
                  <a:lnTo>
                    <a:pt x="72" y="298"/>
                  </a:lnTo>
                  <a:lnTo>
                    <a:pt x="60" y="289"/>
                  </a:lnTo>
                  <a:lnTo>
                    <a:pt x="49" y="278"/>
                  </a:lnTo>
                  <a:lnTo>
                    <a:pt x="38" y="267"/>
                  </a:lnTo>
                  <a:lnTo>
                    <a:pt x="28" y="254"/>
                  </a:lnTo>
                  <a:lnTo>
                    <a:pt x="20" y="240"/>
                  </a:lnTo>
                  <a:lnTo>
                    <a:pt x="13" y="226"/>
                  </a:lnTo>
                  <a:lnTo>
                    <a:pt x="8" y="210"/>
                  </a:lnTo>
                  <a:lnTo>
                    <a:pt x="3" y="196"/>
                  </a:lnTo>
                  <a:lnTo>
                    <a:pt x="2" y="187"/>
                  </a:lnTo>
                  <a:lnTo>
                    <a:pt x="2" y="179"/>
                  </a:lnTo>
                  <a:lnTo>
                    <a:pt x="0" y="171"/>
                  </a:lnTo>
                  <a:lnTo>
                    <a:pt x="0" y="164"/>
                  </a:lnTo>
                  <a:lnTo>
                    <a:pt x="0" y="154"/>
                  </a:lnTo>
                  <a:lnTo>
                    <a:pt x="2" y="146"/>
                  </a:lnTo>
                  <a:lnTo>
                    <a:pt x="2" y="139"/>
                  </a:lnTo>
                  <a:lnTo>
                    <a:pt x="3" y="131"/>
                  </a:lnTo>
                  <a:lnTo>
                    <a:pt x="8" y="115"/>
                  </a:lnTo>
                  <a:lnTo>
                    <a:pt x="13" y="100"/>
                  </a:lnTo>
                  <a:lnTo>
                    <a:pt x="20" y="86"/>
                  </a:lnTo>
                  <a:lnTo>
                    <a:pt x="28" y="72"/>
                  </a:lnTo>
                  <a:lnTo>
                    <a:pt x="38" y="59"/>
                  </a:lnTo>
                  <a:lnTo>
                    <a:pt x="49" y="48"/>
                  </a:lnTo>
                  <a:lnTo>
                    <a:pt x="60" y="37"/>
                  </a:lnTo>
                  <a:lnTo>
                    <a:pt x="72" y="28"/>
                  </a:lnTo>
                  <a:lnTo>
                    <a:pt x="86" y="20"/>
                  </a:lnTo>
                  <a:lnTo>
                    <a:pt x="100" y="14"/>
                  </a:lnTo>
                  <a:lnTo>
                    <a:pt x="116" y="7"/>
                  </a:lnTo>
                  <a:lnTo>
                    <a:pt x="131" y="4"/>
                  </a:lnTo>
                  <a:lnTo>
                    <a:pt x="139" y="3"/>
                  </a:lnTo>
                  <a:lnTo>
                    <a:pt x="147" y="1"/>
                  </a:lnTo>
                  <a:lnTo>
                    <a:pt x="156" y="1"/>
                  </a:lnTo>
                  <a:lnTo>
                    <a:pt x="164" y="0"/>
                  </a:lnTo>
                  <a:close/>
                </a:path>
              </a:pathLst>
            </a:custGeom>
            <a:solidFill>
              <a:schemeClr val="bg1">
                <a:lumMod val="75000"/>
              </a:schemeClr>
            </a:solidFill>
            <a:ln>
              <a:noFill/>
            </a:ln>
            <a:extLst/>
          </p:spPr>
          <p:txBody>
            <a:bodyPr vert="horz" wrap="square" lIns="91416" tIns="45708" rIns="91416" bIns="4570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1799">
                <a:solidFill>
                  <a:srgbClr val="505050">
                    <a:lumMod val="75000"/>
                  </a:srgbClr>
                </a:solidFill>
              </a:endParaRPr>
            </a:p>
          </p:txBody>
        </p:sp>
        <p:sp>
          <p:nvSpPr>
            <p:cNvPr id="103" name="Freeform 102"/>
            <p:cNvSpPr>
              <a:spLocks/>
            </p:cNvSpPr>
            <p:nvPr/>
          </p:nvSpPr>
          <p:spPr bwMode="auto">
            <a:xfrm>
              <a:off x="3225522" y="5148195"/>
              <a:ext cx="332472" cy="184579"/>
            </a:xfrm>
            <a:custGeom>
              <a:avLst/>
              <a:gdLst>
                <a:gd name="T0" fmla="*/ 587 w 598"/>
                <a:gd name="T1" fmla="*/ 158 h 331"/>
                <a:gd name="T2" fmla="*/ 578 w 598"/>
                <a:gd name="T3" fmla="*/ 117 h 331"/>
                <a:gd name="T4" fmla="*/ 567 w 598"/>
                <a:gd name="T5" fmla="*/ 87 h 331"/>
                <a:gd name="T6" fmla="*/ 550 w 598"/>
                <a:gd name="T7" fmla="*/ 59 h 331"/>
                <a:gd name="T8" fmla="*/ 520 w 598"/>
                <a:gd name="T9" fmla="*/ 36 h 331"/>
                <a:gd name="T10" fmla="*/ 492 w 598"/>
                <a:gd name="T11" fmla="*/ 25 h 331"/>
                <a:gd name="T12" fmla="*/ 455 w 598"/>
                <a:gd name="T13" fmla="*/ 14 h 331"/>
                <a:gd name="T14" fmla="*/ 430 w 598"/>
                <a:gd name="T15" fmla="*/ 6 h 331"/>
                <a:gd name="T16" fmla="*/ 409 w 598"/>
                <a:gd name="T17" fmla="*/ 2 h 331"/>
                <a:gd name="T18" fmla="*/ 401 w 598"/>
                <a:gd name="T19" fmla="*/ 0 h 331"/>
                <a:gd name="T20" fmla="*/ 394 w 598"/>
                <a:gd name="T21" fmla="*/ 23 h 331"/>
                <a:gd name="T22" fmla="*/ 370 w 598"/>
                <a:gd name="T23" fmla="*/ 69 h 331"/>
                <a:gd name="T24" fmla="*/ 333 w 598"/>
                <a:gd name="T25" fmla="*/ 128 h 331"/>
                <a:gd name="T26" fmla="*/ 308 w 598"/>
                <a:gd name="T27" fmla="*/ 162 h 331"/>
                <a:gd name="T28" fmla="*/ 300 w 598"/>
                <a:gd name="T29" fmla="*/ 169 h 331"/>
                <a:gd name="T30" fmla="*/ 280 w 598"/>
                <a:gd name="T31" fmla="*/ 147 h 331"/>
                <a:gd name="T32" fmla="*/ 252 w 598"/>
                <a:gd name="T33" fmla="*/ 105 h 331"/>
                <a:gd name="T34" fmla="*/ 216 w 598"/>
                <a:gd name="T35" fmla="*/ 45 h 331"/>
                <a:gd name="T36" fmla="*/ 199 w 598"/>
                <a:gd name="T37" fmla="*/ 5 h 331"/>
                <a:gd name="T38" fmla="*/ 196 w 598"/>
                <a:gd name="T39" fmla="*/ 2 h 331"/>
                <a:gd name="T40" fmla="*/ 178 w 598"/>
                <a:gd name="T41" fmla="*/ 5 h 331"/>
                <a:gd name="T42" fmla="*/ 166 w 598"/>
                <a:gd name="T43" fmla="*/ 8 h 331"/>
                <a:gd name="T44" fmla="*/ 125 w 598"/>
                <a:gd name="T45" fmla="*/ 19 h 331"/>
                <a:gd name="T46" fmla="*/ 93 w 598"/>
                <a:gd name="T47" fmla="*/ 30 h 331"/>
                <a:gd name="T48" fmla="*/ 68 w 598"/>
                <a:gd name="T49" fmla="*/ 44 h 331"/>
                <a:gd name="T50" fmla="*/ 38 w 598"/>
                <a:gd name="T51" fmla="*/ 75 h 331"/>
                <a:gd name="T52" fmla="*/ 27 w 598"/>
                <a:gd name="T53" fmla="*/ 101 h 331"/>
                <a:gd name="T54" fmla="*/ 18 w 598"/>
                <a:gd name="T55" fmla="*/ 136 h 331"/>
                <a:gd name="T56" fmla="*/ 8 w 598"/>
                <a:gd name="T57" fmla="*/ 181 h 331"/>
                <a:gd name="T58" fmla="*/ 4 w 598"/>
                <a:gd name="T59" fmla="*/ 211 h 331"/>
                <a:gd name="T60" fmla="*/ 0 w 598"/>
                <a:gd name="T61" fmla="*/ 228 h 331"/>
                <a:gd name="T62" fmla="*/ 2 w 598"/>
                <a:gd name="T63" fmla="*/ 244 h 331"/>
                <a:gd name="T64" fmla="*/ 10 w 598"/>
                <a:gd name="T65" fmla="*/ 262 h 331"/>
                <a:gd name="T66" fmla="*/ 27 w 598"/>
                <a:gd name="T67" fmla="*/ 279 h 331"/>
                <a:gd name="T68" fmla="*/ 55 w 598"/>
                <a:gd name="T69" fmla="*/ 294 h 331"/>
                <a:gd name="T70" fmla="*/ 91 w 598"/>
                <a:gd name="T71" fmla="*/ 306 h 331"/>
                <a:gd name="T72" fmla="*/ 135 w 598"/>
                <a:gd name="T73" fmla="*/ 317 h 331"/>
                <a:gd name="T74" fmla="*/ 241 w 598"/>
                <a:gd name="T75" fmla="*/ 329 h 331"/>
                <a:gd name="T76" fmla="*/ 300 w 598"/>
                <a:gd name="T77" fmla="*/ 331 h 331"/>
                <a:gd name="T78" fmla="*/ 414 w 598"/>
                <a:gd name="T79" fmla="*/ 325 h 331"/>
                <a:gd name="T80" fmla="*/ 475 w 598"/>
                <a:gd name="T81" fmla="*/ 315 h 331"/>
                <a:gd name="T82" fmla="*/ 517 w 598"/>
                <a:gd name="T83" fmla="*/ 304 h 331"/>
                <a:gd name="T84" fmla="*/ 551 w 598"/>
                <a:gd name="T85" fmla="*/ 290 h 331"/>
                <a:gd name="T86" fmla="*/ 578 w 598"/>
                <a:gd name="T87" fmla="*/ 275 h 331"/>
                <a:gd name="T88" fmla="*/ 593 w 598"/>
                <a:gd name="T89" fmla="*/ 258 h 331"/>
                <a:gd name="T90" fmla="*/ 598 w 598"/>
                <a:gd name="T91" fmla="*/ 240 h 331"/>
                <a:gd name="T92" fmla="*/ 598 w 598"/>
                <a:gd name="T93" fmla="*/ 223 h 331"/>
                <a:gd name="T94" fmla="*/ 595 w 598"/>
                <a:gd name="T95" fmla="*/ 20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8" h="331">
                  <a:moveTo>
                    <a:pt x="593" y="195"/>
                  </a:moveTo>
                  <a:lnTo>
                    <a:pt x="590" y="181"/>
                  </a:lnTo>
                  <a:lnTo>
                    <a:pt x="589" y="169"/>
                  </a:lnTo>
                  <a:lnTo>
                    <a:pt x="587" y="158"/>
                  </a:lnTo>
                  <a:lnTo>
                    <a:pt x="584" y="147"/>
                  </a:lnTo>
                  <a:lnTo>
                    <a:pt x="582" y="136"/>
                  </a:lnTo>
                  <a:lnTo>
                    <a:pt x="579" y="126"/>
                  </a:lnTo>
                  <a:lnTo>
                    <a:pt x="578" y="117"/>
                  </a:lnTo>
                  <a:lnTo>
                    <a:pt x="575" y="109"/>
                  </a:lnTo>
                  <a:lnTo>
                    <a:pt x="573" y="101"/>
                  </a:lnTo>
                  <a:lnTo>
                    <a:pt x="570" y="94"/>
                  </a:lnTo>
                  <a:lnTo>
                    <a:pt x="567" y="87"/>
                  </a:lnTo>
                  <a:lnTo>
                    <a:pt x="564" y="81"/>
                  </a:lnTo>
                  <a:lnTo>
                    <a:pt x="561" y="75"/>
                  </a:lnTo>
                  <a:lnTo>
                    <a:pt x="558" y="69"/>
                  </a:lnTo>
                  <a:lnTo>
                    <a:pt x="550" y="59"/>
                  </a:lnTo>
                  <a:lnTo>
                    <a:pt x="542" y="50"/>
                  </a:lnTo>
                  <a:lnTo>
                    <a:pt x="531" y="44"/>
                  </a:lnTo>
                  <a:lnTo>
                    <a:pt x="526" y="39"/>
                  </a:lnTo>
                  <a:lnTo>
                    <a:pt x="520" y="36"/>
                  </a:lnTo>
                  <a:lnTo>
                    <a:pt x="514" y="33"/>
                  </a:lnTo>
                  <a:lnTo>
                    <a:pt x="508" y="30"/>
                  </a:lnTo>
                  <a:lnTo>
                    <a:pt x="500" y="28"/>
                  </a:lnTo>
                  <a:lnTo>
                    <a:pt x="492" y="25"/>
                  </a:lnTo>
                  <a:lnTo>
                    <a:pt x="483" y="22"/>
                  </a:lnTo>
                  <a:lnTo>
                    <a:pt x="475" y="19"/>
                  </a:lnTo>
                  <a:lnTo>
                    <a:pt x="465" y="16"/>
                  </a:lnTo>
                  <a:lnTo>
                    <a:pt x="455" y="14"/>
                  </a:lnTo>
                  <a:lnTo>
                    <a:pt x="444" y="11"/>
                  </a:lnTo>
                  <a:lnTo>
                    <a:pt x="433" y="8"/>
                  </a:lnTo>
                  <a:lnTo>
                    <a:pt x="431" y="8"/>
                  </a:lnTo>
                  <a:lnTo>
                    <a:pt x="430" y="6"/>
                  </a:lnTo>
                  <a:lnTo>
                    <a:pt x="426" y="6"/>
                  </a:lnTo>
                  <a:lnTo>
                    <a:pt x="420" y="5"/>
                  </a:lnTo>
                  <a:lnTo>
                    <a:pt x="416" y="3"/>
                  </a:lnTo>
                  <a:lnTo>
                    <a:pt x="409" y="2"/>
                  </a:lnTo>
                  <a:lnTo>
                    <a:pt x="406" y="0"/>
                  </a:lnTo>
                  <a:lnTo>
                    <a:pt x="405" y="0"/>
                  </a:lnTo>
                  <a:lnTo>
                    <a:pt x="403" y="0"/>
                  </a:lnTo>
                  <a:lnTo>
                    <a:pt x="401" y="0"/>
                  </a:lnTo>
                  <a:lnTo>
                    <a:pt x="401" y="0"/>
                  </a:lnTo>
                  <a:lnTo>
                    <a:pt x="400" y="5"/>
                  </a:lnTo>
                  <a:lnTo>
                    <a:pt x="398" y="14"/>
                  </a:lnTo>
                  <a:lnTo>
                    <a:pt x="394" y="23"/>
                  </a:lnTo>
                  <a:lnTo>
                    <a:pt x="389" y="34"/>
                  </a:lnTo>
                  <a:lnTo>
                    <a:pt x="383" y="45"/>
                  </a:lnTo>
                  <a:lnTo>
                    <a:pt x="377" y="58"/>
                  </a:lnTo>
                  <a:lnTo>
                    <a:pt x="370" y="69"/>
                  </a:lnTo>
                  <a:lnTo>
                    <a:pt x="355" y="94"/>
                  </a:lnTo>
                  <a:lnTo>
                    <a:pt x="348" y="105"/>
                  </a:lnTo>
                  <a:lnTo>
                    <a:pt x="341" y="117"/>
                  </a:lnTo>
                  <a:lnTo>
                    <a:pt x="333" y="128"/>
                  </a:lnTo>
                  <a:lnTo>
                    <a:pt x="327" y="137"/>
                  </a:lnTo>
                  <a:lnTo>
                    <a:pt x="319" y="147"/>
                  </a:lnTo>
                  <a:lnTo>
                    <a:pt x="314" y="156"/>
                  </a:lnTo>
                  <a:lnTo>
                    <a:pt x="308" y="162"/>
                  </a:lnTo>
                  <a:lnTo>
                    <a:pt x="305" y="169"/>
                  </a:lnTo>
                  <a:lnTo>
                    <a:pt x="300" y="169"/>
                  </a:lnTo>
                  <a:lnTo>
                    <a:pt x="300" y="169"/>
                  </a:lnTo>
                  <a:lnTo>
                    <a:pt x="300" y="169"/>
                  </a:lnTo>
                  <a:lnTo>
                    <a:pt x="295" y="169"/>
                  </a:lnTo>
                  <a:lnTo>
                    <a:pt x="291" y="162"/>
                  </a:lnTo>
                  <a:lnTo>
                    <a:pt x="286" y="156"/>
                  </a:lnTo>
                  <a:lnTo>
                    <a:pt x="280" y="147"/>
                  </a:lnTo>
                  <a:lnTo>
                    <a:pt x="274" y="137"/>
                  </a:lnTo>
                  <a:lnTo>
                    <a:pt x="266" y="128"/>
                  </a:lnTo>
                  <a:lnTo>
                    <a:pt x="259" y="117"/>
                  </a:lnTo>
                  <a:lnTo>
                    <a:pt x="252" y="105"/>
                  </a:lnTo>
                  <a:lnTo>
                    <a:pt x="244" y="94"/>
                  </a:lnTo>
                  <a:lnTo>
                    <a:pt x="230" y="69"/>
                  </a:lnTo>
                  <a:lnTo>
                    <a:pt x="222" y="58"/>
                  </a:lnTo>
                  <a:lnTo>
                    <a:pt x="216" y="45"/>
                  </a:lnTo>
                  <a:lnTo>
                    <a:pt x="210" y="34"/>
                  </a:lnTo>
                  <a:lnTo>
                    <a:pt x="205" y="23"/>
                  </a:lnTo>
                  <a:lnTo>
                    <a:pt x="202" y="14"/>
                  </a:lnTo>
                  <a:lnTo>
                    <a:pt x="199" y="5"/>
                  </a:lnTo>
                  <a:lnTo>
                    <a:pt x="199" y="2"/>
                  </a:lnTo>
                  <a:lnTo>
                    <a:pt x="197" y="2"/>
                  </a:lnTo>
                  <a:lnTo>
                    <a:pt x="197" y="2"/>
                  </a:lnTo>
                  <a:lnTo>
                    <a:pt x="196" y="2"/>
                  </a:lnTo>
                  <a:lnTo>
                    <a:pt x="194" y="2"/>
                  </a:lnTo>
                  <a:lnTo>
                    <a:pt x="189" y="3"/>
                  </a:lnTo>
                  <a:lnTo>
                    <a:pt x="185" y="3"/>
                  </a:lnTo>
                  <a:lnTo>
                    <a:pt x="178" y="5"/>
                  </a:lnTo>
                  <a:lnTo>
                    <a:pt x="174" y="6"/>
                  </a:lnTo>
                  <a:lnTo>
                    <a:pt x="169" y="6"/>
                  </a:lnTo>
                  <a:lnTo>
                    <a:pt x="167" y="8"/>
                  </a:lnTo>
                  <a:lnTo>
                    <a:pt x="166" y="8"/>
                  </a:lnTo>
                  <a:lnTo>
                    <a:pt x="155" y="11"/>
                  </a:lnTo>
                  <a:lnTo>
                    <a:pt x="144" y="14"/>
                  </a:lnTo>
                  <a:lnTo>
                    <a:pt x="135" y="16"/>
                  </a:lnTo>
                  <a:lnTo>
                    <a:pt x="125" y="19"/>
                  </a:lnTo>
                  <a:lnTo>
                    <a:pt x="116" y="22"/>
                  </a:lnTo>
                  <a:lnTo>
                    <a:pt x="108" y="25"/>
                  </a:lnTo>
                  <a:lnTo>
                    <a:pt x="100" y="28"/>
                  </a:lnTo>
                  <a:lnTo>
                    <a:pt x="93" y="30"/>
                  </a:lnTo>
                  <a:lnTo>
                    <a:pt x="85" y="33"/>
                  </a:lnTo>
                  <a:lnTo>
                    <a:pt x="78" y="36"/>
                  </a:lnTo>
                  <a:lnTo>
                    <a:pt x="74" y="39"/>
                  </a:lnTo>
                  <a:lnTo>
                    <a:pt x="68" y="44"/>
                  </a:lnTo>
                  <a:lnTo>
                    <a:pt x="58" y="50"/>
                  </a:lnTo>
                  <a:lnTo>
                    <a:pt x="49" y="59"/>
                  </a:lnTo>
                  <a:lnTo>
                    <a:pt x="41" y="69"/>
                  </a:lnTo>
                  <a:lnTo>
                    <a:pt x="38" y="75"/>
                  </a:lnTo>
                  <a:lnTo>
                    <a:pt x="35" y="81"/>
                  </a:lnTo>
                  <a:lnTo>
                    <a:pt x="32" y="87"/>
                  </a:lnTo>
                  <a:lnTo>
                    <a:pt x="29" y="94"/>
                  </a:lnTo>
                  <a:lnTo>
                    <a:pt x="27" y="101"/>
                  </a:lnTo>
                  <a:lnTo>
                    <a:pt x="24" y="109"/>
                  </a:lnTo>
                  <a:lnTo>
                    <a:pt x="22" y="117"/>
                  </a:lnTo>
                  <a:lnTo>
                    <a:pt x="19" y="126"/>
                  </a:lnTo>
                  <a:lnTo>
                    <a:pt x="18" y="136"/>
                  </a:lnTo>
                  <a:lnTo>
                    <a:pt x="15" y="147"/>
                  </a:lnTo>
                  <a:lnTo>
                    <a:pt x="13" y="158"/>
                  </a:lnTo>
                  <a:lnTo>
                    <a:pt x="10" y="169"/>
                  </a:lnTo>
                  <a:lnTo>
                    <a:pt x="8" y="181"/>
                  </a:lnTo>
                  <a:lnTo>
                    <a:pt x="5" y="195"/>
                  </a:lnTo>
                  <a:lnTo>
                    <a:pt x="5" y="200"/>
                  </a:lnTo>
                  <a:lnTo>
                    <a:pt x="4" y="206"/>
                  </a:lnTo>
                  <a:lnTo>
                    <a:pt x="4" y="211"/>
                  </a:lnTo>
                  <a:lnTo>
                    <a:pt x="2" y="215"/>
                  </a:lnTo>
                  <a:lnTo>
                    <a:pt x="2" y="219"/>
                  </a:lnTo>
                  <a:lnTo>
                    <a:pt x="2" y="223"/>
                  </a:lnTo>
                  <a:lnTo>
                    <a:pt x="0" y="228"/>
                  </a:lnTo>
                  <a:lnTo>
                    <a:pt x="0" y="233"/>
                  </a:lnTo>
                  <a:lnTo>
                    <a:pt x="0" y="237"/>
                  </a:lnTo>
                  <a:lnTo>
                    <a:pt x="2" y="240"/>
                  </a:lnTo>
                  <a:lnTo>
                    <a:pt x="2" y="244"/>
                  </a:lnTo>
                  <a:lnTo>
                    <a:pt x="2" y="248"/>
                  </a:lnTo>
                  <a:lnTo>
                    <a:pt x="4" y="253"/>
                  </a:lnTo>
                  <a:lnTo>
                    <a:pt x="7" y="258"/>
                  </a:lnTo>
                  <a:lnTo>
                    <a:pt x="10" y="262"/>
                  </a:lnTo>
                  <a:lnTo>
                    <a:pt x="13" y="267"/>
                  </a:lnTo>
                  <a:lnTo>
                    <a:pt x="18" y="270"/>
                  </a:lnTo>
                  <a:lnTo>
                    <a:pt x="22" y="275"/>
                  </a:lnTo>
                  <a:lnTo>
                    <a:pt x="27" y="279"/>
                  </a:lnTo>
                  <a:lnTo>
                    <a:pt x="33" y="283"/>
                  </a:lnTo>
                  <a:lnTo>
                    <a:pt x="39" y="287"/>
                  </a:lnTo>
                  <a:lnTo>
                    <a:pt x="47" y="290"/>
                  </a:lnTo>
                  <a:lnTo>
                    <a:pt x="55" y="294"/>
                  </a:lnTo>
                  <a:lnTo>
                    <a:pt x="63" y="297"/>
                  </a:lnTo>
                  <a:lnTo>
                    <a:pt x="72" y="301"/>
                  </a:lnTo>
                  <a:lnTo>
                    <a:pt x="82" y="304"/>
                  </a:lnTo>
                  <a:lnTo>
                    <a:pt x="91" y="306"/>
                  </a:lnTo>
                  <a:lnTo>
                    <a:pt x="102" y="309"/>
                  </a:lnTo>
                  <a:lnTo>
                    <a:pt x="113" y="312"/>
                  </a:lnTo>
                  <a:lnTo>
                    <a:pt x="124" y="315"/>
                  </a:lnTo>
                  <a:lnTo>
                    <a:pt x="135" y="317"/>
                  </a:lnTo>
                  <a:lnTo>
                    <a:pt x="160" y="322"/>
                  </a:lnTo>
                  <a:lnTo>
                    <a:pt x="185" y="325"/>
                  </a:lnTo>
                  <a:lnTo>
                    <a:pt x="213" y="328"/>
                  </a:lnTo>
                  <a:lnTo>
                    <a:pt x="241" y="329"/>
                  </a:lnTo>
                  <a:lnTo>
                    <a:pt x="269" y="331"/>
                  </a:lnTo>
                  <a:lnTo>
                    <a:pt x="300" y="331"/>
                  </a:lnTo>
                  <a:lnTo>
                    <a:pt x="300" y="331"/>
                  </a:lnTo>
                  <a:lnTo>
                    <a:pt x="300" y="331"/>
                  </a:lnTo>
                  <a:lnTo>
                    <a:pt x="330" y="331"/>
                  </a:lnTo>
                  <a:lnTo>
                    <a:pt x="359" y="329"/>
                  </a:lnTo>
                  <a:lnTo>
                    <a:pt x="387" y="328"/>
                  </a:lnTo>
                  <a:lnTo>
                    <a:pt x="414" y="325"/>
                  </a:lnTo>
                  <a:lnTo>
                    <a:pt x="439" y="322"/>
                  </a:lnTo>
                  <a:lnTo>
                    <a:pt x="451" y="319"/>
                  </a:lnTo>
                  <a:lnTo>
                    <a:pt x="464" y="317"/>
                  </a:lnTo>
                  <a:lnTo>
                    <a:pt x="475" y="315"/>
                  </a:lnTo>
                  <a:lnTo>
                    <a:pt x="487" y="312"/>
                  </a:lnTo>
                  <a:lnTo>
                    <a:pt x="497" y="309"/>
                  </a:lnTo>
                  <a:lnTo>
                    <a:pt x="508" y="306"/>
                  </a:lnTo>
                  <a:lnTo>
                    <a:pt x="517" y="304"/>
                  </a:lnTo>
                  <a:lnTo>
                    <a:pt x="526" y="301"/>
                  </a:lnTo>
                  <a:lnTo>
                    <a:pt x="536" y="297"/>
                  </a:lnTo>
                  <a:lnTo>
                    <a:pt x="543" y="294"/>
                  </a:lnTo>
                  <a:lnTo>
                    <a:pt x="551" y="290"/>
                  </a:lnTo>
                  <a:lnTo>
                    <a:pt x="559" y="287"/>
                  </a:lnTo>
                  <a:lnTo>
                    <a:pt x="565" y="283"/>
                  </a:lnTo>
                  <a:lnTo>
                    <a:pt x="572" y="279"/>
                  </a:lnTo>
                  <a:lnTo>
                    <a:pt x="578" y="275"/>
                  </a:lnTo>
                  <a:lnTo>
                    <a:pt x="582" y="270"/>
                  </a:lnTo>
                  <a:lnTo>
                    <a:pt x="586" y="267"/>
                  </a:lnTo>
                  <a:lnTo>
                    <a:pt x="590" y="262"/>
                  </a:lnTo>
                  <a:lnTo>
                    <a:pt x="593" y="258"/>
                  </a:lnTo>
                  <a:lnTo>
                    <a:pt x="595" y="253"/>
                  </a:lnTo>
                  <a:lnTo>
                    <a:pt x="597" y="248"/>
                  </a:lnTo>
                  <a:lnTo>
                    <a:pt x="598" y="244"/>
                  </a:lnTo>
                  <a:lnTo>
                    <a:pt x="598" y="240"/>
                  </a:lnTo>
                  <a:lnTo>
                    <a:pt x="598" y="237"/>
                  </a:lnTo>
                  <a:lnTo>
                    <a:pt x="598" y="233"/>
                  </a:lnTo>
                  <a:lnTo>
                    <a:pt x="598" y="228"/>
                  </a:lnTo>
                  <a:lnTo>
                    <a:pt x="598" y="223"/>
                  </a:lnTo>
                  <a:lnTo>
                    <a:pt x="597" y="219"/>
                  </a:lnTo>
                  <a:lnTo>
                    <a:pt x="597" y="215"/>
                  </a:lnTo>
                  <a:lnTo>
                    <a:pt x="597" y="211"/>
                  </a:lnTo>
                  <a:lnTo>
                    <a:pt x="595" y="206"/>
                  </a:lnTo>
                  <a:lnTo>
                    <a:pt x="595" y="200"/>
                  </a:lnTo>
                  <a:lnTo>
                    <a:pt x="593" y="195"/>
                  </a:lnTo>
                  <a:lnTo>
                    <a:pt x="593" y="195"/>
                  </a:lnTo>
                  <a:close/>
                </a:path>
              </a:pathLst>
            </a:custGeom>
            <a:solidFill>
              <a:schemeClr val="bg1">
                <a:lumMod val="75000"/>
              </a:schemeClr>
            </a:solidFill>
            <a:ln>
              <a:noFill/>
            </a:ln>
            <a:extLst/>
          </p:spPr>
          <p:txBody>
            <a:bodyPr vert="horz" wrap="square" lIns="91416" tIns="45708" rIns="91416" bIns="4570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1799">
                <a:solidFill>
                  <a:srgbClr val="505050">
                    <a:lumMod val="75000"/>
                  </a:srgbClr>
                </a:solidFill>
              </a:endParaRPr>
            </a:p>
          </p:txBody>
        </p:sp>
        <p:sp>
          <p:nvSpPr>
            <p:cNvPr id="104" name="Freeform 103"/>
            <p:cNvSpPr>
              <a:spLocks/>
            </p:cNvSpPr>
            <p:nvPr/>
          </p:nvSpPr>
          <p:spPr bwMode="auto">
            <a:xfrm>
              <a:off x="3532039" y="4932144"/>
              <a:ext cx="153547" cy="153543"/>
            </a:xfrm>
            <a:custGeom>
              <a:avLst/>
              <a:gdLst>
                <a:gd name="T0" fmla="*/ 172 w 326"/>
                <a:gd name="T1" fmla="*/ 1 h 326"/>
                <a:gd name="T2" fmla="*/ 189 w 326"/>
                <a:gd name="T3" fmla="*/ 3 h 326"/>
                <a:gd name="T4" fmla="*/ 212 w 326"/>
                <a:gd name="T5" fmla="*/ 7 h 326"/>
                <a:gd name="T6" fmla="*/ 242 w 326"/>
                <a:gd name="T7" fmla="*/ 20 h 326"/>
                <a:gd name="T8" fmla="*/ 267 w 326"/>
                <a:gd name="T9" fmla="*/ 37 h 326"/>
                <a:gd name="T10" fmla="*/ 290 w 326"/>
                <a:gd name="T11" fmla="*/ 59 h 326"/>
                <a:gd name="T12" fmla="*/ 308 w 326"/>
                <a:gd name="T13" fmla="*/ 86 h 326"/>
                <a:gd name="T14" fmla="*/ 320 w 326"/>
                <a:gd name="T15" fmla="*/ 115 h 326"/>
                <a:gd name="T16" fmla="*/ 325 w 326"/>
                <a:gd name="T17" fmla="*/ 139 h 326"/>
                <a:gd name="T18" fmla="*/ 326 w 326"/>
                <a:gd name="T19" fmla="*/ 154 h 326"/>
                <a:gd name="T20" fmla="*/ 326 w 326"/>
                <a:gd name="T21" fmla="*/ 171 h 326"/>
                <a:gd name="T22" fmla="*/ 325 w 326"/>
                <a:gd name="T23" fmla="*/ 187 h 326"/>
                <a:gd name="T24" fmla="*/ 320 w 326"/>
                <a:gd name="T25" fmla="*/ 210 h 326"/>
                <a:gd name="T26" fmla="*/ 308 w 326"/>
                <a:gd name="T27" fmla="*/ 240 h 326"/>
                <a:gd name="T28" fmla="*/ 290 w 326"/>
                <a:gd name="T29" fmla="*/ 267 h 326"/>
                <a:gd name="T30" fmla="*/ 267 w 326"/>
                <a:gd name="T31" fmla="*/ 289 h 326"/>
                <a:gd name="T32" fmla="*/ 242 w 326"/>
                <a:gd name="T33" fmla="*/ 306 h 326"/>
                <a:gd name="T34" fmla="*/ 212 w 326"/>
                <a:gd name="T35" fmla="*/ 318 h 326"/>
                <a:gd name="T36" fmla="*/ 189 w 326"/>
                <a:gd name="T37" fmla="*/ 323 h 326"/>
                <a:gd name="T38" fmla="*/ 172 w 326"/>
                <a:gd name="T39" fmla="*/ 326 h 326"/>
                <a:gd name="T40" fmla="*/ 156 w 326"/>
                <a:gd name="T41" fmla="*/ 326 h 326"/>
                <a:gd name="T42" fmla="*/ 139 w 326"/>
                <a:gd name="T43" fmla="*/ 323 h 326"/>
                <a:gd name="T44" fmla="*/ 116 w 326"/>
                <a:gd name="T45" fmla="*/ 318 h 326"/>
                <a:gd name="T46" fmla="*/ 86 w 326"/>
                <a:gd name="T47" fmla="*/ 306 h 326"/>
                <a:gd name="T48" fmla="*/ 60 w 326"/>
                <a:gd name="T49" fmla="*/ 289 h 326"/>
                <a:gd name="T50" fmla="*/ 38 w 326"/>
                <a:gd name="T51" fmla="*/ 267 h 326"/>
                <a:gd name="T52" fmla="*/ 20 w 326"/>
                <a:gd name="T53" fmla="*/ 240 h 326"/>
                <a:gd name="T54" fmla="*/ 8 w 326"/>
                <a:gd name="T55" fmla="*/ 210 h 326"/>
                <a:gd name="T56" fmla="*/ 2 w 326"/>
                <a:gd name="T57" fmla="*/ 187 h 326"/>
                <a:gd name="T58" fmla="*/ 0 w 326"/>
                <a:gd name="T59" fmla="*/ 171 h 326"/>
                <a:gd name="T60" fmla="*/ 0 w 326"/>
                <a:gd name="T61" fmla="*/ 154 h 326"/>
                <a:gd name="T62" fmla="*/ 2 w 326"/>
                <a:gd name="T63" fmla="*/ 139 h 326"/>
                <a:gd name="T64" fmla="*/ 8 w 326"/>
                <a:gd name="T65" fmla="*/ 115 h 326"/>
                <a:gd name="T66" fmla="*/ 20 w 326"/>
                <a:gd name="T67" fmla="*/ 86 h 326"/>
                <a:gd name="T68" fmla="*/ 38 w 326"/>
                <a:gd name="T69" fmla="*/ 59 h 326"/>
                <a:gd name="T70" fmla="*/ 60 w 326"/>
                <a:gd name="T71" fmla="*/ 37 h 326"/>
                <a:gd name="T72" fmla="*/ 86 w 326"/>
                <a:gd name="T73" fmla="*/ 20 h 326"/>
                <a:gd name="T74" fmla="*/ 116 w 326"/>
                <a:gd name="T75" fmla="*/ 7 h 326"/>
                <a:gd name="T76" fmla="*/ 139 w 326"/>
                <a:gd name="T77" fmla="*/ 3 h 326"/>
                <a:gd name="T78" fmla="*/ 156 w 326"/>
                <a:gd name="T79" fmla="*/ 1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26" h="326">
                  <a:moveTo>
                    <a:pt x="164" y="0"/>
                  </a:moveTo>
                  <a:lnTo>
                    <a:pt x="172" y="1"/>
                  </a:lnTo>
                  <a:lnTo>
                    <a:pt x="181" y="1"/>
                  </a:lnTo>
                  <a:lnTo>
                    <a:pt x="189" y="3"/>
                  </a:lnTo>
                  <a:lnTo>
                    <a:pt x="197" y="4"/>
                  </a:lnTo>
                  <a:lnTo>
                    <a:pt x="212" y="7"/>
                  </a:lnTo>
                  <a:lnTo>
                    <a:pt x="228" y="14"/>
                  </a:lnTo>
                  <a:lnTo>
                    <a:pt x="242" y="20"/>
                  </a:lnTo>
                  <a:lnTo>
                    <a:pt x="255" y="28"/>
                  </a:lnTo>
                  <a:lnTo>
                    <a:pt x="267" y="37"/>
                  </a:lnTo>
                  <a:lnTo>
                    <a:pt x="280" y="48"/>
                  </a:lnTo>
                  <a:lnTo>
                    <a:pt x="290" y="59"/>
                  </a:lnTo>
                  <a:lnTo>
                    <a:pt x="300" y="72"/>
                  </a:lnTo>
                  <a:lnTo>
                    <a:pt x="308" y="86"/>
                  </a:lnTo>
                  <a:lnTo>
                    <a:pt x="314" y="100"/>
                  </a:lnTo>
                  <a:lnTo>
                    <a:pt x="320" y="115"/>
                  </a:lnTo>
                  <a:lnTo>
                    <a:pt x="323" y="131"/>
                  </a:lnTo>
                  <a:lnTo>
                    <a:pt x="325" y="139"/>
                  </a:lnTo>
                  <a:lnTo>
                    <a:pt x="326" y="146"/>
                  </a:lnTo>
                  <a:lnTo>
                    <a:pt x="326" y="154"/>
                  </a:lnTo>
                  <a:lnTo>
                    <a:pt x="326" y="164"/>
                  </a:lnTo>
                  <a:lnTo>
                    <a:pt x="326" y="171"/>
                  </a:lnTo>
                  <a:lnTo>
                    <a:pt x="326" y="179"/>
                  </a:lnTo>
                  <a:lnTo>
                    <a:pt x="325" y="187"/>
                  </a:lnTo>
                  <a:lnTo>
                    <a:pt x="323" y="196"/>
                  </a:lnTo>
                  <a:lnTo>
                    <a:pt x="320" y="210"/>
                  </a:lnTo>
                  <a:lnTo>
                    <a:pt x="314" y="226"/>
                  </a:lnTo>
                  <a:lnTo>
                    <a:pt x="308" y="240"/>
                  </a:lnTo>
                  <a:lnTo>
                    <a:pt x="300" y="254"/>
                  </a:lnTo>
                  <a:lnTo>
                    <a:pt x="290" y="267"/>
                  </a:lnTo>
                  <a:lnTo>
                    <a:pt x="280" y="278"/>
                  </a:lnTo>
                  <a:lnTo>
                    <a:pt x="267" y="289"/>
                  </a:lnTo>
                  <a:lnTo>
                    <a:pt x="255" y="298"/>
                  </a:lnTo>
                  <a:lnTo>
                    <a:pt x="242" y="306"/>
                  </a:lnTo>
                  <a:lnTo>
                    <a:pt x="228" y="312"/>
                  </a:lnTo>
                  <a:lnTo>
                    <a:pt x="212" y="318"/>
                  </a:lnTo>
                  <a:lnTo>
                    <a:pt x="197" y="323"/>
                  </a:lnTo>
                  <a:lnTo>
                    <a:pt x="189" y="323"/>
                  </a:lnTo>
                  <a:lnTo>
                    <a:pt x="181" y="324"/>
                  </a:lnTo>
                  <a:lnTo>
                    <a:pt x="172" y="326"/>
                  </a:lnTo>
                  <a:lnTo>
                    <a:pt x="164" y="326"/>
                  </a:lnTo>
                  <a:lnTo>
                    <a:pt x="156" y="326"/>
                  </a:lnTo>
                  <a:lnTo>
                    <a:pt x="147" y="324"/>
                  </a:lnTo>
                  <a:lnTo>
                    <a:pt x="139" y="323"/>
                  </a:lnTo>
                  <a:lnTo>
                    <a:pt x="131" y="323"/>
                  </a:lnTo>
                  <a:lnTo>
                    <a:pt x="116" y="318"/>
                  </a:lnTo>
                  <a:lnTo>
                    <a:pt x="100" y="312"/>
                  </a:lnTo>
                  <a:lnTo>
                    <a:pt x="86" y="306"/>
                  </a:lnTo>
                  <a:lnTo>
                    <a:pt x="72" y="298"/>
                  </a:lnTo>
                  <a:lnTo>
                    <a:pt x="60" y="289"/>
                  </a:lnTo>
                  <a:lnTo>
                    <a:pt x="49" y="278"/>
                  </a:lnTo>
                  <a:lnTo>
                    <a:pt x="38" y="267"/>
                  </a:lnTo>
                  <a:lnTo>
                    <a:pt x="28" y="254"/>
                  </a:lnTo>
                  <a:lnTo>
                    <a:pt x="20" y="240"/>
                  </a:lnTo>
                  <a:lnTo>
                    <a:pt x="13" y="226"/>
                  </a:lnTo>
                  <a:lnTo>
                    <a:pt x="8" y="210"/>
                  </a:lnTo>
                  <a:lnTo>
                    <a:pt x="3" y="196"/>
                  </a:lnTo>
                  <a:lnTo>
                    <a:pt x="2" y="187"/>
                  </a:lnTo>
                  <a:lnTo>
                    <a:pt x="2" y="179"/>
                  </a:lnTo>
                  <a:lnTo>
                    <a:pt x="0" y="171"/>
                  </a:lnTo>
                  <a:lnTo>
                    <a:pt x="0" y="164"/>
                  </a:lnTo>
                  <a:lnTo>
                    <a:pt x="0" y="154"/>
                  </a:lnTo>
                  <a:lnTo>
                    <a:pt x="2" y="146"/>
                  </a:lnTo>
                  <a:lnTo>
                    <a:pt x="2" y="139"/>
                  </a:lnTo>
                  <a:lnTo>
                    <a:pt x="3" y="131"/>
                  </a:lnTo>
                  <a:lnTo>
                    <a:pt x="8" y="115"/>
                  </a:lnTo>
                  <a:lnTo>
                    <a:pt x="13" y="100"/>
                  </a:lnTo>
                  <a:lnTo>
                    <a:pt x="20" y="86"/>
                  </a:lnTo>
                  <a:lnTo>
                    <a:pt x="28" y="72"/>
                  </a:lnTo>
                  <a:lnTo>
                    <a:pt x="38" y="59"/>
                  </a:lnTo>
                  <a:lnTo>
                    <a:pt x="49" y="48"/>
                  </a:lnTo>
                  <a:lnTo>
                    <a:pt x="60" y="37"/>
                  </a:lnTo>
                  <a:lnTo>
                    <a:pt x="72" y="28"/>
                  </a:lnTo>
                  <a:lnTo>
                    <a:pt x="86" y="20"/>
                  </a:lnTo>
                  <a:lnTo>
                    <a:pt x="100" y="14"/>
                  </a:lnTo>
                  <a:lnTo>
                    <a:pt x="116" y="7"/>
                  </a:lnTo>
                  <a:lnTo>
                    <a:pt x="131" y="4"/>
                  </a:lnTo>
                  <a:lnTo>
                    <a:pt x="139" y="3"/>
                  </a:lnTo>
                  <a:lnTo>
                    <a:pt x="147" y="1"/>
                  </a:lnTo>
                  <a:lnTo>
                    <a:pt x="156" y="1"/>
                  </a:lnTo>
                  <a:lnTo>
                    <a:pt x="164" y="0"/>
                  </a:lnTo>
                  <a:close/>
                </a:path>
              </a:pathLst>
            </a:custGeom>
            <a:solidFill>
              <a:schemeClr val="bg1">
                <a:lumMod val="75000"/>
              </a:schemeClr>
            </a:solidFill>
            <a:ln>
              <a:noFill/>
            </a:ln>
            <a:extLst/>
          </p:spPr>
          <p:txBody>
            <a:bodyPr vert="horz" wrap="square" lIns="91416" tIns="45708" rIns="91416" bIns="4570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1799">
                <a:solidFill>
                  <a:srgbClr val="505050">
                    <a:lumMod val="75000"/>
                  </a:srgbClr>
                </a:solidFill>
              </a:endParaRPr>
            </a:p>
          </p:txBody>
        </p:sp>
        <p:sp>
          <p:nvSpPr>
            <p:cNvPr id="105" name="Freeform 104"/>
            <p:cNvSpPr>
              <a:spLocks/>
            </p:cNvSpPr>
            <p:nvPr/>
          </p:nvSpPr>
          <p:spPr bwMode="auto">
            <a:xfrm>
              <a:off x="3467982" y="5090397"/>
              <a:ext cx="281660" cy="156370"/>
            </a:xfrm>
            <a:custGeom>
              <a:avLst/>
              <a:gdLst>
                <a:gd name="T0" fmla="*/ 587 w 598"/>
                <a:gd name="T1" fmla="*/ 158 h 331"/>
                <a:gd name="T2" fmla="*/ 578 w 598"/>
                <a:gd name="T3" fmla="*/ 117 h 331"/>
                <a:gd name="T4" fmla="*/ 567 w 598"/>
                <a:gd name="T5" fmla="*/ 87 h 331"/>
                <a:gd name="T6" fmla="*/ 550 w 598"/>
                <a:gd name="T7" fmla="*/ 59 h 331"/>
                <a:gd name="T8" fmla="*/ 520 w 598"/>
                <a:gd name="T9" fmla="*/ 36 h 331"/>
                <a:gd name="T10" fmla="*/ 492 w 598"/>
                <a:gd name="T11" fmla="*/ 25 h 331"/>
                <a:gd name="T12" fmla="*/ 455 w 598"/>
                <a:gd name="T13" fmla="*/ 14 h 331"/>
                <a:gd name="T14" fmla="*/ 430 w 598"/>
                <a:gd name="T15" fmla="*/ 6 h 331"/>
                <a:gd name="T16" fmla="*/ 409 w 598"/>
                <a:gd name="T17" fmla="*/ 2 h 331"/>
                <a:gd name="T18" fmla="*/ 401 w 598"/>
                <a:gd name="T19" fmla="*/ 0 h 331"/>
                <a:gd name="T20" fmla="*/ 394 w 598"/>
                <a:gd name="T21" fmla="*/ 23 h 331"/>
                <a:gd name="T22" fmla="*/ 370 w 598"/>
                <a:gd name="T23" fmla="*/ 69 h 331"/>
                <a:gd name="T24" fmla="*/ 333 w 598"/>
                <a:gd name="T25" fmla="*/ 128 h 331"/>
                <a:gd name="T26" fmla="*/ 308 w 598"/>
                <a:gd name="T27" fmla="*/ 162 h 331"/>
                <a:gd name="T28" fmla="*/ 300 w 598"/>
                <a:gd name="T29" fmla="*/ 169 h 331"/>
                <a:gd name="T30" fmla="*/ 280 w 598"/>
                <a:gd name="T31" fmla="*/ 147 h 331"/>
                <a:gd name="T32" fmla="*/ 252 w 598"/>
                <a:gd name="T33" fmla="*/ 105 h 331"/>
                <a:gd name="T34" fmla="*/ 216 w 598"/>
                <a:gd name="T35" fmla="*/ 45 h 331"/>
                <a:gd name="T36" fmla="*/ 199 w 598"/>
                <a:gd name="T37" fmla="*/ 5 h 331"/>
                <a:gd name="T38" fmla="*/ 196 w 598"/>
                <a:gd name="T39" fmla="*/ 2 h 331"/>
                <a:gd name="T40" fmla="*/ 178 w 598"/>
                <a:gd name="T41" fmla="*/ 5 h 331"/>
                <a:gd name="T42" fmla="*/ 166 w 598"/>
                <a:gd name="T43" fmla="*/ 8 h 331"/>
                <a:gd name="T44" fmla="*/ 125 w 598"/>
                <a:gd name="T45" fmla="*/ 19 h 331"/>
                <a:gd name="T46" fmla="*/ 93 w 598"/>
                <a:gd name="T47" fmla="*/ 30 h 331"/>
                <a:gd name="T48" fmla="*/ 68 w 598"/>
                <a:gd name="T49" fmla="*/ 44 h 331"/>
                <a:gd name="T50" fmla="*/ 38 w 598"/>
                <a:gd name="T51" fmla="*/ 75 h 331"/>
                <a:gd name="T52" fmla="*/ 27 w 598"/>
                <a:gd name="T53" fmla="*/ 101 h 331"/>
                <a:gd name="T54" fmla="*/ 18 w 598"/>
                <a:gd name="T55" fmla="*/ 136 h 331"/>
                <a:gd name="T56" fmla="*/ 8 w 598"/>
                <a:gd name="T57" fmla="*/ 181 h 331"/>
                <a:gd name="T58" fmla="*/ 4 w 598"/>
                <a:gd name="T59" fmla="*/ 211 h 331"/>
                <a:gd name="T60" fmla="*/ 0 w 598"/>
                <a:gd name="T61" fmla="*/ 228 h 331"/>
                <a:gd name="T62" fmla="*/ 2 w 598"/>
                <a:gd name="T63" fmla="*/ 244 h 331"/>
                <a:gd name="T64" fmla="*/ 10 w 598"/>
                <a:gd name="T65" fmla="*/ 262 h 331"/>
                <a:gd name="T66" fmla="*/ 27 w 598"/>
                <a:gd name="T67" fmla="*/ 279 h 331"/>
                <a:gd name="T68" fmla="*/ 55 w 598"/>
                <a:gd name="T69" fmla="*/ 294 h 331"/>
                <a:gd name="T70" fmla="*/ 91 w 598"/>
                <a:gd name="T71" fmla="*/ 306 h 331"/>
                <a:gd name="T72" fmla="*/ 135 w 598"/>
                <a:gd name="T73" fmla="*/ 317 h 331"/>
                <a:gd name="T74" fmla="*/ 241 w 598"/>
                <a:gd name="T75" fmla="*/ 329 h 331"/>
                <a:gd name="T76" fmla="*/ 300 w 598"/>
                <a:gd name="T77" fmla="*/ 331 h 331"/>
                <a:gd name="T78" fmla="*/ 414 w 598"/>
                <a:gd name="T79" fmla="*/ 325 h 331"/>
                <a:gd name="T80" fmla="*/ 475 w 598"/>
                <a:gd name="T81" fmla="*/ 315 h 331"/>
                <a:gd name="T82" fmla="*/ 517 w 598"/>
                <a:gd name="T83" fmla="*/ 304 h 331"/>
                <a:gd name="T84" fmla="*/ 551 w 598"/>
                <a:gd name="T85" fmla="*/ 290 h 331"/>
                <a:gd name="T86" fmla="*/ 578 w 598"/>
                <a:gd name="T87" fmla="*/ 275 h 331"/>
                <a:gd name="T88" fmla="*/ 593 w 598"/>
                <a:gd name="T89" fmla="*/ 258 h 331"/>
                <a:gd name="T90" fmla="*/ 598 w 598"/>
                <a:gd name="T91" fmla="*/ 240 h 331"/>
                <a:gd name="T92" fmla="*/ 598 w 598"/>
                <a:gd name="T93" fmla="*/ 223 h 331"/>
                <a:gd name="T94" fmla="*/ 595 w 598"/>
                <a:gd name="T95" fmla="*/ 20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8" h="331">
                  <a:moveTo>
                    <a:pt x="593" y="195"/>
                  </a:moveTo>
                  <a:lnTo>
                    <a:pt x="590" y="181"/>
                  </a:lnTo>
                  <a:lnTo>
                    <a:pt x="589" y="169"/>
                  </a:lnTo>
                  <a:lnTo>
                    <a:pt x="587" y="158"/>
                  </a:lnTo>
                  <a:lnTo>
                    <a:pt x="584" y="147"/>
                  </a:lnTo>
                  <a:lnTo>
                    <a:pt x="582" y="136"/>
                  </a:lnTo>
                  <a:lnTo>
                    <a:pt x="579" y="126"/>
                  </a:lnTo>
                  <a:lnTo>
                    <a:pt x="578" y="117"/>
                  </a:lnTo>
                  <a:lnTo>
                    <a:pt x="575" y="109"/>
                  </a:lnTo>
                  <a:lnTo>
                    <a:pt x="573" y="101"/>
                  </a:lnTo>
                  <a:lnTo>
                    <a:pt x="570" y="94"/>
                  </a:lnTo>
                  <a:lnTo>
                    <a:pt x="567" y="87"/>
                  </a:lnTo>
                  <a:lnTo>
                    <a:pt x="564" y="81"/>
                  </a:lnTo>
                  <a:lnTo>
                    <a:pt x="561" y="75"/>
                  </a:lnTo>
                  <a:lnTo>
                    <a:pt x="558" y="69"/>
                  </a:lnTo>
                  <a:lnTo>
                    <a:pt x="550" y="59"/>
                  </a:lnTo>
                  <a:lnTo>
                    <a:pt x="542" y="50"/>
                  </a:lnTo>
                  <a:lnTo>
                    <a:pt x="531" y="44"/>
                  </a:lnTo>
                  <a:lnTo>
                    <a:pt x="526" y="39"/>
                  </a:lnTo>
                  <a:lnTo>
                    <a:pt x="520" y="36"/>
                  </a:lnTo>
                  <a:lnTo>
                    <a:pt x="514" y="33"/>
                  </a:lnTo>
                  <a:lnTo>
                    <a:pt x="508" y="30"/>
                  </a:lnTo>
                  <a:lnTo>
                    <a:pt x="500" y="28"/>
                  </a:lnTo>
                  <a:lnTo>
                    <a:pt x="492" y="25"/>
                  </a:lnTo>
                  <a:lnTo>
                    <a:pt x="483" y="22"/>
                  </a:lnTo>
                  <a:lnTo>
                    <a:pt x="475" y="19"/>
                  </a:lnTo>
                  <a:lnTo>
                    <a:pt x="465" y="16"/>
                  </a:lnTo>
                  <a:lnTo>
                    <a:pt x="455" y="14"/>
                  </a:lnTo>
                  <a:lnTo>
                    <a:pt x="444" y="11"/>
                  </a:lnTo>
                  <a:lnTo>
                    <a:pt x="433" y="8"/>
                  </a:lnTo>
                  <a:lnTo>
                    <a:pt x="431" y="8"/>
                  </a:lnTo>
                  <a:lnTo>
                    <a:pt x="430" y="6"/>
                  </a:lnTo>
                  <a:lnTo>
                    <a:pt x="426" y="6"/>
                  </a:lnTo>
                  <a:lnTo>
                    <a:pt x="420" y="5"/>
                  </a:lnTo>
                  <a:lnTo>
                    <a:pt x="416" y="3"/>
                  </a:lnTo>
                  <a:lnTo>
                    <a:pt x="409" y="2"/>
                  </a:lnTo>
                  <a:lnTo>
                    <a:pt x="406" y="0"/>
                  </a:lnTo>
                  <a:lnTo>
                    <a:pt x="405" y="0"/>
                  </a:lnTo>
                  <a:lnTo>
                    <a:pt x="403" y="0"/>
                  </a:lnTo>
                  <a:lnTo>
                    <a:pt x="401" y="0"/>
                  </a:lnTo>
                  <a:lnTo>
                    <a:pt x="401" y="0"/>
                  </a:lnTo>
                  <a:lnTo>
                    <a:pt x="400" y="5"/>
                  </a:lnTo>
                  <a:lnTo>
                    <a:pt x="398" y="14"/>
                  </a:lnTo>
                  <a:lnTo>
                    <a:pt x="394" y="23"/>
                  </a:lnTo>
                  <a:lnTo>
                    <a:pt x="389" y="34"/>
                  </a:lnTo>
                  <a:lnTo>
                    <a:pt x="383" y="45"/>
                  </a:lnTo>
                  <a:lnTo>
                    <a:pt x="377" y="58"/>
                  </a:lnTo>
                  <a:lnTo>
                    <a:pt x="370" y="69"/>
                  </a:lnTo>
                  <a:lnTo>
                    <a:pt x="355" y="94"/>
                  </a:lnTo>
                  <a:lnTo>
                    <a:pt x="348" y="105"/>
                  </a:lnTo>
                  <a:lnTo>
                    <a:pt x="341" y="117"/>
                  </a:lnTo>
                  <a:lnTo>
                    <a:pt x="333" y="128"/>
                  </a:lnTo>
                  <a:lnTo>
                    <a:pt x="327" y="137"/>
                  </a:lnTo>
                  <a:lnTo>
                    <a:pt x="319" y="147"/>
                  </a:lnTo>
                  <a:lnTo>
                    <a:pt x="314" y="156"/>
                  </a:lnTo>
                  <a:lnTo>
                    <a:pt x="308" y="162"/>
                  </a:lnTo>
                  <a:lnTo>
                    <a:pt x="305" y="169"/>
                  </a:lnTo>
                  <a:lnTo>
                    <a:pt x="300" y="169"/>
                  </a:lnTo>
                  <a:lnTo>
                    <a:pt x="300" y="169"/>
                  </a:lnTo>
                  <a:lnTo>
                    <a:pt x="300" y="169"/>
                  </a:lnTo>
                  <a:lnTo>
                    <a:pt x="295" y="169"/>
                  </a:lnTo>
                  <a:lnTo>
                    <a:pt x="291" y="162"/>
                  </a:lnTo>
                  <a:lnTo>
                    <a:pt x="286" y="156"/>
                  </a:lnTo>
                  <a:lnTo>
                    <a:pt x="280" y="147"/>
                  </a:lnTo>
                  <a:lnTo>
                    <a:pt x="274" y="137"/>
                  </a:lnTo>
                  <a:lnTo>
                    <a:pt x="266" y="128"/>
                  </a:lnTo>
                  <a:lnTo>
                    <a:pt x="259" y="117"/>
                  </a:lnTo>
                  <a:lnTo>
                    <a:pt x="252" y="105"/>
                  </a:lnTo>
                  <a:lnTo>
                    <a:pt x="244" y="94"/>
                  </a:lnTo>
                  <a:lnTo>
                    <a:pt x="230" y="69"/>
                  </a:lnTo>
                  <a:lnTo>
                    <a:pt x="222" y="58"/>
                  </a:lnTo>
                  <a:lnTo>
                    <a:pt x="216" y="45"/>
                  </a:lnTo>
                  <a:lnTo>
                    <a:pt x="210" y="34"/>
                  </a:lnTo>
                  <a:lnTo>
                    <a:pt x="205" y="23"/>
                  </a:lnTo>
                  <a:lnTo>
                    <a:pt x="202" y="14"/>
                  </a:lnTo>
                  <a:lnTo>
                    <a:pt x="199" y="5"/>
                  </a:lnTo>
                  <a:lnTo>
                    <a:pt x="199" y="2"/>
                  </a:lnTo>
                  <a:lnTo>
                    <a:pt x="197" y="2"/>
                  </a:lnTo>
                  <a:lnTo>
                    <a:pt x="197" y="2"/>
                  </a:lnTo>
                  <a:lnTo>
                    <a:pt x="196" y="2"/>
                  </a:lnTo>
                  <a:lnTo>
                    <a:pt x="194" y="2"/>
                  </a:lnTo>
                  <a:lnTo>
                    <a:pt x="189" y="3"/>
                  </a:lnTo>
                  <a:lnTo>
                    <a:pt x="185" y="3"/>
                  </a:lnTo>
                  <a:lnTo>
                    <a:pt x="178" y="5"/>
                  </a:lnTo>
                  <a:lnTo>
                    <a:pt x="174" y="6"/>
                  </a:lnTo>
                  <a:lnTo>
                    <a:pt x="169" y="6"/>
                  </a:lnTo>
                  <a:lnTo>
                    <a:pt x="167" y="8"/>
                  </a:lnTo>
                  <a:lnTo>
                    <a:pt x="166" y="8"/>
                  </a:lnTo>
                  <a:lnTo>
                    <a:pt x="155" y="11"/>
                  </a:lnTo>
                  <a:lnTo>
                    <a:pt x="144" y="14"/>
                  </a:lnTo>
                  <a:lnTo>
                    <a:pt x="135" y="16"/>
                  </a:lnTo>
                  <a:lnTo>
                    <a:pt x="125" y="19"/>
                  </a:lnTo>
                  <a:lnTo>
                    <a:pt x="116" y="22"/>
                  </a:lnTo>
                  <a:lnTo>
                    <a:pt x="108" y="25"/>
                  </a:lnTo>
                  <a:lnTo>
                    <a:pt x="100" y="28"/>
                  </a:lnTo>
                  <a:lnTo>
                    <a:pt x="93" y="30"/>
                  </a:lnTo>
                  <a:lnTo>
                    <a:pt x="85" y="33"/>
                  </a:lnTo>
                  <a:lnTo>
                    <a:pt x="78" y="36"/>
                  </a:lnTo>
                  <a:lnTo>
                    <a:pt x="74" y="39"/>
                  </a:lnTo>
                  <a:lnTo>
                    <a:pt x="68" y="44"/>
                  </a:lnTo>
                  <a:lnTo>
                    <a:pt x="58" y="50"/>
                  </a:lnTo>
                  <a:lnTo>
                    <a:pt x="49" y="59"/>
                  </a:lnTo>
                  <a:lnTo>
                    <a:pt x="41" y="69"/>
                  </a:lnTo>
                  <a:lnTo>
                    <a:pt x="38" y="75"/>
                  </a:lnTo>
                  <a:lnTo>
                    <a:pt x="35" y="81"/>
                  </a:lnTo>
                  <a:lnTo>
                    <a:pt x="32" y="87"/>
                  </a:lnTo>
                  <a:lnTo>
                    <a:pt x="29" y="94"/>
                  </a:lnTo>
                  <a:lnTo>
                    <a:pt x="27" y="101"/>
                  </a:lnTo>
                  <a:lnTo>
                    <a:pt x="24" y="109"/>
                  </a:lnTo>
                  <a:lnTo>
                    <a:pt x="22" y="117"/>
                  </a:lnTo>
                  <a:lnTo>
                    <a:pt x="19" y="126"/>
                  </a:lnTo>
                  <a:lnTo>
                    <a:pt x="18" y="136"/>
                  </a:lnTo>
                  <a:lnTo>
                    <a:pt x="15" y="147"/>
                  </a:lnTo>
                  <a:lnTo>
                    <a:pt x="13" y="158"/>
                  </a:lnTo>
                  <a:lnTo>
                    <a:pt x="10" y="169"/>
                  </a:lnTo>
                  <a:lnTo>
                    <a:pt x="8" y="181"/>
                  </a:lnTo>
                  <a:lnTo>
                    <a:pt x="5" y="195"/>
                  </a:lnTo>
                  <a:lnTo>
                    <a:pt x="5" y="200"/>
                  </a:lnTo>
                  <a:lnTo>
                    <a:pt x="4" y="206"/>
                  </a:lnTo>
                  <a:lnTo>
                    <a:pt x="4" y="211"/>
                  </a:lnTo>
                  <a:lnTo>
                    <a:pt x="2" y="215"/>
                  </a:lnTo>
                  <a:lnTo>
                    <a:pt x="2" y="219"/>
                  </a:lnTo>
                  <a:lnTo>
                    <a:pt x="2" y="223"/>
                  </a:lnTo>
                  <a:lnTo>
                    <a:pt x="0" y="228"/>
                  </a:lnTo>
                  <a:lnTo>
                    <a:pt x="0" y="233"/>
                  </a:lnTo>
                  <a:lnTo>
                    <a:pt x="0" y="237"/>
                  </a:lnTo>
                  <a:lnTo>
                    <a:pt x="2" y="240"/>
                  </a:lnTo>
                  <a:lnTo>
                    <a:pt x="2" y="244"/>
                  </a:lnTo>
                  <a:lnTo>
                    <a:pt x="2" y="248"/>
                  </a:lnTo>
                  <a:lnTo>
                    <a:pt x="4" y="253"/>
                  </a:lnTo>
                  <a:lnTo>
                    <a:pt x="7" y="258"/>
                  </a:lnTo>
                  <a:lnTo>
                    <a:pt x="10" y="262"/>
                  </a:lnTo>
                  <a:lnTo>
                    <a:pt x="13" y="267"/>
                  </a:lnTo>
                  <a:lnTo>
                    <a:pt x="18" y="270"/>
                  </a:lnTo>
                  <a:lnTo>
                    <a:pt x="22" y="275"/>
                  </a:lnTo>
                  <a:lnTo>
                    <a:pt x="27" y="279"/>
                  </a:lnTo>
                  <a:lnTo>
                    <a:pt x="33" y="283"/>
                  </a:lnTo>
                  <a:lnTo>
                    <a:pt x="39" y="287"/>
                  </a:lnTo>
                  <a:lnTo>
                    <a:pt x="47" y="290"/>
                  </a:lnTo>
                  <a:lnTo>
                    <a:pt x="55" y="294"/>
                  </a:lnTo>
                  <a:lnTo>
                    <a:pt x="63" y="297"/>
                  </a:lnTo>
                  <a:lnTo>
                    <a:pt x="72" y="301"/>
                  </a:lnTo>
                  <a:lnTo>
                    <a:pt x="82" y="304"/>
                  </a:lnTo>
                  <a:lnTo>
                    <a:pt x="91" y="306"/>
                  </a:lnTo>
                  <a:lnTo>
                    <a:pt x="102" y="309"/>
                  </a:lnTo>
                  <a:lnTo>
                    <a:pt x="113" y="312"/>
                  </a:lnTo>
                  <a:lnTo>
                    <a:pt x="124" y="315"/>
                  </a:lnTo>
                  <a:lnTo>
                    <a:pt x="135" y="317"/>
                  </a:lnTo>
                  <a:lnTo>
                    <a:pt x="160" y="322"/>
                  </a:lnTo>
                  <a:lnTo>
                    <a:pt x="185" y="325"/>
                  </a:lnTo>
                  <a:lnTo>
                    <a:pt x="213" y="328"/>
                  </a:lnTo>
                  <a:lnTo>
                    <a:pt x="241" y="329"/>
                  </a:lnTo>
                  <a:lnTo>
                    <a:pt x="269" y="331"/>
                  </a:lnTo>
                  <a:lnTo>
                    <a:pt x="300" y="331"/>
                  </a:lnTo>
                  <a:lnTo>
                    <a:pt x="300" y="331"/>
                  </a:lnTo>
                  <a:lnTo>
                    <a:pt x="300" y="331"/>
                  </a:lnTo>
                  <a:lnTo>
                    <a:pt x="330" y="331"/>
                  </a:lnTo>
                  <a:lnTo>
                    <a:pt x="359" y="329"/>
                  </a:lnTo>
                  <a:lnTo>
                    <a:pt x="387" y="328"/>
                  </a:lnTo>
                  <a:lnTo>
                    <a:pt x="414" y="325"/>
                  </a:lnTo>
                  <a:lnTo>
                    <a:pt x="439" y="322"/>
                  </a:lnTo>
                  <a:lnTo>
                    <a:pt x="451" y="319"/>
                  </a:lnTo>
                  <a:lnTo>
                    <a:pt x="464" y="317"/>
                  </a:lnTo>
                  <a:lnTo>
                    <a:pt x="475" y="315"/>
                  </a:lnTo>
                  <a:lnTo>
                    <a:pt x="487" y="312"/>
                  </a:lnTo>
                  <a:lnTo>
                    <a:pt x="497" y="309"/>
                  </a:lnTo>
                  <a:lnTo>
                    <a:pt x="508" y="306"/>
                  </a:lnTo>
                  <a:lnTo>
                    <a:pt x="517" y="304"/>
                  </a:lnTo>
                  <a:lnTo>
                    <a:pt x="526" y="301"/>
                  </a:lnTo>
                  <a:lnTo>
                    <a:pt x="536" y="297"/>
                  </a:lnTo>
                  <a:lnTo>
                    <a:pt x="543" y="294"/>
                  </a:lnTo>
                  <a:lnTo>
                    <a:pt x="551" y="290"/>
                  </a:lnTo>
                  <a:lnTo>
                    <a:pt x="559" y="287"/>
                  </a:lnTo>
                  <a:lnTo>
                    <a:pt x="565" y="283"/>
                  </a:lnTo>
                  <a:lnTo>
                    <a:pt x="572" y="279"/>
                  </a:lnTo>
                  <a:lnTo>
                    <a:pt x="578" y="275"/>
                  </a:lnTo>
                  <a:lnTo>
                    <a:pt x="582" y="270"/>
                  </a:lnTo>
                  <a:lnTo>
                    <a:pt x="586" y="267"/>
                  </a:lnTo>
                  <a:lnTo>
                    <a:pt x="590" y="262"/>
                  </a:lnTo>
                  <a:lnTo>
                    <a:pt x="593" y="258"/>
                  </a:lnTo>
                  <a:lnTo>
                    <a:pt x="595" y="253"/>
                  </a:lnTo>
                  <a:lnTo>
                    <a:pt x="597" y="248"/>
                  </a:lnTo>
                  <a:lnTo>
                    <a:pt x="598" y="244"/>
                  </a:lnTo>
                  <a:lnTo>
                    <a:pt x="598" y="240"/>
                  </a:lnTo>
                  <a:lnTo>
                    <a:pt x="598" y="237"/>
                  </a:lnTo>
                  <a:lnTo>
                    <a:pt x="598" y="233"/>
                  </a:lnTo>
                  <a:lnTo>
                    <a:pt x="598" y="228"/>
                  </a:lnTo>
                  <a:lnTo>
                    <a:pt x="598" y="223"/>
                  </a:lnTo>
                  <a:lnTo>
                    <a:pt x="597" y="219"/>
                  </a:lnTo>
                  <a:lnTo>
                    <a:pt x="597" y="215"/>
                  </a:lnTo>
                  <a:lnTo>
                    <a:pt x="597" y="211"/>
                  </a:lnTo>
                  <a:lnTo>
                    <a:pt x="595" y="206"/>
                  </a:lnTo>
                  <a:lnTo>
                    <a:pt x="595" y="200"/>
                  </a:lnTo>
                  <a:lnTo>
                    <a:pt x="593" y="195"/>
                  </a:lnTo>
                  <a:lnTo>
                    <a:pt x="593" y="195"/>
                  </a:lnTo>
                  <a:close/>
                </a:path>
              </a:pathLst>
            </a:custGeom>
            <a:solidFill>
              <a:schemeClr val="bg1">
                <a:lumMod val="75000"/>
              </a:schemeClr>
            </a:solidFill>
            <a:ln>
              <a:noFill/>
            </a:ln>
            <a:extLst/>
          </p:spPr>
          <p:txBody>
            <a:bodyPr vert="horz" wrap="square" lIns="91416" tIns="45708" rIns="91416" bIns="4570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1799">
                <a:solidFill>
                  <a:srgbClr val="505050">
                    <a:lumMod val="75000"/>
                  </a:srgbClr>
                </a:solidFill>
              </a:endParaRPr>
            </a:p>
          </p:txBody>
        </p:sp>
      </p:grpSp>
    </p:spTree>
    <p:extLst>
      <p:ext uri="{BB962C8B-B14F-4D97-AF65-F5344CB8AC3E}">
        <p14:creationId xmlns:p14="http://schemas.microsoft.com/office/powerpoint/2010/main" val="3961767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Lst>
  </p:timing>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Box 2"/>
          <p:cNvSpPr txBox="1"/>
          <p:nvPr/>
        </p:nvSpPr>
        <p:spPr>
          <a:xfrm>
            <a:off x="2888339" y="2995264"/>
            <a:ext cx="6616879" cy="615361"/>
          </a:xfrm>
          <a:prstGeom prst="rect">
            <a:avLst/>
          </a:prstGeom>
          <a:noFill/>
        </p:spPr>
        <p:txBody>
          <a:bodyPr wrap="square" lIns="179238" tIns="143391" rIns="179238" bIns="143391" rtlCol="0">
            <a:spAutoFit/>
          </a:bodyPr>
          <a:lstStyle/>
          <a:p>
            <a:pPr algn="ctr" defTabSz="914180">
              <a:lnSpc>
                <a:spcPct val="90000"/>
              </a:lnSpc>
              <a:spcAft>
                <a:spcPts val="588"/>
              </a:spcAft>
            </a:pPr>
            <a:r>
              <a:rPr lang="en-US" sz="2352" dirty="0">
                <a:gradFill>
                  <a:gsLst>
                    <a:gs pos="4908">
                      <a:srgbClr val="505050"/>
                    </a:gs>
                    <a:gs pos="16000">
                      <a:srgbClr val="505050"/>
                    </a:gs>
                  </a:gsLst>
                  <a:lin ang="5400000" scaled="0"/>
                </a:gradFill>
              </a:rPr>
              <a:t>https://api.office.com/discovery/me</a:t>
            </a:r>
          </a:p>
        </p:txBody>
      </p:sp>
      <p:grpSp>
        <p:nvGrpSpPr>
          <p:cNvPr id="47" name="Group 46"/>
          <p:cNvGrpSpPr/>
          <p:nvPr/>
        </p:nvGrpSpPr>
        <p:grpSpPr>
          <a:xfrm>
            <a:off x="8071223" y="3910555"/>
            <a:ext cx="1725360" cy="510829"/>
            <a:chOff x="8944087" y="2711730"/>
            <a:chExt cx="1760415" cy="521208"/>
          </a:xfrm>
        </p:grpSpPr>
        <p:sp>
          <p:nvSpPr>
            <p:cNvPr id="23" name="Rectangle 22"/>
            <p:cNvSpPr/>
            <p:nvPr/>
          </p:nvSpPr>
          <p:spPr bwMode="auto">
            <a:xfrm>
              <a:off x="8944087" y="2711730"/>
              <a:ext cx="1760415" cy="521208"/>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t" anchorCtr="0" compatLnSpc="1">
              <a:prstTxWarp prst="textNoShape">
                <a:avLst/>
              </a:prstTxWarp>
            </a:bodyPr>
            <a:lstStyle/>
            <a:p>
              <a:pPr defTabSz="914180">
                <a:lnSpc>
                  <a:spcPct val="90000"/>
                </a:lnSpc>
                <a:spcAft>
                  <a:spcPts val="588"/>
                </a:spcAft>
              </a:pPr>
              <a:r>
                <a:rPr lang="en-US" sz="1764">
                  <a:gradFill>
                    <a:gsLst>
                      <a:gs pos="2917">
                        <a:srgbClr val="505050"/>
                      </a:gs>
                      <a:gs pos="30000">
                        <a:srgbClr val="505050"/>
                      </a:gs>
                    </a:gsLst>
                    <a:lin ang="5400000" scaled="0"/>
                  </a:gradFill>
                  <a:cs typeface="Segoe UI Semilight" panose="020B0402040204020203" pitchFamily="34" charset="0"/>
                </a:rPr>
                <a:t>Search</a:t>
              </a:r>
              <a:endParaRPr lang="en-US" sz="1764" dirty="0">
                <a:gradFill>
                  <a:gsLst>
                    <a:gs pos="2917">
                      <a:srgbClr val="505050"/>
                    </a:gs>
                    <a:gs pos="30000">
                      <a:srgbClr val="505050"/>
                    </a:gs>
                  </a:gsLst>
                  <a:lin ang="5400000" scaled="0"/>
                </a:gradFill>
                <a:cs typeface="Segoe UI Semilight" panose="020B0402040204020203" pitchFamily="34" charset="0"/>
              </a:endParaRPr>
            </a:p>
          </p:txBody>
        </p:sp>
        <p:sp>
          <p:nvSpPr>
            <p:cNvPr id="35" name="Freeform 232"/>
            <p:cNvSpPr>
              <a:spLocks noChangeAspect="1" noEditPoints="1"/>
            </p:cNvSpPr>
            <p:nvPr/>
          </p:nvSpPr>
          <p:spPr bwMode="auto">
            <a:xfrm>
              <a:off x="10247616" y="2863329"/>
              <a:ext cx="249749" cy="239147"/>
            </a:xfrm>
            <a:custGeom>
              <a:avLst/>
              <a:gdLst>
                <a:gd name="T0" fmla="*/ 33 w 90"/>
                <a:gd name="T1" fmla="*/ 12 h 86"/>
                <a:gd name="T2" fmla="*/ 54 w 90"/>
                <a:gd name="T3" fmla="*/ 33 h 86"/>
                <a:gd name="T4" fmla="*/ 33 w 90"/>
                <a:gd name="T5" fmla="*/ 54 h 86"/>
                <a:gd name="T6" fmla="*/ 13 w 90"/>
                <a:gd name="T7" fmla="*/ 33 h 86"/>
                <a:gd name="T8" fmla="*/ 33 w 90"/>
                <a:gd name="T9" fmla="*/ 12 h 86"/>
                <a:gd name="T10" fmla="*/ 33 w 90"/>
                <a:gd name="T11" fmla="*/ 0 h 86"/>
                <a:gd name="T12" fmla="*/ 0 w 90"/>
                <a:gd name="T13" fmla="*/ 33 h 86"/>
                <a:gd name="T14" fmla="*/ 33 w 90"/>
                <a:gd name="T15" fmla="*/ 66 h 86"/>
                <a:gd name="T16" fmla="*/ 55 w 90"/>
                <a:gd name="T17" fmla="*/ 58 h 86"/>
                <a:gd name="T18" fmla="*/ 80 w 90"/>
                <a:gd name="T19" fmla="*/ 84 h 86"/>
                <a:gd name="T20" fmla="*/ 88 w 90"/>
                <a:gd name="T21" fmla="*/ 84 h 86"/>
                <a:gd name="T22" fmla="*/ 88 w 90"/>
                <a:gd name="T23" fmla="*/ 84 h 86"/>
                <a:gd name="T24" fmla="*/ 88 w 90"/>
                <a:gd name="T25" fmla="*/ 76 h 86"/>
                <a:gd name="T26" fmla="*/ 61 w 90"/>
                <a:gd name="T27" fmla="*/ 50 h 86"/>
                <a:gd name="T28" fmla="*/ 66 w 90"/>
                <a:gd name="T29" fmla="*/ 33 h 86"/>
                <a:gd name="T30" fmla="*/ 33 w 90"/>
                <a:gd name="T31"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0" h="86">
                  <a:moveTo>
                    <a:pt x="33" y="12"/>
                  </a:moveTo>
                  <a:cubicBezTo>
                    <a:pt x="44" y="12"/>
                    <a:pt x="54" y="22"/>
                    <a:pt x="54" y="33"/>
                  </a:cubicBezTo>
                  <a:cubicBezTo>
                    <a:pt x="54" y="44"/>
                    <a:pt x="44" y="54"/>
                    <a:pt x="33" y="54"/>
                  </a:cubicBezTo>
                  <a:cubicBezTo>
                    <a:pt x="22" y="54"/>
                    <a:pt x="13" y="44"/>
                    <a:pt x="13" y="33"/>
                  </a:cubicBezTo>
                  <a:cubicBezTo>
                    <a:pt x="13" y="22"/>
                    <a:pt x="22" y="12"/>
                    <a:pt x="33" y="12"/>
                  </a:cubicBezTo>
                  <a:close/>
                  <a:moveTo>
                    <a:pt x="33" y="0"/>
                  </a:moveTo>
                  <a:cubicBezTo>
                    <a:pt x="15" y="0"/>
                    <a:pt x="0" y="15"/>
                    <a:pt x="0" y="33"/>
                  </a:cubicBezTo>
                  <a:cubicBezTo>
                    <a:pt x="0" y="51"/>
                    <a:pt x="15" y="66"/>
                    <a:pt x="33" y="66"/>
                  </a:cubicBezTo>
                  <a:cubicBezTo>
                    <a:pt x="41" y="66"/>
                    <a:pt x="49" y="63"/>
                    <a:pt x="55" y="58"/>
                  </a:cubicBezTo>
                  <a:cubicBezTo>
                    <a:pt x="80" y="84"/>
                    <a:pt x="80" y="84"/>
                    <a:pt x="80" y="84"/>
                  </a:cubicBezTo>
                  <a:cubicBezTo>
                    <a:pt x="82" y="86"/>
                    <a:pt x="86" y="86"/>
                    <a:pt x="88" y="84"/>
                  </a:cubicBezTo>
                  <a:cubicBezTo>
                    <a:pt x="88" y="84"/>
                    <a:pt x="88" y="84"/>
                    <a:pt x="88" y="84"/>
                  </a:cubicBezTo>
                  <a:cubicBezTo>
                    <a:pt x="90" y="82"/>
                    <a:pt x="90" y="78"/>
                    <a:pt x="88" y="76"/>
                  </a:cubicBezTo>
                  <a:cubicBezTo>
                    <a:pt x="61" y="50"/>
                    <a:pt x="61" y="50"/>
                    <a:pt x="61" y="50"/>
                  </a:cubicBezTo>
                  <a:cubicBezTo>
                    <a:pt x="65" y="45"/>
                    <a:pt x="66" y="39"/>
                    <a:pt x="66" y="33"/>
                  </a:cubicBezTo>
                  <a:cubicBezTo>
                    <a:pt x="66" y="15"/>
                    <a:pt x="51" y="0"/>
                    <a:pt x="33" y="0"/>
                  </a:cubicBezTo>
                  <a:close/>
                </a:path>
              </a:pathLst>
            </a:custGeom>
            <a:solidFill>
              <a:schemeClr val="tx1"/>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19" tIns="45708" rIns="0" bIns="45708" numCol="1" spcCol="0" rtlCol="0" fromWordArt="0" anchor="ctr" anchorCtr="0" forceAA="0" compatLnSpc="1">
              <a:prstTxWarp prst="textNoShape">
                <a:avLst/>
              </a:prstTxWarp>
              <a:noAutofit/>
            </a:bodyPr>
            <a:lstStyle/>
            <a:p>
              <a:pPr defTabSz="914180">
                <a:lnSpc>
                  <a:spcPct val="90000"/>
                </a:lnSpc>
                <a:spcAft>
                  <a:spcPts val="588"/>
                </a:spcAft>
              </a:pPr>
              <a:endParaRPr lang="en-US" sz="1372" b="1">
                <a:gradFill>
                  <a:gsLst>
                    <a:gs pos="50427">
                      <a:srgbClr val="FFFFFF"/>
                    </a:gs>
                    <a:gs pos="30000">
                      <a:srgbClr val="FFFFFF"/>
                    </a:gs>
                  </a:gsLst>
                  <a:lin ang="5400000" scaled="0"/>
                </a:gradFill>
              </a:endParaRPr>
            </a:p>
          </p:txBody>
        </p:sp>
      </p:grpSp>
      <p:grpSp>
        <p:nvGrpSpPr>
          <p:cNvPr id="48" name="Group 47"/>
          <p:cNvGrpSpPr/>
          <p:nvPr/>
        </p:nvGrpSpPr>
        <p:grpSpPr>
          <a:xfrm>
            <a:off x="9894352" y="3917368"/>
            <a:ext cx="1725360" cy="510829"/>
            <a:chOff x="9102738" y="3669845"/>
            <a:chExt cx="1760415" cy="521208"/>
          </a:xfrm>
        </p:grpSpPr>
        <p:sp>
          <p:nvSpPr>
            <p:cNvPr id="27" name="Rectangle 26"/>
            <p:cNvSpPr/>
            <p:nvPr/>
          </p:nvSpPr>
          <p:spPr bwMode="auto">
            <a:xfrm>
              <a:off x="9102738" y="3669845"/>
              <a:ext cx="1760415" cy="521208"/>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t" anchorCtr="0" compatLnSpc="1">
              <a:prstTxWarp prst="textNoShape">
                <a:avLst/>
              </a:prstTxWarp>
            </a:bodyPr>
            <a:lstStyle/>
            <a:p>
              <a:pPr defTabSz="914180">
                <a:lnSpc>
                  <a:spcPct val="90000"/>
                </a:lnSpc>
                <a:spcAft>
                  <a:spcPts val="588"/>
                </a:spcAft>
              </a:pPr>
              <a:r>
                <a:rPr lang="en-US" sz="1764" dirty="0">
                  <a:gradFill>
                    <a:gsLst>
                      <a:gs pos="2917">
                        <a:srgbClr val="505050"/>
                      </a:gs>
                      <a:gs pos="30000">
                        <a:srgbClr val="505050"/>
                      </a:gs>
                    </a:gsLst>
                    <a:lin ang="5400000" scaled="0"/>
                  </a:gradFill>
                  <a:cs typeface="Segoe UI Semilight" panose="020B0402040204020203" pitchFamily="34" charset="0"/>
                </a:rPr>
                <a:t>Social</a:t>
              </a:r>
            </a:p>
          </p:txBody>
        </p:sp>
        <p:sp>
          <p:nvSpPr>
            <p:cNvPr id="36" name="Freeform 212"/>
            <p:cNvSpPr>
              <a:spLocks noChangeAspect="1" noEditPoints="1"/>
            </p:cNvSpPr>
            <p:nvPr/>
          </p:nvSpPr>
          <p:spPr bwMode="auto">
            <a:xfrm>
              <a:off x="10398588" y="3832743"/>
              <a:ext cx="293742" cy="235586"/>
            </a:xfrm>
            <a:custGeom>
              <a:avLst/>
              <a:gdLst>
                <a:gd name="T0" fmla="*/ 46 w 126"/>
                <a:gd name="T1" fmla="*/ 20 h 101"/>
                <a:gd name="T2" fmla="*/ 92 w 126"/>
                <a:gd name="T3" fmla="*/ 55 h 101"/>
                <a:gd name="T4" fmla="*/ 46 w 126"/>
                <a:gd name="T5" fmla="*/ 90 h 101"/>
                <a:gd name="T6" fmla="*/ 33 w 126"/>
                <a:gd name="T7" fmla="*/ 88 h 101"/>
                <a:gd name="T8" fmla="*/ 9 w 126"/>
                <a:gd name="T9" fmla="*/ 98 h 101"/>
                <a:gd name="T10" fmla="*/ 22 w 126"/>
                <a:gd name="T11" fmla="*/ 85 h 101"/>
                <a:gd name="T12" fmla="*/ 0 w 126"/>
                <a:gd name="T13" fmla="*/ 55 h 101"/>
                <a:gd name="T14" fmla="*/ 46 w 126"/>
                <a:gd name="T15" fmla="*/ 20 h 101"/>
                <a:gd name="T16" fmla="*/ 80 w 126"/>
                <a:gd name="T17" fmla="*/ 0 h 101"/>
                <a:gd name="T18" fmla="*/ 41 w 126"/>
                <a:gd name="T19" fmla="*/ 15 h 101"/>
                <a:gd name="T20" fmla="*/ 93 w 126"/>
                <a:gd name="T21" fmla="*/ 69 h 101"/>
                <a:gd name="T22" fmla="*/ 117 w 126"/>
                <a:gd name="T23" fmla="*/ 79 h 101"/>
                <a:gd name="T24" fmla="*/ 103 w 126"/>
                <a:gd name="T25" fmla="*/ 65 h 101"/>
                <a:gd name="T26" fmla="*/ 126 w 126"/>
                <a:gd name="T27" fmla="*/ 35 h 101"/>
                <a:gd name="T28" fmla="*/ 80 w 126"/>
                <a:gd name="T2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6" h="101">
                  <a:moveTo>
                    <a:pt x="46" y="20"/>
                  </a:moveTo>
                  <a:cubicBezTo>
                    <a:pt x="72" y="20"/>
                    <a:pt x="92" y="35"/>
                    <a:pt x="92" y="55"/>
                  </a:cubicBezTo>
                  <a:cubicBezTo>
                    <a:pt x="92" y="74"/>
                    <a:pt x="72" y="90"/>
                    <a:pt x="46" y="90"/>
                  </a:cubicBezTo>
                  <a:cubicBezTo>
                    <a:pt x="42" y="90"/>
                    <a:pt x="37" y="89"/>
                    <a:pt x="33" y="88"/>
                  </a:cubicBezTo>
                  <a:cubicBezTo>
                    <a:pt x="28" y="98"/>
                    <a:pt x="18" y="101"/>
                    <a:pt x="9" y="98"/>
                  </a:cubicBezTo>
                  <a:cubicBezTo>
                    <a:pt x="14" y="94"/>
                    <a:pt x="19" y="89"/>
                    <a:pt x="22" y="85"/>
                  </a:cubicBezTo>
                  <a:cubicBezTo>
                    <a:pt x="9" y="79"/>
                    <a:pt x="0" y="68"/>
                    <a:pt x="0" y="55"/>
                  </a:cubicBezTo>
                  <a:cubicBezTo>
                    <a:pt x="0" y="35"/>
                    <a:pt x="21" y="20"/>
                    <a:pt x="46" y="20"/>
                  </a:cubicBezTo>
                  <a:close/>
                  <a:moveTo>
                    <a:pt x="80" y="0"/>
                  </a:moveTo>
                  <a:cubicBezTo>
                    <a:pt x="64" y="0"/>
                    <a:pt x="50" y="6"/>
                    <a:pt x="41" y="15"/>
                  </a:cubicBezTo>
                  <a:cubicBezTo>
                    <a:pt x="62" y="10"/>
                    <a:pt x="112" y="32"/>
                    <a:pt x="93" y="69"/>
                  </a:cubicBezTo>
                  <a:cubicBezTo>
                    <a:pt x="99" y="79"/>
                    <a:pt x="108" y="81"/>
                    <a:pt x="117" y="79"/>
                  </a:cubicBezTo>
                  <a:cubicBezTo>
                    <a:pt x="111" y="74"/>
                    <a:pt x="107" y="70"/>
                    <a:pt x="103" y="65"/>
                  </a:cubicBezTo>
                  <a:cubicBezTo>
                    <a:pt x="117" y="59"/>
                    <a:pt x="126" y="48"/>
                    <a:pt x="126" y="35"/>
                  </a:cubicBezTo>
                  <a:cubicBezTo>
                    <a:pt x="126" y="16"/>
                    <a:pt x="105" y="0"/>
                    <a:pt x="80" y="0"/>
                  </a:cubicBezTo>
                  <a:close/>
                </a:path>
              </a:pathLst>
            </a:custGeom>
            <a:solidFill>
              <a:schemeClr val="tx1"/>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19" tIns="45708" rIns="0" bIns="45708" numCol="1" spcCol="0" rtlCol="0" fromWordArt="0" anchor="ctr" anchorCtr="0" forceAA="0" compatLnSpc="1">
              <a:prstTxWarp prst="textNoShape">
                <a:avLst/>
              </a:prstTxWarp>
              <a:noAutofit/>
            </a:bodyPr>
            <a:lstStyle/>
            <a:p>
              <a:pPr defTabSz="914180">
                <a:lnSpc>
                  <a:spcPct val="90000"/>
                </a:lnSpc>
                <a:spcAft>
                  <a:spcPts val="588"/>
                </a:spcAft>
              </a:pPr>
              <a:endParaRPr lang="en-US" sz="1372" b="1">
                <a:gradFill>
                  <a:gsLst>
                    <a:gs pos="50427">
                      <a:srgbClr val="FFFFFF"/>
                    </a:gs>
                    <a:gs pos="30000">
                      <a:srgbClr val="FFFFFF"/>
                    </a:gs>
                  </a:gsLst>
                  <a:lin ang="5400000" scaled="0"/>
                </a:gradFill>
              </a:endParaRPr>
            </a:p>
          </p:txBody>
        </p:sp>
      </p:grpSp>
      <p:grpSp>
        <p:nvGrpSpPr>
          <p:cNvPr id="43" name="Group 42"/>
          <p:cNvGrpSpPr/>
          <p:nvPr/>
        </p:nvGrpSpPr>
        <p:grpSpPr>
          <a:xfrm>
            <a:off x="2601727" y="3910555"/>
            <a:ext cx="1725360" cy="510829"/>
            <a:chOff x="2867799" y="2762517"/>
            <a:chExt cx="1760415" cy="521208"/>
          </a:xfrm>
        </p:grpSpPr>
        <p:sp>
          <p:nvSpPr>
            <p:cNvPr id="24" name="Rectangle 23"/>
            <p:cNvSpPr/>
            <p:nvPr/>
          </p:nvSpPr>
          <p:spPr bwMode="auto">
            <a:xfrm>
              <a:off x="2867799" y="2762517"/>
              <a:ext cx="1760415" cy="521208"/>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t" anchorCtr="0" compatLnSpc="1">
              <a:prstTxWarp prst="textNoShape">
                <a:avLst/>
              </a:prstTxWarp>
            </a:bodyPr>
            <a:lstStyle/>
            <a:p>
              <a:pPr defTabSz="914180">
                <a:lnSpc>
                  <a:spcPct val="90000"/>
                </a:lnSpc>
                <a:spcAft>
                  <a:spcPts val="588"/>
                </a:spcAft>
              </a:pPr>
              <a:r>
                <a:rPr lang="en-US" sz="1764">
                  <a:gradFill>
                    <a:gsLst>
                      <a:gs pos="2917">
                        <a:srgbClr val="505050"/>
                      </a:gs>
                      <a:gs pos="30000">
                        <a:srgbClr val="505050"/>
                      </a:gs>
                    </a:gsLst>
                    <a:lin ang="5400000" scaled="0"/>
                  </a:gradFill>
                  <a:cs typeface="Segoe UI Semilight" panose="020B0402040204020203" pitchFamily="34" charset="0"/>
                </a:rPr>
                <a:t>Mail</a:t>
              </a:r>
              <a:endParaRPr lang="en-US" sz="1764" dirty="0">
                <a:gradFill>
                  <a:gsLst>
                    <a:gs pos="2917">
                      <a:srgbClr val="505050"/>
                    </a:gs>
                    <a:gs pos="30000">
                      <a:srgbClr val="505050"/>
                    </a:gs>
                  </a:gsLst>
                  <a:lin ang="5400000" scaled="0"/>
                </a:gradFill>
                <a:cs typeface="Segoe UI Semilight" panose="020B0402040204020203" pitchFamily="34" charset="0"/>
              </a:endParaRPr>
            </a:p>
          </p:txBody>
        </p:sp>
        <p:sp>
          <p:nvSpPr>
            <p:cNvPr id="38" name="Freeform 18"/>
            <p:cNvSpPr>
              <a:spLocks noChangeAspect="1" noEditPoints="1"/>
            </p:cNvSpPr>
            <p:nvPr/>
          </p:nvSpPr>
          <p:spPr bwMode="auto">
            <a:xfrm>
              <a:off x="4198336" y="2933167"/>
              <a:ext cx="300859" cy="202406"/>
            </a:xfrm>
            <a:custGeom>
              <a:avLst/>
              <a:gdLst>
                <a:gd name="T0" fmla="*/ 364 w 780"/>
                <a:gd name="T1" fmla="*/ 241 h 440"/>
                <a:gd name="T2" fmla="*/ 5 w 780"/>
                <a:gd name="T3" fmla="*/ 27 h 440"/>
                <a:gd name="T4" fmla="*/ 48 w 780"/>
                <a:gd name="T5" fmla="*/ 0 h 440"/>
                <a:gd name="T6" fmla="*/ 732 w 780"/>
                <a:gd name="T7" fmla="*/ 0 h 440"/>
                <a:gd name="T8" fmla="*/ 775 w 780"/>
                <a:gd name="T9" fmla="*/ 27 h 440"/>
                <a:gd name="T10" fmla="*/ 416 w 780"/>
                <a:gd name="T11" fmla="*/ 240 h 440"/>
                <a:gd name="T12" fmla="*/ 416 w 780"/>
                <a:gd name="T13" fmla="*/ 241 h 440"/>
                <a:gd name="T14" fmla="*/ 390 w 780"/>
                <a:gd name="T15" fmla="*/ 247 h 440"/>
                <a:gd name="T16" fmla="*/ 364 w 780"/>
                <a:gd name="T17" fmla="*/ 241 h 440"/>
                <a:gd name="T18" fmla="*/ 780 w 780"/>
                <a:gd name="T19" fmla="*/ 324 h 440"/>
                <a:gd name="T20" fmla="*/ 780 w 780"/>
                <a:gd name="T21" fmla="*/ 66 h 440"/>
                <a:gd name="T22" fmla="*/ 563 w 780"/>
                <a:gd name="T23" fmla="*/ 195 h 440"/>
                <a:gd name="T24" fmla="*/ 780 w 780"/>
                <a:gd name="T25" fmla="*/ 324 h 440"/>
                <a:gd name="T26" fmla="*/ 0 w 780"/>
                <a:gd name="T27" fmla="*/ 392 h 440"/>
                <a:gd name="T28" fmla="*/ 48 w 780"/>
                <a:gd name="T29" fmla="*/ 440 h 440"/>
                <a:gd name="T30" fmla="*/ 732 w 780"/>
                <a:gd name="T31" fmla="*/ 440 h 440"/>
                <a:gd name="T32" fmla="*/ 780 w 780"/>
                <a:gd name="T33" fmla="*/ 392 h 440"/>
                <a:gd name="T34" fmla="*/ 780 w 780"/>
                <a:gd name="T35" fmla="*/ 366 h 440"/>
                <a:gd name="T36" fmla="*/ 528 w 780"/>
                <a:gd name="T37" fmla="*/ 216 h 440"/>
                <a:gd name="T38" fmla="*/ 435 w 780"/>
                <a:gd name="T39" fmla="*/ 271 h 440"/>
                <a:gd name="T40" fmla="*/ 390 w 780"/>
                <a:gd name="T41" fmla="*/ 283 h 440"/>
                <a:gd name="T42" fmla="*/ 390 w 780"/>
                <a:gd name="T43" fmla="*/ 283 h 440"/>
                <a:gd name="T44" fmla="*/ 344 w 780"/>
                <a:gd name="T45" fmla="*/ 271 h 440"/>
                <a:gd name="T46" fmla="*/ 252 w 780"/>
                <a:gd name="T47" fmla="*/ 216 h 440"/>
                <a:gd name="T48" fmla="*/ 0 w 780"/>
                <a:gd name="T49" fmla="*/ 366 h 440"/>
                <a:gd name="T50" fmla="*/ 0 w 780"/>
                <a:gd name="T51" fmla="*/ 392 h 440"/>
                <a:gd name="T52" fmla="*/ 217 w 780"/>
                <a:gd name="T53" fmla="*/ 195 h 440"/>
                <a:gd name="T54" fmla="*/ 0 w 780"/>
                <a:gd name="T55" fmla="*/ 66 h 440"/>
                <a:gd name="T56" fmla="*/ 0 w 780"/>
                <a:gd name="T57" fmla="*/ 324 h 440"/>
                <a:gd name="T58" fmla="*/ 217 w 780"/>
                <a:gd name="T59" fmla="*/ 195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80" h="440">
                  <a:moveTo>
                    <a:pt x="364" y="241"/>
                  </a:moveTo>
                  <a:cubicBezTo>
                    <a:pt x="5" y="27"/>
                    <a:pt x="5" y="27"/>
                    <a:pt x="5" y="27"/>
                  </a:cubicBezTo>
                  <a:cubicBezTo>
                    <a:pt x="13" y="11"/>
                    <a:pt x="29" y="0"/>
                    <a:pt x="48" y="0"/>
                  </a:cubicBezTo>
                  <a:cubicBezTo>
                    <a:pt x="732" y="0"/>
                    <a:pt x="732" y="0"/>
                    <a:pt x="732" y="0"/>
                  </a:cubicBezTo>
                  <a:cubicBezTo>
                    <a:pt x="751" y="0"/>
                    <a:pt x="767" y="11"/>
                    <a:pt x="775" y="27"/>
                  </a:cubicBezTo>
                  <a:cubicBezTo>
                    <a:pt x="416" y="240"/>
                    <a:pt x="416" y="240"/>
                    <a:pt x="416" y="240"/>
                  </a:cubicBezTo>
                  <a:cubicBezTo>
                    <a:pt x="416" y="241"/>
                    <a:pt x="416" y="241"/>
                    <a:pt x="416" y="241"/>
                  </a:cubicBezTo>
                  <a:cubicBezTo>
                    <a:pt x="409" y="245"/>
                    <a:pt x="400" y="247"/>
                    <a:pt x="390" y="247"/>
                  </a:cubicBezTo>
                  <a:cubicBezTo>
                    <a:pt x="380" y="247"/>
                    <a:pt x="370" y="245"/>
                    <a:pt x="364" y="241"/>
                  </a:cubicBezTo>
                  <a:close/>
                  <a:moveTo>
                    <a:pt x="780" y="324"/>
                  </a:moveTo>
                  <a:cubicBezTo>
                    <a:pt x="780" y="66"/>
                    <a:pt x="780" y="66"/>
                    <a:pt x="780" y="66"/>
                  </a:cubicBezTo>
                  <a:cubicBezTo>
                    <a:pt x="563" y="195"/>
                    <a:pt x="563" y="195"/>
                    <a:pt x="563" y="195"/>
                  </a:cubicBezTo>
                  <a:lnTo>
                    <a:pt x="780" y="324"/>
                  </a:lnTo>
                  <a:close/>
                  <a:moveTo>
                    <a:pt x="0" y="392"/>
                  </a:moveTo>
                  <a:cubicBezTo>
                    <a:pt x="0" y="419"/>
                    <a:pt x="21" y="440"/>
                    <a:pt x="48" y="440"/>
                  </a:cubicBezTo>
                  <a:cubicBezTo>
                    <a:pt x="732" y="440"/>
                    <a:pt x="732" y="440"/>
                    <a:pt x="732" y="440"/>
                  </a:cubicBezTo>
                  <a:cubicBezTo>
                    <a:pt x="758" y="440"/>
                    <a:pt x="780" y="419"/>
                    <a:pt x="780" y="392"/>
                  </a:cubicBezTo>
                  <a:cubicBezTo>
                    <a:pt x="780" y="366"/>
                    <a:pt x="780" y="366"/>
                    <a:pt x="780" y="366"/>
                  </a:cubicBezTo>
                  <a:cubicBezTo>
                    <a:pt x="528" y="216"/>
                    <a:pt x="528" y="216"/>
                    <a:pt x="528" y="216"/>
                  </a:cubicBezTo>
                  <a:cubicBezTo>
                    <a:pt x="435" y="271"/>
                    <a:pt x="435" y="271"/>
                    <a:pt x="435" y="271"/>
                  </a:cubicBezTo>
                  <a:cubicBezTo>
                    <a:pt x="423" y="279"/>
                    <a:pt x="407" y="283"/>
                    <a:pt x="390" y="283"/>
                  </a:cubicBezTo>
                  <a:cubicBezTo>
                    <a:pt x="390" y="283"/>
                    <a:pt x="390" y="283"/>
                    <a:pt x="390" y="283"/>
                  </a:cubicBezTo>
                  <a:cubicBezTo>
                    <a:pt x="373" y="283"/>
                    <a:pt x="357" y="279"/>
                    <a:pt x="344" y="271"/>
                  </a:cubicBezTo>
                  <a:cubicBezTo>
                    <a:pt x="252" y="216"/>
                    <a:pt x="252" y="216"/>
                    <a:pt x="252" y="216"/>
                  </a:cubicBezTo>
                  <a:cubicBezTo>
                    <a:pt x="0" y="366"/>
                    <a:pt x="0" y="366"/>
                    <a:pt x="0" y="366"/>
                  </a:cubicBezTo>
                  <a:lnTo>
                    <a:pt x="0" y="392"/>
                  </a:lnTo>
                  <a:close/>
                  <a:moveTo>
                    <a:pt x="217" y="195"/>
                  </a:moveTo>
                  <a:cubicBezTo>
                    <a:pt x="0" y="66"/>
                    <a:pt x="0" y="66"/>
                    <a:pt x="0" y="66"/>
                  </a:cubicBezTo>
                  <a:cubicBezTo>
                    <a:pt x="0" y="324"/>
                    <a:pt x="0" y="324"/>
                    <a:pt x="0" y="324"/>
                  </a:cubicBezTo>
                  <a:lnTo>
                    <a:pt x="217" y="195"/>
                  </a:lnTo>
                  <a:close/>
                </a:path>
              </a:pathLst>
            </a:custGeom>
            <a:solidFill>
              <a:schemeClr val="tx1"/>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19" tIns="45708" rIns="0" bIns="45708" numCol="1" spcCol="0" rtlCol="0" fromWordArt="0" anchor="ctr" anchorCtr="0" forceAA="0" compatLnSpc="1">
              <a:prstTxWarp prst="textNoShape">
                <a:avLst/>
              </a:prstTxWarp>
              <a:noAutofit/>
            </a:bodyPr>
            <a:lstStyle/>
            <a:p>
              <a:pPr defTabSz="914180">
                <a:lnSpc>
                  <a:spcPct val="90000"/>
                </a:lnSpc>
                <a:spcAft>
                  <a:spcPts val="588"/>
                </a:spcAft>
              </a:pPr>
              <a:endParaRPr lang="en-US" sz="1372" b="1">
                <a:gradFill>
                  <a:gsLst>
                    <a:gs pos="50427">
                      <a:srgbClr val="FFFFFF"/>
                    </a:gs>
                    <a:gs pos="30000">
                      <a:srgbClr val="FFFFFF"/>
                    </a:gs>
                  </a:gsLst>
                  <a:lin ang="5400000" scaled="0"/>
                </a:gradFill>
              </a:endParaRPr>
            </a:p>
          </p:txBody>
        </p:sp>
      </p:grpSp>
      <p:grpSp>
        <p:nvGrpSpPr>
          <p:cNvPr id="45" name="Group 44"/>
          <p:cNvGrpSpPr/>
          <p:nvPr/>
        </p:nvGrpSpPr>
        <p:grpSpPr>
          <a:xfrm>
            <a:off x="4424965" y="3912799"/>
            <a:ext cx="1725360" cy="510829"/>
            <a:chOff x="4975802" y="2787349"/>
            <a:chExt cx="1760415" cy="521208"/>
          </a:xfrm>
        </p:grpSpPr>
        <p:sp>
          <p:nvSpPr>
            <p:cNvPr id="25" name="Rectangle 24"/>
            <p:cNvSpPr/>
            <p:nvPr/>
          </p:nvSpPr>
          <p:spPr bwMode="auto">
            <a:xfrm>
              <a:off x="4975802" y="2787349"/>
              <a:ext cx="1760415" cy="521208"/>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t" anchorCtr="0" compatLnSpc="1">
              <a:prstTxWarp prst="textNoShape">
                <a:avLst/>
              </a:prstTxWarp>
            </a:bodyPr>
            <a:lstStyle/>
            <a:p>
              <a:pPr defTabSz="914180">
                <a:lnSpc>
                  <a:spcPct val="90000"/>
                </a:lnSpc>
                <a:spcAft>
                  <a:spcPts val="588"/>
                </a:spcAft>
              </a:pPr>
              <a:r>
                <a:rPr lang="en-US" sz="1764" dirty="0">
                  <a:gradFill>
                    <a:gsLst>
                      <a:gs pos="2917">
                        <a:srgbClr val="505050"/>
                      </a:gs>
                      <a:gs pos="30000">
                        <a:srgbClr val="505050"/>
                      </a:gs>
                    </a:gsLst>
                    <a:lin ang="5400000" scaled="0"/>
                  </a:gradFill>
                  <a:cs typeface="Segoe UI Semilight" panose="020B0402040204020203" pitchFamily="34" charset="0"/>
                </a:rPr>
                <a:t>Calendar</a:t>
              </a:r>
            </a:p>
          </p:txBody>
        </p:sp>
        <p:sp>
          <p:nvSpPr>
            <p:cNvPr id="39" name="Freeform 109"/>
            <p:cNvSpPr>
              <a:spLocks noChangeAspect="1" noEditPoints="1"/>
            </p:cNvSpPr>
            <p:nvPr/>
          </p:nvSpPr>
          <p:spPr bwMode="auto">
            <a:xfrm>
              <a:off x="6295601" y="2926498"/>
              <a:ext cx="314819" cy="255643"/>
            </a:xfrm>
            <a:custGeom>
              <a:avLst/>
              <a:gdLst>
                <a:gd name="T0" fmla="*/ 49 w 80"/>
                <a:gd name="T1" fmla="*/ 51 h 65"/>
                <a:gd name="T2" fmla="*/ 43 w 80"/>
                <a:gd name="T3" fmla="*/ 50 h 65"/>
                <a:gd name="T4" fmla="*/ 42 w 80"/>
                <a:gd name="T5" fmla="*/ 50 h 65"/>
                <a:gd name="T6" fmla="*/ 42 w 80"/>
                <a:gd name="T7" fmla="*/ 44 h 65"/>
                <a:gd name="T8" fmla="*/ 43 w 80"/>
                <a:gd name="T9" fmla="*/ 44 h 65"/>
                <a:gd name="T10" fmla="*/ 51 w 80"/>
                <a:gd name="T11" fmla="*/ 45 h 65"/>
                <a:gd name="T12" fmla="*/ 52 w 80"/>
                <a:gd name="T13" fmla="*/ 42 h 65"/>
                <a:gd name="T14" fmla="*/ 44 w 80"/>
                <a:gd name="T15" fmla="*/ 40 h 65"/>
                <a:gd name="T16" fmla="*/ 43 w 80"/>
                <a:gd name="T17" fmla="*/ 40 h 65"/>
                <a:gd name="T18" fmla="*/ 43 w 80"/>
                <a:gd name="T19" fmla="*/ 25 h 65"/>
                <a:gd name="T20" fmla="*/ 58 w 80"/>
                <a:gd name="T21" fmla="*/ 25 h 65"/>
                <a:gd name="T22" fmla="*/ 58 w 80"/>
                <a:gd name="T23" fmla="*/ 30 h 65"/>
                <a:gd name="T24" fmla="*/ 49 w 80"/>
                <a:gd name="T25" fmla="*/ 30 h 65"/>
                <a:gd name="T26" fmla="*/ 49 w 80"/>
                <a:gd name="T27" fmla="*/ 34 h 65"/>
                <a:gd name="T28" fmla="*/ 57 w 80"/>
                <a:gd name="T29" fmla="*/ 36 h 65"/>
                <a:gd name="T30" fmla="*/ 59 w 80"/>
                <a:gd name="T31" fmla="*/ 42 h 65"/>
                <a:gd name="T32" fmla="*/ 56 w 80"/>
                <a:gd name="T33" fmla="*/ 48 h 65"/>
                <a:gd name="T34" fmla="*/ 49 w 80"/>
                <a:gd name="T35" fmla="*/ 51 h 65"/>
                <a:gd name="T36" fmla="*/ 38 w 80"/>
                <a:gd name="T37" fmla="*/ 45 h 65"/>
                <a:gd name="T38" fmla="*/ 29 w 80"/>
                <a:gd name="T39" fmla="*/ 45 h 65"/>
                <a:gd name="T40" fmla="*/ 33 w 80"/>
                <a:gd name="T41" fmla="*/ 41 h 65"/>
                <a:gd name="T42" fmla="*/ 39 w 80"/>
                <a:gd name="T43" fmla="*/ 32 h 65"/>
                <a:gd name="T44" fmla="*/ 36 w 80"/>
                <a:gd name="T45" fmla="*/ 26 h 65"/>
                <a:gd name="T46" fmla="*/ 30 w 80"/>
                <a:gd name="T47" fmla="*/ 24 h 65"/>
                <a:gd name="T48" fmla="*/ 22 w 80"/>
                <a:gd name="T49" fmla="*/ 26 h 65"/>
                <a:gd name="T50" fmla="*/ 22 w 80"/>
                <a:gd name="T51" fmla="*/ 27 h 65"/>
                <a:gd name="T52" fmla="*/ 22 w 80"/>
                <a:gd name="T53" fmla="*/ 33 h 65"/>
                <a:gd name="T54" fmla="*/ 23 w 80"/>
                <a:gd name="T55" fmla="*/ 32 h 65"/>
                <a:gd name="T56" fmla="*/ 29 w 80"/>
                <a:gd name="T57" fmla="*/ 30 h 65"/>
                <a:gd name="T58" fmla="*/ 32 w 80"/>
                <a:gd name="T59" fmla="*/ 33 h 65"/>
                <a:gd name="T60" fmla="*/ 31 w 80"/>
                <a:gd name="T61" fmla="*/ 35 h 65"/>
                <a:gd name="T62" fmla="*/ 28 w 80"/>
                <a:gd name="T63" fmla="*/ 39 h 65"/>
                <a:gd name="T64" fmla="*/ 21 w 80"/>
                <a:gd name="T65" fmla="*/ 46 h 65"/>
                <a:gd name="T66" fmla="*/ 21 w 80"/>
                <a:gd name="T67" fmla="*/ 50 h 65"/>
                <a:gd name="T68" fmla="*/ 38 w 80"/>
                <a:gd name="T69" fmla="*/ 50 h 65"/>
                <a:gd name="T70" fmla="*/ 38 w 80"/>
                <a:gd name="T71" fmla="*/ 45 h 65"/>
                <a:gd name="T72" fmla="*/ 71 w 80"/>
                <a:gd name="T73" fmla="*/ 19 h 65"/>
                <a:gd name="T74" fmla="*/ 9 w 80"/>
                <a:gd name="T75" fmla="*/ 19 h 65"/>
                <a:gd name="T76" fmla="*/ 9 w 80"/>
                <a:gd name="T77" fmla="*/ 56 h 65"/>
                <a:gd name="T78" fmla="*/ 9 w 80"/>
                <a:gd name="T79" fmla="*/ 57 h 65"/>
                <a:gd name="T80" fmla="*/ 70 w 80"/>
                <a:gd name="T81" fmla="*/ 57 h 65"/>
                <a:gd name="T82" fmla="*/ 71 w 80"/>
                <a:gd name="T83" fmla="*/ 56 h 65"/>
                <a:gd name="T84" fmla="*/ 71 w 80"/>
                <a:gd name="T85" fmla="*/ 19 h 65"/>
                <a:gd name="T86" fmla="*/ 76 w 80"/>
                <a:gd name="T87" fmla="*/ 0 h 65"/>
                <a:gd name="T88" fmla="*/ 80 w 80"/>
                <a:gd name="T89" fmla="*/ 4 h 65"/>
                <a:gd name="T90" fmla="*/ 80 w 80"/>
                <a:gd name="T91" fmla="*/ 62 h 65"/>
                <a:gd name="T92" fmla="*/ 76 w 80"/>
                <a:gd name="T93" fmla="*/ 65 h 65"/>
                <a:gd name="T94" fmla="*/ 4 w 80"/>
                <a:gd name="T95" fmla="*/ 65 h 65"/>
                <a:gd name="T96" fmla="*/ 0 w 80"/>
                <a:gd name="T97" fmla="*/ 62 h 65"/>
                <a:gd name="T98" fmla="*/ 0 w 80"/>
                <a:gd name="T99" fmla="*/ 4 h 65"/>
                <a:gd name="T100" fmla="*/ 4 w 80"/>
                <a:gd name="T101" fmla="*/ 0 h 65"/>
                <a:gd name="T102" fmla="*/ 76 w 80"/>
                <a:gd name="T103"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0" h="65">
                  <a:moveTo>
                    <a:pt x="49" y="51"/>
                  </a:moveTo>
                  <a:cubicBezTo>
                    <a:pt x="46" y="51"/>
                    <a:pt x="44" y="51"/>
                    <a:pt x="43" y="50"/>
                  </a:cubicBezTo>
                  <a:cubicBezTo>
                    <a:pt x="42" y="50"/>
                    <a:pt x="42" y="50"/>
                    <a:pt x="42" y="50"/>
                  </a:cubicBezTo>
                  <a:cubicBezTo>
                    <a:pt x="42" y="44"/>
                    <a:pt x="42" y="44"/>
                    <a:pt x="42" y="44"/>
                  </a:cubicBezTo>
                  <a:cubicBezTo>
                    <a:pt x="43" y="44"/>
                    <a:pt x="43" y="44"/>
                    <a:pt x="43" y="44"/>
                  </a:cubicBezTo>
                  <a:cubicBezTo>
                    <a:pt x="46" y="46"/>
                    <a:pt x="50" y="46"/>
                    <a:pt x="51" y="45"/>
                  </a:cubicBezTo>
                  <a:cubicBezTo>
                    <a:pt x="52" y="44"/>
                    <a:pt x="52" y="43"/>
                    <a:pt x="52" y="42"/>
                  </a:cubicBezTo>
                  <a:cubicBezTo>
                    <a:pt x="52" y="41"/>
                    <a:pt x="51" y="39"/>
                    <a:pt x="44" y="40"/>
                  </a:cubicBezTo>
                  <a:cubicBezTo>
                    <a:pt x="43" y="40"/>
                    <a:pt x="43" y="40"/>
                    <a:pt x="43" y="40"/>
                  </a:cubicBezTo>
                  <a:cubicBezTo>
                    <a:pt x="43" y="25"/>
                    <a:pt x="43" y="25"/>
                    <a:pt x="43" y="25"/>
                  </a:cubicBezTo>
                  <a:cubicBezTo>
                    <a:pt x="58" y="25"/>
                    <a:pt x="58" y="25"/>
                    <a:pt x="58" y="25"/>
                  </a:cubicBezTo>
                  <a:cubicBezTo>
                    <a:pt x="58" y="30"/>
                    <a:pt x="58" y="30"/>
                    <a:pt x="58" y="30"/>
                  </a:cubicBezTo>
                  <a:cubicBezTo>
                    <a:pt x="49" y="30"/>
                    <a:pt x="49" y="30"/>
                    <a:pt x="49" y="30"/>
                  </a:cubicBezTo>
                  <a:cubicBezTo>
                    <a:pt x="49" y="34"/>
                    <a:pt x="49" y="34"/>
                    <a:pt x="49" y="34"/>
                  </a:cubicBezTo>
                  <a:cubicBezTo>
                    <a:pt x="52" y="34"/>
                    <a:pt x="55" y="34"/>
                    <a:pt x="57" y="36"/>
                  </a:cubicBezTo>
                  <a:cubicBezTo>
                    <a:pt x="58" y="38"/>
                    <a:pt x="59" y="40"/>
                    <a:pt x="59" y="42"/>
                  </a:cubicBezTo>
                  <a:cubicBezTo>
                    <a:pt x="59" y="44"/>
                    <a:pt x="58" y="47"/>
                    <a:pt x="56" y="48"/>
                  </a:cubicBezTo>
                  <a:cubicBezTo>
                    <a:pt x="55" y="50"/>
                    <a:pt x="52" y="51"/>
                    <a:pt x="49" y="51"/>
                  </a:cubicBezTo>
                  <a:moveTo>
                    <a:pt x="38" y="45"/>
                  </a:moveTo>
                  <a:cubicBezTo>
                    <a:pt x="29" y="45"/>
                    <a:pt x="29" y="45"/>
                    <a:pt x="29" y="45"/>
                  </a:cubicBezTo>
                  <a:cubicBezTo>
                    <a:pt x="33" y="41"/>
                    <a:pt x="33" y="41"/>
                    <a:pt x="33" y="41"/>
                  </a:cubicBezTo>
                  <a:cubicBezTo>
                    <a:pt x="37" y="38"/>
                    <a:pt x="39" y="35"/>
                    <a:pt x="39" y="32"/>
                  </a:cubicBezTo>
                  <a:cubicBezTo>
                    <a:pt x="39" y="30"/>
                    <a:pt x="38" y="28"/>
                    <a:pt x="36" y="26"/>
                  </a:cubicBezTo>
                  <a:cubicBezTo>
                    <a:pt x="35" y="25"/>
                    <a:pt x="33" y="24"/>
                    <a:pt x="30" y="24"/>
                  </a:cubicBezTo>
                  <a:cubicBezTo>
                    <a:pt x="27" y="24"/>
                    <a:pt x="25" y="25"/>
                    <a:pt x="22" y="26"/>
                  </a:cubicBezTo>
                  <a:cubicBezTo>
                    <a:pt x="22" y="27"/>
                    <a:pt x="22" y="27"/>
                    <a:pt x="22" y="27"/>
                  </a:cubicBezTo>
                  <a:cubicBezTo>
                    <a:pt x="22" y="33"/>
                    <a:pt x="22" y="33"/>
                    <a:pt x="22" y="33"/>
                  </a:cubicBezTo>
                  <a:cubicBezTo>
                    <a:pt x="23" y="32"/>
                    <a:pt x="23" y="32"/>
                    <a:pt x="23" y="32"/>
                  </a:cubicBezTo>
                  <a:cubicBezTo>
                    <a:pt x="25" y="30"/>
                    <a:pt x="27" y="30"/>
                    <a:pt x="29" y="30"/>
                  </a:cubicBezTo>
                  <a:cubicBezTo>
                    <a:pt x="31" y="30"/>
                    <a:pt x="32" y="31"/>
                    <a:pt x="32" y="33"/>
                  </a:cubicBezTo>
                  <a:cubicBezTo>
                    <a:pt x="32" y="33"/>
                    <a:pt x="32" y="34"/>
                    <a:pt x="31" y="35"/>
                  </a:cubicBezTo>
                  <a:cubicBezTo>
                    <a:pt x="31" y="36"/>
                    <a:pt x="30" y="37"/>
                    <a:pt x="28" y="39"/>
                  </a:cubicBezTo>
                  <a:cubicBezTo>
                    <a:pt x="21" y="46"/>
                    <a:pt x="21" y="46"/>
                    <a:pt x="21" y="46"/>
                  </a:cubicBezTo>
                  <a:cubicBezTo>
                    <a:pt x="21" y="50"/>
                    <a:pt x="21" y="50"/>
                    <a:pt x="21" y="50"/>
                  </a:cubicBezTo>
                  <a:cubicBezTo>
                    <a:pt x="38" y="50"/>
                    <a:pt x="38" y="50"/>
                    <a:pt x="38" y="50"/>
                  </a:cubicBezTo>
                  <a:lnTo>
                    <a:pt x="38" y="45"/>
                  </a:lnTo>
                  <a:close/>
                  <a:moveTo>
                    <a:pt x="71" y="19"/>
                  </a:moveTo>
                  <a:cubicBezTo>
                    <a:pt x="9" y="19"/>
                    <a:pt x="9" y="19"/>
                    <a:pt x="9" y="19"/>
                  </a:cubicBezTo>
                  <a:cubicBezTo>
                    <a:pt x="9" y="56"/>
                    <a:pt x="9" y="56"/>
                    <a:pt x="9" y="56"/>
                  </a:cubicBezTo>
                  <a:cubicBezTo>
                    <a:pt x="9" y="57"/>
                    <a:pt x="9" y="57"/>
                    <a:pt x="9" y="57"/>
                  </a:cubicBezTo>
                  <a:cubicBezTo>
                    <a:pt x="70" y="57"/>
                    <a:pt x="70" y="57"/>
                    <a:pt x="70" y="57"/>
                  </a:cubicBezTo>
                  <a:cubicBezTo>
                    <a:pt x="71" y="57"/>
                    <a:pt x="71" y="57"/>
                    <a:pt x="71" y="56"/>
                  </a:cubicBezTo>
                  <a:lnTo>
                    <a:pt x="71" y="19"/>
                  </a:lnTo>
                  <a:close/>
                  <a:moveTo>
                    <a:pt x="76" y="0"/>
                  </a:moveTo>
                  <a:cubicBezTo>
                    <a:pt x="78" y="0"/>
                    <a:pt x="80" y="1"/>
                    <a:pt x="80" y="4"/>
                  </a:cubicBezTo>
                  <a:cubicBezTo>
                    <a:pt x="80" y="62"/>
                    <a:pt x="80" y="62"/>
                    <a:pt x="80" y="62"/>
                  </a:cubicBezTo>
                  <a:cubicBezTo>
                    <a:pt x="80" y="64"/>
                    <a:pt x="78" y="65"/>
                    <a:pt x="76" y="65"/>
                  </a:cubicBezTo>
                  <a:cubicBezTo>
                    <a:pt x="4" y="65"/>
                    <a:pt x="4" y="65"/>
                    <a:pt x="4" y="65"/>
                  </a:cubicBezTo>
                  <a:cubicBezTo>
                    <a:pt x="2" y="65"/>
                    <a:pt x="0" y="64"/>
                    <a:pt x="0" y="62"/>
                  </a:cubicBezTo>
                  <a:cubicBezTo>
                    <a:pt x="0" y="4"/>
                    <a:pt x="0" y="4"/>
                    <a:pt x="0" y="4"/>
                  </a:cubicBezTo>
                  <a:cubicBezTo>
                    <a:pt x="0" y="1"/>
                    <a:pt x="2" y="0"/>
                    <a:pt x="4" y="0"/>
                  </a:cubicBezTo>
                  <a:cubicBezTo>
                    <a:pt x="76" y="0"/>
                    <a:pt x="76" y="0"/>
                    <a:pt x="76" y="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solidFill>
                  <a:srgbClr val="FFFFFF"/>
                </a:solidFill>
              </a:endParaRPr>
            </a:p>
          </p:txBody>
        </p:sp>
      </p:grpSp>
      <p:grpSp>
        <p:nvGrpSpPr>
          <p:cNvPr id="46" name="Group 45"/>
          <p:cNvGrpSpPr/>
          <p:nvPr/>
        </p:nvGrpSpPr>
        <p:grpSpPr>
          <a:xfrm>
            <a:off x="6267499" y="3910555"/>
            <a:ext cx="1725360" cy="510829"/>
            <a:chOff x="7083805" y="2787349"/>
            <a:chExt cx="1760415" cy="521208"/>
          </a:xfrm>
        </p:grpSpPr>
        <p:sp>
          <p:nvSpPr>
            <p:cNvPr id="26" name="Rectangle 25"/>
            <p:cNvSpPr/>
            <p:nvPr/>
          </p:nvSpPr>
          <p:spPr bwMode="auto">
            <a:xfrm>
              <a:off x="7083805" y="2787349"/>
              <a:ext cx="1760415" cy="521208"/>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t" anchorCtr="0" compatLnSpc="1">
              <a:prstTxWarp prst="textNoShape">
                <a:avLst/>
              </a:prstTxWarp>
            </a:bodyPr>
            <a:lstStyle/>
            <a:p>
              <a:pPr defTabSz="914180">
                <a:lnSpc>
                  <a:spcPct val="90000"/>
                </a:lnSpc>
                <a:spcAft>
                  <a:spcPts val="588"/>
                </a:spcAft>
              </a:pPr>
              <a:r>
                <a:rPr lang="en-US" sz="1764">
                  <a:gradFill>
                    <a:gsLst>
                      <a:gs pos="2917">
                        <a:srgbClr val="505050"/>
                      </a:gs>
                      <a:gs pos="30000">
                        <a:srgbClr val="505050"/>
                      </a:gs>
                    </a:gsLst>
                    <a:lin ang="5400000" scaled="0"/>
                  </a:gradFill>
                  <a:cs typeface="Segoe UI Semilight" panose="020B0402040204020203" pitchFamily="34" charset="0"/>
                </a:rPr>
                <a:t>People</a:t>
              </a:r>
              <a:endParaRPr lang="en-US" sz="1764" dirty="0">
                <a:gradFill>
                  <a:gsLst>
                    <a:gs pos="2917">
                      <a:srgbClr val="505050"/>
                    </a:gs>
                    <a:gs pos="30000">
                      <a:srgbClr val="505050"/>
                    </a:gs>
                  </a:gsLst>
                  <a:lin ang="5400000" scaled="0"/>
                </a:gradFill>
                <a:cs typeface="Segoe UI Semilight" panose="020B0402040204020203" pitchFamily="34" charset="0"/>
              </a:endParaRPr>
            </a:p>
          </p:txBody>
        </p:sp>
        <p:sp>
          <p:nvSpPr>
            <p:cNvPr id="40" name="Freeform 5"/>
            <p:cNvSpPr>
              <a:spLocks noChangeAspect="1" noEditPoints="1"/>
            </p:cNvSpPr>
            <p:nvPr/>
          </p:nvSpPr>
          <p:spPr bwMode="auto">
            <a:xfrm>
              <a:off x="8429000" y="2941433"/>
              <a:ext cx="297821" cy="253214"/>
            </a:xfrm>
            <a:custGeom>
              <a:avLst/>
              <a:gdLst>
                <a:gd name="T0" fmla="*/ 240 w 400"/>
                <a:gd name="T1" fmla="*/ 84 h 342"/>
                <a:gd name="T2" fmla="*/ 160 w 400"/>
                <a:gd name="T3" fmla="*/ 84 h 342"/>
                <a:gd name="T4" fmla="*/ 136 w 400"/>
                <a:gd name="T5" fmla="*/ 108 h 342"/>
                <a:gd name="T6" fmla="*/ 136 w 400"/>
                <a:gd name="T7" fmla="*/ 217 h 342"/>
                <a:gd name="T8" fmla="*/ 160 w 400"/>
                <a:gd name="T9" fmla="*/ 241 h 342"/>
                <a:gd name="T10" fmla="*/ 160 w 400"/>
                <a:gd name="T11" fmla="*/ 241 h 342"/>
                <a:gd name="T12" fmla="*/ 160 w 400"/>
                <a:gd name="T13" fmla="*/ 318 h 342"/>
                <a:gd name="T14" fmla="*/ 183 w 400"/>
                <a:gd name="T15" fmla="*/ 342 h 342"/>
                <a:gd name="T16" fmla="*/ 217 w 400"/>
                <a:gd name="T17" fmla="*/ 342 h 342"/>
                <a:gd name="T18" fmla="*/ 240 w 400"/>
                <a:gd name="T19" fmla="*/ 318 h 342"/>
                <a:gd name="T20" fmla="*/ 240 w 400"/>
                <a:gd name="T21" fmla="*/ 241 h 342"/>
                <a:gd name="T22" fmla="*/ 240 w 400"/>
                <a:gd name="T23" fmla="*/ 241 h 342"/>
                <a:gd name="T24" fmla="*/ 264 w 400"/>
                <a:gd name="T25" fmla="*/ 217 h 342"/>
                <a:gd name="T26" fmla="*/ 264 w 400"/>
                <a:gd name="T27" fmla="*/ 108 h 342"/>
                <a:gd name="T28" fmla="*/ 240 w 400"/>
                <a:gd name="T29" fmla="*/ 84 h 342"/>
                <a:gd name="T30" fmla="*/ 200 w 400"/>
                <a:gd name="T31" fmla="*/ 0 h 342"/>
                <a:gd name="T32" fmla="*/ 238 w 400"/>
                <a:gd name="T33" fmla="*/ 38 h 342"/>
                <a:gd name="T34" fmla="*/ 200 w 400"/>
                <a:gd name="T35" fmla="*/ 77 h 342"/>
                <a:gd name="T36" fmla="*/ 162 w 400"/>
                <a:gd name="T37" fmla="*/ 38 h 342"/>
                <a:gd name="T38" fmla="*/ 200 w 400"/>
                <a:gd name="T39" fmla="*/ 0 h 342"/>
                <a:gd name="T40" fmla="*/ 380 w 400"/>
                <a:gd name="T41" fmla="*/ 93 h 342"/>
                <a:gd name="T42" fmla="*/ 311 w 400"/>
                <a:gd name="T43" fmla="*/ 93 h 342"/>
                <a:gd name="T44" fmla="*/ 291 w 400"/>
                <a:gd name="T45" fmla="*/ 113 h 342"/>
                <a:gd name="T46" fmla="*/ 291 w 400"/>
                <a:gd name="T47" fmla="*/ 207 h 342"/>
                <a:gd name="T48" fmla="*/ 311 w 400"/>
                <a:gd name="T49" fmla="*/ 227 h 342"/>
                <a:gd name="T50" fmla="*/ 311 w 400"/>
                <a:gd name="T51" fmla="*/ 227 h 342"/>
                <a:gd name="T52" fmla="*/ 311 w 400"/>
                <a:gd name="T53" fmla="*/ 294 h 342"/>
                <a:gd name="T54" fmla="*/ 330 w 400"/>
                <a:gd name="T55" fmla="*/ 314 h 342"/>
                <a:gd name="T56" fmla="*/ 360 w 400"/>
                <a:gd name="T57" fmla="*/ 314 h 342"/>
                <a:gd name="T58" fmla="*/ 380 w 400"/>
                <a:gd name="T59" fmla="*/ 294 h 342"/>
                <a:gd name="T60" fmla="*/ 380 w 400"/>
                <a:gd name="T61" fmla="*/ 227 h 342"/>
                <a:gd name="T62" fmla="*/ 380 w 400"/>
                <a:gd name="T63" fmla="*/ 227 h 342"/>
                <a:gd name="T64" fmla="*/ 400 w 400"/>
                <a:gd name="T65" fmla="*/ 207 h 342"/>
                <a:gd name="T66" fmla="*/ 400 w 400"/>
                <a:gd name="T67" fmla="*/ 113 h 342"/>
                <a:gd name="T68" fmla="*/ 380 w 400"/>
                <a:gd name="T69" fmla="*/ 93 h 342"/>
                <a:gd name="T70" fmla="*/ 345 w 400"/>
                <a:gd name="T71" fmla="*/ 21 h 342"/>
                <a:gd name="T72" fmla="*/ 378 w 400"/>
                <a:gd name="T73" fmla="*/ 54 h 342"/>
                <a:gd name="T74" fmla="*/ 345 w 400"/>
                <a:gd name="T75" fmla="*/ 87 h 342"/>
                <a:gd name="T76" fmla="*/ 313 w 400"/>
                <a:gd name="T77" fmla="*/ 54 h 342"/>
                <a:gd name="T78" fmla="*/ 345 w 400"/>
                <a:gd name="T79" fmla="*/ 21 h 342"/>
                <a:gd name="T80" fmla="*/ 89 w 400"/>
                <a:gd name="T81" fmla="*/ 93 h 342"/>
                <a:gd name="T82" fmla="*/ 20 w 400"/>
                <a:gd name="T83" fmla="*/ 93 h 342"/>
                <a:gd name="T84" fmla="*/ 0 w 400"/>
                <a:gd name="T85" fmla="*/ 113 h 342"/>
                <a:gd name="T86" fmla="*/ 0 w 400"/>
                <a:gd name="T87" fmla="*/ 207 h 342"/>
                <a:gd name="T88" fmla="*/ 20 w 400"/>
                <a:gd name="T89" fmla="*/ 227 h 342"/>
                <a:gd name="T90" fmla="*/ 20 w 400"/>
                <a:gd name="T91" fmla="*/ 227 h 342"/>
                <a:gd name="T92" fmla="*/ 20 w 400"/>
                <a:gd name="T93" fmla="*/ 294 h 342"/>
                <a:gd name="T94" fmla="*/ 40 w 400"/>
                <a:gd name="T95" fmla="*/ 314 h 342"/>
                <a:gd name="T96" fmla="*/ 70 w 400"/>
                <a:gd name="T97" fmla="*/ 314 h 342"/>
                <a:gd name="T98" fmla="*/ 89 w 400"/>
                <a:gd name="T99" fmla="*/ 294 h 342"/>
                <a:gd name="T100" fmla="*/ 89 w 400"/>
                <a:gd name="T101" fmla="*/ 227 h 342"/>
                <a:gd name="T102" fmla="*/ 89 w 400"/>
                <a:gd name="T103" fmla="*/ 227 h 342"/>
                <a:gd name="T104" fmla="*/ 109 w 400"/>
                <a:gd name="T105" fmla="*/ 207 h 342"/>
                <a:gd name="T106" fmla="*/ 109 w 400"/>
                <a:gd name="T107" fmla="*/ 113 h 342"/>
                <a:gd name="T108" fmla="*/ 89 w 400"/>
                <a:gd name="T109" fmla="*/ 93 h 342"/>
                <a:gd name="T110" fmla="*/ 55 w 400"/>
                <a:gd name="T111" fmla="*/ 21 h 342"/>
                <a:gd name="T112" fmla="*/ 87 w 400"/>
                <a:gd name="T113" fmla="*/ 54 h 342"/>
                <a:gd name="T114" fmla="*/ 55 w 400"/>
                <a:gd name="T115" fmla="*/ 87 h 342"/>
                <a:gd name="T116" fmla="*/ 22 w 400"/>
                <a:gd name="T117" fmla="*/ 54 h 342"/>
                <a:gd name="T118" fmla="*/ 55 w 400"/>
                <a:gd name="T119" fmla="*/ 21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00" h="342">
                  <a:moveTo>
                    <a:pt x="240" y="84"/>
                  </a:moveTo>
                  <a:cubicBezTo>
                    <a:pt x="160" y="84"/>
                    <a:pt x="160" y="84"/>
                    <a:pt x="160" y="84"/>
                  </a:cubicBezTo>
                  <a:cubicBezTo>
                    <a:pt x="147" y="84"/>
                    <a:pt x="136" y="95"/>
                    <a:pt x="136" y="108"/>
                  </a:cubicBezTo>
                  <a:cubicBezTo>
                    <a:pt x="136" y="217"/>
                    <a:pt x="136" y="217"/>
                    <a:pt x="136" y="217"/>
                  </a:cubicBezTo>
                  <a:cubicBezTo>
                    <a:pt x="136" y="230"/>
                    <a:pt x="147" y="241"/>
                    <a:pt x="160" y="241"/>
                  </a:cubicBezTo>
                  <a:cubicBezTo>
                    <a:pt x="160" y="241"/>
                    <a:pt x="160" y="241"/>
                    <a:pt x="160" y="241"/>
                  </a:cubicBezTo>
                  <a:cubicBezTo>
                    <a:pt x="160" y="318"/>
                    <a:pt x="160" y="318"/>
                    <a:pt x="160" y="318"/>
                  </a:cubicBezTo>
                  <a:cubicBezTo>
                    <a:pt x="160" y="331"/>
                    <a:pt x="170" y="342"/>
                    <a:pt x="183" y="342"/>
                  </a:cubicBezTo>
                  <a:cubicBezTo>
                    <a:pt x="217" y="342"/>
                    <a:pt x="217" y="342"/>
                    <a:pt x="217" y="342"/>
                  </a:cubicBezTo>
                  <a:cubicBezTo>
                    <a:pt x="230" y="342"/>
                    <a:pt x="240" y="331"/>
                    <a:pt x="240" y="318"/>
                  </a:cubicBezTo>
                  <a:cubicBezTo>
                    <a:pt x="240" y="241"/>
                    <a:pt x="240" y="241"/>
                    <a:pt x="240" y="241"/>
                  </a:cubicBezTo>
                  <a:cubicBezTo>
                    <a:pt x="240" y="241"/>
                    <a:pt x="240" y="241"/>
                    <a:pt x="240" y="241"/>
                  </a:cubicBezTo>
                  <a:cubicBezTo>
                    <a:pt x="253" y="241"/>
                    <a:pt x="264" y="230"/>
                    <a:pt x="264" y="217"/>
                  </a:cubicBezTo>
                  <a:cubicBezTo>
                    <a:pt x="264" y="108"/>
                    <a:pt x="264" y="108"/>
                    <a:pt x="264" y="108"/>
                  </a:cubicBezTo>
                  <a:cubicBezTo>
                    <a:pt x="264" y="95"/>
                    <a:pt x="253" y="84"/>
                    <a:pt x="240" y="84"/>
                  </a:cubicBezTo>
                  <a:close/>
                  <a:moveTo>
                    <a:pt x="200" y="0"/>
                  </a:moveTo>
                  <a:cubicBezTo>
                    <a:pt x="221" y="0"/>
                    <a:pt x="238" y="17"/>
                    <a:pt x="238" y="38"/>
                  </a:cubicBezTo>
                  <a:cubicBezTo>
                    <a:pt x="238" y="59"/>
                    <a:pt x="221" y="77"/>
                    <a:pt x="200" y="77"/>
                  </a:cubicBezTo>
                  <a:cubicBezTo>
                    <a:pt x="179" y="77"/>
                    <a:pt x="162" y="59"/>
                    <a:pt x="162" y="38"/>
                  </a:cubicBezTo>
                  <a:cubicBezTo>
                    <a:pt x="162" y="17"/>
                    <a:pt x="179" y="0"/>
                    <a:pt x="200" y="0"/>
                  </a:cubicBezTo>
                  <a:close/>
                  <a:moveTo>
                    <a:pt x="380" y="93"/>
                  </a:moveTo>
                  <a:cubicBezTo>
                    <a:pt x="311" y="93"/>
                    <a:pt x="311" y="93"/>
                    <a:pt x="311" y="93"/>
                  </a:cubicBezTo>
                  <a:cubicBezTo>
                    <a:pt x="300" y="93"/>
                    <a:pt x="291" y="102"/>
                    <a:pt x="291" y="113"/>
                  </a:cubicBezTo>
                  <a:cubicBezTo>
                    <a:pt x="291" y="207"/>
                    <a:pt x="291" y="207"/>
                    <a:pt x="291" y="207"/>
                  </a:cubicBezTo>
                  <a:cubicBezTo>
                    <a:pt x="291" y="218"/>
                    <a:pt x="300" y="227"/>
                    <a:pt x="311" y="227"/>
                  </a:cubicBezTo>
                  <a:cubicBezTo>
                    <a:pt x="311" y="227"/>
                    <a:pt x="311" y="227"/>
                    <a:pt x="311" y="227"/>
                  </a:cubicBezTo>
                  <a:cubicBezTo>
                    <a:pt x="311" y="294"/>
                    <a:pt x="311" y="294"/>
                    <a:pt x="311" y="294"/>
                  </a:cubicBezTo>
                  <a:cubicBezTo>
                    <a:pt x="311" y="305"/>
                    <a:pt x="320" y="314"/>
                    <a:pt x="330" y="314"/>
                  </a:cubicBezTo>
                  <a:cubicBezTo>
                    <a:pt x="360" y="314"/>
                    <a:pt x="360" y="314"/>
                    <a:pt x="360" y="314"/>
                  </a:cubicBezTo>
                  <a:cubicBezTo>
                    <a:pt x="371" y="314"/>
                    <a:pt x="380" y="305"/>
                    <a:pt x="380" y="294"/>
                  </a:cubicBezTo>
                  <a:cubicBezTo>
                    <a:pt x="380" y="227"/>
                    <a:pt x="380" y="227"/>
                    <a:pt x="380" y="227"/>
                  </a:cubicBezTo>
                  <a:cubicBezTo>
                    <a:pt x="380" y="227"/>
                    <a:pt x="380" y="227"/>
                    <a:pt x="380" y="227"/>
                  </a:cubicBezTo>
                  <a:cubicBezTo>
                    <a:pt x="391" y="227"/>
                    <a:pt x="400" y="218"/>
                    <a:pt x="400" y="207"/>
                  </a:cubicBezTo>
                  <a:cubicBezTo>
                    <a:pt x="400" y="113"/>
                    <a:pt x="400" y="113"/>
                    <a:pt x="400" y="113"/>
                  </a:cubicBezTo>
                  <a:cubicBezTo>
                    <a:pt x="400" y="102"/>
                    <a:pt x="391" y="93"/>
                    <a:pt x="380" y="93"/>
                  </a:cubicBezTo>
                  <a:close/>
                  <a:moveTo>
                    <a:pt x="345" y="21"/>
                  </a:moveTo>
                  <a:cubicBezTo>
                    <a:pt x="363" y="21"/>
                    <a:pt x="378" y="36"/>
                    <a:pt x="378" y="54"/>
                  </a:cubicBezTo>
                  <a:cubicBezTo>
                    <a:pt x="378" y="72"/>
                    <a:pt x="363" y="87"/>
                    <a:pt x="345" y="87"/>
                  </a:cubicBezTo>
                  <a:cubicBezTo>
                    <a:pt x="327" y="87"/>
                    <a:pt x="313" y="72"/>
                    <a:pt x="313" y="54"/>
                  </a:cubicBezTo>
                  <a:cubicBezTo>
                    <a:pt x="313" y="36"/>
                    <a:pt x="327" y="21"/>
                    <a:pt x="345" y="21"/>
                  </a:cubicBezTo>
                  <a:close/>
                  <a:moveTo>
                    <a:pt x="89" y="93"/>
                  </a:moveTo>
                  <a:cubicBezTo>
                    <a:pt x="20" y="93"/>
                    <a:pt x="20" y="93"/>
                    <a:pt x="20" y="93"/>
                  </a:cubicBezTo>
                  <a:cubicBezTo>
                    <a:pt x="9" y="93"/>
                    <a:pt x="0" y="102"/>
                    <a:pt x="0" y="113"/>
                  </a:cubicBezTo>
                  <a:cubicBezTo>
                    <a:pt x="0" y="207"/>
                    <a:pt x="0" y="207"/>
                    <a:pt x="0" y="207"/>
                  </a:cubicBezTo>
                  <a:cubicBezTo>
                    <a:pt x="0" y="218"/>
                    <a:pt x="9" y="227"/>
                    <a:pt x="20" y="227"/>
                  </a:cubicBezTo>
                  <a:cubicBezTo>
                    <a:pt x="20" y="227"/>
                    <a:pt x="20" y="227"/>
                    <a:pt x="20" y="227"/>
                  </a:cubicBezTo>
                  <a:cubicBezTo>
                    <a:pt x="20" y="294"/>
                    <a:pt x="20" y="294"/>
                    <a:pt x="20" y="294"/>
                  </a:cubicBezTo>
                  <a:cubicBezTo>
                    <a:pt x="20" y="305"/>
                    <a:pt x="29" y="314"/>
                    <a:pt x="40" y="314"/>
                  </a:cubicBezTo>
                  <a:cubicBezTo>
                    <a:pt x="70" y="314"/>
                    <a:pt x="70" y="314"/>
                    <a:pt x="70" y="314"/>
                  </a:cubicBezTo>
                  <a:cubicBezTo>
                    <a:pt x="80" y="314"/>
                    <a:pt x="89" y="305"/>
                    <a:pt x="89" y="294"/>
                  </a:cubicBezTo>
                  <a:cubicBezTo>
                    <a:pt x="89" y="227"/>
                    <a:pt x="89" y="227"/>
                    <a:pt x="89" y="227"/>
                  </a:cubicBezTo>
                  <a:cubicBezTo>
                    <a:pt x="89" y="227"/>
                    <a:pt x="89" y="227"/>
                    <a:pt x="89" y="227"/>
                  </a:cubicBezTo>
                  <a:cubicBezTo>
                    <a:pt x="100" y="227"/>
                    <a:pt x="109" y="218"/>
                    <a:pt x="109" y="207"/>
                  </a:cubicBezTo>
                  <a:cubicBezTo>
                    <a:pt x="109" y="113"/>
                    <a:pt x="109" y="113"/>
                    <a:pt x="109" y="113"/>
                  </a:cubicBezTo>
                  <a:cubicBezTo>
                    <a:pt x="109" y="102"/>
                    <a:pt x="100" y="93"/>
                    <a:pt x="89" y="93"/>
                  </a:cubicBezTo>
                  <a:close/>
                  <a:moveTo>
                    <a:pt x="55" y="21"/>
                  </a:moveTo>
                  <a:cubicBezTo>
                    <a:pt x="73" y="21"/>
                    <a:pt x="87" y="36"/>
                    <a:pt x="87" y="54"/>
                  </a:cubicBezTo>
                  <a:cubicBezTo>
                    <a:pt x="87" y="72"/>
                    <a:pt x="73" y="87"/>
                    <a:pt x="55" y="87"/>
                  </a:cubicBezTo>
                  <a:cubicBezTo>
                    <a:pt x="37" y="87"/>
                    <a:pt x="22" y="72"/>
                    <a:pt x="22" y="54"/>
                  </a:cubicBezTo>
                  <a:cubicBezTo>
                    <a:pt x="22" y="36"/>
                    <a:pt x="37" y="21"/>
                    <a:pt x="55" y="21"/>
                  </a:cubicBezTo>
                  <a:close/>
                </a:path>
              </a:pathLst>
            </a:custGeom>
            <a:solidFill>
              <a:schemeClr val="tx1"/>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19" tIns="45708" rIns="0" bIns="45708" numCol="1" spcCol="0" rtlCol="0" fromWordArt="0" anchor="ctr" anchorCtr="0" forceAA="0" compatLnSpc="1">
              <a:prstTxWarp prst="textNoShape">
                <a:avLst/>
              </a:prstTxWarp>
              <a:noAutofit/>
            </a:bodyPr>
            <a:lstStyle/>
            <a:p>
              <a:pPr defTabSz="914180">
                <a:lnSpc>
                  <a:spcPct val="90000"/>
                </a:lnSpc>
                <a:spcAft>
                  <a:spcPts val="588"/>
                </a:spcAft>
              </a:pPr>
              <a:endParaRPr lang="en-US" sz="1372" b="1">
                <a:gradFill>
                  <a:gsLst>
                    <a:gs pos="50427">
                      <a:srgbClr val="FFFFFF"/>
                    </a:gs>
                    <a:gs pos="30000">
                      <a:srgbClr val="FFFFFF"/>
                    </a:gs>
                  </a:gsLst>
                  <a:lin ang="5400000" scaled="0"/>
                </a:gradFill>
              </a:endParaRPr>
            </a:p>
          </p:txBody>
        </p:sp>
      </p:grpSp>
      <p:grpSp>
        <p:nvGrpSpPr>
          <p:cNvPr id="44" name="Group 43"/>
          <p:cNvGrpSpPr/>
          <p:nvPr/>
        </p:nvGrpSpPr>
        <p:grpSpPr>
          <a:xfrm>
            <a:off x="778489" y="3910555"/>
            <a:ext cx="1725360" cy="510829"/>
            <a:chOff x="753803" y="2762517"/>
            <a:chExt cx="1760415" cy="521208"/>
          </a:xfrm>
        </p:grpSpPr>
        <p:sp>
          <p:nvSpPr>
            <p:cNvPr id="22" name="Rectangle 21"/>
            <p:cNvSpPr/>
            <p:nvPr/>
          </p:nvSpPr>
          <p:spPr bwMode="auto">
            <a:xfrm>
              <a:off x="753803" y="2762517"/>
              <a:ext cx="1760415" cy="521208"/>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t" anchorCtr="0" compatLnSpc="1">
              <a:prstTxWarp prst="textNoShape">
                <a:avLst/>
              </a:prstTxWarp>
            </a:bodyPr>
            <a:lstStyle/>
            <a:p>
              <a:pPr defTabSz="914180">
                <a:lnSpc>
                  <a:spcPct val="90000"/>
                </a:lnSpc>
                <a:spcAft>
                  <a:spcPts val="588"/>
                </a:spcAft>
              </a:pPr>
              <a:r>
                <a:rPr lang="en-US" sz="1764" dirty="0">
                  <a:gradFill>
                    <a:gsLst>
                      <a:gs pos="2917">
                        <a:srgbClr val="505050"/>
                      </a:gs>
                      <a:gs pos="30000">
                        <a:srgbClr val="505050"/>
                      </a:gs>
                    </a:gsLst>
                    <a:lin ang="5400000" scaled="0"/>
                  </a:gradFill>
                  <a:cs typeface="Segoe UI Semilight" panose="020B0402040204020203" pitchFamily="34" charset="0"/>
                </a:rPr>
                <a:t>Documents</a:t>
              </a:r>
            </a:p>
          </p:txBody>
        </p:sp>
        <p:sp>
          <p:nvSpPr>
            <p:cNvPr id="41" name="Freeform 5"/>
            <p:cNvSpPr>
              <a:spLocks noChangeAspect="1" noEditPoints="1"/>
            </p:cNvSpPr>
            <p:nvPr/>
          </p:nvSpPr>
          <p:spPr bwMode="auto">
            <a:xfrm>
              <a:off x="2181812" y="2898795"/>
              <a:ext cx="225136" cy="288826"/>
            </a:xfrm>
            <a:custGeom>
              <a:avLst/>
              <a:gdLst>
                <a:gd name="T0" fmla="*/ 120 w 304"/>
                <a:gd name="T1" fmla="*/ 0 h 390"/>
                <a:gd name="T2" fmla="*/ 45 w 304"/>
                <a:gd name="T3" fmla="*/ 65 h 390"/>
                <a:gd name="T4" fmla="*/ 45 w 304"/>
                <a:gd name="T5" fmla="*/ 91 h 390"/>
                <a:gd name="T6" fmla="*/ 0 w 304"/>
                <a:gd name="T7" fmla="*/ 132 h 390"/>
                <a:gd name="T8" fmla="*/ 0 w 304"/>
                <a:gd name="T9" fmla="*/ 390 h 390"/>
                <a:gd name="T10" fmla="*/ 263 w 304"/>
                <a:gd name="T11" fmla="*/ 390 h 390"/>
                <a:gd name="T12" fmla="*/ 263 w 304"/>
                <a:gd name="T13" fmla="*/ 323 h 390"/>
                <a:gd name="T14" fmla="*/ 304 w 304"/>
                <a:gd name="T15" fmla="*/ 323 h 390"/>
                <a:gd name="T16" fmla="*/ 304 w 304"/>
                <a:gd name="T17" fmla="*/ 0 h 390"/>
                <a:gd name="T18" fmla="*/ 120 w 304"/>
                <a:gd name="T19" fmla="*/ 0 h 390"/>
                <a:gd name="T20" fmla="*/ 120 w 304"/>
                <a:gd name="T21" fmla="*/ 0 h 390"/>
                <a:gd name="T22" fmla="*/ 120 w 304"/>
                <a:gd name="T23" fmla="*/ 0 h 390"/>
                <a:gd name="T24" fmla="*/ 237 w 304"/>
                <a:gd name="T25" fmla="*/ 366 h 390"/>
                <a:gd name="T26" fmla="*/ 26 w 304"/>
                <a:gd name="T27" fmla="*/ 366 h 390"/>
                <a:gd name="T28" fmla="*/ 26 w 304"/>
                <a:gd name="T29" fmla="*/ 156 h 390"/>
                <a:gd name="T30" fmla="*/ 45 w 304"/>
                <a:gd name="T31" fmla="*/ 156 h 390"/>
                <a:gd name="T32" fmla="*/ 45 w 304"/>
                <a:gd name="T33" fmla="*/ 323 h 390"/>
                <a:gd name="T34" fmla="*/ 237 w 304"/>
                <a:gd name="T35" fmla="*/ 323 h 390"/>
                <a:gd name="T36" fmla="*/ 237 w 304"/>
                <a:gd name="T37" fmla="*/ 366 h 390"/>
                <a:gd name="T38" fmla="*/ 237 w 304"/>
                <a:gd name="T39" fmla="*/ 366 h 390"/>
                <a:gd name="T40" fmla="*/ 237 w 304"/>
                <a:gd name="T41" fmla="*/ 366 h 390"/>
                <a:gd name="T42" fmla="*/ 278 w 304"/>
                <a:gd name="T43" fmla="*/ 299 h 390"/>
                <a:gd name="T44" fmla="*/ 72 w 304"/>
                <a:gd name="T45" fmla="*/ 299 h 390"/>
                <a:gd name="T46" fmla="*/ 72 w 304"/>
                <a:gd name="T47" fmla="*/ 87 h 390"/>
                <a:gd name="T48" fmla="*/ 152 w 304"/>
                <a:gd name="T49" fmla="*/ 87 h 390"/>
                <a:gd name="T50" fmla="*/ 152 w 304"/>
                <a:gd name="T51" fmla="*/ 24 h 390"/>
                <a:gd name="T52" fmla="*/ 278 w 304"/>
                <a:gd name="T53" fmla="*/ 24 h 390"/>
                <a:gd name="T54" fmla="*/ 278 w 304"/>
                <a:gd name="T55" fmla="*/ 299 h 390"/>
                <a:gd name="T56" fmla="*/ 278 w 304"/>
                <a:gd name="T57" fmla="*/ 299 h 390"/>
                <a:gd name="T58" fmla="*/ 278 w 304"/>
                <a:gd name="T59" fmla="*/ 299 h 390"/>
                <a:gd name="T60" fmla="*/ 113 w 304"/>
                <a:gd name="T61" fmla="*/ 135 h 390"/>
                <a:gd name="T62" fmla="*/ 251 w 304"/>
                <a:gd name="T63" fmla="*/ 135 h 390"/>
                <a:gd name="T64" fmla="*/ 251 w 304"/>
                <a:gd name="T65" fmla="*/ 159 h 390"/>
                <a:gd name="T66" fmla="*/ 113 w 304"/>
                <a:gd name="T67" fmla="*/ 159 h 390"/>
                <a:gd name="T68" fmla="*/ 113 w 304"/>
                <a:gd name="T69" fmla="*/ 135 h 390"/>
                <a:gd name="T70" fmla="*/ 113 w 304"/>
                <a:gd name="T71" fmla="*/ 135 h 390"/>
                <a:gd name="T72" fmla="*/ 113 w 304"/>
                <a:gd name="T73" fmla="*/ 173 h 390"/>
                <a:gd name="T74" fmla="*/ 251 w 304"/>
                <a:gd name="T75" fmla="*/ 173 h 390"/>
                <a:gd name="T76" fmla="*/ 251 w 304"/>
                <a:gd name="T77" fmla="*/ 197 h 390"/>
                <a:gd name="T78" fmla="*/ 113 w 304"/>
                <a:gd name="T79" fmla="*/ 197 h 390"/>
                <a:gd name="T80" fmla="*/ 113 w 304"/>
                <a:gd name="T81" fmla="*/ 173 h 390"/>
                <a:gd name="T82" fmla="*/ 113 w 304"/>
                <a:gd name="T83" fmla="*/ 173 h 390"/>
                <a:gd name="T84" fmla="*/ 113 w 304"/>
                <a:gd name="T85" fmla="*/ 212 h 390"/>
                <a:gd name="T86" fmla="*/ 251 w 304"/>
                <a:gd name="T87" fmla="*/ 212 h 390"/>
                <a:gd name="T88" fmla="*/ 251 w 304"/>
                <a:gd name="T89" fmla="*/ 236 h 390"/>
                <a:gd name="T90" fmla="*/ 113 w 304"/>
                <a:gd name="T91" fmla="*/ 236 h 390"/>
                <a:gd name="T92" fmla="*/ 113 w 304"/>
                <a:gd name="T93" fmla="*/ 212 h 390"/>
                <a:gd name="T94" fmla="*/ 113 w 304"/>
                <a:gd name="T95" fmla="*/ 212 h 390"/>
                <a:gd name="T96" fmla="*/ 113 w 304"/>
                <a:gd name="T97" fmla="*/ 250 h 390"/>
                <a:gd name="T98" fmla="*/ 251 w 304"/>
                <a:gd name="T99" fmla="*/ 250 h 390"/>
                <a:gd name="T100" fmla="*/ 251 w 304"/>
                <a:gd name="T101" fmla="*/ 274 h 390"/>
                <a:gd name="T102" fmla="*/ 113 w 304"/>
                <a:gd name="T103" fmla="*/ 274 h 390"/>
                <a:gd name="T104" fmla="*/ 113 w 304"/>
                <a:gd name="T105" fmla="*/ 250 h 390"/>
                <a:gd name="T106" fmla="*/ 113 w 304"/>
                <a:gd name="T107" fmla="*/ 250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90">
                  <a:moveTo>
                    <a:pt x="120" y="0"/>
                  </a:moveTo>
                  <a:lnTo>
                    <a:pt x="45" y="65"/>
                  </a:lnTo>
                  <a:lnTo>
                    <a:pt x="45" y="91"/>
                  </a:lnTo>
                  <a:lnTo>
                    <a:pt x="0" y="132"/>
                  </a:lnTo>
                  <a:lnTo>
                    <a:pt x="0" y="390"/>
                  </a:lnTo>
                  <a:lnTo>
                    <a:pt x="263" y="390"/>
                  </a:lnTo>
                  <a:lnTo>
                    <a:pt x="263" y="323"/>
                  </a:lnTo>
                  <a:lnTo>
                    <a:pt x="304" y="323"/>
                  </a:lnTo>
                  <a:lnTo>
                    <a:pt x="304" y="0"/>
                  </a:lnTo>
                  <a:lnTo>
                    <a:pt x="120" y="0"/>
                  </a:lnTo>
                  <a:lnTo>
                    <a:pt x="120" y="0"/>
                  </a:lnTo>
                  <a:lnTo>
                    <a:pt x="120" y="0"/>
                  </a:lnTo>
                  <a:close/>
                  <a:moveTo>
                    <a:pt x="237" y="366"/>
                  </a:moveTo>
                  <a:lnTo>
                    <a:pt x="26" y="366"/>
                  </a:lnTo>
                  <a:lnTo>
                    <a:pt x="26" y="156"/>
                  </a:lnTo>
                  <a:lnTo>
                    <a:pt x="45" y="156"/>
                  </a:lnTo>
                  <a:lnTo>
                    <a:pt x="45" y="323"/>
                  </a:lnTo>
                  <a:lnTo>
                    <a:pt x="237" y="323"/>
                  </a:lnTo>
                  <a:lnTo>
                    <a:pt x="237" y="366"/>
                  </a:lnTo>
                  <a:lnTo>
                    <a:pt x="237" y="366"/>
                  </a:lnTo>
                  <a:lnTo>
                    <a:pt x="237" y="366"/>
                  </a:lnTo>
                  <a:close/>
                  <a:moveTo>
                    <a:pt x="278" y="299"/>
                  </a:moveTo>
                  <a:lnTo>
                    <a:pt x="72" y="299"/>
                  </a:lnTo>
                  <a:lnTo>
                    <a:pt x="72" y="87"/>
                  </a:lnTo>
                  <a:lnTo>
                    <a:pt x="152" y="87"/>
                  </a:lnTo>
                  <a:lnTo>
                    <a:pt x="152" y="24"/>
                  </a:lnTo>
                  <a:lnTo>
                    <a:pt x="278" y="24"/>
                  </a:lnTo>
                  <a:lnTo>
                    <a:pt x="278" y="299"/>
                  </a:lnTo>
                  <a:lnTo>
                    <a:pt x="278" y="299"/>
                  </a:lnTo>
                  <a:lnTo>
                    <a:pt x="278" y="299"/>
                  </a:lnTo>
                  <a:close/>
                  <a:moveTo>
                    <a:pt x="113" y="135"/>
                  </a:moveTo>
                  <a:lnTo>
                    <a:pt x="251" y="135"/>
                  </a:lnTo>
                  <a:lnTo>
                    <a:pt x="251" y="159"/>
                  </a:lnTo>
                  <a:lnTo>
                    <a:pt x="113" y="159"/>
                  </a:lnTo>
                  <a:lnTo>
                    <a:pt x="113" y="135"/>
                  </a:lnTo>
                  <a:lnTo>
                    <a:pt x="113" y="135"/>
                  </a:lnTo>
                  <a:close/>
                  <a:moveTo>
                    <a:pt x="113" y="173"/>
                  </a:moveTo>
                  <a:lnTo>
                    <a:pt x="251" y="173"/>
                  </a:lnTo>
                  <a:lnTo>
                    <a:pt x="251" y="197"/>
                  </a:lnTo>
                  <a:lnTo>
                    <a:pt x="113" y="197"/>
                  </a:lnTo>
                  <a:lnTo>
                    <a:pt x="113" y="173"/>
                  </a:lnTo>
                  <a:lnTo>
                    <a:pt x="113" y="173"/>
                  </a:lnTo>
                  <a:close/>
                  <a:moveTo>
                    <a:pt x="113" y="212"/>
                  </a:moveTo>
                  <a:lnTo>
                    <a:pt x="251" y="212"/>
                  </a:lnTo>
                  <a:lnTo>
                    <a:pt x="251" y="236"/>
                  </a:lnTo>
                  <a:lnTo>
                    <a:pt x="113" y="236"/>
                  </a:lnTo>
                  <a:lnTo>
                    <a:pt x="113" y="212"/>
                  </a:lnTo>
                  <a:lnTo>
                    <a:pt x="113" y="212"/>
                  </a:lnTo>
                  <a:close/>
                  <a:moveTo>
                    <a:pt x="113" y="250"/>
                  </a:moveTo>
                  <a:lnTo>
                    <a:pt x="251" y="250"/>
                  </a:lnTo>
                  <a:lnTo>
                    <a:pt x="251" y="274"/>
                  </a:lnTo>
                  <a:lnTo>
                    <a:pt x="113" y="274"/>
                  </a:lnTo>
                  <a:lnTo>
                    <a:pt x="113" y="250"/>
                  </a:lnTo>
                  <a:lnTo>
                    <a:pt x="113" y="250"/>
                  </a:lnTo>
                  <a:close/>
                </a:path>
              </a:pathLst>
            </a:cu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19" tIns="45708" rIns="0" bIns="45708" numCol="1" spcCol="0" rtlCol="0" fromWordArt="0" anchor="ctr" anchorCtr="0" forceAA="0" compatLnSpc="1">
              <a:prstTxWarp prst="textNoShape">
                <a:avLst/>
              </a:prstTxWarp>
              <a:noAutofit/>
            </a:bodyPr>
            <a:lstStyle/>
            <a:p>
              <a:pPr defTabSz="914180">
                <a:lnSpc>
                  <a:spcPct val="90000"/>
                </a:lnSpc>
                <a:spcAft>
                  <a:spcPts val="588"/>
                </a:spcAft>
              </a:pPr>
              <a:endParaRPr lang="en-US" sz="1372" b="1">
                <a:gradFill>
                  <a:gsLst>
                    <a:gs pos="50427">
                      <a:srgbClr val="FFFFFF"/>
                    </a:gs>
                    <a:gs pos="30000">
                      <a:srgbClr val="FFFFFF"/>
                    </a:gs>
                  </a:gsLst>
                  <a:lin ang="5400000" scaled="0"/>
                </a:gradFill>
              </a:endParaRPr>
            </a:p>
          </p:txBody>
        </p:sp>
      </p:grpSp>
      <p:sp>
        <p:nvSpPr>
          <p:cNvPr id="66" name="Rectangle 65"/>
          <p:cNvSpPr/>
          <p:nvPr/>
        </p:nvSpPr>
        <p:spPr bwMode="auto">
          <a:xfrm>
            <a:off x="462927" y="1406265"/>
            <a:ext cx="3772966" cy="1254668"/>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t" anchorCtr="0" compatLnSpc="1">
            <a:prstTxWarp prst="textNoShape">
              <a:avLst/>
            </a:prstTxWarp>
          </a:bodyPr>
          <a:lstStyle/>
          <a:p>
            <a:pPr defTabSz="914180">
              <a:lnSpc>
                <a:spcPct val="90000"/>
              </a:lnSpc>
              <a:spcAft>
                <a:spcPts val="588"/>
              </a:spcAft>
            </a:pPr>
            <a:r>
              <a:rPr lang="en-US" sz="1764" dirty="0">
                <a:gradFill>
                  <a:gsLst>
                    <a:gs pos="2917">
                      <a:srgbClr val="505050"/>
                    </a:gs>
                    <a:gs pos="30000">
                      <a:srgbClr val="505050"/>
                    </a:gs>
                  </a:gsLst>
                  <a:lin ang="5400000" scaled="0"/>
                </a:gradFill>
                <a:cs typeface="Segoe UI Semilight" panose="020B0402040204020203" pitchFamily="34" charset="0"/>
              </a:rPr>
              <a:t>Designed for </a:t>
            </a:r>
            <a:br>
              <a:rPr lang="en-US" sz="1764" dirty="0">
                <a:gradFill>
                  <a:gsLst>
                    <a:gs pos="2917">
                      <a:srgbClr val="505050"/>
                    </a:gs>
                    <a:gs pos="30000">
                      <a:srgbClr val="505050"/>
                    </a:gs>
                  </a:gsLst>
                  <a:lin ang="5400000" scaled="0"/>
                </a:gradFill>
                <a:cs typeface="Segoe UI Semilight" panose="020B0402040204020203" pitchFamily="34" charset="0"/>
              </a:rPr>
            </a:br>
            <a:r>
              <a:rPr lang="en-US" sz="1764" b="1" dirty="0">
                <a:gradFill>
                  <a:gsLst>
                    <a:gs pos="64957">
                      <a:srgbClr val="DC3C00"/>
                    </a:gs>
                    <a:gs pos="52000">
                      <a:srgbClr val="DC3C00"/>
                    </a:gs>
                  </a:gsLst>
                  <a:lin ang="5400000" scaled="0"/>
                </a:gradFill>
                <a:cs typeface="Segoe UI Semibold" panose="020B0702040204020203" pitchFamily="34" charset="0"/>
              </a:rPr>
              <a:t>openness </a:t>
            </a:r>
            <a:r>
              <a:rPr lang="en-US" sz="1764" dirty="0">
                <a:gradFill>
                  <a:gsLst>
                    <a:gs pos="2917">
                      <a:srgbClr val="505050"/>
                    </a:gs>
                    <a:gs pos="30000">
                      <a:srgbClr val="505050"/>
                    </a:gs>
                  </a:gsLst>
                  <a:lin ang="5400000" scaled="0"/>
                </a:gradFill>
                <a:cs typeface="Segoe UI Semilight" panose="020B0402040204020203" pitchFamily="34" charset="0"/>
              </a:rPr>
              <a:t>and</a:t>
            </a:r>
            <a:r>
              <a:rPr lang="en-US" sz="1764" b="1" dirty="0">
                <a:gradFill>
                  <a:gsLst>
                    <a:gs pos="2917">
                      <a:srgbClr val="505050"/>
                    </a:gs>
                    <a:gs pos="30000">
                      <a:srgbClr val="505050"/>
                    </a:gs>
                  </a:gsLst>
                  <a:lin ang="5400000" scaled="0"/>
                </a:gradFill>
                <a:cs typeface="Segoe UI Semilight" panose="020B0402040204020203" pitchFamily="34" charset="0"/>
              </a:rPr>
              <a:t> </a:t>
            </a:r>
            <a:br>
              <a:rPr lang="en-US" sz="1764" b="1" dirty="0">
                <a:gradFill>
                  <a:gsLst>
                    <a:gs pos="2917">
                      <a:srgbClr val="505050"/>
                    </a:gs>
                    <a:gs pos="30000">
                      <a:srgbClr val="505050"/>
                    </a:gs>
                  </a:gsLst>
                  <a:lin ang="5400000" scaled="0"/>
                </a:gradFill>
                <a:cs typeface="Segoe UI Semilight" panose="020B0402040204020203" pitchFamily="34" charset="0"/>
              </a:rPr>
            </a:br>
            <a:r>
              <a:rPr lang="en-US" sz="1764" b="1" dirty="0">
                <a:gradFill>
                  <a:gsLst>
                    <a:gs pos="64957">
                      <a:srgbClr val="DC3C00"/>
                    </a:gs>
                    <a:gs pos="52000">
                      <a:srgbClr val="DC3C00"/>
                    </a:gs>
                  </a:gsLst>
                  <a:lin ang="5400000" scaled="0"/>
                </a:gradFill>
                <a:cs typeface="Segoe UI Semibold" panose="020B0702040204020203" pitchFamily="34" charset="0"/>
              </a:rPr>
              <a:t>flexibility</a:t>
            </a:r>
          </a:p>
        </p:txBody>
      </p:sp>
      <p:sp>
        <p:nvSpPr>
          <p:cNvPr id="67" name="Rectangle 66"/>
          <p:cNvSpPr/>
          <p:nvPr/>
        </p:nvSpPr>
        <p:spPr bwMode="auto">
          <a:xfrm>
            <a:off x="4289713" y="1406265"/>
            <a:ext cx="3772966" cy="1254668"/>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t" anchorCtr="0" compatLnSpc="1">
            <a:prstTxWarp prst="textNoShape">
              <a:avLst/>
            </a:prstTxWarp>
          </a:bodyPr>
          <a:lstStyle/>
          <a:p>
            <a:pPr defTabSz="914180">
              <a:lnSpc>
                <a:spcPct val="90000"/>
              </a:lnSpc>
              <a:spcAft>
                <a:spcPts val="588"/>
              </a:spcAft>
            </a:pPr>
            <a:r>
              <a:rPr lang="en-US" sz="1764" dirty="0">
                <a:gradFill>
                  <a:gsLst>
                    <a:gs pos="2917">
                      <a:srgbClr val="505050"/>
                    </a:gs>
                    <a:gs pos="30000">
                      <a:srgbClr val="505050"/>
                    </a:gs>
                  </a:gsLst>
                  <a:lin ang="5400000" scaled="0"/>
                </a:gradFill>
                <a:cs typeface="Segoe UI Semilight" panose="020B0402040204020203" pitchFamily="34" charset="0"/>
              </a:rPr>
              <a:t>Enabling a </a:t>
            </a:r>
            <a:br>
              <a:rPr lang="en-US" sz="1764" dirty="0">
                <a:gradFill>
                  <a:gsLst>
                    <a:gs pos="2917">
                      <a:srgbClr val="505050"/>
                    </a:gs>
                    <a:gs pos="30000">
                      <a:srgbClr val="505050"/>
                    </a:gs>
                  </a:gsLst>
                  <a:lin ang="5400000" scaled="0"/>
                </a:gradFill>
                <a:cs typeface="Segoe UI Semilight" panose="020B0402040204020203" pitchFamily="34" charset="0"/>
              </a:rPr>
            </a:br>
            <a:r>
              <a:rPr lang="en-US" sz="1764" b="1" dirty="0">
                <a:gradFill>
                  <a:gsLst>
                    <a:gs pos="64957">
                      <a:srgbClr val="DC3C00"/>
                    </a:gs>
                    <a:gs pos="52000">
                      <a:srgbClr val="DC3C00"/>
                    </a:gs>
                  </a:gsLst>
                  <a:lin ang="5400000" scaled="0"/>
                </a:gradFill>
                <a:cs typeface="Segoe UI Semibold" panose="020B0702040204020203" pitchFamily="34" charset="0"/>
              </a:rPr>
              <a:t>consistent</a:t>
            </a:r>
            <a:r>
              <a:rPr lang="en-US" sz="1764" dirty="0">
                <a:gradFill>
                  <a:gsLst>
                    <a:gs pos="2917">
                      <a:srgbClr val="505050"/>
                    </a:gs>
                    <a:gs pos="30000">
                      <a:srgbClr val="505050"/>
                    </a:gs>
                  </a:gsLst>
                  <a:lin ang="5400000" scaled="0"/>
                </a:gradFill>
                <a:cs typeface="Segoe UI Semilight" panose="020B0402040204020203" pitchFamily="34" charset="0"/>
              </a:rPr>
              <a:t> </a:t>
            </a:r>
            <a:br>
              <a:rPr lang="en-US" sz="1764" dirty="0">
                <a:gradFill>
                  <a:gsLst>
                    <a:gs pos="2917">
                      <a:srgbClr val="505050"/>
                    </a:gs>
                    <a:gs pos="30000">
                      <a:srgbClr val="505050"/>
                    </a:gs>
                  </a:gsLst>
                  <a:lin ang="5400000" scaled="0"/>
                </a:gradFill>
                <a:cs typeface="Segoe UI Semilight" panose="020B0402040204020203" pitchFamily="34" charset="0"/>
              </a:rPr>
            </a:br>
            <a:r>
              <a:rPr lang="en-US" sz="1764" dirty="0">
                <a:gradFill>
                  <a:gsLst>
                    <a:gs pos="2917">
                      <a:srgbClr val="505050"/>
                    </a:gs>
                    <a:gs pos="30000">
                      <a:srgbClr val="505050"/>
                    </a:gs>
                  </a:gsLst>
                  <a:lin ang="5400000" scaled="0"/>
                </a:gradFill>
                <a:cs typeface="Segoe UI Semilight" panose="020B0402040204020203" pitchFamily="34" charset="0"/>
              </a:rPr>
              <a:t>development </a:t>
            </a:r>
            <a:br>
              <a:rPr lang="en-US" sz="1764" dirty="0">
                <a:gradFill>
                  <a:gsLst>
                    <a:gs pos="2917">
                      <a:srgbClr val="505050"/>
                    </a:gs>
                    <a:gs pos="30000">
                      <a:srgbClr val="505050"/>
                    </a:gs>
                  </a:gsLst>
                  <a:lin ang="5400000" scaled="0"/>
                </a:gradFill>
                <a:cs typeface="Segoe UI Semilight" panose="020B0402040204020203" pitchFamily="34" charset="0"/>
              </a:rPr>
            </a:br>
            <a:r>
              <a:rPr lang="en-US" sz="1764" dirty="0">
                <a:gradFill>
                  <a:gsLst>
                    <a:gs pos="2917">
                      <a:srgbClr val="505050"/>
                    </a:gs>
                    <a:gs pos="30000">
                      <a:srgbClr val="505050"/>
                    </a:gs>
                  </a:gsLst>
                  <a:lin ang="5400000" scaled="0"/>
                </a:gradFill>
                <a:cs typeface="Segoe UI Semilight" panose="020B0402040204020203" pitchFamily="34" charset="0"/>
              </a:rPr>
              <a:t>platform</a:t>
            </a:r>
          </a:p>
        </p:txBody>
      </p:sp>
      <p:sp>
        <p:nvSpPr>
          <p:cNvPr id="68" name="Rectangle 67"/>
          <p:cNvSpPr/>
          <p:nvPr/>
        </p:nvSpPr>
        <p:spPr bwMode="auto">
          <a:xfrm>
            <a:off x="8116499" y="1406265"/>
            <a:ext cx="3817775" cy="1254668"/>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t" anchorCtr="0" compatLnSpc="1">
            <a:prstTxWarp prst="textNoShape">
              <a:avLst/>
            </a:prstTxWarp>
          </a:bodyPr>
          <a:lstStyle/>
          <a:p>
            <a:pPr defTabSz="914180">
              <a:lnSpc>
                <a:spcPct val="90000"/>
              </a:lnSpc>
              <a:spcAft>
                <a:spcPts val="588"/>
              </a:spcAft>
            </a:pPr>
            <a:r>
              <a:rPr lang="en-US" sz="1764" dirty="0">
                <a:gradFill>
                  <a:gsLst>
                    <a:gs pos="2917">
                      <a:srgbClr val="505050"/>
                    </a:gs>
                    <a:gs pos="30000">
                      <a:srgbClr val="505050"/>
                    </a:gs>
                  </a:gsLst>
                  <a:lin ang="5400000" scaled="0"/>
                </a:gradFill>
                <a:cs typeface="Segoe UI Semilight" panose="020B0402040204020203" pitchFamily="34" charset="0"/>
              </a:rPr>
              <a:t>Powering </a:t>
            </a:r>
            <a:br>
              <a:rPr lang="en-US" sz="1764" dirty="0">
                <a:gradFill>
                  <a:gsLst>
                    <a:gs pos="2917">
                      <a:srgbClr val="505050"/>
                    </a:gs>
                    <a:gs pos="30000">
                      <a:srgbClr val="505050"/>
                    </a:gs>
                  </a:gsLst>
                  <a:lin ang="5400000" scaled="0"/>
                </a:gradFill>
                <a:cs typeface="Segoe UI Semilight" panose="020B0402040204020203" pitchFamily="34" charset="0"/>
              </a:rPr>
            </a:br>
            <a:r>
              <a:rPr lang="en-US" sz="1764" dirty="0">
                <a:gradFill>
                  <a:gsLst>
                    <a:gs pos="2917">
                      <a:srgbClr val="505050"/>
                    </a:gs>
                    <a:gs pos="30000">
                      <a:srgbClr val="505050"/>
                    </a:gs>
                  </a:gsLst>
                  <a:lin ang="5400000" scaled="0"/>
                </a:gradFill>
                <a:cs typeface="Segoe UI Semilight" panose="020B0402040204020203" pitchFamily="34" charset="0"/>
              </a:rPr>
              <a:t>a world </a:t>
            </a:r>
            <a:br>
              <a:rPr lang="en-US" sz="1764" dirty="0">
                <a:gradFill>
                  <a:gsLst>
                    <a:gs pos="2917">
                      <a:srgbClr val="505050"/>
                    </a:gs>
                    <a:gs pos="30000">
                      <a:srgbClr val="505050"/>
                    </a:gs>
                  </a:gsLst>
                  <a:lin ang="5400000" scaled="0"/>
                </a:gradFill>
                <a:cs typeface="Segoe UI Semilight" panose="020B0402040204020203" pitchFamily="34" charset="0"/>
              </a:rPr>
            </a:br>
            <a:r>
              <a:rPr lang="en-US" sz="1764" dirty="0">
                <a:gradFill>
                  <a:gsLst>
                    <a:gs pos="2917">
                      <a:srgbClr val="505050"/>
                    </a:gs>
                    <a:gs pos="30000">
                      <a:srgbClr val="505050"/>
                    </a:gs>
                  </a:gsLst>
                  <a:lin ang="5400000" scaled="0"/>
                </a:gradFill>
                <a:cs typeface="Segoe UI Semilight" panose="020B0402040204020203" pitchFamily="34" charset="0"/>
              </a:rPr>
              <a:t>of </a:t>
            </a:r>
            <a:r>
              <a:rPr lang="en-US" sz="1764" b="1" dirty="0">
                <a:gradFill>
                  <a:gsLst>
                    <a:gs pos="64957">
                      <a:srgbClr val="DC3C00"/>
                    </a:gs>
                    <a:gs pos="52000">
                      <a:srgbClr val="DC3C00"/>
                    </a:gs>
                  </a:gsLst>
                  <a:lin ang="5400000" scaled="0"/>
                </a:gradFill>
                <a:cs typeface="Segoe UI Semibold" panose="020B0702040204020203" pitchFamily="34" charset="0"/>
              </a:rPr>
              <a:t>devices</a:t>
            </a:r>
          </a:p>
        </p:txBody>
      </p:sp>
      <p:sp>
        <p:nvSpPr>
          <p:cNvPr id="69" name="Freeform 5"/>
          <p:cNvSpPr>
            <a:spLocks noChangeAspect="1" noEditPoints="1"/>
          </p:cNvSpPr>
          <p:nvPr/>
        </p:nvSpPr>
        <p:spPr bwMode="auto">
          <a:xfrm>
            <a:off x="2777863" y="1688580"/>
            <a:ext cx="1001383" cy="640252"/>
          </a:xfrm>
          <a:custGeom>
            <a:avLst/>
            <a:gdLst>
              <a:gd name="T0" fmla="*/ 54 w 266"/>
              <a:gd name="T1" fmla="*/ 154 h 169"/>
              <a:gd name="T2" fmla="*/ 25 w 266"/>
              <a:gd name="T3" fmla="*/ 154 h 169"/>
              <a:gd name="T4" fmla="*/ 0 w 266"/>
              <a:gd name="T5" fmla="*/ 116 h 169"/>
              <a:gd name="T6" fmla="*/ 29 w 266"/>
              <a:gd name="T7" fmla="*/ 75 h 169"/>
              <a:gd name="T8" fmla="*/ 55 w 266"/>
              <a:gd name="T9" fmla="*/ 29 h 169"/>
              <a:gd name="T10" fmla="*/ 99 w 266"/>
              <a:gd name="T11" fmla="*/ 30 h 169"/>
              <a:gd name="T12" fmla="*/ 144 w 266"/>
              <a:gd name="T13" fmla="*/ 0 h 169"/>
              <a:gd name="T14" fmla="*/ 200 w 266"/>
              <a:gd name="T15" fmla="*/ 54 h 169"/>
              <a:gd name="T16" fmla="*/ 182 w 266"/>
              <a:gd name="T17" fmla="*/ 56 h 169"/>
              <a:gd name="T18" fmla="*/ 141 w 266"/>
              <a:gd name="T19" fmla="*/ 33 h 169"/>
              <a:gd name="T20" fmla="*/ 91 w 266"/>
              <a:gd name="T21" fmla="*/ 81 h 169"/>
              <a:gd name="T22" fmla="*/ 50 w 266"/>
              <a:gd name="T23" fmla="*/ 129 h 169"/>
              <a:gd name="T24" fmla="*/ 54 w 266"/>
              <a:gd name="T25" fmla="*/ 154 h 169"/>
              <a:gd name="T26" fmla="*/ 89 w 266"/>
              <a:gd name="T27" fmla="*/ 168 h 169"/>
              <a:gd name="T28" fmla="*/ 245 w 266"/>
              <a:gd name="T29" fmla="*/ 168 h 169"/>
              <a:gd name="T30" fmla="*/ 266 w 266"/>
              <a:gd name="T31" fmla="*/ 137 h 169"/>
              <a:gd name="T32" fmla="*/ 242 w 266"/>
              <a:gd name="T33" fmla="*/ 104 h 169"/>
              <a:gd name="T34" fmla="*/ 220 w 266"/>
              <a:gd name="T35" fmla="*/ 64 h 169"/>
              <a:gd name="T36" fmla="*/ 179 w 266"/>
              <a:gd name="T37" fmla="*/ 64 h 169"/>
              <a:gd name="T38" fmla="*/ 141 w 266"/>
              <a:gd name="T39" fmla="*/ 42 h 169"/>
              <a:gd name="T40" fmla="*/ 98 w 266"/>
              <a:gd name="T41" fmla="*/ 87 h 169"/>
              <a:gd name="T42" fmla="*/ 58 w 266"/>
              <a:gd name="T43" fmla="*/ 126 h 169"/>
              <a:gd name="T44" fmla="*/ 89 w 266"/>
              <a:gd name="T45" fmla="*/ 168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6" h="169">
                <a:moveTo>
                  <a:pt x="54" y="154"/>
                </a:moveTo>
                <a:cubicBezTo>
                  <a:pt x="25" y="154"/>
                  <a:pt x="25" y="154"/>
                  <a:pt x="25" y="154"/>
                </a:cubicBezTo>
                <a:cubicBezTo>
                  <a:pt x="25" y="154"/>
                  <a:pt x="1" y="149"/>
                  <a:pt x="0" y="116"/>
                </a:cubicBezTo>
                <a:cubicBezTo>
                  <a:pt x="0" y="83"/>
                  <a:pt x="29" y="75"/>
                  <a:pt x="29" y="75"/>
                </a:cubicBezTo>
                <a:cubicBezTo>
                  <a:pt x="29" y="75"/>
                  <a:pt x="27" y="41"/>
                  <a:pt x="55" y="29"/>
                </a:cubicBezTo>
                <a:cubicBezTo>
                  <a:pt x="83" y="17"/>
                  <a:pt x="99" y="30"/>
                  <a:pt x="99" y="30"/>
                </a:cubicBezTo>
                <a:cubicBezTo>
                  <a:pt x="99" y="30"/>
                  <a:pt x="109" y="0"/>
                  <a:pt x="144" y="0"/>
                </a:cubicBezTo>
                <a:cubicBezTo>
                  <a:pt x="175" y="0"/>
                  <a:pt x="207" y="30"/>
                  <a:pt x="200" y="54"/>
                </a:cubicBezTo>
                <a:cubicBezTo>
                  <a:pt x="189" y="54"/>
                  <a:pt x="182" y="56"/>
                  <a:pt x="182" y="56"/>
                </a:cubicBezTo>
                <a:cubicBezTo>
                  <a:pt x="182" y="56"/>
                  <a:pt x="174" y="33"/>
                  <a:pt x="141" y="33"/>
                </a:cubicBezTo>
                <a:cubicBezTo>
                  <a:pt x="113" y="33"/>
                  <a:pt x="84" y="60"/>
                  <a:pt x="91" y="81"/>
                </a:cubicBezTo>
                <a:cubicBezTo>
                  <a:pt x="91" y="81"/>
                  <a:pt x="50" y="83"/>
                  <a:pt x="50" y="129"/>
                </a:cubicBezTo>
                <a:cubicBezTo>
                  <a:pt x="50" y="140"/>
                  <a:pt x="52" y="148"/>
                  <a:pt x="54" y="154"/>
                </a:cubicBezTo>
                <a:close/>
                <a:moveTo>
                  <a:pt x="89" y="168"/>
                </a:moveTo>
                <a:cubicBezTo>
                  <a:pt x="245" y="168"/>
                  <a:pt x="245" y="168"/>
                  <a:pt x="245" y="168"/>
                </a:cubicBezTo>
                <a:cubicBezTo>
                  <a:pt x="245" y="168"/>
                  <a:pt x="265" y="164"/>
                  <a:pt x="266" y="137"/>
                </a:cubicBezTo>
                <a:cubicBezTo>
                  <a:pt x="266" y="110"/>
                  <a:pt x="242" y="104"/>
                  <a:pt x="242" y="104"/>
                </a:cubicBezTo>
                <a:cubicBezTo>
                  <a:pt x="242" y="104"/>
                  <a:pt x="244" y="74"/>
                  <a:pt x="220" y="64"/>
                </a:cubicBezTo>
                <a:cubicBezTo>
                  <a:pt x="197" y="54"/>
                  <a:pt x="179" y="64"/>
                  <a:pt x="179" y="64"/>
                </a:cubicBezTo>
                <a:cubicBezTo>
                  <a:pt x="179" y="64"/>
                  <a:pt x="171" y="42"/>
                  <a:pt x="141" y="42"/>
                </a:cubicBezTo>
                <a:cubicBezTo>
                  <a:pt x="115" y="42"/>
                  <a:pt x="92" y="68"/>
                  <a:pt x="98" y="87"/>
                </a:cubicBezTo>
                <a:cubicBezTo>
                  <a:pt x="98" y="87"/>
                  <a:pt x="58" y="84"/>
                  <a:pt x="58" y="126"/>
                </a:cubicBezTo>
                <a:cubicBezTo>
                  <a:pt x="58" y="169"/>
                  <a:pt x="89" y="168"/>
                  <a:pt x="89" y="168"/>
                </a:cubicBezTo>
                <a:close/>
              </a:path>
            </a:pathLst>
          </a:custGeom>
          <a:solidFill>
            <a:schemeClr val="tx1"/>
          </a:solidFill>
          <a:ln>
            <a:noFill/>
          </a:ln>
          <a:extLst/>
        </p:spPr>
        <p:txBody>
          <a:bodyPr vert="horz" wrap="square" lIns="89619" tIns="44810" rIns="89619" bIns="44810" numCol="1" anchor="t" anchorCtr="0" compatLnSpc="1">
            <a:prstTxWarp prst="textNoShape">
              <a:avLst/>
            </a:prstTxWarp>
          </a:bodyPr>
          <a:lstStyle/>
          <a:p>
            <a:pPr defTabSz="914180">
              <a:lnSpc>
                <a:spcPct val="90000"/>
              </a:lnSpc>
            </a:pPr>
            <a:endParaRPr lang="en-US" sz="1764">
              <a:solidFill>
                <a:srgbClr val="505050"/>
              </a:solidFill>
            </a:endParaRPr>
          </a:p>
        </p:txBody>
      </p:sp>
      <p:sp>
        <p:nvSpPr>
          <p:cNvPr id="70" name="Arc 69"/>
          <p:cNvSpPr/>
          <p:nvPr/>
        </p:nvSpPr>
        <p:spPr>
          <a:xfrm rot="20676240">
            <a:off x="6999307" y="2005887"/>
            <a:ext cx="702526" cy="439855"/>
          </a:xfrm>
          <a:prstGeom prst="arc">
            <a:avLst>
              <a:gd name="adj1" fmla="val 21436060"/>
              <a:gd name="adj2" fmla="val 9297984"/>
            </a:avLst>
          </a:prstGeom>
          <a:ln w="317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914180">
              <a:lnSpc>
                <a:spcPct val="90000"/>
              </a:lnSpc>
            </a:pPr>
            <a:endParaRPr lang="en-US" sz="1764">
              <a:solidFill>
                <a:srgbClr val="505050"/>
              </a:solidFill>
            </a:endParaRPr>
          </a:p>
        </p:txBody>
      </p:sp>
      <p:grpSp>
        <p:nvGrpSpPr>
          <p:cNvPr id="71" name="Group 70"/>
          <p:cNvGrpSpPr>
            <a:grpSpLocks noChangeAspect="1"/>
          </p:cNvGrpSpPr>
          <p:nvPr/>
        </p:nvGrpSpPr>
        <p:grpSpPr>
          <a:xfrm>
            <a:off x="10332457" y="1734778"/>
            <a:ext cx="1016734" cy="617896"/>
            <a:chOff x="3742936" y="4845974"/>
            <a:chExt cx="1597183" cy="970652"/>
          </a:xfrm>
          <a:solidFill>
            <a:schemeClr val="tx1"/>
          </a:solidFill>
        </p:grpSpPr>
        <p:sp>
          <p:nvSpPr>
            <p:cNvPr id="72" name="Freeform 71"/>
            <p:cNvSpPr>
              <a:spLocks noEditPoints="1"/>
            </p:cNvSpPr>
            <p:nvPr/>
          </p:nvSpPr>
          <p:spPr bwMode="black">
            <a:xfrm>
              <a:off x="4939193" y="5008123"/>
              <a:ext cx="400926" cy="808503"/>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lnSpc>
                  <a:spcPct val="90000"/>
                </a:lnSpc>
              </a:pPr>
              <a:endParaRPr lang="en-US" sz="1764" dirty="0">
                <a:solidFill>
                  <a:srgbClr val="505050"/>
                </a:solidFill>
              </a:endParaRPr>
            </a:p>
          </p:txBody>
        </p:sp>
        <p:sp>
          <p:nvSpPr>
            <p:cNvPr id="73" name="Freeform 88"/>
            <p:cNvSpPr>
              <a:spLocks noEditPoints="1"/>
            </p:cNvSpPr>
            <p:nvPr/>
          </p:nvSpPr>
          <p:spPr bwMode="black">
            <a:xfrm>
              <a:off x="3742936" y="4845974"/>
              <a:ext cx="1144646" cy="970652"/>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lnSpc>
                  <a:spcPct val="90000"/>
                </a:lnSpc>
              </a:pPr>
              <a:endParaRPr lang="en-US" sz="1764" dirty="0">
                <a:solidFill>
                  <a:srgbClr val="505050"/>
                </a:solidFill>
              </a:endParaRPr>
            </a:p>
          </p:txBody>
        </p:sp>
      </p:grpSp>
      <p:sp>
        <p:nvSpPr>
          <p:cNvPr id="74" name="Freeform 5"/>
          <p:cNvSpPr>
            <a:spLocks noChangeAspect="1" noEditPoints="1"/>
          </p:cNvSpPr>
          <p:nvPr/>
        </p:nvSpPr>
        <p:spPr bwMode="auto">
          <a:xfrm>
            <a:off x="11503515" y="1905893"/>
            <a:ext cx="232392" cy="446780"/>
          </a:xfrm>
          <a:custGeom>
            <a:avLst/>
            <a:gdLst>
              <a:gd name="T0" fmla="*/ 0 w 822"/>
              <a:gd name="T1" fmla="*/ 32 h 1583"/>
              <a:gd name="T2" fmla="*/ 822 w 822"/>
              <a:gd name="T3" fmla="*/ 1551 h 1583"/>
              <a:gd name="T4" fmla="*/ 16 w 822"/>
              <a:gd name="T5" fmla="*/ 1551 h 1583"/>
              <a:gd name="T6" fmla="*/ 806 w 822"/>
              <a:gd name="T7" fmla="*/ 32 h 1583"/>
              <a:gd name="T8" fmla="*/ 419 w 822"/>
              <a:gd name="T9" fmla="*/ 311 h 1583"/>
              <a:gd name="T10" fmla="*/ 574 w 822"/>
              <a:gd name="T11" fmla="*/ 447 h 1583"/>
              <a:gd name="T12" fmla="*/ 574 w 822"/>
              <a:gd name="T13" fmla="*/ 447 h 1583"/>
              <a:gd name="T14" fmla="*/ 403 w 822"/>
              <a:gd name="T15" fmla="*/ 447 h 1583"/>
              <a:gd name="T16" fmla="*/ 419 w 822"/>
              <a:gd name="T17" fmla="*/ 773 h 1583"/>
              <a:gd name="T18" fmla="*/ 112 w 822"/>
              <a:gd name="T19" fmla="*/ 773 h 1583"/>
              <a:gd name="T20" fmla="*/ 403 w 822"/>
              <a:gd name="T21" fmla="*/ 1068 h 1583"/>
              <a:gd name="T22" fmla="*/ 712 w 822"/>
              <a:gd name="T23" fmla="*/ 1068 h 1583"/>
              <a:gd name="T24" fmla="*/ 712 w 822"/>
              <a:gd name="T25" fmla="*/ 1223 h 1583"/>
              <a:gd name="T26" fmla="*/ 574 w 822"/>
              <a:gd name="T27" fmla="*/ 463 h 1583"/>
              <a:gd name="T28" fmla="*/ 574 w 822"/>
              <a:gd name="T29" fmla="*/ 463 h 1583"/>
              <a:gd name="T30" fmla="*/ 264 w 822"/>
              <a:gd name="T31" fmla="*/ 1084 h 1583"/>
              <a:gd name="T32" fmla="*/ 403 w 822"/>
              <a:gd name="T33" fmla="*/ 1349 h 1583"/>
              <a:gd name="T34" fmla="*/ 419 w 822"/>
              <a:gd name="T35" fmla="*/ 1239 h 1583"/>
              <a:gd name="T36" fmla="*/ 574 w 822"/>
              <a:gd name="T37" fmla="*/ 1239 h 1583"/>
              <a:gd name="T38" fmla="*/ 712 w 822"/>
              <a:gd name="T39" fmla="*/ 618 h 1583"/>
              <a:gd name="T40" fmla="*/ 248 w 822"/>
              <a:gd name="T41" fmla="*/ 757 h 1583"/>
              <a:gd name="T42" fmla="*/ 403 w 822"/>
              <a:gd name="T43" fmla="*/ 602 h 1583"/>
              <a:gd name="T44" fmla="*/ 112 w 822"/>
              <a:gd name="T45" fmla="*/ 463 h 1583"/>
              <a:gd name="T46" fmla="*/ 112 w 822"/>
              <a:gd name="T47" fmla="*/ 447 h 1583"/>
              <a:gd name="T48" fmla="*/ 100 w 822"/>
              <a:gd name="T49" fmla="*/ 93 h 1583"/>
              <a:gd name="T50" fmla="*/ 662 w 822"/>
              <a:gd name="T51" fmla="*/ 1447 h 1583"/>
              <a:gd name="T52" fmla="*/ 764 w 822"/>
              <a:gd name="T53" fmla="*/ 33 h 1583"/>
              <a:gd name="T54" fmla="*/ 58 w 822"/>
              <a:gd name="T55" fmla="*/ 1542 h 1583"/>
              <a:gd name="T56" fmla="*/ 764 w 822"/>
              <a:gd name="T57" fmla="*/ 33 h 1583"/>
              <a:gd name="T58" fmla="*/ 572 w 822"/>
              <a:gd name="T59" fmla="*/ 119 h 1583"/>
              <a:gd name="T60" fmla="*/ 100 w 822"/>
              <a:gd name="T61" fmla="*/ 77 h 1583"/>
              <a:gd name="T62" fmla="*/ 100 w 822"/>
              <a:gd name="T63" fmla="*/ 77 h 1583"/>
              <a:gd name="T64" fmla="*/ 158 w 822"/>
              <a:gd name="T65" fmla="*/ 1466 h 1583"/>
              <a:gd name="T66" fmla="*/ 139 w 822"/>
              <a:gd name="T67" fmla="*/ 1452 h 1583"/>
              <a:gd name="T68" fmla="*/ 158 w 822"/>
              <a:gd name="T69" fmla="*/ 1435 h 1583"/>
              <a:gd name="T70" fmla="*/ 176 w 822"/>
              <a:gd name="T71" fmla="*/ 1451 h 1583"/>
              <a:gd name="T72" fmla="*/ 391 w 822"/>
              <a:gd name="T73" fmla="*/ 1452 h 1583"/>
              <a:gd name="T74" fmla="*/ 391 w 822"/>
              <a:gd name="T75" fmla="*/ 1450 h 1583"/>
              <a:gd name="T76" fmla="*/ 434 w 822"/>
              <a:gd name="T77" fmla="*/ 1472 h 1583"/>
              <a:gd name="T78" fmla="*/ 434 w 822"/>
              <a:gd name="T79" fmla="*/ 1472 h 1583"/>
              <a:gd name="T80" fmla="*/ 434 w 822"/>
              <a:gd name="T81" fmla="*/ 1429 h 1583"/>
              <a:gd name="T82" fmla="*/ 655 w 822"/>
              <a:gd name="T83" fmla="*/ 1467 h 1583"/>
              <a:gd name="T84" fmla="*/ 656 w 822"/>
              <a:gd name="T85" fmla="*/ 1455 h 1583"/>
              <a:gd name="T86" fmla="*/ 669 w 822"/>
              <a:gd name="T87" fmla="*/ 1462 h 1583"/>
              <a:gd name="T88" fmla="*/ 744 w 822"/>
              <a:gd name="T89" fmla="*/ 199 h 1583"/>
              <a:gd name="T90" fmla="*/ 557 w 822"/>
              <a:gd name="T91" fmla="*/ 1084 h 1583"/>
              <a:gd name="T92" fmla="*/ 419 w 822"/>
              <a:gd name="T93" fmla="*/ 602 h 1583"/>
              <a:gd name="T94" fmla="*/ 419 w 822"/>
              <a:gd name="T95" fmla="*/ 618 h 1583"/>
              <a:gd name="T96" fmla="*/ 419 w 822"/>
              <a:gd name="T97" fmla="*/ 618 h 1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22" h="1583">
                <a:moveTo>
                  <a:pt x="790" y="1583"/>
                </a:moveTo>
                <a:cubicBezTo>
                  <a:pt x="32" y="1583"/>
                  <a:pt x="32" y="1583"/>
                  <a:pt x="32" y="1583"/>
                </a:cubicBezTo>
                <a:cubicBezTo>
                  <a:pt x="14" y="1583"/>
                  <a:pt x="0" y="1569"/>
                  <a:pt x="0" y="1551"/>
                </a:cubicBezTo>
                <a:cubicBezTo>
                  <a:pt x="0" y="32"/>
                  <a:pt x="0" y="32"/>
                  <a:pt x="0" y="32"/>
                </a:cubicBezTo>
                <a:cubicBezTo>
                  <a:pt x="0" y="14"/>
                  <a:pt x="14" y="0"/>
                  <a:pt x="32" y="0"/>
                </a:cubicBezTo>
                <a:cubicBezTo>
                  <a:pt x="790" y="0"/>
                  <a:pt x="790" y="0"/>
                  <a:pt x="790" y="0"/>
                </a:cubicBezTo>
                <a:cubicBezTo>
                  <a:pt x="808" y="0"/>
                  <a:pt x="822" y="14"/>
                  <a:pt x="822" y="32"/>
                </a:cubicBezTo>
                <a:cubicBezTo>
                  <a:pt x="822" y="1551"/>
                  <a:pt x="822" y="1551"/>
                  <a:pt x="822" y="1551"/>
                </a:cubicBezTo>
                <a:cubicBezTo>
                  <a:pt x="822" y="1569"/>
                  <a:pt x="808" y="1583"/>
                  <a:pt x="790" y="1583"/>
                </a:cubicBezTo>
                <a:close/>
                <a:moveTo>
                  <a:pt x="32" y="16"/>
                </a:moveTo>
                <a:cubicBezTo>
                  <a:pt x="23" y="16"/>
                  <a:pt x="16" y="23"/>
                  <a:pt x="16" y="32"/>
                </a:cubicBezTo>
                <a:cubicBezTo>
                  <a:pt x="16" y="1551"/>
                  <a:pt x="16" y="1551"/>
                  <a:pt x="16" y="1551"/>
                </a:cubicBezTo>
                <a:cubicBezTo>
                  <a:pt x="16" y="1560"/>
                  <a:pt x="23" y="1567"/>
                  <a:pt x="32" y="1567"/>
                </a:cubicBezTo>
                <a:cubicBezTo>
                  <a:pt x="790" y="1567"/>
                  <a:pt x="790" y="1567"/>
                  <a:pt x="790" y="1567"/>
                </a:cubicBezTo>
                <a:cubicBezTo>
                  <a:pt x="799" y="1567"/>
                  <a:pt x="806" y="1560"/>
                  <a:pt x="806" y="1551"/>
                </a:cubicBezTo>
                <a:cubicBezTo>
                  <a:pt x="806" y="32"/>
                  <a:pt x="806" y="32"/>
                  <a:pt x="806" y="32"/>
                </a:cubicBezTo>
                <a:cubicBezTo>
                  <a:pt x="806" y="23"/>
                  <a:pt x="799" y="16"/>
                  <a:pt x="790" y="16"/>
                </a:cubicBezTo>
                <a:lnTo>
                  <a:pt x="32" y="16"/>
                </a:lnTo>
                <a:close/>
                <a:moveTo>
                  <a:pt x="558" y="311"/>
                </a:moveTo>
                <a:cubicBezTo>
                  <a:pt x="419" y="311"/>
                  <a:pt x="419" y="311"/>
                  <a:pt x="419" y="311"/>
                </a:cubicBezTo>
                <a:cubicBezTo>
                  <a:pt x="419" y="447"/>
                  <a:pt x="419" y="447"/>
                  <a:pt x="419" y="447"/>
                </a:cubicBezTo>
                <a:cubicBezTo>
                  <a:pt x="558" y="447"/>
                  <a:pt x="558" y="447"/>
                  <a:pt x="558" y="447"/>
                </a:cubicBezTo>
                <a:lnTo>
                  <a:pt x="558" y="311"/>
                </a:lnTo>
                <a:close/>
                <a:moveTo>
                  <a:pt x="574" y="447"/>
                </a:moveTo>
                <a:cubicBezTo>
                  <a:pt x="712" y="447"/>
                  <a:pt x="712" y="447"/>
                  <a:pt x="712" y="447"/>
                </a:cubicBezTo>
                <a:cubicBezTo>
                  <a:pt x="712" y="311"/>
                  <a:pt x="712" y="311"/>
                  <a:pt x="712" y="311"/>
                </a:cubicBezTo>
                <a:cubicBezTo>
                  <a:pt x="574" y="311"/>
                  <a:pt x="574" y="311"/>
                  <a:pt x="574" y="311"/>
                </a:cubicBezTo>
                <a:lnTo>
                  <a:pt x="574" y="447"/>
                </a:lnTo>
                <a:close/>
                <a:moveTo>
                  <a:pt x="403" y="311"/>
                </a:moveTo>
                <a:cubicBezTo>
                  <a:pt x="264" y="311"/>
                  <a:pt x="264" y="311"/>
                  <a:pt x="264" y="311"/>
                </a:cubicBezTo>
                <a:cubicBezTo>
                  <a:pt x="264" y="447"/>
                  <a:pt x="264" y="447"/>
                  <a:pt x="264" y="447"/>
                </a:cubicBezTo>
                <a:cubicBezTo>
                  <a:pt x="403" y="447"/>
                  <a:pt x="403" y="447"/>
                  <a:pt x="403" y="447"/>
                </a:cubicBezTo>
                <a:lnTo>
                  <a:pt x="403" y="311"/>
                </a:lnTo>
                <a:close/>
                <a:moveTo>
                  <a:pt x="574" y="773"/>
                </a:moveTo>
                <a:cubicBezTo>
                  <a:pt x="558" y="773"/>
                  <a:pt x="558" y="773"/>
                  <a:pt x="558" y="773"/>
                </a:cubicBezTo>
                <a:cubicBezTo>
                  <a:pt x="419" y="773"/>
                  <a:pt x="419" y="773"/>
                  <a:pt x="419" y="773"/>
                </a:cubicBezTo>
                <a:cubicBezTo>
                  <a:pt x="403" y="773"/>
                  <a:pt x="403" y="773"/>
                  <a:pt x="403" y="773"/>
                </a:cubicBezTo>
                <a:cubicBezTo>
                  <a:pt x="264" y="773"/>
                  <a:pt x="264" y="773"/>
                  <a:pt x="264" y="773"/>
                </a:cubicBezTo>
                <a:cubicBezTo>
                  <a:pt x="248" y="773"/>
                  <a:pt x="248" y="773"/>
                  <a:pt x="248" y="773"/>
                </a:cubicBezTo>
                <a:cubicBezTo>
                  <a:pt x="112" y="773"/>
                  <a:pt x="112" y="773"/>
                  <a:pt x="112" y="773"/>
                </a:cubicBezTo>
                <a:cubicBezTo>
                  <a:pt x="112" y="1068"/>
                  <a:pt x="112" y="1068"/>
                  <a:pt x="112" y="1068"/>
                </a:cubicBezTo>
                <a:cubicBezTo>
                  <a:pt x="248" y="1068"/>
                  <a:pt x="248" y="1068"/>
                  <a:pt x="248" y="1068"/>
                </a:cubicBezTo>
                <a:cubicBezTo>
                  <a:pt x="264" y="1068"/>
                  <a:pt x="264" y="1068"/>
                  <a:pt x="264" y="1068"/>
                </a:cubicBezTo>
                <a:cubicBezTo>
                  <a:pt x="403" y="1068"/>
                  <a:pt x="403" y="1068"/>
                  <a:pt x="403" y="1068"/>
                </a:cubicBezTo>
                <a:cubicBezTo>
                  <a:pt x="419" y="1068"/>
                  <a:pt x="419" y="1068"/>
                  <a:pt x="419" y="1068"/>
                </a:cubicBezTo>
                <a:cubicBezTo>
                  <a:pt x="558" y="1068"/>
                  <a:pt x="558" y="1068"/>
                  <a:pt x="558" y="1068"/>
                </a:cubicBezTo>
                <a:cubicBezTo>
                  <a:pt x="574" y="1068"/>
                  <a:pt x="574" y="1068"/>
                  <a:pt x="574" y="1068"/>
                </a:cubicBezTo>
                <a:cubicBezTo>
                  <a:pt x="712" y="1068"/>
                  <a:pt x="712" y="1068"/>
                  <a:pt x="712" y="1068"/>
                </a:cubicBezTo>
                <a:cubicBezTo>
                  <a:pt x="712" y="773"/>
                  <a:pt x="712" y="773"/>
                  <a:pt x="712" y="773"/>
                </a:cubicBezTo>
                <a:lnTo>
                  <a:pt x="574" y="773"/>
                </a:lnTo>
                <a:close/>
                <a:moveTo>
                  <a:pt x="574" y="1223"/>
                </a:moveTo>
                <a:cubicBezTo>
                  <a:pt x="712" y="1223"/>
                  <a:pt x="712" y="1223"/>
                  <a:pt x="712" y="1223"/>
                </a:cubicBezTo>
                <a:cubicBezTo>
                  <a:pt x="712" y="1084"/>
                  <a:pt x="712" y="1084"/>
                  <a:pt x="712" y="1084"/>
                </a:cubicBezTo>
                <a:cubicBezTo>
                  <a:pt x="574" y="1084"/>
                  <a:pt x="574" y="1084"/>
                  <a:pt x="574" y="1084"/>
                </a:cubicBezTo>
                <a:lnTo>
                  <a:pt x="574" y="1223"/>
                </a:lnTo>
                <a:close/>
                <a:moveTo>
                  <a:pt x="574" y="463"/>
                </a:moveTo>
                <a:cubicBezTo>
                  <a:pt x="574" y="602"/>
                  <a:pt x="574" y="602"/>
                  <a:pt x="574" y="602"/>
                </a:cubicBezTo>
                <a:cubicBezTo>
                  <a:pt x="712" y="602"/>
                  <a:pt x="712" y="602"/>
                  <a:pt x="712" y="602"/>
                </a:cubicBezTo>
                <a:cubicBezTo>
                  <a:pt x="712" y="463"/>
                  <a:pt x="712" y="463"/>
                  <a:pt x="712" y="463"/>
                </a:cubicBezTo>
                <a:lnTo>
                  <a:pt x="574" y="463"/>
                </a:lnTo>
                <a:close/>
                <a:moveTo>
                  <a:pt x="403" y="1239"/>
                </a:moveTo>
                <a:cubicBezTo>
                  <a:pt x="403" y="1223"/>
                  <a:pt x="403" y="1223"/>
                  <a:pt x="403" y="1223"/>
                </a:cubicBezTo>
                <a:cubicBezTo>
                  <a:pt x="403" y="1084"/>
                  <a:pt x="403" y="1084"/>
                  <a:pt x="403" y="1084"/>
                </a:cubicBezTo>
                <a:cubicBezTo>
                  <a:pt x="264" y="1084"/>
                  <a:pt x="264" y="1084"/>
                  <a:pt x="264" y="1084"/>
                </a:cubicBezTo>
                <a:cubicBezTo>
                  <a:pt x="248" y="1084"/>
                  <a:pt x="248" y="1084"/>
                  <a:pt x="248" y="1084"/>
                </a:cubicBezTo>
                <a:cubicBezTo>
                  <a:pt x="112" y="1084"/>
                  <a:pt x="112" y="1084"/>
                  <a:pt x="112" y="1084"/>
                </a:cubicBezTo>
                <a:cubicBezTo>
                  <a:pt x="112" y="1349"/>
                  <a:pt x="112" y="1349"/>
                  <a:pt x="112" y="1349"/>
                </a:cubicBezTo>
                <a:cubicBezTo>
                  <a:pt x="403" y="1349"/>
                  <a:pt x="403" y="1349"/>
                  <a:pt x="403" y="1349"/>
                </a:cubicBezTo>
                <a:lnTo>
                  <a:pt x="403" y="1239"/>
                </a:lnTo>
                <a:close/>
                <a:moveTo>
                  <a:pt x="574" y="1239"/>
                </a:moveTo>
                <a:cubicBezTo>
                  <a:pt x="558" y="1239"/>
                  <a:pt x="558" y="1239"/>
                  <a:pt x="558" y="1239"/>
                </a:cubicBezTo>
                <a:cubicBezTo>
                  <a:pt x="419" y="1239"/>
                  <a:pt x="419" y="1239"/>
                  <a:pt x="419" y="1239"/>
                </a:cubicBezTo>
                <a:cubicBezTo>
                  <a:pt x="419" y="1349"/>
                  <a:pt x="419" y="1349"/>
                  <a:pt x="419" y="1349"/>
                </a:cubicBezTo>
                <a:cubicBezTo>
                  <a:pt x="712" y="1349"/>
                  <a:pt x="712" y="1349"/>
                  <a:pt x="712" y="1349"/>
                </a:cubicBezTo>
                <a:cubicBezTo>
                  <a:pt x="712" y="1239"/>
                  <a:pt x="712" y="1239"/>
                  <a:pt x="712" y="1239"/>
                </a:cubicBezTo>
                <a:lnTo>
                  <a:pt x="574" y="1239"/>
                </a:lnTo>
                <a:close/>
                <a:moveTo>
                  <a:pt x="574" y="618"/>
                </a:moveTo>
                <a:cubicBezTo>
                  <a:pt x="574" y="757"/>
                  <a:pt x="574" y="757"/>
                  <a:pt x="574" y="757"/>
                </a:cubicBezTo>
                <a:cubicBezTo>
                  <a:pt x="712" y="757"/>
                  <a:pt x="712" y="757"/>
                  <a:pt x="712" y="757"/>
                </a:cubicBezTo>
                <a:cubicBezTo>
                  <a:pt x="712" y="618"/>
                  <a:pt x="712" y="618"/>
                  <a:pt x="712" y="618"/>
                </a:cubicBezTo>
                <a:lnTo>
                  <a:pt x="574" y="618"/>
                </a:lnTo>
                <a:close/>
                <a:moveTo>
                  <a:pt x="112" y="463"/>
                </a:moveTo>
                <a:cubicBezTo>
                  <a:pt x="112" y="757"/>
                  <a:pt x="112" y="757"/>
                  <a:pt x="112" y="757"/>
                </a:cubicBezTo>
                <a:cubicBezTo>
                  <a:pt x="248" y="757"/>
                  <a:pt x="248" y="757"/>
                  <a:pt x="248" y="757"/>
                </a:cubicBezTo>
                <a:cubicBezTo>
                  <a:pt x="264" y="757"/>
                  <a:pt x="264" y="757"/>
                  <a:pt x="264" y="757"/>
                </a:cubicBezTo>
                <a:cubicBezTo>
                  <a:pt x="403" y="757"/>
                  <a:pt x="403" y="757"/>
                  <a:pt x="403" y="757"/>
                </a:cubicBezTo>
                <a:cubicBezTo>
                  <a:pt x="403" y="618"/>
                  <a:pt x="403" y="618"/>
                  <a:pt x="403" y="618"/>
                </a:cubicBezTo>
                <a:cubicBezTo>
                  <a:pt x="403" y="602"/>
                  <a:pt x="403" y="602"/>
                  <a:pt x="403" y="602"/>
                </a:cubicBezTo>
                <a:cubicBezTo>
                  <a:pt x="403" y="463"/>
                  <a:pt x="403" y="463"/>
                  <a:pt x="403" y="463"/>
                </a:cubicBezTo>
                <a:cubicBezTo>
                  <a:pt x="264" y="463"/>
                  <a:pt x="264" y="463"/>
                  <a:pt x="264" y="463"/>
                </a:cubicBezTo>
                <a:cubicBezTo>
                  <a:pt x="248" y="463"/>
                  <a:pt x="248" y="463"/>
                  <a:pt x="248" y="463"/>
                </a:cubicBezTo>
                <a:lnTo>
                  <a:pt x="112" y="463"/>
                </a:lnTo>
                <a:close/>
                <a:moveTo>
                  <a:pt x="248" y="447"/>
                </a:moveTo>
                <a:cubicBezTo>
                  <a:pt x="248" y="311"/>
                  <a:pt x="248" y="311"/>
                  <a:pt x="248" y="311"/>
                </a:cubicBezTo>
                <a:cubicBezTo>
                  <a:pt x="112" y="311"/>
                  <a:pt x="112" y="311"/>
                  <a:pt x="112" y="311"/>
                </a:cubicBezTo>
                <a:cubicBezTo>
                  <a:pt x="112" y="447"/>
                  <a:pt x="112" y="447"/>
                  <a:pt x="112" y="447"/>
                </a:cubicBezTo>
                <a:lnTo>
                  <a:pt x="248" y="447"/>
                </a:lnTo>
                <a:close/>
                <a:moveTo>
                  <a:pt x="100" y="117"/>
                </a:moveTo>
                <a:cubicBezTo>
                  <a:pt x="107" y="117"/>
                  <a:pt x="112" y="112"/>
                  <a:pt x="112" y="105"/>
                </a:cubicBezTo>
                <a:cubicBezTo>
                  <a:pt x="112" y="98"/>
                  <a:pt x="107" y="93"/>
                  <a:pt x="100" y="93"/>
                </a:cubicBezTo>
                <a:cubicBezTo>
                  <a:pt x="93" y="93"/>
                  <a:pt x="88" y="98"/>
                  <a:pt x="88" y="105"/>
                </a:cubicBezTo>
                <a:cubicBezTo>
                  <a:pt x="88" y="112"/>
                  <a:pt x="93" y="117"/>
                  <a:pt x="100" y="117"/>
                </a:cubicBezTo>
                <a:close/>
                <a:moveTo>
                  <a:pt x="669" y="1441"/>
                </a:moveTo>
                <a:cubicBezTo>
                  <a:pt x="665" y="1441"/>
                  <a:pt x="662" y="1444"/>
                  <a:pt x="662" y="1447"/>
                </a:cubicBezTo>
                <a:cubicBezTo>
                  <a:pt x="662" y="1451"/>
                  <a:pt x="665" y="1454"/>
                  <a:pt x="669" y="1454"/>
                </a:cubicBezTo>
                <a:cubicBezTo>
                  <a:pt x="672" y="1454"/>
                  <a:pt x="675" y="1451"/>
                  <a:pt x="675" y="1447"/>
                </a:cubicBezTo>
                <a:cubicBezTo>
                  <a:pt x="675" y="1444"/>
                  <a:pt x="672" y="1441"/>
                  <a:pt x="669" y="1441"/>
                </a:cubicBezTo>
                <a:close/>
                <a:moveTo>
                  <a:pt x="764" y="33"/>
                </a:moveTo>
                <a:cubicBezTo>
                  <a:pt x="58" y="33"/>
                  <a:pt x="58" y="33"/>
                  <a:pt x="58" y="33"/>
                </a:cubicBezTo>
                <a:cubicBezTo>
                  <a:pt x="45" y="33"/>
                  <a:pt x="34" y="44"/>
                  <a:pt x="34" y="57"/>
                </a:cubicBezTo>
                <a:cubicBezTo>
                  <a:pt x="34" y="1518"/>
                  <a:pt x="34" y="1518"/>
                  <a:pt x="34" y="1518"/>
                </a:cubicBezTo>
                <a:cubicBezTo>
                  <a:pt x="34" y="1531"/>
                  <a:pt x="45" y="1542"/>
                  <a:pt x="58" y="1542"/>
                </a:cubicBezTo>
                <a:cubicBezTo>
                  <a:pt x="764" y="1542"/>
                  <a:pt x="764" y="1542"/>
                  <a:pt x="764" y="1542"/>
                </a:cubicBezTo>
                <a:cubicBezTo>
                  <a:pt x="777" y="1542"/>
                  <a:pt x="788" y="1531"/>
                  <a:pt x="788" y="1518"/>
                </a:cubicBezTo>
                <a:cubicBezTo>
                  <a:pt x="788" y="57"/>
                  <a:pt x="788" y="57"/>
                  <a:pt x="788" y="57"/>
                </a:cubicBezTo>
                <a:cubicBezTo>
                  <a:pt x="788" y="44"/>
                  <a:pt x="777" y="33"/>
                  <a:pt x="764" y="33"/>
                </a:cubicBezTo>
                <a:close/>
                <a:moveTo>
                  <a:pt x="242" y="91"/>
                </a:moveTo>
                <a:cubicBezTo>
                  <a:pt x="572" y="91"/>
                  <a:pt x="572" y="91"/>
                  <a:pt x="572" y="91"/>
                </a:cubicBezTo>
                <a:cubicBezTo>
                  <a:pt x="580" y="91"/>
                  <a:pt x="586" y="97"/>
                  <a:pt x="586" y="105"/>
                </a:cubicBezTo>
                <a:cubicBezTo>
                  <a:pt x="586" y="113"/>
                  <a:pt x="580" y="119"/>
                  <a:pt x="572" y="119"/>
                </a:cubicBezTo>
                <a:cubicBezTo>
                  <a:pt x="242" y="119"/>
                  <a:pt x="242" y="119"/>
                  <a:pt x="242" y="119"/>
                </a:cubicBezTo>
                <a:cubicBezTo>
                  <a:pt x="234" y="119"/>
                  <a:pt x="228" y="113"/>
                  <a:pt x="228" y="105"/>
                </a:cubicBezTo>
                <a:cubicBezTo>
                  <a:pt x="228" y="97"/>
                  <a:pt x="234" y="91"/>
                  <a:pt x="242" y="91"/>
                </a:cubicBezTo>
                <a:close/>
                <a:moveTo>
                  <a:pt x="100" y="77"/>
                </a:moveTo>
                <a:cubicBezTo>
                  <a:pt x="115" y="77"/>
                  <a:pt x="128" y="90"/>
                  <a:pt x="128" y="105"/>
                </a:cubicBezTo>
                <a:cubicBezTo>
                  <a:pt x="128" y="120"/>
                  <a:pt x="115" y="133"/>
                  <a:pt x="100" y="133"/>
                </a:cubicBezTo>
                <a:cubicBezTo>
                  <a:pt x="85" y="133"/>
                  <a:pt x="72" y="120"/>
                  <a:pt x="72" y="105"/>
                </a:cubicBezTo>
                <a:cubicBezTo>
                  <a:pt x="72" y="90"/>
                  <a:pt x="85" y="77"/>
                  <a:pt x="100" y="77"/>
                </a:cubicBezTo>
                <a:close/>
                <a:moveTo>
                  <a:pt x="172" y="1455"/>
                </a:moveTo>
                <a:cubicBezTo>
                  <a:pt x="152" y="1455"/>
                  <a:pt x="152" y="1455"/>
                  <a:pt x="152" y="1455"/>
                </a:cubicBezTo>
                <a:cubicBezTo>
                  <a:pt x="158" y="1461"/>
                  <a:pt x="158" y="1461"/>
                  <a:pt x="158" y="1461"/>
                </a:cubicBezTo>
                <a:cubicBezTo>
                  <a:pt x="160" y="1462"/>
                  <a:pt x="160" y="1465"/>
                  <a:pt x="158" y="1466"/>
                </a:cubicBezTo>
                <a:cubicBezTo>
                  <a:pt x="157" y="1467"/>
                  <a:pt x="156" y="1467"/>
                  <a:pt x="155" y="1467"/>
                </a:cubicBezTo>
                <a:cubicBezTo>
                  <a:pt x="154" y="1467"/>
                  <a:pt x="153" y="1467"/>
                  <a:pt x="153" y="1466"/>
                </a:cubicBezTo>
                <a:cubicBezTo>
                  <a:pt x="140" y="1454"/>
                  <a:pt x="140" y="1454"/>
                  <a:pt x="140" y="1454"/>
                </a:cubicBezTo>
                <a:cubicBezTo>
                  <a:pt x="139" y="1453"/>
                  <a:pt x="139" y="1453"/>
                  <a:pt x="139" y="1452"/>
                </a:cubicBezTo>
                <a:cubicBezTo>
                  <a:pt x="139" y="1451"/>
                  <a:pt x="139" y="1450"/>
                  <a:pt x="139" y="1449"/>
                </a:cubicBezTo>
                <a:cubicBezTo>
                  <a:pt x="139" y="1449"/>
                  <a:pt x="139" y="1448"/>
                  <a:pt x="140" y="1448"/>
                </a:cubicBezTo>
                <a:cubicBezTo>
                  <a:pt x="153" y="1435"/>
                  <a:pt x="153" y="1435"/>
                  <a:pt x="153" y="1435"/>
                </a:cubicBezTo>
                <a:cubicBezTo>
                  <a:pt x="154" y="1434"/>
                  <a:pt x="157" y="1434"/>
                  <a:pt x="158" y="1435"/>
                </a:cubicBezTo>
                <a:cubicBezTo>
                  <a:pt x="160" y="1437"/>
                  <a:pt x="160" y="1439"/>
                  <a:pt x="158" y="1441"/>
                </a:cubicBezTo>
                <a:cubicBezTo>
                  <a:pt x="152" y="1447"/>
                  <a:pt x="152" y="1447"/>
                  <a:pt x="152" y="1447"/>
                </a:cubicBezTo>
                <a:cubicBezTo>
                  <a:pt x="172" y="1447"/>
                  <a:pt x="172" y="1447"/>
                  <a:pt x="172" y="1447"/>
                </a:cubicBezTo>
                <a:cubicBezTo>
                  <a:pt x="174" y="1447"/>
                  <a:pt x="176" y="1448"/>
                  <a:pt x="176" y="1451"/>
                </a:cubicBezTo>
                <a:cubicBezTo>
                  <a:pt x="176" y="1453"/>
                  <a:pt x="174" y="1455"/>
                  <a:pt x="172" y="1455"/>
                </a:cubicBezTo>
                <a:close/>
                <a:moveTo>
                  <a:pt x="410" y="1467"/>
                </a:moveTo>
                <a:cubicBezTo>
                  <a:pt x="391" y="1464"/>
                  <a:pt x="391" y="1464"/>
                  <a:pt x="391" y="1464"/>
                </a:cubicBezTo>
                <a:cubicBezTo>
                  <a:pt x="391" y="1452"/>
                  <a:pt x="391" y="1452"/>
                  <a:pt x="391" y="1452"/>
                </a:cubicBezTo>
                <a:cubicBezTo>
                  <a:pt x="410" y="1452"/>
                  <a:pt x="410" y="1452"/>
                  <a:pt x="410" y="1452"/>
                </a:cubicBezTo>
                <a:lnTo>
                  <a:pt x="410" y="1467"/>
                </a:lnTo>
                <a:close/>
                <a:moveTo>
                  <a:pt x="410" y="1450"/>
                </a:moveTo>
                <a:cubicBezTo>
                  <a:pt x="391" y="1450"/>
                  <a:pt x="391" y="1450"/>
                  <a:pt x="391" y="1450"/>
                </a:cubicBezTo>
                <a:cubicBezTo>
                  <a:pt x="391" y="1434"/>
                  <a:pt x="391" y="1434"/>
                  <a:pt x="391" y="1434"/>
                </a:cubicBezTo>
                <a:cubicBezTo>
                  <a:pt x="410" y="1432"/>
                  <a:pt x="410" y="1432"/>
                  <a:pt x="410" y="1432"/>
                </a:cubicBezTo>
                <a:lnTo>
                  <a:pt x="410" y="1450"/>
                </a:lnTo>
                <a:close/>
                <a:moveTo>
                  <a:pt x="434" y="1472"/>
                </a:moveTo>
                <a:cubicBezTo>
                  <a:pt x="412" y="1468"/>
                  <a:pt x="412" y="1468"/>
                  <a:pt x="412" y="1468"/>
                </a:cubicBezTo>
                <a:cubicBezTo>
                  <a:pt x="412" y="1452"/>
                  <a:pt x="412" y="1452"/>
                  <a:pt x="412" y="1452"/>
                </a:cubicBezTo>
                <a:cubicBezTo>
                  <a:pt x="434" y="1452"/>
                  <a:pt x="434" y="1452"/>
                  <a:pt x="434" y="1452"/>
                </a:cubicBezTo>
                <a:lnTo>
                  <a:pt x="434" y="1472"/>
                </a:lnTo>
                <a:close/>
                <a:moveTo>
                  <a:pt x="434" y="1450"/>
                </a:moveTo>
                <a:cubicBezTo>
                  <a:pt x="412" y="1450"/>
                  <a:pt x="412" y="1450"/>
                  <a:pt x="412" y="1450"/>
                </a:cubicBezTo>
                <a:cubicBezTo>
                  <a:pt x="412" y="1431"/>
                  <a:pt x="412" y="1431"/>
                  <a:pt x="412" y="1431"/>
                </a:cubicBezTo>
                <a:cubicBezTo>
                  <a:pt x="434" y="1429"/>
                  <a:pt x="434" y="1429"/>
                  <a:pt x="434" y="1429"/>
                </a:cubicBezTo>
                <a:lnTo>
                  <a:pt x="434" y="1450"/>
                </a:lnTo>
                <a:close/>
                <a:moveTo>
                  <a:pt x="669" y="1462"/>
                </a:moveTo>
                <a:cubicBezTo>
                  <a:pt x="666" y="1462"/>
                  <a:pt x="664" y="1461"/>
                  <a:pt x="662" y="1460"/>
                </a:cubicBezTo>
                <a:cubicBezTo>
                  <a:pt x="655" y="1467"/>
                  <a:pt x="655" y="1467"/>
                  <a:pt x="655" y="1467"/>
                </a:cubicBezTo>
                <a:cubicBezTo>
                  <a:pt x="654" y="1468"/>
                  <a:pt x="653" y="1469"/>
                  <a:pt x="652" y="1469"/>
                </a:cubicBezTo>
                <a:cubicBezTo>
                  <a:pt x="651" y="1469"/>
                  <a:pt x="650" y="1468"/>
                  <a:pt x="649" y="1467"/>
                </a:cubicBezTo>
                <a:cubicBezTo>
                  <a:pt x="648" y="1466"/>
                  <a:pt x="648" y="1463"/>
                  <a:pt x="649" y="1462"/>
                </a:cubicBezTo>
                <a:cubicBezTo>
                  <a:pt x="656" y="1455"/>
                  <a:pt x="656" y="1455"/>
                  <a:pt x="656" y="1455"/>
                </a:cubicBezTo>
                <a:cubicBezTo>
                  <a:pt x="655" y="1453"/>
                  <a:pt x="654" y="1450"/>
                  <a:pt x="654" y="1447"/>
                </a:cubicBezTo>
                <a:cubicBezTo>
                  <a:pt x="654" y="1439"/>
                  <a:pt x="661" y="1433"/>
                  <a:pt x="669" y="1433"/>
                </a:cubicBezTo>
                <a:cubicBezTo>
                  <a:pt x="677" y="1433"/>
                  <a:pt x="683" y="1439"/>
                  <a:pt x="683" y="1447"/>
                </a:cubicBezTo>
                <a:cubicBezTo>
                  <a:pt x="683" y="1455"/>
                  <a:pt x="677" y="1462"/>
                  <a:pt x="669" y="1462"/>
                </a:cubicBezTo>
                <a:close/>
                <a:moveTo>
                  <a:pt x="744" y="1352"/>
                </a:moveTo>
                <a:cubicBezTo>
                  <a:pt x="78" y="1352"/>
                  <a:pt x="78" y="1352"/>
                  <a:pt x="78" y="1352"/>
                </a:cubicBezTo>
                <a:cubicBezTo>
                  <a:pt x="78" y="199"/>
                  <a:pt x="78" y="199"/>
                  <a:pt x="78" y="199"/>
                </a:cubicBezTo>
                <a:cubicBezTo>
                  <a:pt x="744" y="199"/>
                  <a:pt x="744" y="199"/>
                  <a:pt x="744" y="199"/>
                </a:cubicBezTo>
                <a:lnTo>
                  <a:pt x="744" y="1352"/>
                </a:lnTo>
                <a:close/>
                <a:moveTo>
                  <a:pt x="419" y="1223"/>
                </a:moveTo>
                <a:cubicBezTo>
                  <a:pt x="557" y="1223"/>
                  <a:pt x="557" y="1223"/>
                  <a:pt x="557" y="1223"/>
                </a:cubicBezTo>
                <a:cubicBezTo>
                  <a:pt x="557" y="1084"/>
                  <a:pt x="557" y="1084"/>
                  <a:pt x="557" y="1084"/>
                </a:cubicBezTo>
                <a:cubicBezTo>
                  <a:pt x="419" y="1084"/>
                  <a:pt x="419" y="1084"/>
                  <a:pt x="419" y="1084"/>
                </a:cubicBezTo>
                <a:lnTo>
                  <a:pt x="419" y="1223"/>
                </a:lnTo>
                <a:close/>
                <a:moveTo>
                  <a:pt x="419" y="463"/>
                </a:moveTo>
                <a:cubicBezTo>
                  <a:pt x="419" y="602"/>
                  <a:pt x="419" y="602"/>
                  <a:pt x="419" y="602"/>
                </a:cubicBezTo>
                <a:cubicBezTo>
                  <a:pt x="557" y="602"/>
                  <a:pt x="557" y="602"/>
                  <a:pt x="557" y="602"/>
                </a:cubicBezTo>
                <a:cubicBezTo>
                  <a:pt x="557" y="463"/>
                  <a:pt x="557" y="463"/>
                  <a:pt x="557" y="463"/>
                </a:cubicBezTo>
                <a:lnTo>
                  <a:pt x="419" y="463"/>
                </a:lnTo>
                <a:close/>
                <a:moveTo>
                  <a:pt x="419" y="618"/>
                </a:moveTo>
                <a:cubicBezTo>
                  <a:pt x="419" y="757"/>
                  <a:pt x="419" y="757"/>
                  <a:pt x="419" y="757"/>
                </a:cubicBezTo>
                <a:cubicBezTo>
                  <a:pt x="557" y="757"/>
                  <a:pt x="557" y="757"/>
                  <a:pt x="557" y="757"/>
                </a:cubicBezTo>
                <a:cubicBezTo>
                  <a:pt x="557" y="618"/>
                  <a:pt x="557" y="618"/>
                  <a:pt x="557" y="618"/>
                </a:cubicBezTo>
                <a:lnTo>
                  <a:pt x="419" y="618"/>
                </a:lnTo>
                <a:close/>
              </a:path>
            </a:pathLst>
          </a:custGeom>
          <a:solidFill>
            <a:schemeClr val="tx1"/>
          </a:solidFill>
          <a:ln>
            <a:noFill/>
          </a:ln>
          <a:extLst/>
        </p:spPr>
        <p:txBody>
          <a:bodyPr vert="horz" wrap="square" lIns="89619" tIns="44810" rIns="89619" bIns="44810" numCol="1" anchor="t" anchorCtr="0" compatLnSpc="1">
            <a:prstTxWarp prst="textNoShape">
              <a:avLst/>
            </a:prstTxWarp>
          </a:bodyPr>
          <a:lstStyle/>
          <a:p>
            <a:pPr defTabSz="914180">
              <a:lnSpc>
                <a:spcPct val="90000"/>
              </a:lnSpc>
            </a:pPr>
            <a:endParaRPr lang="en-US" sz="1764">
              <a:solidFill>
                <a:srgbClr val="505050"/>
              </a:solidFill>
            </a:endParaRPr>
          </a:p>
        </p:txBody>
      </p:sp>
      <p:sp>
        <p:nvSpPr>
          <p:cNvPr id="75" name="Freeform 5"/>
          <p:cNvSpPr>
            <a:spLocks noChangeAspect="1" noEditPoints="1"/>
          </p:cNvSpPr>
          <p:nvPr/>
        </p:nvSpPr>
        <p:spPr bwMode="auto">
          <a:xfrm>
            <a:off x="9604603" y="1913703"/>
            <a:ext cx="589089" cy="438971"/>
          </a:xfrm>
          <a:custGeom>
            <a:avLst/>
            <a:gdLst>
              <a:gd name="T0" fmla="*/ 209 w 216"/>
              <a:gd name="T1" fmla="*/ 0 h 160"/>
              <a:gd name="T2" fmla="*/ 7 w 216"/>
              <a:gd name="T3" fmla="*/ 0 h 160"/>
              <a:gd name="T4" fmla="*/ 0 w 216"/>
              <a:gd name="T5" fmla="*/ 7 h 160"/>
              <a:gd name="T6" fmla="*/ 0 w 216"/>
              <a:gd name="T7" fmla="*/ 153 h 160"/>
              <a:gd name="T8" fmla="*/ 7 w 216"/>
              <a:gd name="T9" fmla="*/ 160 h 160"/>
              <a:gd name="T10" fmla="*/ 209 w 216"/>
              <a:gd name="T11" fmla="*/ 160 h 160"/>
              <a:gd name="T12" fmla="*/ 216 w 216"/>
              <a:gd name="T13" fmla="*/ 153 h 160"/>
              <a:gd name="T14" fmla="*/ 216 w 216"/>
              <a:gd name="T15" fmla="*/ 7 h 160"/>
              <a:gd name="T16" fmla="*/ 209 w 216"/>
              <a:gd name="T17" fmla="*/ 0 h 160"/>
              <a:gd name="T18" fmla="*/ 107 w 216"/>
              <a:gd name="T19" fmla="*/ 154 h 160"/>
              <a:gd name="T20" fmla="*/ 103 w 216"/>
              <a:gd name="T21" fmla="*/ 153 h 160"/>
              <a:gd name="T22" fmla="*/ 103 w 216"/>
              <a:gd name="T23" fmla="*/ 150 h 160"/>
              <a:gd name="T24" fmla="*/ 107 w 216"/>
              <a:gd name="T25" fmla="*/ 150 h 160"/>
              <a:gd name="T26" fmla="*/ 107 w 216"/>
              <a:gd name="T27" fmla="*/ 154 h 160"/>
              <a:gd name="T28" fmla="*/ 107 w 216"/>
              <a:gd name="T29" fmla="*/ 149 h 160"/>
              <a:gd name="T30" fmla="*/ 103 w 216"/>
              <a:gd name="T31" fmla="*/ 149 h 160"/>
              <a:gd name="T32" fmla="*/ 103 w 216"/>
              <a:gd name="T33" fmla="*/ 146 h 160"/>
              <a:gd name="T34" fmla="*/ 107 w 216"/>
              <a:gd name="T35" fmla="*/ 145 h 160"/>
              <a:gd name="T36" fmla="*/ 107 w 216"/>
              <a:gd name="T37" fmla="*/ 149 h 160"/>
              <a:gd name="T38" fmla="*/ 114 w 216"/>
              <a:gd name="T39" fmla="*/ 155 h 160"/>
              <a:gd name="T40" fmla="*/ 108 w 216"/>
              <a:gd name="T41" fmla="*/ 154 h 160"/>
              <a:gd name="T42" fmla="*/ 108 w 216"/>
              <a:gd name="T43" fmla="*/ 150 h 160"/>
              <a:gd name="T44" fmla="*/ 114 w 216"/>
              <a:gd name="T45" fmla="*/ 150 h 160"/>
              <a:gd name="T46" fmla="*/ 114 w 216"/>
              <a:gd name="T47" fmla="*/ 155 h 160"/>
              <a:gd name="T48" fmla="*/ 114 w 216"/>
              <a:gd name="T49" fmla="*/ 149 h 160"/>
              <a:gd name="T50" fmla="*/ 108 w 216"/>
              <a:gd name="T51" fmla="*/ 149 h 160"/>
              <a:gd name="T52" fmla="*/ 108 w 216"/>
              <a:gd name="T53" fmla="*/ 145 h 160"/>
              <a:gd name="T54" fmla="*/ 114 w 216"/>
              <a:gd name="T55" fmla="*/ 144 h 160"/>
              <a:gd name="T56" fmla="*/ 114 w 216"/>
              <a:gd name="T57" fmla="*/ 149 h 160"/>
              <a:gd name="T58" fmla="*/ 204 w 216"/>
              <a:gd name="T59" fmla="*/ 134 h 160"/>
              <a:gd name="T60" fmla="*/ 198 w 216"/>
              <a:gd name="T61" fmla="*/ 140 h 160"/>
              <a:gd name="T62" fmla="*/ 19 w 216"/>
              <a:gd name="T63" fmla="*/ 140 h 160"/>
              <a:gd name="T64" fmla="*/ 12 w 216"/>
              <a:gd name="T65" fmla="*/ 134 h 160"/>
              <a:gd name="T66" fmla="*/ 12 w 216"/>
              <a:gd name="T67" fmla="*/ 19 h 160"/>
              <a:gd name="T68" fmla="*/ 19 w 216"/>
              <a:gd name="T69" fmla="*/ 12 h 160"/>
              <a:gd name="T70" fmla="*/ 198 w 216"/>
              <a:gd name="T71" fmla="*/ 12 h 160"/>
              <a:gd name="T72" fmla="*/ 204 w 216"/>
              <a:gd name="T73" fmla="*/ 19 h 160"/>
              <a:gd name="T74" fmla="*/ 204 w 216"/>
              <a:gd name="T75" fmla="*/ 134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160">
                <a:moveTo>
                  <a:pt x="209" y="0"/>
                </a:moveTo>
                <a:cubicBezTo>
                  <a:pt x="7" y="0"/>
                  <a:pt x="7" y="0"/>
                  <a:pt x="7" y="0"/>
                </a:cubicBezTo>
                <a:cubicBezTo>
                  <a:pt x="3" y="0"/>
                  <a:pt x="0" y="4"/>
                  <a:pt x="0" y="7"/>
                </a:cubicBezTo>
                <a:cubicBezTo>
                  <a:pt x="0" y="145"/>
                  <a:pt x="0" y="153"/>
                  <a:pt x="0" y="153"/>
                </a:cubicBezTo>
                <a:cubicBezTo>
                  <a:pt x="0" y="157"/>
                  <a:pt x="3" y="160"/>
                  <a:pt x="7" y="160"/>
                </a:cubicBezTo>
                <a:cubicBezTo>
                  <a:pt x="209" y="160"/>
                  <a:pt x="209" y="160"/>
                  <a:pt x="209" y="160"/>
                </a:cubicBezTo>
                <a:cubicBezTo>
                  <a:pt x="213" y="160"/>
                  <a:pt x="216" y="157"/>
                  <a:pt x="216" y="153"/>
                </a:cubicBezTo>
                <a:cubicBezTo>
                  <a:pt x="216" y="15"/>
                  <a:pt x="216" y="7"/>
                  <a:pt x="216" y="7"/>
                </a:cubicBezTo>
                <a:cubicBezTo>
                  <a:pt x="216" y="4"/>
                  <a:pt x="213" y="0"/>
                  <a:pt x="209" y="0"/>
                </a:cubicBezTo>
                <a:close/>
                <a:moveTo>
                  <a:pt x="107" y="154"/>
                </a:moveTo>
                <a:cubicBezTo>
                  <a:pt x="103" y="153"/>
                  <a:pt x="103" y="153"/>
                  <a:pt x="103" y="153"/>
                </a:cubicBezTo>
                <a:cubicBezTo>
                  <a:pt x="103" y="150"/>
                  <a:pt x="103" y="150"/>
                  <a:pt x="103" y="150"/>
                </a:cubicBezTo>
                <a:cubicBezTo>
                  <a:pt x="107" y="150"/>
                  <a:pt x="107" y="150"/>
                  <a:pt x="107" y="150"/>
                </a:cubicBezTo>
                <a:lnTo>
                  <a:pt x="107" y="154"/>
                </a:lnTo>
                <a:close/>
                <a:moveTo>
                  <a:pt x="107" y="149"/>
                </a:moveTo>
                <a:cubicBezTo>
                  <a:pt x="103" y="149"/>
                  <a:pt x="103" y="149"/>
                  <a:pt x="103" y="149"/>
                </a:cubicBezTo>
                <a:cubicBezTo>
                  <a:pt x="103" y="146"/>
                  <a:pt x="103" y="146"/>
                  <a:pt x="103" y="146"/>
                </a:cubicBezTo>
                <a:cubicBezTo>
                  <a:pt x="107" y="145"/>
                  <a:pt x="107" y="145"/>
                  <a:pt x="107" y="145"/>
                </a:cubicBezTo>
                <a:lnTo>
                  <a:pt x="107" y="149"/>
                </a:lnTo>
                <a:close/>
                <a:moveTo>
                  <a:pt x="114" y="155"/>
                </a:moveTo>
                <a:cubicBezTo>
                  <a:pt x="108" y="154"/>
                  <a:pt x="108" y="154"/>
                  <a:pt x="108" y="154"/>
                </a:cubicBezTo>
                <a:cubicBezTo>
                  <a:pt x="108" y="150"/>
                  <a:pt x="108" y="150"/>
                  <a:pt x="108" y="150"/>
                </a:cubicBezTo>
                <a:cubicBezTo>
                  <a:pt x="114" y="150"/>
                  <a:pt x="114" y="150"/>
                  <a:pt x="114" y="150"/>
                </a:cubicBezTo>
                <a:lnTo>
                  <a:pt x="114" y="155"/>
                </a:lnTo>
                <a:close/>
                <a:moveTo>
                  <a:pt x="114" y="149"/>
                </a:moveTo>
                <a:cubicBezTo>
                  <a:pt x="108" y="149"/>
                  <a:pt x="108" y="149"/>
                  <a:pt x="108" y="149"/>
                </a:cubicBezTo>
                <a:cubicBezTo>
                  <a:pt x="108" y="145"/>
                  <a:pt x="108" y="145"/>
                  <a:pt x="108" y="145"/>
                </a:cubicBezTo>
                <a:cubicBezTo>
                  <a:pt x="114" y="144"/>
                  <a:pt x="114" y="144"/>
                  <a:pt x="114" y="144"/>
                </a:cubicBezTo>
                <a:lnTo>
                  <a:pt x="114" y="149"/>
                </a:lnTo>
                <a:close/>
                <a:moveTo>
                  <a:pt x="204" y="134"/>
                </a:moveTo>
                <a:cubicBezTo>
                  <a:pt x="204" y="137"/>
                  <a:pt x="201" y="140"/>
                  <a:pt x="198" y="140"/>
                </a:cubicBezTo>
                <a:cubicBezTo>
                  <a:pt x="19" y="140"/>
                  <a:pt x="19" y="140"/>
                  <a:pt x="19" y="140"/>
                </a:cubicBezTo>
                <a:cubicBezTo>
                  <a:pt x="16" y="140"/>
                  <a:pt x="12" y="137"/>
                  <a:pt x="12" y="134"/>
                </a:cubicBezTo>
                <a:cubicBezTo>
                  <a:pt x="12" y="19"/>
                  <a:pt x="12" y="19"/>
                  <a:pt x="12" y="19"/>
                </a:cubicBezTo>
                <a:cubicBezTo>
                  <a:pt x="12" y="15"/>
                  <a:pt x="16" y="12"/>
                  <a:pt x="19" y="12"/>
                </a:cubicBezTo>
                <a:cubicBezTo>
                  <a:pt x="198" y="12"/>
                  <a:pt x="198" y="12"/>
                  <a:pt x="198" y="12"/>
                </a:cubicBezTo>
                <a:cubicBezTo>
                  <a:pt x="201" y="12"/>
                  <a:pt x="204" y="15"/>
                  <a:pt x="204" y="19"/>
                </a:cubicBezTo>
                <a:lnTo>
                  <a:pt x="204" y="134"/>
                </a:lnTo>
                <a:close/>
              </a:path>
            </a:pathLst>
          </a:custGeom>
          <a:solidFill>
            <a:schemeClr val="tx1"/>
          </a:solidFill>
          <a:ln>
            <a:noFill/>
          </a:ln>
          <a:extLst/>
        </p:spPr>
        <p:txBody>
          <a:bodyPr vert="horz" wrap="square" lIns="89619" tIns="44810" rIns="89619" bIns="44810" numCol="1" anchor="t" anchorCtr="0" compatLnSpc="1">
            <a:prstTxWarp prst="textNoShape">
              <a:avLst/>
            </a:prstTxWarp>
          </a:bodyPr>
          <a:lstStyle/>
          <a:p>
            <a:pPr defTabSz="914180">
              <a:lnSpc>
                <a:spcPct val="90000"/>
              </a:lnSpc>
            </a:pPr>
            <a:endParaRPr lang="en-US" sz="1764">
              <a:solidFill>
                <a:srgbClr val="505050"/>
              </a:solidFill>
            </a:endParaRPr>
          </a:p>
        </p:txBody>
      </p:sp>
      <p:grpSp>
        <p:nvGrpSpPr>
          <p:cNvPr id="76" name="Group 75"/>
          <p:cNvGrpSpPr/>
          <p:nvPr/>
        </p:nvGrpSpPr>
        <p:grpSpPr>
          <a:xfrm>
            <a:off x="6302714" y="1577318"/>
            <a:ext cx="1503683" cy="905950"/>
            <a:chOff x="6293519" y="1918846"/>
            <a:chExt cx="1534235" cy="924357"/>
          </a:xfrm>
        </p:grpSpPr>
        <p:sp>
          <p:nvSpPr>
            <p:cNvPr id="77" name="Freeform 5"/>
            <p:cNvSpPr>
              <a:spLocks noChangeAspect="1" noEditPoints="1"/>
            </p:cNvSpPr>
            <p:nvPr/>
          </p:nvSpPr>
          <p:spPr bwMode="auto">
            <a:xfrm>
              <a:off x="6293519" y="2400273"/>
              <a:ext cx="692760" cy="442930"/>
            </a:xfrm>
            <a:custGeom>
              <a:avLst/>
              <a:gdLst>
                <a:gd name="T0" fmla="*/ 54 w 266"/>
                <a:gd name="T1" fmla="*/ 154 h 169"/>
                <a:gd name="T2" fmla="*/ 25 w 266"/>
                <a:gd name="T3" fmla="*/ 154 h 169"/>
                <a:gd name="T4" fmla="*/ 0 w 266"/>
                <a:gd name="T5" fmla="*/ 116 h 169"/>
                <a:gd name="T6" fmla="*/ 29 w 266"/>
                <a:gd name="T7" fmla="*/ 75 h 169"/>
                <a:gd name="T8" fmla="*/ 55 w 266"/>
                <a:gd name="T9" fmla="*/ 29 h 169"/>
                <a:gd name="T10" fmla="*/ 99 w 266"/>
                <a:gd name="T11" fmla="*/ 30 h 169"/>
                <a:gd name="T12" fmla="*/ 144 w 266"/>
                <a:gd name="T13" fmla="*/ 0 h 169"/>
                <a:gd name="T14" fmla="*/ 200 w 266"/>
                <a:gd name="T15" fmla="*/ 54 h 169"/>
                <a:gd name="T16" fmla="*/ 182 w 266"/>
                <a:gd name="T17" fmla="*/ 56 h 169"/>
                <a:gd name="T18" fmla="*/ 141 w 266"/>
                <a:gd name="T19" fmla="*/ 33 h 169"/>
                <a:gd name="T20" fmla="*/ 91 w 266"/>
                <a:gd name="T21" fmla="*/ 81 h 169"/>
                <a:gd name="T22" fmla="*/ 50 w 266"/>
                <a:gd name="T23" fmla="*/ 129 h 169"/>
                <a:gd name="T24" fmla="*/ 54 w 266"/>
                <a:gd name="T25" fmla="*/ 154 h 169"/>
                <a:gd name="T26" fmla="*/ 89 w 266"/>
                <a:gd name="T27" fmla="*/ 168 h 169"/>
                <a:gd name="T28" fmla="*/ 245 w 266"/>
                <a:gd name="T29" fmla="*/ 168 h 169"/>
                <a:gd name="T30" fmla="*/ 266 w 266"/>
                <a:gd name="T31" fmla="*/ 137 h 169"/>
                <a:gd name="T32" fmla="*/ 242 w 266"/>
                <a:gd name="T33" fmla="*/ 104 h 169"/>
                <a:gd name="T34" fmla="*/ 220 w 266"/>
                <a:gd name="T35" fmla="*/ 64 h 169"/>
                <a:gd name="T36" fmla="*/ 179 w 266"/>
                <a:gd name="T37" fmla="*/ 64 h 169"/>
                <a:gd name="T38" fmla="*/ 141 w 266"/>
                <a:gd name="T39" fmla="*/ 42 h 169"/>
                <a:gd name="T40" fmla="*/ 98 w 266"/>
                <a:gd name="T41" fmla="*/ 87 h 169"/>
                <a:gd name="T42" fmla="*/ 58 w 266"/>
                <a:gd name="T43" fmla="*/ 126 h 169"/>
                <a:gd name="T44" fmla="*/ 89 w 266"/>
                <a:gd name="T45" fmla="*/ 168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6" h="169">
                  <a:moveTo>
                    <a:pt x="54" y="154"/>
                  </a:moveTo>
                  <a:cubicBezTo>
                    <a:pt x="25" y="154"/>
                    <a:pt x="25" y="154"/>
                    <a:pt x="25" y="154"/>
                  </a:cubicBezTo>
                  <a:cubicBezTo>
                    <a:pt x="25" y="154"/>
                    <a:pt x="1" y="149"/>
                    <a:pt x="0" y="116"/>
                  </a:cubicBezTo>
                  <a:cubicBezTo>
                    <a:pt x="0" y="83"/>
                    <a:pt x="29" y="75"/>
                    <a:pt x="29" y="75"/>
                  </a:cubicBezTo>
                  <a:cubicBezTo>
                    <a:pt x="29" y="75"/>
                    <a:pt x="27" y="41"/>
                    <a:pt x="55" y="29"/>
                  </a:cubicBezTo>
                  <a:cubicBezTo>
                    <a:pt x="83" y="17"/>
                    <a:pt x="99" y="30"/>
                    <a:pt x="99" y="30"/>
                  </a:cubicBezTo>
                  <a:cubicBezTo>
                    <a:pt x="99" y="30"/>
                    <a:pt x="109" y="0"/>
                    <a:pt x="144" y="0"/>
                  </a:cubicBezTo>
                  <a:cubicBezTo>
                    <a:pt x="175" y="0"/>
                    <a:pt x="207" y="30"/>
                    <a:pt x="200" y="54"/>
                  </a:cubicBezTo>
                  <a:cubicBezTo>
                    <a:pt x="189" y="54"/>
                    <a:pt x="182" y="56"/>
                    <a:pt x="182" y="56"/>
                  </a:cubicBezTo>
                  <a:cubicBezTo>
                    <a:pt x="182" y="56"/>
                    <a:pt x="174" y="33"/>
                    <a:pt x="141" y="33"/>
                  </a:cubicBezTo>
                  <a:cubicBezTo>
                    <a:pt x="113" y="33"/>
                    <a:pt x="84" y="60"/>
                    <a:pt x="91" y="81"/>
                  </a:cubicBezTo>
                  <a:cubicBezTo>
                    <a:pt x="91" y="81"/>
                    <a:pt x="50" y="83"/>
                    <a:pt x="50" y="129"/>
                  </a:cubicBezTo>
                  <a:cubicBezTo>
                    <a:pt x="50" y="140"/>
                    <a:pt x="52" y="148"/>
                    <a:pt x="54" y="154"/>
                  </a:cubicBezTo>
                  <a:close/>
                  <a:moveTo>
                    <a:pt x="89" y="168"/>
                  </a:moveTo>
                  <a:cubicBezTo>
                    <a:pt x="245" y="168"/>
                    <a:pt x="245" y="168"/>
                    <a:pt x="245" y="168"/>
                  </a:cubicBezTo>
                  <a:cubicBezTo>
                    <a:pt x="245" y="168"/>
                    <a:pt x="265" y="164"/>
                    <a:pt x="266" y="137"/>
                  </a:cubicBezTo>
                  <a:cubicBezTo>
                    <a:pt x="266" y="110"/>
                    <a:pt x="242" y="104"/>
                    <a:pt x="242" y="104"/>
                  </a:cubicBezTo>
                  <a:cubicBezTo>
                    <a:pt x="242" y="104"/>
                    <a:pt x="244" y="74"/>
                    <a:pt x="220" y="64"/>
                  </a:cubicBezTo>
                  <a:cubicBezTo>
                    <a:pt x="197" y="54"/>
                    <a:pt x="179" y="64"/>
                    <a:pt x="179" y="64"/>
                  </a:cubicBezTo>
                  <a:cubicBezTo>
                    <a:pt x="179" y="64"/>
                    <a:pt x="171" y="42"/>
                    <a:pt x="141" y="42"/>
                  </a:cubicBezTo>
                  <a:cubicBezTo>
                    <a:pt x="115" y="42"/>
                    <a:pt x="92" y="68"/>
                    <a:pt x="98" y="87"/>
                  </a:cubicBezTo>
                  <a:cubicBezTo>
                    <a:pt x="98" y="87"/>
                    <a:pt x="58" y="84"/>
                    <a:pt x="58" y="126"/>
                  </a:cubicBezTo>
                  <a:cubicBezTo>
                    <a:pt x="58" y="169"/>
                    <a:pt x="89" y="168"/>
                    <a:pt x="89" y="168"/>
                  </a:cubicBezTo>
                  <a:close/>
                </a:path>
              </a:pathLst>
            </a:custGeom>
            <a:solidFill>
              <a:schemeClr val="tx1"/>
            </a:solidFill>
            <a:ln>
              <a:noFill/>
            </a:ln>
            <a:extLst/>
          </p:spPr>
          <p:txBody>
            <a:bodyPr vert="horz" wrap="square" lIns="89619" tIns="44810" rIns="89619" bIns="44810" numCol="1" anchor="t" anchorCtr="0" compatLnSpc="1">
              <a:prstTxWarp prst="textNoShape">
                <a:avLst/>
              </a:prstTxWarp>
            </a:bodyPr>
            <a:lstStyle/>
            <a:p>
              <a:pPr defTabSz="914180">
                <a:lnSpc>
                  <a:spcPct val="90000"/>
                </a:lnSpc>
              </a:pPr>
              <a:endParaRPr lang="en-US" sz="1764">
                <a:solidFill>
                  <a:srgbClr val="505050"/>
                </a:solidFill>
              </a:endParaRPr>
            </a:p>
          </p:txBody>
        </p:sp>
        <p:sp>
          <p:nvSpPr>
            <p:cNvPr id="78" name="Freeform 27"/>
            <p:cNvSpPr>
              <a:spLocks noChangeAspect="1" noEditPoints="1"/>
            </p:cNvSpPr>
            <p:nvPr/>
          </p:nvSpPr>
          <p:spPr bwMode="black">
            <a:xfrm>
              <a:off x="7137798" y="1918846"/>
              <a:ext cx="689956" cy="4444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a:extLst/>
          </p:spPr>
          <p:txBody>
            <a:bodyPr vert="horz" wrap="square" lIns="89619" tIns="44810" rIns="89619" bIns="44810" numCol="1" anchor="t" anchorCtr="0" compatLnSpc="1">
              <a:prstTxWarp prst="textNoShape">
                <a:avLst/>
              </a:prstTxWarp>
            </a:bodyPr>
            <a:lstStyle/>
            <a:p>
              <a:pPr defTabSz="914180">
                <a:lnSpc>
                  <a:spcPct val="90000"/>
                </a:lnSpc>
              </a:pPr>
              <a:endParaRPr lang="en-US" sz="1764">
                <a:solidFill>
                  <a:srgbClr val="505050"/>
                </a:solidFill>
              </a:endParaRPr>
            </a:p>
          </p:txBody>
        </p:sp>
      </p:grpSp>
      <p:sp>
        <p:nvSpPr>
          <p:cNvPr id="79" name="Arc 78"/>
          <p:cNvSpPr/>
          <p:nvPr/>
        </p:nvSpPr>
        <p:spPr>
          <a:xfrm rot="9876240">
            <a:off x="6451037" y="1631383"/>
            <a:ext cx="702526" cy="439855"/>
          </a:xfrm>
          <a:prstGeom prst="arc">
            <a:avLst>
              <a:gd name="adj1" fmla="val 21436060"/>
              <a:gd name="adj2" fmla="val 9297984"/>
            </a:avLst>
          </a:prstGeom>
          <a:ln w="317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914180">
              <a:lnSpc>
                <a:spcPct val="90000"/>
              </a:lnSpc>
            </a:pPr>
            <a:endParaRPr lang="en-US" sz="1764">
              <a:solidFill>
                <a:srgbClr val="505050"/>
              </a:solidFill>
            </a:endParaRPr>
          </a:p>
        </p:txBody>
      </p:sp>
      <p:pic>
        <p:nvPicPr>
          <p:cNvPr id="83" name="Picture 14"/>
          <p:cNvPicPr>
            <a:picLocks noChangeAspect="1" noChangeArrowheads="1"/>
          </p:cNvPicPr>
          <p:nvPr/>
        </p:nvPicPr>
        <p:blipFill>
          <a:blip r:embed="rId2">
            <a:grayscl/>
            <a:lum bright="-38000"/>
            <a:extLst>
              <a:ext uri="{28A0092B-C50C-407E-A947-70E740481C1C}">
                <a14:useLocalDpi xmlns:a14="http://schemas.microsoft.com/office/drawing/2010/main" val="0"/>
              </a:ext>
            </a:extLst>
          </a:blip>
          <a:srcRect/>
          <a:stretch>
            <a:fillRect/>
          </a:stretch>
        </p:blipFill>
        <p:spPr bwMode="auto">
          <a:xfrm>
            <a:off x="5589336" y="5064267"/>
            <a:ext cx="737795" cy="863120"/>
          </a:xfrm>
          <a:prstGeom prst="rect">
            <a:avLst/>
          </a:prstGeom>
          <a:noFill/>
          <a:ln>
            <a:noFill/>
          </a:ln>
          <a:effectLst/>
          <a:extLst/>
        </p:spPr>
      </p:pic>
      <p:sp>
        <p:nvSpPr>
          <p:cNvPr id="84" name="TextBox 83"/>
          <p:cNvSpPr txBox="1"/>
          <p:nvPr/>
        </p:nvSpPr>
        <p:spPr>
          <a:xfrm>
            <a:off x="4239653" y="5033211"/>
            <a:ext cx="1629027" cy="886844"/>
          </a:xfrm>
          <a:prstGeom prst="rect">
            <a:avLst/>
          </a:prstGeom>
          <a:noFill/>
        </p:spPr>
        <p:txBody>
          <a:bodyPr wrap="square" lIns="179238" tIns="143391" rIns="179238" bIns="143391" rtlCol="0">
            <a:spAutoFit/>
          </a:bodyPr>
          <a:lstStyle/>
          <a:p>
            <a:pPr defTabSz="914180">
              <a:lnSpc>
                <a:spcPct val="90000"/>
              </a:lnSpc>
              <a:spcAft>
                <a:spcPts val="588"/>
              </a:spcAft>
            </a:pPr>
            <a:r>
              <a:rPr lang="en-US" sz="4312" dirty="0" err="1">
                <a:gradFill>
                  <a:gsLst>
                    <a:gs pos="4908">
                      <a:srgbClr val="505050"/>
                    </a:gs>
                    <a:gs pos="16000">
                      <a:srgbClr val="505050"/>
                    </a:gs>
                  </a:gsLst>
                  <a:lin ang="5400000" scaled="0"/>
                </a:gradFill>
              </a:rPr>
              <a:t>iOS</a:t>
            </a:r>
            <a:endParaRPr lang="en-US" sz="4312" dirty="0">
              <a:gradFill>
                <a:gsLst>
                  <a:gs pos="4908">
                    <a:srgbClr val="505050"/>
                  </a:gs>
                  <a:gs pos="16000">
                    <a:srgbClr val="505050"/>
                  </a:gs>
                </a:gsLst>
                <a:lin ang="5400000" scaled="0"/>
              </a:gradFill>
            </a:endParaRPr>
          </a:p>
        </p:txBody>
      </p:sp>
      <p:sp>
        <p:nvSpPr>
          <p:cNvPr id="85" name="Freeform 84"/>
          <p:cNvSpPr>
            <a:spLocks noEditPoints="1"/>
          </p:cNvSpPr>
          <p:nvPr/>
        </p:nvSpPr>
        <p:spPr bwMode="auto">
          <a:xfrm>
            <a:off x="6609548" y="5117944"/>
            <a:ext cx="744260" cy="755764"/>
          </a:xfrm>
          <a:custGeom>
            <a:avLst/>
            <a:gdLst>
              <a:gd name="T0" fmla="*/ 288 w 647"/>
              <a:gd name="T1" fmla="*/ 314 h 657"/>
              <a:gd name="T2" fmla="*/ 288 w 647"/>
              <a:gd name="T3" fmla="*/ 52 h 657"/>
              <a:gd name="T4" fmla="*/ 647 w 647"/>
              <a:gd name="T5" fmla="*/ 0 h 657"/>
              <a:gd name="T6" fmla="*/ 647 w 647"/>
              <a:gd name="T7" fmla="*/ 314 h 657"/>
              <a:gd name="T8" fmla="*/ 288 w 647"/>
              <a:gd name="T9" fmla="*/ 314 h 657"/>
              <a:gd name="T10" fmla="*/ 262 w 647"/>
              <a:gd name="T11" fmla="*/ 57 h 657"/>
              <a:gd name="T12" fmla="*/ 0 w 647"/>
              <a:gd name="T13" fmla="*/ 95 h 657"/>
              <a:gd name="T14" fmla="*/ 0 w 647"/>
              <a:gd name="T15" fmla="*/ 314 h 657"/>
              <a:gd name="T16" fmla="*/ 262 w 647"/>
              <a:gd name="T17" fmla="*/ 314 h 657"/>
              <a:gd name="T18" fmla="*/ 262 w 647"/>
              <a:gd name="T19" fmla="*/ 57 h 657"/>
              <a:gd name="T20" fmla="*/ 0 w 647"/>
              <a:gd name="T21" fmla="*/ 338 h 657"/>
              <a:gd name="T22" fmla="*/ 0 w 647"/>
              <a:gd name="T23" fmla="*/ 560 h 657"/>
              <a:gd name="T24" fmla="*/ 262 w 647"/>
              <a:gd name="T25" fmla="*/ 600 h 657"/>
              <a:gd name="T26" fmla="*/ 262 w 647"/>
              <a:gd name="T27" fmla="*/ 338 h 657"/>
              <a:gd name="T28" fmla="*/ 0 w 647"/>
              <a:gd name="T29" fmla="*/ 338 h 657"/>
              <a:gd name="T30" fmla="*/ 288 w 647"/>
              <a:gd name="T31" fmla="*/ 602 h 657"/>
              <a:gd name="T32" fmla="*/ 647 w 647"/>
              <a:gd name="T33" fmla="*/ 657 h 657"/>
              <a:gd name="T34" fmla="*/ 647 w 647"/>
              <a:gd name="T35" fmla="*/ 338 h 657"/>
              <a:gd name="T36" fmla="*/ 288 w 647"/>
              <a:gd name="T37" fmla="*/ 338 h 657"/>
              <a:gd name="T38" fmla="*/ 288 w 647"/>
              <a:gd name="T39" fmla="*/ 602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47" h="657">
                <a:moveTo>
                  <a:pt x="288" y="314"/>
                </a:moveTo>
                <a:lnTo>
                  <a:pt x="288" y="52"/>
                </a:lnTo>
                <a:lnTo>
                  <a:pt x="647" y="0"/>
                </a:lnTo>
                <a:lnTo>
                  <a:pt x="647" y="314"/>
                </a:lnTo>
                <a:lnTo>
                  <a:pt x="288" y="314"/>
                </a:lnTo>
                <a:close/>
                <a:moveTo>
                  <a:pt x="262" y="57"/>
                </a:moveTo>
                <a:lnTo>
                  <a:pt x="0" y="95"/>
                </a:lnTo>
                <a:lnTo>
                  <a:pt x="0" y="314"/>
                </a:lnTo>
                <a:lnTo>
                  <a:pt x="262" y="314"/>
                </a:lnTo>
                <a:lnTo>
                  <a:pt x="262" y="57"/>
                </a:lnTo>
                <a:close/>
                <a:moveTo>
                  <a:pt x="0" y="338"/>
                </a:moveTo>
                <a:lnTo>
                  <a:pt x="0" y="560"/>
                </a:lnTo>
                <a:lnTo>
                  <a:pt x="262" y="600"/>
                </a:lnTo>
                <a:lnTo>
                  <a:pt x="262" y="338"/>
                </a:lnTo>
                <a:lnTo>
                  <a:pt x="0" y="338"/>
                </a:lnTo>
                <a:close/>
                <a:moveTo>
                  <a:pt x="288" y="602"/>
                </a:moveTo>
                <a:lnTo>
                  <a:pt x="647" y="657"/>
                </a:lnTo>
                <a:lnTo>
                  <a:pt x="647" y="338"/>
                </a:lnTo>
                <a:lnTo>
                  <a:pt x="288" y="338"/>
                </a:lnTo>
                <a:lnTo>
                  <a:pt x="288" y="602"/>
                </a:lnTo>
                <a:close/>
              </a:path>
            </a:pathLst>
          </a:custGeom>
          <a:solidFill>
            <a:schemeClr val="tx1"/>
          </a:solidFill>
          <a:ln>
            <a:noFill/>
          </a:ln>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89" name="Rectangle 88"/>
          <p:cNvSpPr/>
          <p:nvPr/>
        </p:nvSpPr>
        <p:spPr>
          <a:xfrm>
            <a:off x="4854569" y="6171474"/>
            <a:ext cx="2142390" cy="452472"/>
          </a:xfrm>
          <a:prstGeom prst="rect">
            <a:avLst/>
          </a:prstGeom>
          <a:noFill/>
        </p:spPr>
        <p:txBody>
          <a:bodyPr wrap="none">
            <a:spAutoFit/>
          </a:bodyPr>
          <a:lstStyle/>
          <a:p>
            <a:pPr defTabSz="914180"/>
            <a:r>
              <a:rPr lang="en-US" sz="2352" dirty="0">
                <a:gradFill>
                  <a:gsLst>
                    <a:gs pos="4908">
                      <a:srgbClr val="505050"/>
                    </a:gs>
                    <a:gs pos="16000">
                      <a:srgbClr val="505050"/>
                    </a:gs>
                  </a:gsLst>
                  <a:lin ang="5400000" scaled="0"/>
                </a:gradFill>
              </a:rPr>
              <a:t>dev.office.com</a:t>
            </a:r>
            <a:r>
              <a:rPr lang="en-US" sz="1764" dirty="0">
                <a:gradFill>
                  <a:gsLst>
                    <a:gs pos="4908">
                      <a:srgbClr val="505050"/>
                    </a:gs>
                    <a:gs pos="16000">
                      <a:srgbClr val="505050"/>
                    </a:gs>
                  </a:gsLst>
                  <a:lin ang="5400000" scaled="0"/>
                </a:gradFill>
              </a:rPr>
              <a:t> </a:t>
            </a:r>
          </a:p>
        </p:txBody>
      </p:sp>
      <p:sp>
        <p:nvSpPr>
          <p:cNvPr id="5" name="Title 4"/>
          <p:cNvSpPr>
            <a:spLocks noGrp="1"/>
          </p:cNvSpPr>
          <p:nvPr>
            <p:ph type="title"/>
          </p:nvPr>
        </p:nvSpPr>
        <p:spPr/>
        <p:txBody>
          <a:bodyPr/>
          <a:lstStyle/>
          <a:p>
            <a:r>
              <a:rPr lang="en-US" dirty="0"/>
              <a:t>Robust Office 365 </a:t>
            </a:r>
            <a:r>
              <a:rPr lang="en-US" dirty="0" smtClean="0"/>
              <a:t>APIs</a:t>
            </a:r>
            <a:endParaRPr lang="en-US" dirty="0"/>
          </a:p>
        </p:txBody>
      </p:sp>
    </p:spTree>
    <p:extLst>
      <p:ext uri="{BB962C8B-B14F-4D97-AF65-F5344CB8AC3E}">
        <p14:creationId xmlns:p14="http://schemas.microsoft.com/office/powerpoint/2010/main" val="32285650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 calcmode="lin" valueType="num">
                                      <p:cBhvr additive="base">
                                        <p:cTn id="7" dur="500" fill="hold"/>
                                        <p:tgtEl>
                                          <p:spTgt spid="44"/>
                                        </p:tgtEl>
                                        <p:attrNameLst>
                                          <p:attrName>ppt_x</p:attrName>
                                        </p:attrNameLst>
                                      </p:cBhvr>
                                      <p:tavLst>
                                        <p:tav tm="0">
                                          <p:val>
                                            <p:strVal val="#ppt_x"/>
                                          </p:val>
                                        </p:tav>
                                        <p:tav tm="100000">
                                          <p:val>
                                            <p:strVal val="#ppt_x"/>
                                          </p:val>
                                        </p:tav>
                                      </p:tavLst>
                                    </p:anim>
                                    <p:anim calcmode="lin" valueType="num">
                                      <p:cBhvr additive="base">
                                        <p:cTn id="8" dur="500" fill="hold"/>
                                        <p:tgtEl>
                                          <p:spTgt spid="44"/>
                                        </p:tgtEl>
                                        <p:attrNameLst>
                                          <p:attrName>ppt_y</p:attrName>
                                        </p:attrNameLst>
                                      </p:cBhvr>
                                      <p:tavLst>
                                        <p:tav tm="0">
                                          <p:val>
                                            <p:strVal val="0-#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1" fill="hold" nodeType="clickEffect">
                                  <p:stCondLst>
                                    <p:cond delay="0"/>
                                  </p:stCondLst>
                                  <p:childTnLst>
                                    <p:set>
                                      <p:cBhvr>
                                        <p:cTn id="12" dur="1" fill="hold">
                                          <p:stCondLst>
                                            <p:cond delay="0"/>
                                          </p:stCondLst>
                                        </p:cTn>
                                        <p:tgtEl>
                                          <p:spTgt spid="43"/>
                                        </p:tgtEl>
                                        <p:attrNameLst>
                                          <p:attrName>style.visibility</p:attrName>
                                        </p:attrNameLst>
                                      </p:cBhvr>
                                      <p:to>
                                        <p:strVal val="visible"/>
                                      </p:to>
                                    </p:set>
                                    <p:anim calcmode="lin" valueType="num">
                                      <p:cBhvr additive="base">
                                        <p:cTn id="13" dur="500" fill="hold"/>
                                        <p:tgtEl>
                                          <p:spTgt spid="43"/>
                                        </p:tgtEl>
                                        <p:attrNameLst>
                                          <p:attrName>ppt_x</p:attrName>
                                        </p:attrNameLst>
                                      </p:cBhvr>
                                      <p:tavLst>
                                        <p:tav tm="0">
                                          <p:val>
                                            <p:strVal val="#ppt_x"/>
                                          </p:val>
                                        </p:tav>
                                        <p:tav tm="100000">
                                          <p:val>
                                            <p:strVal val="#ppt_x"/>
                                          </p:val>
                                        </p:tav>
                                      </p:tavLst>
                                    </p:anim>
                                    <p:anim calcmode="lin" valueType="num">
                                      <p:cBhvr additive="base">
                                        <p:cTn id="14" dur="500" fill="hold"/>
                                        <p:tgtEl>
                                          <p:spTgt spid="43"/>
                                        </p:tgtEl>
                                        <p:attrNameLst>
                                          <p:attrName>ppt_y</p:attrName>
                                        </p:attrNameLst>
                                      </p:cBhvr>
                                      <p:tavLst>
                                        <p:tav tm="0">
                                          <p:val>
                                            <p:strVal val="0-#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1" fill="hold" nodeType="clickEffect">
                                  <p:stCondLst>
                                    <p:cond delay="0"/>
                                  </p:stCondLst>
                                  <p:childTnLst>
                                    <p:set>
                                      <p:cBhvr>
                                        <p:cTn id="18" dur="1" fill="hold">
                                          <p:stCondLst>
                                            <p:cond delay="0"/>
                                          </p:stCondLst>
                                        </p:cTn>
                                        <p:tgtEl>
                                          <p:spTgt spid="45"/>
                                        </p:tgtEl>
                                        <p:attrNameLst>
                                          <p:attrName>style.visibility</p:attrName>
                                        </p:attrNameLst>
                                      </p:cBhvr>
                                      <p:to>
                                        <p:strVal val="visible"/>
                                      </p:to>
                                    </p:set>
                                    <p:anim calcmode="lin" valueType="num">
                                      <p:cBhvr additive="base">
                                        <p:cTn id="19" dur="500" fill="hold"/>
                                        <p:tgtEl>
                                          <p:spTgt spid="45"/>
                                        </p:tgtEl>
                                        <p:attrNameLst>
                                          <p:attrName>ppt_x</p:attrName>
                                        </p:attrNameLst>
                                      </p:cBhvr>
                                      <p:tavLst>
                                        <p:tav tm="0">
                                          <p:val>
                                            <p:strVal val="#ppt_x"/>
                                          </p:val>
                                        </p:tav>
                                        <p:tav tm="100000">
                                          <p:val>
                                            <p:strVal val="#ppt_x"/>
                                          </p:val>
                                        </p:tav>
                                      </p:tavLst>
                                    </p:anim>
                                    <p:anim calcmode="lin" valueType="num">
                                      <p:cBhvr additive="base">
                                        <p:cTn id="20" dur="500" fill="hold"/>
                                        <p:tgtEl>
                                          <p:spTgt spid="45"/>
                                        </p:tgtEl>
                                        <p:attrNameLst>
                                          <p:attrName>ppt_y</p:attrName>
                                        </p:attrNameLst>
                                      </p:cBhvr>
                                      <p:tavLst>
                                        <p:tav tm="0">
                                          <p:val>
                                            <p:strVal val="0-#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1" fill="hold" nodeType="clickEffect">
                                  <p:stCondLst>
                                    <p:cond delay="0"/>
                                  </p:stCondLst>
                                  <p:childTnLst>
                                    <p:set>
                                      <p:cBhvr>
                                        <p:cTn id="24" dur="1" fill="hold">
                                          <p:stCondLst>
                                            <p:cond delay="0"/>
                                          </p:stCondLst>
                                        </p:cTn>
                                        <p:tgtEl>
                                          <p:spTgt spid="46"/>
                                        </p:tgtEl>
                                        <p:attrNameLst>
                                          <p:attrName>style.visibility</p:attrName>
                                        </p:attrNameLst>
                                      </p:cBhvr>
                                      <p:to>
                                        <p:strVal val="visible"/>
                                      </p:to>
                                    </p:set>
                                    <p:anim calcmode="lin" valueType="num">
                                      <p:cBhvr additive="base">
                                        <p:cTn id="25" dur="500" fill="hold"/>
                                        <p:tgtEl>
                                          <p:spTgt spid="46"/>
                                        </p:tgtEl>
                                        <p:attrNameLst>
                                          <p:attrName>ppt_x</p:attrName>
                                        </p:attrNameLst>
                                      </p:cBhvr>
                                      <p:tavLst>
                                        <p:tav tm="0">
                                          <p:val>
                                            <p:strVal val="#ppt_x"/>
                                          </p:val>
                                        </p:tav>
                                        <p:tav tm="100000">
                                          <p:val>
                                            <p:strVal val="#ppt_x"/>
                                          </p:val>
                                        </p:tav>
                                      </p:tavLst>
                                    </p:anim>
                                    <p:anim calcmode="lin" valueType="num">
                                      <p:cBhvr additive="base">
                                        <p:cTn id="26" dur="500" fill="hold"/>
                                        <p:tgtEl>
                                          <p:spTgt spid="46"/>
                                        </p:tgtEl>
                                        <p:attrNameLst>
                                          <p:attrName>ppt_y</p:attrName>
                                        </p:attrNameLst>
                                      </p:cBhvr>
                                      <p:tavLst>
                                        <p:tav tm="0">
                                          <p:val>
                                            <p:strVal val="0-#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1" fill="hold" nodeType="clickEffect">
                                  <p:stCondLst>
                                    <p:cond delay="0"/>
                                  </p:stCondLst>
                                  <p:childTnLst>
                                    <p:set>
                                      <p:cBhvr>
                                        <p:cTn id="30" dur="1" fill="hold">
                                          <p:stCondLst>
                                            <p:cond delay="0"/>
                                          </p:stCondLst>
                                        </p:cTn>
                                        <p:tgtEl>
                                          <p:spTgt spid="47"/>
                                        </p:tgtEl>
                                        <p:attrNameLst>
                                          <p:attrName>style.visibility</p:attrName>
                                        </p:attrNameLst>
                                      </p:cBhvr>
                                      <p:to>
                                        <p:strVal val="visible"/>
                                      </p:to>
                                    </p:set>
                                    <p:anim calcmode="lin" valueType="num">
                                      <p:cBhvr additive="base">
                                        <p:cTn id="31" dur="500" fill="hold"/>
                                        <p:tgtEl>
                                          <p:spTgt spid="47"/>
                                        </p:tgtEl>
                                        <p:attrNameLst>
                                          <p:attrName>ppt_x</p:attrName>
                                        </p:attrNameLst>
                                      </p:cBhvr>
                                      <p:tavLst>
                                        <p:tav tm="0">
                                          <p:val>
                                            <p:strVal val="#ppt_x"/>
                                          </p:val>
                                        </p:tav>
                                        <p:tav tm="100000">
                                          <p:val>
                                            <p:strVal val="#ppt_x"/>
                                          </p:val>
                                        </p:tav>
                                      </p:tavLst>
                                    </p:anim>
                                    <p:anim calcmode="lin" valueType="num">
                                      <p:cBhvr additive="base">
                                        <p:cTn id="32" dur="500" fill="hold"/>
                                        <p:tgtEl>
                                          <p:spTgt spid="47"/>
                                        </p:tgtEl>
                                        <p:attrNameLst>
                                          <p:attrName>ppt_y</p:attrName>
                                        </p:attrNameLst>
                                      </p:cBhvr>
                                      <p:tavLst>
                                        <p:tav tm="0">
                                          <p:val>
                                            <p:strVal val="0-#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1" fill="hold" nodeType="clickEffect">
                                  <p:stCondLst>
                                    <p:cond delay="0"/>
                                  </p:stCondLst>
                                  <p:childTnLst>
                                    <p:set>
                                      <p:cBhvr>
                                        <p:cTn id="36" dur="1" fill="hold">
                                          <p:stCondLst>
                                            <p:cond delay="0"/>
                                          </p:stCondLst>
                                        </p:cTn>
                                        <p:tgtEl>
                                          <p:spTgt spid="48"/>
                                        </p:tgtEl>
                                        <p:attrNameLst>
                                          <p:attrName>style.visibility</p:attrName>
                                        </p:attrNameLst>
                                      </p:cBhvr>
                                      <p:to>
                                        <p:strVal val="visible"/>
                                      </p:to>
                                    </p:set>
                                    <p:anim calcmode="lin" valueType="num">
                                      <p:cBhvr additive="base">
                                        <p:cTn id="37" dur="500" fill="hold"/>
                                        <p:tgtEl>
                                          <p:spTgt spid="48"/>
                                        </p:tgtEl>
                                        <p:attrNameLst>
                                          <p:attrName>ppt_x</p:attrName>
                                        </p:attrNameLst>
                                      </p:cBhvr>
                                      <p:tavLst>
                                        <p:tav tm="0">
                                          <p:val>
                                            <p:strVal val="#ppt_x"/>
                                          </p:val>
                                        </p:tav>
                                        <p:tav tm="100000">
                                          <p:val>
                                            <p:strVal val="#ppt_x"/>
                                          </p:val>
                                        </p:tav>
                                      </p:tavLst>
                                    </p:anim>
                                    <p:anim calcmode="lin" valueType="num">
                                      <p:cBhvr additive="base">
                                        <p:cTn id="38" dur="500" fill="hold"/>
                                        <p:tgtEl>
                                          <p:spTgt spid="48"/>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4750126" y="1380"/>
            <a:ext cx="7438699" cy="6855242"/>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269170" y="290774"/>
            <a:ext cx="4480956" cy="4109100"/>
          </a:xfrm>
        </p:spPr>
        <p:txBody>
          <a:bodyPr/>
          <a:lstStyle/>
          <a:p>
            <a:r>
              <a:rPr lang="en-US" dirty="0"/>
              <a:t>Office 365 services for Apps</a:t>
            </a:r>
          </a:p>
        </p:txBody>
      </p:sp>
      <p:sp>
        <p:nvSpPr>
          <p:cNvPr id="3" name="Text Placeholder 2"/>
          <p:cNvSpPr>
            <a:spLocks noGrp="1"/>
          </p:cNvSpPr>
          <p:nvPr>
            <p:ph type="body" sz="quarter" idx="11"/>
          </p:nvPr>
        </p:nvSpPr>
        <p:spPr>
          <a:xfrm>
            <a:off x="269170" y="2980904"/>
            <a:ext cx="4107542" cy="3704234"/>
          </a:xfrm>
        </p:spPr>
        <p:txBody>
          <a:bodyPr/>
          <a:lstStyle/>
          <a:p>
            <a:r>
              <a:rPr lang="en-US" sz="3136" dirty="0">
                <a:hlinkClick r:id="rId2"/>
              </a:rPr>
              <a:t>https://zapier.com/zapbook/office-365/</a:t>
            </a:r>
            <a:endParaRPr lang="en-US" sz="3136" dirty="0"/>
          </a:p>
          <a:p>
            <a:endParaRPr lang="en-US" sz="3136" dirty="0"/>
          </a:p>
          <a:p>
            <a:endParaRPr lang="en-US" sz="3136" dirty="0"/>
          </a:p>
          <a:p>
            <a:endParaRPr lang="en-US" sz="3136" dirty="0"/>
          </a:p>
          <a:p>
            <a:endParaRPr lang="en-US" sz="3136" dirty="0"/>
          </a:p>
          <a:p>
            <a:endParaRPr lang="en-US" sz="3136" dirty="0"/>
          </a:p>
        </p:txBody>
      </p:sp>
      <p:pic>
        <p:nvPicPr>
          <p:cNvPr id="4" name="Picture 3"/>
          <p:cNvPicPr>
            <a:picLocks noChangeAspect="1"/>
          </p:cNvPicPr>
          <p:nvPr/>
        </p:nvPicPr>
        <p:blipFill>
          <a:blip r:embed="rId3"/>
          <a:stretch>
            <a:fillRect/>
          </a:stretch>
        </p:blipFill>
        <p:spPr>
          <a:xfrm>
            <a:off x="5542848" y="2089380"/>
            <a:ext cx="6197882" cy="4424392"/>
          </a:xfrm>
          <a:prstGeom prst="rect">
            <a:avLst/>
          </a:prstGeom>
        </p:spPr>
      </p:pic>
      <p:pic>
        <p:nvPicPr>
          <p:cNvPr id="1026" name="Picture 2" descr="https://zapier.cachefly.net/static/CpzTqZ/images/logo60orang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294877" y="158302"/>
            <a:ext cx="2445852" cy="11202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70817815"/>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4294967295"/>
          </p:nvPr>
        </p:nvSpPr>
        <p:spPr>
          <a:xfrm>
            <a:off x="2920860" y="3290922"/>
            <a:ext cx="7726537" cy="696232"/>
          </a:xfrm>
          <a:prstGeom prst="rect">
            <a:avLst/>
          </a:prstGeom>
        </p:spPr>
        <p:txBody>
          <a:bodyPr>
            <a:noAutofit/>
          </a:bodyPr>
          <a:lstStyle/>
          <a:p>
            <a:pPr marL="0" indent="0">
              <a:buNone/>
            </a:pPr>
            <a:r>
              <a:rPr lang="en-US" sz="3528" b="1" dirty="0">
                <a:gradFill>
                  <a:gsLst>
                    <a:gs pos="1250">
                      <a:srgbClr val="EB3C00"/>
                    </a:gs>
                    <a:gs pos="23000">
                      <a:srgbClr val="EB3C00"/>
                    </a:gs>
                  </a:gsLst>
                  <a:lin ang="5400000" scaled="0"/>
                </a:gradFill>
              </a:rPr>
              <a:t>is one of the fastest growing businesses </a:t>
            </a:r>
          </a:p>
        </p:txBody>
      </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32409" y="1548267"/>
            <a:ext cx="7485376" cy="2592921"/>
          </a:xfrm>
          <a:prstGeom prst="rect">
            <a:avLst/>
          </a:prstGeom>
        </p:spPr>
      </p:pic>
      <p:sp>
        <p:nvSpPr>
          <p:cNvPr id="5" name="TextBox 4"/>
          <p:cNvSpPr txBox="1"/>
          <p:nvPr/>
        </p:nvSpPr>
        <p:spPr>
          <a:xfrm>
            <a:off x="2847732" y="3667045"/>
            <a:ext cx="6422709" cy="1194525"/>
          </a:xfrm>
          <a:prstGeom prst="rect">
            <a:avLst/>
          </a:prstGeom>
          <a:noFill/>
        </p:spPr>
        <p:txBody>
          <a:bodyPr wrap="none" lIns="179238" tIns="143391" rIns="179238" bIns="143391" rtlCol="0">
            <a:spAutoFit/>
          </a:bodyPr>
          <a:lstStyle/>
          <a:p>
            <a:pPr defTabSz="914033">
              <a:spcBef>
                <a:spcPct val="20000"/>
              </a:spcBef>
              <a:buSzPct val="90000"/>
            </a:pPr>
            <a:r>
              <a:rPr lang="en-US" sz="5880" b="1" dirty="0">
                <a:gradFill>
                  <a:gsLst>
                    <a:gs pos="1250">
                      <a:srgbClr val="EB3C00"/>
                    </a:gs>
                    <a:gs pos="23000">
                      <a:srgbClr val="EB3C00"/>
                    </a:gs>
                  </a:gsLst>
                  <a:lin ang="5400000" scaled="0"/>
                </a:gradFill>
                <a:latin typeface="Segoe UI Light"/>
              </a:rPr>
              <a:t>in</a:t>
            </a:r>
            <a:r>
              <a:rPr lang="en-US" sz="3528" b="1" dirty="0">
                <a:gradFill>
                  <a:gsLst>
                    <a:gs pos="1250">
                      <a:srgbClr val="EB3C00"/>
                    </a:gs>
                    <a:gs pos="23000">
                      <a:srgbClr val="EB3C00"/>
                    </a:gs>
                  </a:gsLst>
                  <a:lin ang="5400000" scaled="0"/>
                </a:gradFill>
                <a:latin typeface="Segoe UI Light"/>
              </a:rPr>
              <a:t> </a:t>
            </a:r>
            <a:r>
              <a:rPr lang="en-US" sz="5880" b="1" dirty="0">
                <a:gradFill>
                  <a:gsLst>
                    <a:gs pos="1250">
                      <a:srgbClr val="EB3C00"/>
                    </a:gs>
                    <a:gs pos="23000">
                      <a:srgbClr val="EB3C00"/>
                    </a:gs>
                  </a:gsLst>
                  <a:lin ang="5400000" scaled="0"/>
                </a:gradFill>
                <a:latin typeface="Segoe UI Light"/>
              </a:rPr>
              <a:t>Microsoft history</a:t>
            </a:r>
            <a:r>
              <a:rPr lang="en-US" sz="3528" b="1" dirty="0">
                <a:gradFill>
                  <a:gsLst>
                    <a:gs pos="1250">
                      <a:srgbClr val="EB3C00"/>
                    </a:gs>
                    <a:gs pos="23000">
                      <a:srgbClr val="EB3C00"/>
                    </a:gs>
                  </a:gsLst>
                  <a:lin ang="5400000" scaled="0"/>
                </a:gradFill>
                <a:latin typeface="Segoe UI Light"/>
              </a:rPr>
              <a:t>.</a:t>
            </a:r>
          </a:p>
        </p:txBody>
      </p:sp>
    </p:spTree>
    <p:extLst>
      <p:ext uri="{BB962C8B-B14F-4D97-AF65-F5344CB8AC3E}">
        <p14:creationId xmlns:p14="http://schemas.microsoft.com/office/powerpoint/2010/main" val="2770813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P spid="5"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gradFill>
                  <a:gsLst>
                    <a:gs pos="1250">
                      <a:schemeClr val="tx2"/>
                    </a:gs>
                    <a:gs pos="100000">
                      <a:schemeClr val="tx2"/>
                    </a:gs>
                  </a:gsLst>
                  <a:lin ang="5400000" scaled="0"/>
                </a:gradFill>
              </a:rPr>
              <a:t>Office 365 device apps</a:t>
            </a:r>
          </a:p>
        </p:txBody>
      </p:sp>
      <p:pic>
        <p:nvPicPr>
          <p:cNvPr id="4" name="Picture 3"/>
          <p:cNvPicPr>
            <a:picLocks noChangeAspect="1"/>
          </p:cNvPicPr>
          <p:nvPr/>
        </p:nvPicPr>
        <p:blipFill rotWithShape="1">
          <a:blip r:embed="rId3"/>
          <a:srcRect l="13975" t="30366" r="63927" b="32367"/>
          <a:stretch/>
        </p:blipFill>
        <p:spPr>
          <a:xfrm>
            <a:off x="1828997" y="1636617"/>
            <a:ext cx="4251193" cy="2016432"/>
          </a:xfrm>
          <a:prstGeom prst="rect">
            <a:avLst/>
          </a:prstGeom>
        </p:spPr>
      </p:pic>
      <p:pic>
        <p:nvPicPr>
          <p:cNvPr id="5" name="Picture 4"/>
          <p:cNvPicPr>
            <a:picLocks noChangeAspect="1"/>
          </p:cNvPicPr>
          <p:nvPr/>
        </p:nvPicPr>
        <p:blipFill rotWithShape="1">
          <a:blip r:embed="rId4"/>
          <a:srcRect l="1653" t="18672" r="83780" b="44074"/>
          <a:stretch/>
        </p:blipFill>
        <p:spPr>
          <a:xfrm>
            <a:off x="6581009" y="1019634"/>
            <a:ext cx="3958179" cy="2846997"/>
          </a:xfrm>
          <a:prstGeom prst="rect">
            <a:avLst/>
          </a:prstGeom>
        </p:spPr>
      </p:pic>
      <p:pic>
        <p:nvPicPr>
          <p:cNvPr id="6" name="Picture 5"/>
          <p:cNvPicPr>
            <a:picLocks noChangeAspect="1"/>
          </p:cNvPicPr>
          <p:nvPr/>
        </p:nvPicPr>
        <p:blipFill rotWithShape="1">
          <a:blip r:embed="rId5"/>
          <a:srcRect l="16562" t="30741" r="66771" b="40874"/>
          <a:stretch/>
        </p:blipFill>
        <p:spPr>
          <a:xfrm>
            <a:off x="6095572" y="4204729"/>
            <a:ext cx="4929053" cy="2360941"/>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8" name="Picture 7"/>
          <p:cNvPicPr>
            <a:picLocks noChangeAspect="1"/>
          </p:cNvPicPr>
          <p:nvPr/>
        </p:nvPicPr>
        <p:blipFill>
          <a:blip r:embed="rId6"/>
          <a:stretch>
            <a:fillRect/>
          </a:stretch>
        </p:blipFill>
        <p:spPr>
          <a:xfrm>
            <a:off x="1613456" y="4036925"/>
            <a:ext cx="4004855" cy="2137790"/>
          </a:xfrm>
          <a:prstGeom prst="rect">
            <a:avLst/>
          </a:prstGeom>
        </p:spPr>
      </p:pic>
    </p:spTree>
    <p:extLst>
      <p:ext uri="{BB962C8B-B14F-4D97-AF65-F5344CB8AC3E}">
        <p14:creationId xmlns:p14="http://schemas.microsoft.com/office/powerpoint/2010/main" val="28472943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endParaRPr lang="en-US"/>
          </a:p>
        </p:txBody>
      </p:sp>
      <p:sp>
        <p:nvSpPr>
          <p:cNvPr id="3" name="Title 2"/>
          <p:cNvSpPr>
            <a:spLocks noGrp="1"/>
          </p:cNvSpPr>
          <p:nvPr>
            <p:ph type="title"/>
          </p:nvPr>
        </p:nvSpPr>
        <p:spPr/>
        <p:txBody>
          <a:bodyPr/>
          <a:lstStyle/>
          <a:p>
            <a:r>
              <a:rPr lang="en-US" dirty="0" smtClean="0"/>
              <a:t>Common Consent</a:t>
            </a:r>
            <a:endParaRPr lang="en-US" dirty="0"/>
          </a:p>
        </p:txBody>
      </p:sp>
      <p:sp>
        <p:nvSpPr>
          <p:cNvPr id="4" name="Slide Number Placeholder 3"/>
          <p:cNvSpPr>
            <a:spLocks noGrp="1"/>
          </p:cNvSpPr>
          <p:nvPr>
            <p:ph type="sldNum" sz="quarter" idx="12"/>
          </p:nvPr>
        </p:nvSpPr>
        <p:spPr/>
        <p:txBody>
          <a:bodyPr/>
          <a:lstStyle/>
          <a:p>
            <a:pPr defTabSz="914001"/>
            <a:fld id="{727B4C2D-45E2-4621-8491-2995EB46A674}" type="slidenum">
              <a:rPr lang="en-US" smtClean="0">
                <a:gradFill>
                  <a:gsLst>
                    <a:gs pos="100000">
                      <a:srgbClr val="797A7D"/>
                    </a:gs>
                    <a:gs pos="0">
                      <a:srgbClr val="797A7D"/>
                    </a:gs>
                  </a:gsLst>
                  <a:lin ang="5400000" scaled="0"/>
                </a:gradFill>
              </a:rPr>
              <a:pPr defTabSz="914001"/>
              <a:t>31</a:t>
            </a:fld>
            <a:endParaRPr lang="en-US" dirty="0">
              <a:gradFill>
                <a:gsLst>
                  <a:gs pos="100000">
                    <a:srgbClr val="797A7D"/>
                  </a:gs>
                  <a:gs pos="0">
                    <a:srgbClr val="797A7D"/>
                  </a:gs>
                </a:gsLst>
                <a:lin ang="5400000" scaled="0"/>
              </a:gradFill>
            </a:endParaRPr>
          </a:p>
        </p:txBody>
      </p:sp>
      <p:pic>
        <p:nvPicPr>
          <p:cNvPr id="5" name="Picture 11"/>
          <p:cNvPicPr>
            <a:picLocks noChangeAspect="1"/>
          </p:cNvPicPr>
          <p:nvPr/>
        </p:nvPicPr>
        <p:blipFill rotWithShape="1">
          <a:blip r:embed="rId2"/>
          <a:srcRect r="2532" b="9254"/>
          <a:stretch/>
        </p:blipFill>
        <p:spPr>
          <a:xfrm>
            <a:off x="2151214" y="1188546"/>
            <a:ext cx="6362889" cy="5368688"/>
          </a:xfrm>
          <a:prstGeom prst="rect">
            <a:avLst/>
          </a:prstGeom>
          <a:ln w="3175">
            <a:solidFill>
              <a:schemeClr val="tx1"/>
            </a:solidFill>
          </a:ln>
        </p:spPr>
      </p:pic>
      <p:sp>
        <p:nvSpPr>
          <p:cNvPr id="6" name="Oval 5"/>
          <p:cNvSpPr/>
          <p:nvPr/>
        </p:nvSpPr>
        <p:spPr bwMode="auto">
          <a:xfrm>
            <a:off x="3943576" y="2006528"/>
            <a:ext cx="4660144" cy="1075418"/>
          </a:xfrm>
          <a:prstGeom prst="ellipse">
            <a:avLst/>
          </a:prstGeom>
          <a:noFill/>
          <a:ln w="57150">
            <a:solidFill>
              <a:schemeClr val="accent4">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10" tIns="44810" rIns="44810" bIns="44810" numCol="1" spcCol="0" rtlCol="0" fromWordArt="0" anchor="ctr" anchorCtr="0" forceAA="0" compatLnSpc="1">
            <a:prstTxWarp prst="textNoShape">
              <a:avLst/>
            </a:prstTxWarp>
            <a:noAutofit/>
          </a:bodyPr>
          <a:lstStyle/>
          <a:p>
            <a:pPr algn="ctr" defTabSz="895908" fontAlgn="base">
              <a:spcBef>
                <a:spcPct val="0"/>
              </a:spcBef>
              <a:spcAft>
                <a:spcPct val="0"/>
              </a:spcAft>
            </a:pPr>
            <a:endParaRPr lang="en-US" sz="2156"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368038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p:cNvSpPr/>
          <p:nvPr/>
        </p:nvSpPr>
        <p:spPr>
          <a:xfrm>
            <a:off x="281114" y="5565953"/>
            <a:ext cx="11638543" cy="821626"/>
          </a:xfrm>
          <a:prstGeom prst="rect">
            <a:avLst/>
          </a:prstGeom>
          <a:solidFill>
            <a:schemeClr val="accent1">
              <a:lumMod val="50000"/>
            </a:schemeClr>
          </a:solidFill>
          <a:ln w="10795" cap="flat" cmpd="sng" algn="ctr">
            <a:noFill/>
            <a:prstDash val="solid"/>
          </a:ln>
          <a:effectLst/>
        </p:spPr>
        <p:txBody>
          <a:bodyPr lIns="179259" tIns="143407" rIns="179259" bIns="143407" rtlCol="0" anchor="t" anchorCtr="0"/>
          <a:lstStyle/>
          <a:p>
            <a:pPr defTabSz="896080">
              <a:defRPr/>
            </a:pPr>
            <a:r>
              <a:rPr lang="en-US" sz="1764" dirty="0">
                <a:gradFill>
                  <a:gsLst>
                    <a:gs pos="0">
                      <a:schemeClr val="bg1"/>
                    </a:gs>
                    <a:gs pos="53000">
                      <a:schemeClr val="bg1"/>
                    </a:gs>
                  </a:gsLst>
                  <a:lin ang="5400000" scaled="0"/>
                </a:gradFill>
                <a:ea typeface="Segoe UI" pitchFamily="34" charset="0"/>
                <a:cs typeface="Segoe UI" pitchFamily="34" charset="0"/>
              </a:rPr>
              <a:t>Custom client code</a:t>
            </a:r>
          </a:p>
        </p:txBody>
      </p:sp>
      <p:sp>
        <p:nvSpPr>
          <p:cNvPr id="38" name="Rectangle 37"/>
          <p:cNvSpPr/>
          <p:nvPr/>
        </p:nvSpPr>
        <p:spPr>
          <a:xfrm>
            <a:off x="281114" y="2234383"/>
            <a:ext cx="11638543" cy="821626"/>
          </a:xfrm>
          <a:prstGeom prst="rect">
            <a:avLst/>
          </a:prstGeom>
          <a:solidFill>
            <a:schemeClr val="accent2"/>
          </a:solid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79259" tIns="143407" rIns="179259" bIns="143407" numCol="1" spcCol="1245" anchor="t" anchorCtr="0">
            <a:noAutofit/>
          </a:bodyPr>
          <a:lstStyle/>
          <a:p>
            <a:pPr defTabSz="1612086">
              <a:lnSpc>
                <a:spcPct val="90000"/>
              </a:lnSpc>
              <a:spcBef>
                <a:spcPct val="0"/>
              </a:spcBef>
              <a:spcAft>
                <a:spcPct val="35000"/>
              </a:spcAft>
            </a:pPr>
            <a:r>
              <a:rPr lang="en-US" sz="3921" dirty="0">
                <a:solidFill>
                  <a:schemeClr val="bg1"/>
                </a:solidFill>
                <a:latin typeface="Segoe UI Black" panose="020B0A02040204020203" pitchFamily="34" charset="0"/>
                <a:ea typeface="Segoe UI Black" panose="020B0A02040204020203" pitchFamily="34" charset="0"/>
                <a:cs typeface="Segoe UI Black" panose="020B0A02040204020203" pitchFamily="34" charset="0"/>
              </a:rPr>
              <a:t>_</a:t>
            </a:r>
            <a:r>
              <a:rPr lang="en-US" sz="3921" dirty="0" err="1">
                <a:solidFill>
                  <a:schemeClr val="bg1"/>
                </a:solidFill>
                <a:latin typeface="Segoe UI Black" panose="020B0A02040204020203" pitchFamily="34" charset="0"/>
                <a:ea typeface="Segoe UI Black" panose="020B0A02040204020203" pitchFamily="34" charset="0"/>
                <a:cs typeface="Segoe UI Black" panose="020B0A02040204020203" pitchFamily="34" charset="0"/>
              </a:rPr>
              <a:t>api</a:t>
            </a:r>
            <a:endParaRPr lang="en-US" sz="3921" dirty="0">
              <a:solidFill>
                <a:schemeClr val="bg1"/>
              </a:solidFill>
              <a:latin typeface="Segoe UI Black" panose="020B0A02040204020203" pitchFamily="34" charset="0"/>
              <a:ea typeface="Segoe UI Black" panose="020B0A02040204020203" pitchFamily="34" charset="0"/>
              <a:cs typeface="Segoe UI Black" panose="020B0A02040204020203" pitchFamily="34" charset="0"/>
            </a:endParaRPr>
          </a:p>
        </p:txBody>
      </p:sp>
      <p:grpSp>
        <p:nvGrpSpPr>
          <p:cNvPr id="14" name="Group 13"/>
          <p:cNvGrpSpPr/>
          <p:nvPr/>
        </p:nvGrpSpPr>
        <p:grpSpPr>
          <a:xfrm>
            <a:off x="281118" y="3115496"/>
            <a:ext cx="8949968" cy="2390970"/>
            <a:chOff x="286829" y="3177517"/>
            <a:chExt cx="9131812" cy="2089097"/>
          </a:xfrm>
        </p:grpSpPr>
        <p:sp>
          <p:nvSpPr>
            <p:cNvPr id="33" name="Right Arrow Callout 32"/>
            <p:cNvSpPr/>
            <p:nvPr/>
          </p:nvSpPr>
          <p:spPr>
            <a:xfrm rot="16200000">
              <a:off x="3808186" y="-343840"/>
              <a:ext cx="2089097" cy="9131812"/>
            </a:xfrm>
            <a:prstGeom prst="rightArrowCallout">
              <a:avLst>
                <a:gd name="adj1" fmla="val 58233"/>
                <a:gd name="adj2" fmla="val 40323"/>
                <a:gd name="adj3" fmla="val 23999"/>
                <a:gd name="adj4" fmla="val 62622"/>
              </a:avLst>
            </a:prstGeom>
            <a:solidFill>
              <a:schemeClr val="accent2"/>
            </a:solid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2880" tIns="146304" rIns="182880" bIns="146304" numCol="1" spcCol="1270" anchor="t" anchorCtr="0">
              <a:noAutofit/>
            </a:bodyPr>
            <a:lstStyle/>
            <a:p>
              <a:pPr defTabSz="1612086">
                <a:lnSpc>
                  <a:spcPct val="90000"/>
                </a:lnSpc>
                <a:spcBef>
                  <a:spcPct val="0"/>
                </a:spcBef>
                <a:spcAft>
                  <a:spcPct val="35000"/>
                </a:spcAft>
              </a:pPr>
              <a:endParaRPr lang="en-US" sz="2941">
                <a:gradFill>
                  <a:gsLst>
                    <a:gs pos="0">
                      <a:schemeClr val="tx1">
                        <a:lumMod val="75000"/>
                        <a:lumOff val="25000"/>
                      </a:schemeClr>
                    </a:gs>
                    <a:gs pos="53000">
                      <a:schemeClr val="tx1">
                        <a:lumMod val="75000"/>
                        <a:lumOff val="25000"/>
                      </a:schemeClr>
                    </a:gs>
                  </a:gsLst>
                  <a:lin ang="5400000" scaled="0"/>
                </a:gradFill>
              </a:endParaRPr>
            </a:p>
          </p:txBody>
        </p:sp>
        <p:sp>
          <p:nvSpPr>
            <p:cNvPr id="34" name="Rectangle 33"/>
            <p:cNvSpPr/>
            <p:nvPr/>
          </p:nvSpPr>
          <p:spPr>
            <a:xfrm>
              <a:off x="472914" y="4195599"/>
              <a:ext cx="2852928" cy="966011"/>
            </a:xfrm>
            <a:prstGeom prst="rect">
              <a:avLst/>
            </a:prstGeom>
            <a:solidFill>
              <a:schemeClr val="accent1"/>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182880" tIns="146304" rIns="182880" bIns="146304" numCol="1" spcCol="1270" anchor="t" anchorCtr="0">
              <a:noAutofit/>
            </a:bodyPr>
            <a:lstStyle/>
            <a:p>
              <a:pPr defTabSz="1481376">
                <a:lnSpc>
                  <a:spcPct val="90000"/>
                </a:lnSpc>
                <a:spcBef>
                  <a:spcPct val="0"/>
                </a:spcBef>
                <a:spcAft>
                  <a:spcPct val="35000"/>
                </a:spcAft>
              </a:pPr>
              <a:r>
                <a:rPr lang="en-US" sz="1764" dirty="0">
                  <a:gradFill>
                    <a:gsLst>
                      <a:gs pos="0">
                        <a:schemeClr val="bg1"/>
                      </a:gs>
                      <a:gs pos="53000">
                        <a:schemeClr val="bg1"/>
                      </a:gs>
                    </a:gsLst>
                    <a:lin ang="5400000" scaled="0"/>
                  </a:gradFill>
                </a:rPr>
                <a:t>JavaScript library</a:t>
              </a:r>
            </a:p>
          </p:txBody>
        </p:sp>
        <p:sp>
          <p:nvSpPr>
            <p:cNvPr id="35" name="Rectangle 34"/>
            <p:cNvSpPr/>
            <p:nvPr/>
          </p:nvSpPr>
          <p:spPr>
            <a:xfrm>
              <a:off x="3428257" y="4195599"/>
              <a:ext cx="2852928" cy="966011"/>
            </a:xfrm>
            <a:prstGeom prst="rect">
              <a:avLst/>
            </a:prstGeom>
            <a:solidFill>
              <a:schemeClr val="accent1"/>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182880" tIns="146304" rIns="182880" bIns="146304" numCol="1" spcCol="1270" anchor="t" anchorCtr="0">
              <a:noAutofit/>
            </a:bodyPr>
            <a:lstStyle/>
            <a:p>
              <a:pPr defTabSz="1481376">
                <a:lnSpc>
                  <a:spcPct val="90000"/>
                </a:lnSpc>
                <a:spcBef>
                  <a:spcPct val="0"/>
                </a:spcBef>
                <a:spcAft>
                  <a:spcPct val="35000"/>
                </a:spcAft>
              </a:pPr>
              <a:r>
                <a:rPr lang="en-US" sz="1764" dirty="0">
                  <a:gradFill>
                    <a:gsLst>
                      <a:gs pos="0">
                        <a:schemeClr val="bg1"/>
                      </a:gs>
                      <a:gs pos="53000">
                        <a:schemeClr val="bg1"/>
                      </a:gs>
                    </a:gsLst>
                    <a:lin ang="5400000" scaled="0"/>
                  </a:gradFill>
                </a:rPr>
                <a:t>Silverlight library</a:t>
              </a:r>
            </a:p>
          </p:txBody>
        </p:sp>
        <p:sp>
          <p:nvSpPr>
            <p:cNvPr id="36" name="Rectangle 35"/>
            <p:cNvSpPr/>
            <p:nvPr/>
          </p:nvSpPr>
          <p:spPr>
            <a:xfrm>
              <a:off x="6383601" y="4195599"/>
              <a:ext cx="2834640" cy="966011"/>
            </a:xfrm>
            <a:prstGeom prst="rect">
              <a:avLst/>
            </a:prstGeom>
            <a:solidFill>
              <a:schemeClr val="accent1"/>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182880" tIns="146304" rIns="182880" bIns="146304" numCol="1" spcCol="1270" anchor="t" anchorCtr="0">
              <a:noAutofit/>
            </a:bodyPr>
            <a:lstStyle/>
            <a:p>
              <a:pPr defTabSz="1481376">
                <a:lnSpc>
                  <a:spcPct val="90000"/>
                </a:lnSpc>
                <a:spcBef>
                  <a:spcPct val="0"/>
                </a:spcBef>
                <a:spcAft>
                  <a:spcPct val="35000"/>
                </a:spcAft>
              </a:pPr>
              <a:r>
                <a:rPr lang="en-US" sz="1764" dirty="0" err="1">
                  <a:gradFill>
                    <a:gsLst>
                      <a:gs pos="0">
                        <a:schemeClr val="bg1"/>
                      </a:gs>
                      <a:gs pos="53000">
                        <a:schemeClr val="bg1"/>
                      </a:gs>
                    </a:gsLst>
                    <a:lin ang="5400000" scaled="0"/>
                  </a:gradFill>
                </a:rPr>
                <a:t>.Net</a:t>
              </a:r>
              <a:r>
                <a:rPr lang="en-US" sz="1764" dirty="0">
                  <a:gradFill>
                    <a:gsLst>
                      <a:gs pos="0">
                        <a:schemeClr val="bg1"/>
                      </a:gs>
                      <a:gs pos="53000">
                        <a:schemeClr val="bg1"/>
                      </a:gs>
                    </a:gsLst>
                    <a:lin ang="5400000" scaled="0"/>
                  </a:gradFill>
                </a:rPr>
                <a:t> CLR library</a:t>
              </a:r>
            </a:p>
          </p:txBody>
        </p:sp>
        <p:sp>
          <p:nvSpPr>
            <p:cNvPr id="40" name="TextBox 39"/>
            <p:cNvSpPr txBox="1"/>
            <p:nvPr/>
          </p:nvSpPr>
          <p:spPr>
            <a:xfrm>
              <a:off x="3683814" y="3388851"/>
              <a:ext cx="2337837" cy="534545"/>
            </a:xfrm>
            <a:prstGeom prst="rect">
              <a:avLst/>
            </a:prstGeom>
            <a:noFill/>
            <a:ln>
              <a:noFill/>
            </a:ln>
          </p:spPr>
          <p:txBody>
            <a:bodyPr wrap="square" lIns="121872" tIns="60936" rIns="121872" bIns="60936" rtlCol="0">
              <a:spAutoFit/>
            </a:bodyPr>
            <a:lstStyle/>
            <a:p>
              <a:pPr algn="ctr" defTabSz="1612086">
                <a:lnSpc>
                  <a:spcPct val="90000"/>
                </a:lnSpc>
                <a:spcBef>
                  <a:spcPct val="0"/>
                </a:spcBef>
                <a:spcAft>
                  <a:spcPct val="35000"/>
                </a:spcAft>
              </a:pPr>
              <a:r>
                <a:rPr lang="en-US" sz="1764" dirty="0">
                  <a:gradFill>
                    <a:gsLst>
                      <a:gs pos="0">
                        <a:schemeClr val="tx1"/>
                      </a:gs>
                      <a:gs pos="53000">
                        <a:schemeClr val="tx1"/>
                      </a:gs>
                    </a:gsLst>
                    <a:lin ang="5400000" scaled="0"/>
                  </a:gradFill>
                </a:rPr>
                <a:t>Execute </a:t>
              </a:r>
              <a:br>
                <a:rPr lang="en-US" sz="1764" dirty="0">
                  <a:gradFill>
                    <a:gsLst>
                      <a:gs pos="0">
                        <a:schemeClr val="tx1"/>
                      </a:gs>
                      <a:gs pos="53000">
                        <a:schemeClr val="tx1"/>
                      </a:gs>
                    </a:gsLst>
                    <a:lin ang="5400000" scaled="0"/>
                  </a:gradFill>
                </a:rPr>
              </a:br>
              <a:r>
                <a:rPr lang="en-US" sz="1764" dirty="0">
                  <a:gradFill>
                    <a:gsLst>
                      <a:gs pos="0">
                        <a:schemeClr val="tx1"/>
                      </a:gs>
                      <a:gs pos="53000">
                        <a:schemeClr val="tx1"/>
                      </a:gs>
                    </a:gsLst>
                    <a:lin ang="5400000" scaled="0"/>
                  </a:gradFill>
                </a:rPr>
                <a:t>query</a:t>
              </a:r>
            </a:p>
          </p:txBody>
        </p:sp>
      </p:grpSp>
      <p:grpSp>
        <p:nvGrpSpPr>
          <p:cNvPr id="5" name="Group 4"/>
          <p:cNvGrpSpPr/>
          <p:nvPr/>
        </p:nvGrpSpPr>
        <p:grpSpPr>
          <a:xfrm>
            <a:off x="10127274" y="3217642"/>
            <a:ext cx="1822520" cy="2271738"/>
            <a:chOff x="10333038" y="3281697"/>
            <a:chExt cx="1859550" cy="1984918"/>
          </a:xfrm>
        </p:grpSpPr>
        <p:sp>
          <p:nvSpPr>
            <p:cNvPr id="41" name="Down Arrow 40"/>
            <p:cNvSpPr/>
            <p:nvPr/>
          </p:nvSpPr>
          <p:spPr>
            <a:xfrm rot="10800000">
              <a:off x="10333038" y="3281697"/>
              <a:ext cx="1859550" cy="1984918"/>
            </a:xfrm>
            <a:prstGeom prst="downArrow">
              <a:avLst>
                <a:gd name="adj1" fmla="val 50000"/>
                <a:gd name="adj2" fmla="val 53108"/>
              </a:avLst>
            </a:prstGeom>
            <a:solidFill>
              <a:schemeClr val="accent2"/>
            </a:solid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2880" tIns="146304" rIns="182880" bIns="146304" numCol="1" spcCol="1270" anchor="t" anchorCtr="0">
              <a:noAutofit/>
            </a:bodyPr>
            <a:lstStyle/>
            <a:p>
              <a:pPr defTabSz="1612086">
                <a:lnSpc>
                  <a:spcPct val="90000"/>
                </a:lnSpc>
                <a:spcBef>
                  <a:spcPct val="0"/>
                </a:spcBef>
                <a:spcAft>
                  <a:spcPct val="35000"/>
                </a:spcAft>
              </a:pPr>
              <a:endParaRPr lang="en-US" sz="3137" dirty="0">
                <a:gradFill>
                  <a:gsLst>
                    <a:gs pos="0">
                      <a:schemeClr val="tx1">
                        <a:lumMod val="75000"/>
                        <a:lumOff val="25000"/>
                      </a:schemeClr>
                    </a:gs>
                    <a:gs pos="53000">
                      <a:schemeClr val="tx1">
                        <a:lumMod val="75000"/>
                        <a:lumOff val="25000"/>
                      </a:schemeClr>
                    </a:gs>
                  </a:gsLst>
                  <a:lin ang="5400000" scaled="0"/>
                </a:gradFill>
              </a:endParaRPr>
            </a:p>
          </p:txBody>
        </p:sp>
        <p:sp>
          <p:nvSpPr>
            <p:cNvPr id="42" name="TextBox 41"/>
            <p:cNvSpPr txBox="1"/>
            <p:nvPr/>
          </p:nvSpPr>
          <p:spPr>
            <a:xfrm>
              <a:off x="10602585" y="3674149"/>
              <a:ext cx="1320456" cy="534544"/>
            </a:xfrm>
            <a:prstGeom prst="rect">
              <a:avLst/>
            </a:prstGeom>
            <a:noFill/>
            <a:ln>
              <a:noFill/>
            </a:ln>
          </p:spPr>
          <p:txBody>
            <a:bodyPr wrap="square" lIns="121872" tIns="60936" rIns="121872" bIns="60936" rtlCol="0">
              <a:spAutoFit/>
            </a:bodyPr>
            <a:lstStyle/>
            <a:p>
              <a:pPr algn="ctr" defTabSz="1612086">
                <a:lnSpc>
                  <a:spcPct val="90000"/>
                </a:lnSpc>
                <a:spcBef>
                  <a:spcPct val="0"/>
                </a:spcBef>
                <a:spcAft>
                  <a:spcPct val="35000"/>
                </a:spcAft>
                <a:defRPr/>
              </a:pPr>
              <a:r>
                <a:rPr lang="en-US" sz="1764" dirty="0">
                  <a:gradFill>
                    <a:gsLst>
                      <a:gs pos="0">
                        <a:schemeClr val="tx1"/>
                      </a:gs>
                      <a:gs pos="53000">
                        <a:schemeClr val="tx1"/>
                      </a:gs>
                    </a:gsLst>
                    <a:lin ang="5400000" scaled="0"/>
                  </a:gradFill>
                </a:rPr>
                <a:t>REST/ OData</a:t>
              </a:r>
            </a:p>
          </p:txBody>
        </p:sp>
      </p:grpSp>
      <p:sp>
        <p:nvSpPr>
          <p:cNvPr id="47" name="Rectangle 46"/>
          <p:cNvSpPr/>
          <p:nvPr/>
        </p:nvSpPr>
        <p:spPr>
          <a:xfrm>
            <a:off x="10043586" y="1188678"/>
            <a:ext cx="1882002" cy="986218"/>
          </a:xfrm>
          <a:prstGeom prst="rect">
            <a:avLst/>
          </a:prstGeom>
          <a:solidFill>
            <a:schemeClr val="accent1"/>
          </a:solidFill>
          <a:ln w="10795" cap="flat" cmpd="sng" algn="ctr">
            <a:noFill/>
            <a:prstDash val="solid"/>
          </a:ln>
          <a:effectLst/>
        </p:spPr>
        <p:txBody>
          <a:bodyPr lIns="119459" tIns="59729" rIns="119459" bIns="59729" rtlCol="0" anchor="t" anchorCtr="0"/>
          <a:lstStyle/>
          <a:p>
            <a:pPr defTabSz="896080"/>
            <a:r>
              <a:rPr lang="en-US" sz="4313" dirty="0">
                <a:gradFill>
                  <a:gsLst>
                    <a:gs pos="0">
                      <a:schemeClr val="bg1"/>
                    </a:gs>
                    <a:gs pos="53000">
                      <a:schemeClr val="bg1"/>
                    </a:gs>
                  </a:gsLst>
                  <a:lin ang="5400000" scaled="0"/>
                </a:gradFill>
                <a:ea typeface="Segoe UI" pitchFamily="34" charset="0"/>
                <a:cs typeface="Segoe UI" pitchFamily="34" charset="0"/>
              </a:rPr>
              <a:t>…</a:t>
            </a:r>
          </a:p>
        </p:txBody>
      </p:sp>
      <p:grpSp>
        <p:nvGrpSpPr>
          <p:cNvPr id="10" name="Group 9"/>
          <p:cNvGrpSpPr/>
          <p:nvPr/>
        </p:nvGrpSpPr>
        <p:grpSpPr>
          <a:xfrm>
            <a:off x="4186105" y="1188678"/>
            <a:ext cx="1882002" cy="986218"/>
            <a:chOff x="4271157" y="1212341"/>
            <a:chExt cx="1920240" cy="1005851"/>
          </a:xfrm>
        </p:grpSpPr>
        <p:sp>
          <p:nvSpPr>
            <p:cNvPr id="44" name="Rectangle 43"/>
            <p:cNvSpPr/>
            <p:nvPr/>
          </p:nvSpPr>
          <p:spPr>
            <a:xfrm>
              <a:off x="4271157" y="1212341"/>
              <a:ext cx="1920240" cy="1005851"/>
            </a:xfrm>
            <a:prstGeom prst="rect">
              <a:avLst/>
            </a:prstGeom>
            <a:solidFill>
              <a:schemeClr val="accent1"/>
            </a:solidFill>
            <a:ln w="10795" cap="flat" cmpd="sng" algn="ctr">
              <a:noFill/>
              <a:prstDash val="solid"/>
            </a:ln>
            <a:effectLst/>
          </p:spPr>
          <p:txBody>
            <a:bodyPr lIns="121872" tIns="60936" rIns="121872" bIns="60936" rtlCol="0" anchor="t" anchorCtr="0"/>
            <a:lstStyle/>
            <a:p>
              <a:pPr defTabSz="896080"/>
              <a:r>
                <a:rPr lang="en-US" sz="1568" dirty="0">
                  <a:gradFill>
                    <a:gsLst>
                      <a:gs pos="0">
                        <a:schemeClr val="bg1"/>
                      </a:gs>
                      <a:gs pos="53000">
                        <a:schemeClr val="bg1"/>
                      </a:gs>
                    </a:gsLst>
                    <a:lin ang="5400000" scaled="0"/>
                  </a:gradFill>
                  <a:ea typeface="Segoe UI" pitchFamily="34" charset="0"/>
                  <a:cs typeface="Segoe UI" pitchFamily="34" charset="0"/>
                </a:rPr>
                <a:t>Search</a:t>
              </a:r>
            </a:p>
          </p:txBody>
        </p:sp>
        <p:grpSp>
          <p:nvGrpSpPr>
            <p:cNvPr id="23" name="Group 53"/>
            <p:cNvGrpSpPr>
              <a:grpSpLocks noChangeAspect="1"/>
            </p:cNvGrpSpPr>
            <p:nvPr/>
          </p:nvGrpSpPr>
          <p:grpSpPr bwMode="auto">
            <a:xfrm>
              <a:off x="5029676" y="1654260"/>
              <a:ext cx="465565" cy="447436"/>
              <a:chOff x="5627" y="2725"/>
              <a:chExt cx="1284" cy="1234"/>
            </a:xfrm>
            <a:solidFill>
              <a:schemeClr val="bg1"/>
            </a:solidFill>
          </p:grpSpPr>
          <p:sp>
            <p:nvSpPr>
              <p:cNvPr id="24" name="Freeform 54"/>
              <p:cNvSpPr>
                <a:spLocks noEditPoints="1"/>
              </p:cNvSpPr>
              <p:nvPr/>
            </p:nvSpPr>
            <p:spPr bwMode="auto">
              <a:xfrm>
                <a:off x="5851" y="2725"/>
                <a:ext cx="1060" cy="1010"/>
              </a:xfrm>
              <a:custGeom>
                <a:avLst/>
                <a:gdLst>
                  <a:gd name="T0" fmla="*/ 153 w 320"/>
                  <a:gd name="T1" fmla="*/ 305 h 305"/>
                  <a:gd name="T2" fmla="*/ 45 w 320"/>
                  <a:gd name="T3" fmla="*/ 260 h 305"/>
                  <a:gd name="T4" fmla="*/ 0 w 320"/>
                  <a:gd name="T5" fmla="*/ 152 h 305"/>
                  <a:gd name="T6" fmla="*/ 45 w 320"/>
                  <a:gd name="T7" fmla="*/ 45 h 305"/>
                  <a:gd name="T8" fmla="*/ 153 w 320"/>
                  <a:gd name="T9" fmla="*/ 0 h 305"/>
                  <a:gd name="T10" fmla="*/ 260 w 320"/>
                  <a:gd name="T11" fmla="*/ 45 h 305"/>
                  <a:gd name="T12" fmla="*/ 260 w 320"/>
                  <a:gd name="T13" fmla="*/ 260 h 305"/>
                  <a:gd name="T14" fmla="*/ 153 w 320"/>
                  <a:gd name="T15" fmla="*/ 305 h 305"/>
                  <a:gd name="T16" fmla="*/ 153 w 320"/>
                  <a:gd name="T17" fmla="*/ 26 h 305"/>
                  <a:gd name="T18" fmla="*/ 63 w 320"/>
                  <a:gd name="T19" fmla="*/ 63 h 305"/>
                  <a:gd name="T20" fmla="*/ 63 w 320"/>
                  <a:gd name="T21" fmla="*/ 242 h 305"/>
                  <a:gd name="T22" fmla="*/ 153 w 320"/>
                  <a:gd name="T23" fmla="*/ 279 h 305"/>
                  <a:gd name="T24" fmla="*/ 242 w 320"/>
                  <a:gd name="T25" fmla="*/ 242 h 305"/>
                  <a:gd name="T26" fmla="*/ 279 w 320"/>
                  <a:gd name="T27" fmla="*/ 152 h 305"/>
                  <a:gd name="T28" fmla="*/ 242 w 320"/>
                  <a:gd name="T29" fmla="*/ 63 h 305"/>
                  <a:gd name="T30" fmla="*/ 153 w 320"/>
                  <a:gd name="T31" fmla="*/ 26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20" h="305">
                    <a:moveTo>
                      <a:pt x="153" y="305"/>
                    </a:moveTo>
                    <a:cubicBezTo>
                      <a:pt x="112" y="305"/>
                      <a:pt x="74" y="289"/>
                      <a:pt x="45" y="260"/>
                    </a:cubicBezTo>
                    <a:cubicBezTo>
                      <a:pt x="16" y="231"/>
                      <a:pt x="0" y="193"/>
                      <a:pt x="0" y="152"/>
                    </a:cubicBezTo>
                    <a:cubicBezTo>
                      <a:pt x="0" y="112"/>
                      <a:pt x="16" y="73"/>
                      <a:pt x="45" y="45"/>
                    </a:cubicBezTo>
                    <a:cubicBezTo>
                      <a:pt x="74" y="16"/>
                      <a:pt x="112" y="0"/>
                      <a:pt x="153" y="0"/>
                    </a:cubicBezTo>
                    <a:cubicBezTo>
                      <a:pt x="193" y="0"/>
                      <a:pt x="232" y="16"/>
                      <a:pt x="260" y="45"/>
                    </a:cubicBezTo>
                    <a:cubicBezTo>
                      <a:pt x="320" y="104"/>
                      <a:pt x="320" y="201"/>
                      <a:pt x="260" y="260"/>
                    </a:cubicBezTo>
                    <a:cubicBezTo>
                      <a:pt x="232" y="289"/>
                      <a:pt x="193" y="305"/>
                      <a:pt x="153" y="305"/>
                    </a:cubicBezTo>
                    <a:close/>
                    <a:moveTo>
                      <a:pt x="153" y="26"/>
                    </a:moveTo>
                    <a:cubicBezTo>
                      <a:pt x="119" y="26"/>
                      <a:pt x="87" y="39"/>
                      <a:pt x="63" y="63"/>
                    </a:cubicBezTo>
                    <a:cubicBezTo>
                      <a:pt x="14" y="112"/>
                      <a:pt x="14" y="192"/>
                      <a:pt x="63" y="242"/>
                    </a:cubicBezTo>
                    <a:cubicBezTo>
                      <a:pt x="87" y="265"/>
                      <a:pt x="119" y="279"/>
                      <a:pt x="153" y="279"/>
                    </a:cubicBezTo>
                    <a:cubicBezTo>
                      <a:pt x="186" y="279"/>
                      <a:pt x="218" y="265"/>
                      <a:pt x="242" y="242"/>
                    </a:cubicBezTo>
                    <a:cubicBezTo>
                      <a:pt x="266" y="218"/>
                      <a:pt x="279" y="186"/>
                      <a:pt x="279" y="152"/>
                    </a:cubicBezTo>
                    <a:cubicBezTo>
                      <a:pt x="279" y="119"/>
                      <a:pt x="266" y="87"/>
                      <a:pt x="242" y="63"/>
                    </a:cubicBezTo>
                    <a:cubicBezTo>
                      <a:pt x="218" y="39"/>
                      <a:pt x="186" y="26"/>
                      <a:pt x="153"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896259"/>
                <a:endParaRPr lang="en-US" sz="1666">
                  <a:solidFill>
                    <a:srgbClr val="FFFFFF"/>
                  </a:solidFill>
                </a:endParaRPr>
              </a:p>
            </p:txBody>
          </p:sp>
          <p:sp>
            <p:nvSpPr>
              <p:cNvPr id="25" name="Freeform 55"/>
              <p:cNvSpPr>
                <a:spLocks/>
              </p:cNvSpPr>
              <p:nvPr/>
            </p:nvSpPr>
            <p:spPr bwMode="auto">
              <a:xfrm>
                <a:off x="5627" y="3486"/>
                <a:ext cx="473" cy="473"/>
              </a:xfrm>
              <a:custGeom>
                <a:avLst/>
                <a:gdLst>
                  <a:gd name="T0" fmla="*/ 73 w 337"/>
                  <a:gd name="T1" fmla="*/ 337 h 337"/>
                  <a:gd name="T2" fmla="*/ 0 w 337"/>
                  <a:gd name="T3" fmla="*/ 264 h 337"/>
                  <a:gd name="T4" fmla="*/ 264 w 337"/>
                  <a:gd name="T5" fmla="*/ 0 h 337"/>
                  <a:gd name="T6" fmla="*/ 337 w 337"/>
                  <a:gd name="T7" fmla="*/ 73 h 337"/>
                  <a:gd name="T8" fmla="*/ 73 w 337"/>
                  <a:gd name="T9" fmla="*/ 337 h 337"/>
                </a:gdLst>
                <a:ahLst/>
                <a:cxnLst>
                  <a:cxn ang="0">
                    <a:pos x="T0" y="T1"/>
                  </a:cxn>
                  <a:cxn ang="0">
                    <a:pos x="T2" y="T3"/>
                  </a:cxn>
                  <a:cxn ang="0">
                    <a:pos x="T4" y="T5"/>
                  </a:cxn>
                  <a:cxn ang="0">
                    <a:pos x="T6" y="T7"/>
                  </a:cxn>
                  <a:cxn ang="0">
                    <a:pos x="T8" y="T9"/>
                  </a:cxn>
                </a:cxnLst>
                <a:rect l="0" t="0" r="r" b="b"/>
                <a:pathLst>
                  <a:path w="337" h="337">
                    <a:moveTo>
                      <a:pt x="73" y="337"/>
                    </a:moveTo>
                    <a:lnTo>
                      <a:pt x="0" y="264"/>
                    </a:lnTo>
                    <a:lnTo>
                      <a:pt x="264" y="0"/>
                    </a:lnTo>
                    <a:lnTo>
                      <a:pt x="337" y="73"/>
                    </a:lnTo>
                    <a:lnTo>
                      <a:pt x="73"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896259"/>
                <a:endParaRPr lang="en-US" sz="1666">
                  <a:solidFill>
                    <a:srgbClr val="FFFFFF"/>
                  </a:solidFill>
                </a:endParaRPr>
              </a:p>
            </p:txBody>
          </p:sp>
        </p:grpSp>
      </p:grpSp>
      <p:grpSp>
        <p:nvGrpSpPr>
          <p:cNvPr id="8" name="Group 7"/>
          <p:cNvGrpSpPr/>
          <p:nvPr/>
        </p:nvGrpSpPr>
        <p:grpSpPr>
          <a:xfrm>
            <a:off x="281117" y="1188678"/>
            <a:ext cx="1882002" cy="986218"/>
            <a:chOff x="286829" y="1212341"/>
            <a:chExt cx="1920240" cy="1005851"/>
          </a:xfrm>
        </p:grpSpPr>
        <p:sp>
          <p:nvSpPr>
            <p:cNvPr id="39" name="Rectangle 38"/>
            <p:cNvSpPr/>
            <p:nvPr/>
          </p:nvSpPr>
          <p:spPr>
            <a:xfrm>
              <a:off x="286829" y="1212341"/>
              <a:ext cx="1920240" cy="1005851"/>
            </a:xfrm>
            <a:prstGeom prst="rect">
              <a:avLst/>
            </a:prstGeom>
            <a:solidFill>
              <a:schemeClr val="accent1"/>
            </a:solidFill>
            <a:ln w="10795" cap="flat" cmpd="sng" algn="ctr">
              <a:noFill/>
              <a:prstDash val="solid"/>
            </a:ln>
            <a:effectLst/>
          </p:spPr>
          <p:txBody>
            <a:bodyPr lIns="121872" tIns="60936" rIns="121872" bIns="60936" rtlCol="0" anchor="t" anchorCtr="0"/>
            <a:lstStyle/>
            <a:p>
              <a:pPr defTabSz="896080">
                <a:defRPr/>
              </a:pPr>
              <a:r>
                <a:rPr lang="en-US" sz="1568" dirty="0" smtClean="0">
                  <a:gradFill>
                    <a:gsLst>
                      <a:gs pos="0">
                        <a:schemeClr val="bg1"/>
                      </a:gs>
                      <a:gs pos="53000">
                        <a:schemeClr val="bg1"/>
                      </a:gs>
                    </a:gsLst>
                    <a:lin ang="5400000" scaled="0"/>
                  </a:gradFill>
                  <a:ea typeface="Segoe UI" pitchFamily="34" charset="0"/>
                  <a:cs typeface="Segoe UI" pitchFamily="34" charset="0"/>
                </a:rPr>
                <a:t>Sites, Lists and Libs</a:t>
              </a:r>
              <a:endParaRPr lang="en-US" sz="1568" dirty="0">
                <a:gradFill>
                  <a:gsLst>
                    <a:gs pos="0">
                      <a:schemeClr val="bg1"/>
                    </a:gs>
                    <a:gs pos="53000">
                      <a:schemeClr val="bg1"/>
                    </a:gs>
                  </a:gsLst>
                  <a:lin ang="5400000" scaled="0"/>
                </a:gradFill>
                <a:ea typeface="Segoe UI" pitchFamily="34" charset="0"/>
                <a:cs typeface="Segoe UI" pitchFamily="34" charset="0"/>
              </a:endParaRPr>
            </a:p>
          </p:txBody>
        </p:sp>
        <p:sp>
          <p:nvSpPr>
            <p:cNvPr id="26" name="Freeform 18"/>
            <p:cNvSpPr>
              <a:spLocks noEditPoints="1"/>
            </p:cNvSpPr>
            <p:nvPr/>
          </p:nvSpPr>
          <p:spPr bwMode="black">
            <a:xfrm>
              <a:off x="1017042" y="1582354"/>
              <a:ext cx="459814" cy="560968"/>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chemeClr val="bg1"/>
            </a:solidFill>
            <a:ln>
              <a:noFill/>
            </a:ln>
          </p:spPr>
          <p:txBody>
            <a:bodyPr vert="horz" wrap="square" lIns="0" tIns="41153" rIns="82305" bIns="41153" numCol="1" anchor="t" anchorCtr="0" compatLnSpc="1">
              <a:prstTxWarp prst="textNoShape">
                <a:avLst/>
              </a:prstTxWarp>
            </a:bodyPr>
            <a:lstStyle/>
            <a:p>
              <a:pPr algn="ctr" defTabSz="896259"/>
              <a:endParaRPr lang="en-US" sz="1568">
                <a:gradFill>
                  <a:gsLst>
                    <a:gs pos="0">
                      <a:srgbClr val="FFFFFF"/>
                    </a:gs>
                    <a:gs pos="100000">
                      <a:srgbClr val="FFFFFF"/>
                    </a:gs>
                  </a:gsLst>
                  <a:lin ang="5400000" scaled="0"/>
                </a:gradFill>
              </a:endParaRPr>
            </a:p>
          </p:txBody>
        </p:sp>
      </p:grpSp>
      <p:grpSp>
        <p:nvGrpSpPr>
          <p:cNvPr id="11" name="Group 10"/>
          <p:cNvGrpSpPr/>
          <p:nvPr/>
        </p:nvGrpSpPr>
        <p:grpSpPr>
          <a:xfrm>
            <a:off x="6138598" y="1188678"/>
            <a:ext cx="1882002" cy="986218"/>
            <a:chOff x="6263321" y="1212341"/>
            <a:chExt cx="1920240" cy="1005851"/>
          </a:xfrm>
        </p:grpSpPr>
        <p:sp>
          <p:nvSpPr>
            <p:cNvPr id="45" name="Rectangle 44"/>
            <p:cNvSpPr/>
            <p:nvPr/>
          </p:nvSpPr>
          <p:spPr>
            <a:xfrm>
              <a:off x="6263321" y="1212341"/>
              <a:ext cx="1920240" cy="1005851"/>
            </a:xfrm>
            <a:prstGeom prst="rect">
              <a:avLst/>
            </a:prstGeom>
            <a:solidFill>
              <a:schemeClr val="accent1"/>
            </a:solidFill>
            <a:ln w="10795" cap="flat" cmpd="sng" algn="ctr">
              <a:noFill/>
              <a:prstDash val="solid"/>
            </a:ln>
            <a:effectLst/>
          </p:spPr>
          <p:txBody>
            <a:bodyPr lIns="121872" tIns="60936" rIns="121872" bIns="60936" rtlCol="0" anchor="t" anchorCtr="0"/>
            <a:lstStyle/>
            <a:p>
              <a:pPr defTabSz="896080"/>
              <a:r>
                <a:rPr lang="en-US" sz="1568" dirty="0">
                  <a:gradFill>
                    <a:gsLst>
                      <a:gs pos="0">
                        <a:schemeClr val="bg1"/>
                      </a:gs>
                      <a:gs pos="53000">
                        <a:schemeClr val="bg1"/>
                      </a:gs>
                    </a:gsLst>
                    <a:lin ang="5400000" scaled="0"/>
                  </a:gradFill>
                  <a:ea typeface="Segoe UI" pitchFamily="34" charset="0"/>
                  <a:cs typeface="Segoe UI" pitchFamily="34" charset="0"/>
                </a:rPr>
                <a:t>Taxonomy</a:t>
              </a:r>
            </a:p>
          </p:txBody>
        </p:sp>
        <p:sp>
          <p:nvSpPr>
            <p:cNvPr id="27" name="Freeform 7"/>
            <p:cNvSpPr>
              <a:spLocks noEditPoints="1"/>
            </p:cNvSpPr>
            <p:nvPr/>
          </p:nvSpPr>
          <p:spPr bwMode="black">
            <a:xfrm>
              <a:off x="6943533" y="1553551"/>
              <a:ext cx="559817" cy="560462"/>
            </a:xfrm>
            <a:custGeom>
              <a:avLst/>
              <a:gdLst>
                <a:gd name="T0" fmla="*/ 52 w 300"/>
                <a:gd name="T1" fmla="*/ 268 h 300"/>
                <a:gd name="T2" fmla="*/ 62 w 300"/>
                <a:gd name="T3" fmla="*/ 255 h 300"/>
                <a:gd name="T4" fmla="*/ 77 w 300"/>
                <a:gd name="T5" fmla="*/ 230 h 300"/>
                <a:gd name="T6" fmla="*/ 46 w 300"/>
                <a:gd name="T7" fmla="*/ 204 h 300"/>
                <a:gd name="T8" fmla="*/ 15 w 300"/>
                <a:gd name="T9" fmla="*/ 233 h 300"/>
                <a:gd name="T10" fmla="*/ 33 w 300"/>
                <a:gd name="T11" fmla="*/ 219 h 300"/>
                <a:gd name="T12" fmla="*/ 60 w 300"/>
                <a:gd name="T13" fmla="*/ 219 h 300"/>
                <a:gd name="T14" fmla="*/ 63 w 300"/>
                <a:gd name="T15" fmla="*/ 238 h 300"/>
                <a:gd name="T16" fmla="*/ 46 w 300"/>
                <a:gd name="T17" fmla="*/ 255 h 300"/>
                <a:gd name="T18" fmla="*/ 39 w 300"/>
                <a:gd name="T19" fmla="*/ 275 h 300"/>
                <a:gd name="T20" fmla="*/ 51 w 300"/>
                <a:gd name="T21" fmla="*/ 279 h 300"/>
                <a:gd name="T22" fmla="*/ 51 w 300"/>
                <a:gd name="T23" fmla="*/ 288 h 300"/>
                <a:gd name="T24" fmla="*/ 39 w 300"/>
                <a:gd name="T25" fmla="*/ 300 h 300"/>
                <a:gd name="T26" fmla="*/ 300 w 300"/>
                <a:gd name="T27" fmla="*/ 216 h 300"/>
                <a:gd name="T28" fmla="*/ 218 w 300"/>
                <a:gd name="T29" fmla="*/ 300 h 300"/>
                <a:gd name="T30" fmla="*/ 220 w 300"/>
                <a:gd name="T31" fmla="*/ 263 h 300"/>
                <a:gd name="T32" fmla="*/ 277 w 300"/>
                <a:gd name="T33" fmla="*/ 216 h 300"/>
                <a:gd name="T34" fmla="*/ 149 w 300"/>
                <a:gd name="T35" fmla="*/ 228 h 300"/>
                <a:gd name="T36" fmla="*/ 119 w 300"/>
                <a:gd name="T37" fmla="*/ 242 h 300"/>
                <a:gd name="T38" fmla="*/ 149 w 300"/>
                <a:gd name="T39" fmla="*/ 262 h 300"/>
                <a:gd name="T40" fmla="*/ 177 w 300"/>
                <a:gd name="T41" fmla="*/ 252 h 300"/>
                <a:gd name="T42" fmla="*/ 255 w 300"/>
                <a:gd name="T43" fmla="*/ 75 h 300"/>
                <a:gd name="T44" fmla="*/ 259 w 300"/>
                <a:gd name="T45" fmla="*/ 59 h 300"/>
                <a:gd name="T46" fmla="*/ 278 w 300"/>
                <a:gd name="T47" fmla="*/ 38 h 300"/>
                <a:gd name="T48" fmla="*/ 272 w 300"/>
                <a:gd name="T49" fmla="*/ 8 h 300"/>
                <a:gd name="T50" fmla="*/ 228 w 300"/>
                <a:gd name="T51" fmla="*/ 7 h 300"/>
                <a:gd name="T52" fmla="*/ 231 w 300"/>
                <a:gd name="T53" fmla="*/ 29 h 300"/>
                <a:gd name="T54" fmla="*/ 250 w 300"/>
                <a:gd name="T55" fmla="*/ 10 h 300"/>
                <a:gd name="T56" fmla="*/ 269 w 300"/>
                <a:gd name="T57" fmla="*/ 26 h 300"/>
                <a:gd name="T58" fmla="*/ 259 w 300"/>
                <a:gd name="T59" fmla="*/ 43 h 300"/>
                <a:gd name="T60" fmla="*/ 245 w 300"/>
                <a:gd name="T61" fmla="*/ 59 h 300"/>
                <a:gd name="T62" fmla="*/ 243 w 300"/>
                <a:gd name="T63" fmla="*/ 75 h 300"/>
                <a:gd name="T64" fmla="*/ 255 w 300"/>
                <a:gd name="T65" fmla="*/ 96 h 300"/>
                <a:gd name="T66" fmla="*/ 243 w 300"/>
                <a:gd name="T67" fmla="*/ 84 h 300"/>
                <a:gd name="T68" fmla="*/ 255 w 300"/>
                <a:gd name="T69" fmla="*/ 96 h 300"/>
                <a:gd name="T70" fmla="*/ 49 w 300"/>
                <a:gd name="T71" fmla="*/ 84 h 300"/>
                <a:gd name="T72" fmla="*/ 0 w 300"/>
                <a:gd name="T73" fmla="*/ 47 h 300"/>
                <a:gd name="T74" fmla="*/ 35 w 300"/>
                <a:gd name="T75" fmla="*/ 68 h 300"/>
                <a:gd name="T76" fmla="*/ 102 w 300"/>
                <a:gd name="T77" fmla="*/ 0 h 300"/>
                <a:gd name="T78" fmla="*/ 147 w 300"/>
                <a:gd name="T79" fmla="*/ 58 h 300"/>
                <a:gd name="T80" fmla="*/ 177 w 300"/>
                <a:gd name="T81" fmla="*/ 38 h 300"/>
                <a:gd name="T82" fmla="*/ 147 w 300"/>
                <a:gd name="T83" fmla="*/ 24 h 300"/>
                <a:gd name="T84" fmla="*/ 147 w 300"/>
                <a:gd name="T85" fmla="*/ 72 h 300"/>
                <a:gd name="T86" fmla="*/ 56 w 300"/>
                <a:gd name="T87" fmla="*/ 151 h 300"/>
                <a:gd name="T88" fmla="*/ 36 w 300"/>
                <a:gd name="T89" fmla="*/ 121 h 300"/>
                <a:gd name="T90" fmla="*/ 22 w 300"/>
                <a:gd name="T91" fmla="*/ 151 h 300"/>
                <a:gd name="T92" fmla="*/ 70 w 300"/>
                <a:gd name="T93" fmla="*/ 151 h 300"/>
                <a:gd name="T94" fmla="*/ 240 w 300"/>
                <a:gd name="T95" fmla="*/ 149 h 300"/>
                <a:gd name="T96" fmla="*/ 260 w 300"/>
                <a:gd name="T97" fmla="*/ 179 h 300"/>
                <a:gd name="T98" fmla="*/ 274 w 300"/>
                <a:gd name="T99" fmla="*/ 149 h 300"/>
                <a:gd name="T100" fmla="*/ 226 w 300"/>
                <a:gd name="T101" fmla="*/ 14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0" h="300">
                  <a:moveTo>
                    <a:pt x="51" y="279"/>
                  </a:moveTo>
                  <a:cubicBezTo>
                    <a:pt x="51" y="274"/>
                    <a:pt x="51" y="270"/>
                    <a:pt x="52" y="268"/>
                  </a:cubicBezTo>
                  <a:cubicBezTo>
                    <a:pt x="52" y="266"/>
                    <a:pt x="53" y="264"/>
                    <a:pt x="55" y="263"/>
                  </a:cubicBezTo>
                  <a:cubicBezTo>
                    <a:pt x="56" y="261"/>
                    <a:pt x="58" y="259"/>
                    <a:pt x="62" y="255"/>
                  </a:cubicBezTo>
                  <a:cubicBezTo>
                    <a:pt x="68" y="250"/>
                    <a:pt x="72" y="246"/>
                    <a:pt x="74" y="242"/>
                  </a:cubicBezTo>
                  <a:cubicBezTo>
                    <a:pt x="76" y="239"/>
                    <a:pt x="77" y="235"/>
                    <a:pt x="77" y="230"/>
                  </a:cubicBezTo>
                  <a:cubicBezTo>
                    <a:pt x="77" y="223"/>
                    <a:pt x="74" y="217"/>
                    <a:pt x="68" y="212"/>
                  </a:cubicBezTo>
                  <a:cubicBezTo>
                    <a:pt x="63" y="207"/>
                    <a:pt x="55" y="204"/>
                    <a:pt x="46" y="204"/>
                  </a:cubicBezTo>
                  <a:cubicBezTo>
                    <a:pt x="37" y="204"/>
                    <a:pt x="30" y="206"/>
                    <a:pt x="24" y="211"/>
                  </a:cubicBezTo>
                  <a:cubicBezTo>
                    <a:pt x="18" y="217"/>
                    <a:pt x="15" y="225"/>
                    <a:pt x="15" y="233"/>
                  </a:cubicBezTo>
                  <a:cubicBezTo>
                    <a:pt x="27" y="233"/>
                    <a:pt x="27" y="233"/>
                    <a:pt x="27" y="233"/>
                  </a:cubicBezTo>
                  <a:cubicBezTo>
                    <a:pt x="28" y="227"/>
                    <a:pt x="28" y="223"/>
                    <a:pt x="33" y="219"/>
                  </a:cubicBezTo>
                  <a:cubicBezTo>
                    <a:pt x="37" y="216"/>
                    <a:pt x="41" y="214"/>
                    <a:pt x="46" y="214"/>
                  </a:cubicBezTo>
                  <a:cubicBezTo>
                    <a:pt x="51" y="214"/>
                    <a:pt x="57" y="216"/>
                    <a:pt x="60" y="219"/>
                  </a:cubicBezTo>
                  <a:cubicBezTo>
                    <a:pt x="64" y="223"/>
                    <a:pt x="65" y="226"/>
                    <a:pt x="65" y="230"/>
                  </a:cubicBezTo>
                  <a:cubicBezTo>
                    <a:pt x="65" y="233"/>
                    <a:pt x="64" y="236"/>
                    <a:pt x="63" y="238"/>
                  </a:cubicBezTo>
                  <a:cubicBezTo>
                    <a:pt x="61" y="240"/>
                    <a:pt x="59" y="243"/>
                    <a:pt x="55" y="247"/>
                  </a:cubicBezTo>
                  <a:cubicBezTo>
                    <a:pt x="51" y="251"/>
                    <a:pt x="48" y="253"/>
                    <a:pt x="46" y="255"/>
                  </a:cubicBezTo>
                  <a:cubicBezTo>
                    <a:pt x="44" y="258"/>
                    <a:pt x="42" y="260"/>
                    <a:pt x="41" y="263"/>
                  </a:cubicBezTo>
                  <a:cubicBezTo>
                    <a:pt x="40" y="266"/>
                    <a:pt x="39" y="270"/>
                    <a:pt x="39" y="275"/>
                  </a:cubicBezTo>
                  <a:cubicBezTo>
                    <a:pt x="39" y="276"/>
                    <a:pt x="39" y="277"/>
                    <a:pt x="39" y="279"/>
                  </a:cubicBezTo>
                  <a:lnTo>
                    <a:pt x="51" y="279"/>
                  </a:lnTo>
                  <a:close/>
                  <a:moveTo>
                    <a:pt x="51" y="300"/>
                  </a:moveTo>
                  <a:cubicBezTo>
                    <a:pt x="51" y="288"/>
                    <a:pt x="51" y="288"/>
                    <a:pt x="51" y="288"/>
                  </a:cubicBezTo>
                  <a:cubicBezTo>
                    <a:pt x="39" y="288"/>
                    <a:pt x="39" y="288"/>
                    <a:pt x="39" y="288"/>
                  </a:cubicBezTo>
                  <a:cubicBezTo>
                    <a:pt x="39" y="300"/>
                    <a:pt x="39" y="300"/>
                    <a:pt x="39" y="300"/>
                  </a:cubicBezTo>
                  <a:lnTo>
                    <a:pt x="51" y="300"/>
                  </a:lnTo>
                  <a:close/>
                  <a:moveTo>
                    <a:pt x="300" y="216"/>
                  </a:moveTo>
                  <a:cubicBezTo>
                    <a:pt x="247" y="300"/>
                    <a:pt x="247" y="300"/>
                    <a:pt x="247" y="300"/>
                  </a:cubicBezTo>
                  <a:cubicBezTo>
                    <a:pt x="218" y="300"/>
                    <a:pt x="218" y="300"/>
                    <a:pt x="218" y="300"/>
                  </a:cubicBezTo>
                  <a:cubicBezTo>
                    <a:pt x="198" y="263"/>
                    <a:pt x="198" y="263"/>
                    <a:pt x="198" y="263"/>
                  </a:cubicBezTo>
                  <a:cubicBezTo>
                    <a:pt x="220" y="263"/>
                    <a:pt x="220" y="263"/>
                    <a:pt x="220" y="263"/>
                  </a:cubicBezTo>
                  <a:cubicBezTo>
                    <a:pt x="233" y="285"/>
                    <a:pt x="233" y="285"/>
                    <a:pt x="233" y="285"/>
                  </a:cubicBezTo>
                  <a:cubicBezTo>
                    <a:pt x="277" y="216"/>
                    <a:pt x="277" y="216"/>
                    <a:pt x="277" y="216"/>
                  </a:cubicBezTo>
                  <a:lnTo>
                    <a:pt x="300" y="216"/>
                  </a:lnTo>
                  <a:close/>
                  <a:moveTo>
                    <a:pt x="149" y="228"/>
                  </a:moveTo>
                  <a:cubicBezTo>
                    <a:pt x="149" y="242"/>
                    <a:pt x="149" y="242"/>
                    <a:pt x="149" y="242"/>
                  </a:cubicBezTo>
                  <a:cubicBezTo>
                    <a:pt x="119" y="242"/>
                    <a:pt x="119" y="242"/>
                    <a:pt x="119" y="242"/>
                  </a:cubicBezTo>
                  <a:cubicBezTo>
                    <a:pt x="119" y="262"/>
                    <a:pt x="119" y="262"/>
                    <a:pt x="119" y="262"/>
                  </a:cubicBezTo>
                  <a:cubicBezTo>
                    <a:pt x="149" y="262"/>
                    <a:pt x="149" y="262"/>
                    <a:pt x="149" y="262"/>
                  </a:cubicBezTo>
                  <a:cubicBezTo>
                    <a:pt x="149" y="276"/>
                    <a:pt x="149" y="276"/>
                    <a:pt x="149" y="276"/>
                  </a:cubicBezTo>
                  <a:cubicBezTo>
                    <a:pt x="177" y="252"/>
                    <a:pt x="177" y="252"/>
                    <a:pt x="177" y="252"/>
                  </a:cubicBezTo>
                  <a:lnTo>
                    <a:pt x="149" y="228"/>
                  </a:lnTo>
                  <a:close/>
                  <a:moveTo>
                    <a:pt x="255" y="75"/>
                  </a:moveTo>
                  <a:cubicBezTo>
                    <a:pt x="255" y="70"/>
                    <a:pt x="255" y="66"/>
                    <a:pt x="256" y="64"/>
                  </a:cubicBezTo>
                  <a:cubicBezTo>
                    <a:pt x="256" y="62"/>
                    <a:pt x="257" y="60"/>
                    <a:pt x="259" y="59"/>
                  </a:cubicBezTo>
                  <a:cubicBezTo>
                    <a:pt x="260" y="57"/>
                    <a:pt x="262" y="55"/>
                    <a:pt x="266" y="51"/>
                  </a:cubicBezTo>
                  <a:cubicBezTo>
                    <a:pt x="272" y="46"/>
                    <a:pt x="276" y="42"/>
                    <a:pt x="278" y="38"/>
                  </a:cubicBezTo>
                  <a:cubicBezTo>
                    <a:pt x="280" y="35"/>
                    <a:pt x="281" y="31"/>
                    <a:pt x="281" y="26"/>
                  </a:cubicBezTo>
                  <a:cubicBezTo>
                    <a:pt x="281" y="19"/>
                    <a:pt x="278" y="13"/>
                    <a:pt x="272" y="8"/>
                  </a:cubicBezTo>
                  <a:cubicBezTo>
                    <a:pt x="267" y="3"/>
                    <a:pt x="259" y="0"/>
                    <a:pt x="250" y="0"/>
                  </a:cubicBezTo>
                  <a:cubicBezTo>
                    <a:pt x="241" y="0"/>
                    <a:pt x="234" y="2"/>
                    <a:pt x="228" y="7"/>
                  </a:cubicBezTo>
                  <a:cubicBezTo>
                    <a:pt x="222" y="13"/>
                    <a:pt x="219" y="21"/>
                    <a:pt x="219" y="29"/>
                  </a:cubicBezTo>
                  <a:cubicBezTo>
                    <a:pt x="231" y="29"/>
                    <a:pt x="231" y="29"/>
                    <a:pt x="231" y="29"/>
                  </a:cubicBezTo>
                  <a:cubicBezTo>
                    <a:pt x="232" y="23"/>
                    <a:pt x="232" y="19"/>
                    <a:pt x="237" y="15"/>
                  </a:cubicBezTo>
                  <a:cubicBezTo>
                    <a:pt x="241" y="12"/>
                    <a:pt x="245" y="10"/>
                    <a:pt x="250" y="10"/>
                  </a:cubicBezTo>
                  <a:cubicBezTo>
                    <a:pt x="255" y="10"/>
                    <a:pt x="261" y="12"/>
                    <a:pt x="264" y="15"/>
                  </a:cubicBezTo>
                  <a:cubicBezTo>
                    <a:pt x="268" y="19"/>
                    <a:pt x="269" y="22"/>
                    <a:pt x="269" y="26"/>
                  </a:cubicBezTo>
                  <a:cubicBezTo>
                    <a:pt x="269" y="29"/>
                    <a:pt x="268" y="32"/>
                    <a:pt x="267" y="34"/>
                  </a:cubicBezTo>
                  <a:cubicBezTo>
                    <a:pt x="265" y="36"/>
                    <a:pt x="263" y="39"/>
                    <a:pt x="259" y="43"/>
                  </a:cubicBezTo>
                  <a:cubicBezTo>
                    <a:pt x="255" y="47"/>
                    <a:pt x="252" y="49"/>
                    <a:pt x="250" y="51"/>
                  </a:cubicBezTo>
                  <a:cubicBezTo>
                    <a:pt x="248" y="54"/>
                    <a:pt x="246" y="56"/>
                    <a:pt x="245" y="59"/>
                  </a:cubicBezTo>
                  <a:cubicBezTo>
                    <a:pt x="244" y="62"/>
                    <a:pt x="243" y="66"/>
                    <a:pt x="243" y="71"/>
                  </a:cubicBezTo>
                  <a:cubicBezTo>
                    <a:pt x="243" y="72"/>
                    <a:pt x="243" y="73"/>
                    <a:pt x="243" y="75"/>
                  </a:cubicBezTo>
                  <a:lnTo>
                    <a:pt x="255" y="75"/>
                  </a:lnTo>
                  <a:close/>
                  <a:moveTo>
                    <a:pt x="255" y="96"/>
                  </a:moveTo>
                  <a:cubicBezTo>
                    <a:pt x="255" y="84"/>
                    <a:pt x="255" y="84"/>
                    <a:pt x="255" y="84"/>
                  </a:cubicBezTo>
                  <a:cubicBezTo>
                    <a:pt x="243" y="84"/>
                    <a:pt x="243" y="84"/>
                    <a:pt x="243" y="84"/>
                  </a:cubicBezTo>
                  <a:cubicBezTo>
                    <a:pt x="243" y="96"/>
                    <a:pt x="243" y="96"/>
                    <a:pt x="243" y="96"/>
                  </a:cubicBezTo>
                  <a:lnTo>
                    <a:pt x="255" y="96"/>
                  </a:lnTo>
                  <a:close/>
                  <a:moveTo>
                    <a:pt x="102" y="0"/>
                  </a:moveTo>
                  <a:cubicBezTo>
                    <a:pt x="49" y="84"/>
                    <a:pt x="49" y="84"/>
                    <a:pt x="49" y="84"/>
                  </a:cubicBezTo>
                  <a:cubicBezTo>
                    <a:pt x="20" y="84"/>
                    <a:pt x="20" y="84"/>
                    <a:pt x="20" y="84"/>
                  </a:cubicBezTo>
                  <a:cubicBezTo>
                    <a:pt x="0" y="47"/>
                    <a:pt x="0" y="47"/>
                    <a:pt x="0" y="47"/>
                  </a:cubicBezTo>
                  <a:cubicBezTo>
                    <a:pt x="22" y="47"/>
                    <a:pt x="22" y="47"/>
                    <a:pt x="22" y="47"/>
                  </a:cubicBezTo>
                  <a:cubicBezTo>
                    <a:pt x="35" y="68"/>
                    <a:pt x="35" y="68"/>
                    <a:pt x="35" y="68"/>
                  </a:cubicBezTo>
                  <a:cubicBezTo>
                    <a:pt x="79" y="0"/>
                    <a:pt x="79" y="0"/>
                    <a:pt x="79" y="0"/>
                  </a:cubicBezTo>
                  <a:lnTo>
                    <a:pt x="102" y="0"/>
                  </a:lnTo>
                  <a:close/>
                  <a:moveTo>
                    <a:pt x="147" y="72"/>
                  </a:moveTo>
                  <a:cubicBezTo>
                    <a:pt x="147" y="58"/>
                    <a:pt x="147" y="58"/>
                    <a:pt x="147" y="58"/>
                  </a:cubicBezTo>
                  <a:cubicBezTo>
                    <a:pt x="177" y="58"/>
                    <a:pt x="177" y="58"/>
                    <a:pt x="177" y="58"/>
                  </a:cubicBezTo>
                  <a:cubicBezTo>
                    <a:pt x="177" y="38"/>
                    <a:pt x="177" y="38"/>
                    <a:pt x="177" y="38"/>
                  </a:cubicBezTo>
                  <a:cubicBezTo>
                    <a:pt x="147" y="38"/>
                    <a:pt x="147" y="38"/>
                    <a:pt x="147" y="38"/>
                  </a:cubicBezTo>
                  <a:cubicBezTo>
                    <a:pt x="147" y="24"/>
                    <a:pt x="147" y="24"/>
                    <a:pt x="147" y="24"/>
                  </a:cubicBezTo>
                  <a:cubicBezTo>
                    <a:pt x="119" y="48"/>
                    <a:pt x="119" y="48"/>
                    <a:pt x="119" y="48"/>
                  </a:cubicBezTo>
                  <a:lnTo>
                    <a:pt x="147" y="72"/>
                  </a:lnTo>
                  <a:close/>
                  <a:moveTo>
                    <a:pt x="70" y="151"/>
                  </a:moveTo>
                  <a:cubicBezTo>
                    <a:pt x="56" y="151"/>
                    <a:pt x="56" y="151"/>
                    <a:pt x="56" y="151"/>
                  </a:cubicBezTo>
                  <a:cubicBezTo>
                    <a:pt x="56" y="121"/>
                    <a:pt x="56" y="121"/>
                    <a:pt x="56" y="121"/>
                  </a:cubicBezTo>
                  <a:cubicBezTo>
                    <a:pt x="36" y="121"/>
                    <a:pt x="36" y="121"/>
                    <a:pt x="36" y="121"/>
                  </a:cubicBezTo>
                  <a:cubicBezTo>
                    <a:pt x="36" y="151"/>
                    <a:pt x="36" y="151"/>
                    <a:pt x="36" y="151"/>
                  </a:cubicBezTo>
                  <a:cubicBezTo>
                    <a:pt x="22" y="151"/>
                    <a:pt x="22" y="151"/>
                    <a:pt x="22" y="151"/>
                  </a:cubicBezTo>
                  <a:cubicBezTo>
                    <a:pt x="46" y="179"/>
                    <a:pt x="46" y="179"/>
                    <a:pt x="46" y="179"/>
                  </a:cubicBezTo>
                  <a:lnTo>
                    <a:pt x="70" y="151"/>
                  </a:lnTo>
                  <a:close/>
                  <a:moveTo>
                    <a:pt x="226" y="149"/>
                  </a:moveTo>
                  <a:cubicBezTo>
                    <a:pt x="240" y="149"/>
                    <a:pt x="240" y="149"/>
                    <a:pt x="240" y="149"/>
                  </a:cubicBezTo>
                  <a:cubicBezTo>
                    <a:pt x="240" y="179"/>
                    <a:pt x="240" y="179"/>
                    <a:pt x="240" y="179"/>
                  </a:cubicBezTo>
                  <a:cubicBezTo>
                    <a:pt x="260" y="179"/>
                    <a:pt x="260" y="179"/>
                    <a:pt x="260" y="179"/>
                  </a:cubicBezTo>
                  <a:cubicBezTo>
                    <a:pt x="260" y="149"/>
                    <a:pt x="260" y="149"/>
                    <a:pt x="260" y="149"/>
                  </a:cubicBezTo>
                  <a:cubicBezTo>
                    <a:pt x="274" y="149"/>
                    <a:pt x="274" y="149"/>
                    <a:pt x="274" y="149"/>
                  </a:cubicBezTo>
                  <a:cubicBezTo>
                    <a:pt x="250" y="121"/>
                    <a:pt x="250" y="121"/>
                    <a:pt x="250" y="121"/>
                  </a:cubicBezTo>
                  <a:lnTo>
                    <a:pt x="226" y="149"/>
                  </a:lnTo>
                  <a:close/>
                </a:path>
              </a:pathLst>
            </a:custGeom>
            <a:solidFill>
              <a:srgbClr val="FFFFFF"/>
            </a:solidFill>
            <a:ln>
              <a:noFill/>
            </a:ln>
          </p:spPr>
          <p:txBody>
            <a:bodyPr vert="horz" wrap="square" lIns="0" tIns="41153" rIns="82305" bIns="41153" numCol="1" anchor="t" anchorCtr="0" compatLnSpc="1">
              <a:prstTxWarp prst="textNoShape">
                <a:avLst/>
              </a:prstTxWarp>
            </a:bodyPr>
            <a:lstStyle/>
            <a:p>
              <a:pPr algn="ctr" defTabSz="896259"/>
              <a:endParaRPr lang="en-US" sz="1568">
                <a:gradFill>
                  <a:gsLst>
                    <a:gs pos="0">
                      <a:srgbClr val="FFFFFF"/>
                    </a:gs>
                    <a:gs pos="100000">
                      <a:srgbClr val="FFFFFF"/>
                    </a:gs>
                  </a:gsLst>
                  <a:lin ang="5400000" scaled="0"/>
                </a:gradFill>
              </a:endParaRPr>
            </a:p>
          </p:txBody>
        </p:sp>
      </p:grpSp>
      <p:grpSp>
        <p:nvGrpSpPr>
          <p:cNvPr id="12" name="Group 11"/>
          <p:cNvGrpSpPr/>
          <p:nvPr/>
        </p:nvGrpSpPr>
        <p:grpSpPr>
          <a:xfrm>
            <a:off x="8091092" y="1188678"/>
            <a:ext cx="1882002" cy="986218"/>
            <a:chOff x="8255485" y="1212341"/>
            <a:chExt cx="1920240" cy="1005851"/>
          </a:xfrm>
        </p:grpSpPr>
        <p:sp>
          <p:nvSpPr>
            <p:cNvPr id="46" name="Rectangle 45"/>
            <p:cNvSpPr/>
            <p:nvPr/>
          </p:nvSpPr>
          <p:spPr>
            <a:xfrm>
              <a:off x="8255485" y="1212341"/>
              <a:ext cx="1920240" cy="1005851"/>
            </a:xfrm>
            <a:prstGeom prst="rect">
              <a:avLst/>
            </a:prstGeom>
            <a:solidFill>
              <a:schemeClr val="accent1"/>
            </a:solidFill>
            <a:ln w="10795" cap="flat" cmpd="sng" algn="ctr">
              <a:noFill/>
              <a:prstDash val="solid"/>
            </a:ln>
            <a:effectLst/>
          </p:spPr>
          <p:txBody>
            <a:bodyPr lIns="121872" tIns="60936" rIns="121872" bIns="60936" rtlCol="0" anchor="t" anchorCtr="0"/>
            <a:lstStyle/>
            <a:p>
              <a:pPr defTabSz="896080"/>
              <a:r>
                <a:rPr lang="en-US" sz="1568" dirty="0" smtClean="0">
                  <a:gradFill>
                    <a:gsLst>
                      <a:gs pos="0">
                        <a:schemeClr val="bg1"/>
                      </a:gs>
                      <a:gs pos="53000">
                        <a:schemeClr val="bg1"/>
                      </a:gs>
                    </a:gsLst>
                    <a:lin ang="5400000" scaled="0"/>
                  </a:gradFill>
                  <a:ea typeface="Segoe UI" pitchFamily="34" charset="0"/>
                  <a:cs typeface="Segoe UI" pitchFamily="34" charset="0"/>
                </a:rPr>
                <a:t>BCS</a:t>
              </a:r>
              <a:endParaRPr lang="en-US" sz="1568" dirty="0">
                <a:gradFill>
                  <a:gsLst>
                    <a:gs pos="0">
                      <a:schemeClr val="bg1"/>
                    </a:gs>
                    <a:gs pos="53000">
                      <a:schemeClr val="bg1"/>
                    </a:gs>
                  </a:gsLst>
                  <a:lin ang="5400000" scaled="0"/>
                </a:gradFill>
                <a:ea typeface="Segoe UI" pitchFamily="34" charset="0"/>
                <a:cs typeface="Segoe UI" pitchFamily="34" charset="0"/>
              </a:endParaRPr>
            </a:p>
          </p:txBody>
        </p:sp>
        <p:sp>
          <p:nvSpPr>
            <p:cNvPr id="28" name="Freeform 89"/>
            <p:cNvSpPr>
              <a:spLocks noEditPoints="1"/>
            </p:cNvSpPr>
            <p:nvPr/>
          </p:nvSpPr>
          <p:spPr bwMode="black">
            <a:xfrm>
              <a:off x="8856060" y="1647255"/>
              <a:ext cx="719091" cy="462897"/>
            </a:xfrm>
            <a:custGeom>
              <a:avLst/>
              <a:gdLst>
                <a:gd name="T0" fmla="*/ 350 w 3153"/>
                <a:gd name="T1" fmla="*/ 935 h 2031"/>
                <a:gd name="T2" fmla="*/ 788 w 3153"/>
                <a:gd name="T3" fmla="*/ 0 h 2031"/>
                <a:gd name="T4" fmla="*/ 2918 w 3153"/>
                <a:gd name="T5" fmla="*/ 1882 h 2031"/>
                <a:gd name="T6" fmla="*/ 2403 w 3153"/>
                <a:gd name="T7" fmla="*/ 1493 h 2031"/>
                <a:gd name="T8" fmla="*/ 2244 w 3153"/>
                <a:gd name="T9" fmla="*/ 1424 h 2031"/>
                <a:gd name="T10" fmla="*/ 2391 w 3153"/>
                <a:gd name="T11" fmla="*/ 1458 h 2031"/>
                <a:gd name="T12" fmla="*/ 1437 w 3153"/>
                <a:gd name="T13" fmla="*/ 1486 h 2031"/>
                <a:gd name="T14" fmla="*/ 1460 w 3153"/>
                <a:gd name="T15" fmla="*/ 1427 h 2031"/>
                <a:gd name="T16" fmla="*/ 1588 w 3153"/>
                <a:gd name="T17" fmla="*/ 1440 h 2031"/>
                <a:gd name="T18" fmla="*/ 1563 w 3153"/>
                <a:gd name="T19" fmla="*/ 1636 h 2031"/>
                <a:gd name="T20" fmla="*/ 1421 w 3153"/>
                <a:gd name="T21" fmla="*/ 1612 h 2031"/>
                <a:gd name="T22" fmla="*/ 1170 w 3153"/>
                <a:gd name="T23" fmla="*/ 1604 h 2031"/>
                <a:gd name="T24" fmla="*/ 1340 w 3153"/>
                <a:gd name="T25" fmla="*/ 1589 h 2031"/>
                <a:gd name="T26" fmla="*/ 1175 w 3153"/>
                <a:gd name="T27" fmla="*/ 1631 h 2031"/>
                <a:gd name="T28" fmla="*/ 1228 w 3153"/>
                <a:gd name="T29" fmla="*/ 1433 h 2031"/>
                <a:gd name="T30" fmla="*/ 1366 w 3153"/>
                <a:gd name="T31" fmla="*/ 1441 h 2031"/>
                <a:gd name="T32" fmla="*/ 916 w 3153"/>
                <a:gd name="T33" fmla="*/ 1607 h 2031"/>
                <a:gd name="T34" fmla="*/ 1099 w 3153"/>
                <a:gd name="T35" fmla="*/ 1564 h 2031"/>
                <a:gd name="T36" fmla="*/ 911 w 3153"/>
                <a:gd name="T37" fmla="*/ 1624 h 2031"/>
                <a:gd name="T38" fmla="*/ 832 w 3153"/>
                <a:gd name="T39" fmla="*/ 1503 h 2031"/>
                <a:gd name="T40" fmla="*/ 922 w 3153"/>
                <a:gd name="T41" fmla="*/ 1437 h 2031"/>
                <a:gd name="T42" fmla="*/ 999 w 3153"/>
                <a:gd name="T43" fmla="*/ 1440 h 2031"/>
                <a:gd name="T44" fmla="*/ 1143 w 3153"/>
                <a:gd name="T45" fmla="*/ 1436 h 2031"/>
                <a:gd name="T46" fmla="*/ 1113 w 3153"/>
                <a:gd name="T47" fmla="*/ 1496 h 2031"/>
                <a:gd name="T48" fmla="*/ 692 w 3153"/>
                <a:gd name="T49" fmla="*/ 1804 h 2031"/>
                <a:gd name="T50" fmla="*/ 574 w 3153"/>
                <a:gd name="T51" fmla="*/ 1739 h 2031"/>
                <a:gd name="T52" fmla="*/ 656 w 3153"/>
                <a:gd name="T53" fmla="*/ 1687 h 2031"/>
                <a:gd name="T54" fmla="*/ 823 w 3153"/>
                <a:gd name="T55" fmla="*/ 1619 h 2031"/>
                <a:gd name="T56" fmla="*/ 669 w 3153"/>
                <a:gd name="T57" fmla="*/ 1638 h 2031"/>
                <a:gd name="T58" fmla="*/ 713 w 3153"/>
                <a:gd name="T59" fmla="*/ 1551 h 2031"/>
                <a:gd name="T60" fmla="*/ 828 w 3153"/>
                <a:gd name="T61" fmla="*/ 1613 h 2031"/>
                <a:gd name="T62" fmla="*/ 1570 w 3153"/>
                <a:gd name="T63" fmla="*/ 1798 h 2031"/>
                <a:gd name="T64" fmla="*/ 850 w 3153"/>
                <a:gd name="T65" fmla="*/ 1803 h 2031"/>
                <a:gd name="T66" fmla="*/ 882 w 3153"/>
                <a:gd name="T67" fmla="*/ 1698 h 2031"/>
                <a:gd name="T68" fmla="*/ 1563 w 3153"/>
                <a:gd name="T69" fmla="*/ 1687 h 2031"/>
                <a:gd name="T70" fmla="*/ 1670 w 3153"/>
                <a:gd name="T71" fmla="*/ 1489 h 2031"/>
                <a:gd name="T72" fmla="*/ 1693 w 3153"/>
                <a:gd name="T73" fmla="*/ 1424 h 2031"/>
                <a:gd name="T74" fmla="*/ 1793 w 3153"/>
                <a:gd name="T75" fmla="*/ 1500 h 2031"/>
                <a:gd name="T76" fmla="*/ 1675 w 3153"/>
                <a:gd name="T77" fmla="*/ 1612 h 2031"/>
                <a:gd name="T78" fmla="*/ 1843 w 3153"/>
                <a:gd name="T79" fmla="*/ 1621 h 2031"/>
                <a:gd name="T80" fmla="*/ 1804 w 3153"/>
                <a:gd name="T81" fmla="*/ 1637 h 2031"/>
                <a:gd name="T82" fmla="*/ 1866 w 3153"/>
                <a:gd name="T83" fmla="*/ 1793 h 2031"/>
                <a:gd name="T84" fmla="*/ 1690 w 3153"/>
                <a:gd name="T85" fmla="*/ 1778 h 2031"/>
                <a:gd name="T86" fmla="*/ 1686 w 3153"/>
                <a:gd name="T87" fmla="*/ 1702 h 2031"/>
                <a:gd name="T88" fmla="*/ 1724 w 3153"/>
                <a:gd name="T89" fmla="*/ 1685 h 2031"/>
                <a:gd name="T90" fmla="*/ 1843 w 3153"/>
                <a:gd name="T91" fmla="*/ 1691 h 2031"/>
                <a:gd name="T92" fmla="*/ 2009 w 3153"/>
                <a:gd name="T93" fmla="*/ 1439 h 2031"/>
                <a:gd name="T94" fmla="*/ 2140 w 3153"/>
                <a:gd name="T95" fmla="*/ 1428 h 2031"/>
                <a:gd name="T96" fmla="*/ 2161 w 3153"/>
                <a:gd name="T97" fmla="*/ 1499 h 2031"/>
                <a:gd name="T98" fmla="*/ 2064 w 3153"/>
                <a:gd name="T99" fmla="*/ 1588 h 2031"/>
                <a:gd name="T100" fmla="*/ 2218 w 3153"/>
                <a:gd name="T101" fmla="*/ 1565 h 2031"/>
                <a:gd name="T102" fmla="*/ 2225 w 3153"/>
                <a:gd name="T103" fmla="*/ 1634 h 2031"/>
                <a:gd name="T104" fmla="*/ 2319 w 3153"/>
                <a:gd name="T105" fmla="*/ 1790 h 2031"/>
                <a:gd name="T106" fmla="*/ 2131 w 3153"/>
                <a:gd name="T107" fmla="*/ 1770 h 2031"/>
                <a:gd name="T108" fmla="*/ 2145 w 3153"/>
                <a:gd name="T109" fmla="*/ 1683 h 2031"/>
                <a:gd name="T110" fmla="*/ 2340 w 3153"/>
                <a:gd name="T111" fmla="*/ 1624 h 2031"/>
                <a:gd name="T112" fmla="*/ 2463 w 3153"/>
                <a:gd name="T113" fmla="*/ 1564 h 2031"/>
                <a:gd name="T114" fmla="*/ 2434 w 3153"/>
                <a:gd name="T115" fmla="*/ 1636 h 2031"/>
                <a:gd name="T116" fmla="*/ 2415 w 3153"/>
                <a:gd name="T117" fmla="*/ 1769 h 2031"/>
                <a:gd name="T118" fmla="*/ 2500 w 3153"/>
                <a:gd name="T119" fmla="*/ 1683 h 2031"/>
                <a:gd name="T120" fmla="*/ 2605 w 3153"/>
                <a:gd name="T121" fmla="*/ 1791 h 20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153" h="2031">
                  <a:moveTo>
                    <a:pt x="448" y="830"/>
                  </a:moveTo>
                  <a:cubicBezTo>
                    <a:pt x="368" y="755"/>
                    <a:pt x="368" y="615"/>
                    <a:pt x="448" y="539"/>
                  </a:cubicBezTo>
                  <a:cubicBezTo>
                    <a:pt x="393" y="549"/>
                    <a:pt x="339" y="610"/>
                    <a:pt x="339" y="685"/>
                  </a:cubicBezTo>
                  <a:cubicBezTo>
                    <a:pt x="339" y="759"/>
                    <a:pt x="393" y="820"/>
                    <a:pt x="448" y="830"/>
                  </a:cubicBezTo>
                  <a:close/>
                  <a:moveTo>
                    <a:pt x="2814" y="685"/>
                  </a:moveTo>
                  <a:cubicBezTo>
                    <a:pt x="2815" y="610"/>
                    <a:pt x="2761" y="549"/>
                    <a:pt x="2706" y="539"/>
                  </a:cubicBezTo>
                  <a:cubicBezTo>
                    <a:pt x="2786" y="615"/>
                    <a:pt x="2786" y="755"/>
                    <a:pt x="2706" y="830"/>
                  </a:cubicBezTo>
                  <a:cubicBezTo>
                    <a:pt x="2761" y="820"/>
                    <a:pt x="2815" y="759"/>
                    <a:pt x="2814" y="685"/>
                  </a:cubicBezTo>
                  <a:close/>
                  <a:moveTo>
                    <a:pt x="2804" y="935"/>
                  </a:moveTo>
                  <a:cubicBezTo>
                    <a:pt x="2886" y="904"/>
                    <a:pt x="2970" y="808"/>
                    <a:pt x="2969" y="685"/>
                  </a:cubicBezTo>
                  <a:cubicBezTo>
                    <a:pt x="2970" y="561"/>
                    <a:pt x="2886" y="465"/>
                    <a:pt x="2804" y="434"/>
                  </a:cubicBezTo>
                  <a:cubicBezTo>
                    <a:pt x="2871" y="501"/>
                    <a:pt x="2915" y="591"/>
                    <a:pt x="2914" y="685"/>
                  </a:cubicBezTo>
                  <a:cubicBezTo>
                    <a:pt x="2915" y="778"/>
                    <a:pt x="2871" y="868"/>
                    <a:pt x="2804" y="935"/>
                  </a:cubicBezTo>
                  <a:close/>
                  <a:moveTo>
                    <a:pt x="350" y="935"/>
                  </a:moveTo>
                  <a:cubicBezTo>
                    <a:pt x="282" y="868"/>
                    <a:pt x="239" y="778"/>
                    <a:pt x="239" y="685"/>
                  </a:cubicBezTo>
                  <a:cubicBezTo>
                    <a:pt x="239" y="591"/>
                    <a:pt x="282" y="501"/>
                    <a:pt x="350" y="434"/>
                  </a:cubicBezTo>
                  <a:cubicBezTo>
                    <a:pt x="267" y="465"/>
                    <a:pt x="183" y="561"/>
                    <a:pt x="184" y="685"/>
                  </a:cubicBezTo>
                  <a:cubicBezTo>
                    <a:pt x="183" y="808"/>
                    <a:pt x="267" y="904"/>
                    <a:pt x="350" y="935"/>
                  </a:cubicBezTo>
                  <a:close/>
                  <a:moveTo>
                    <a:pt x="2877" y="1804"/>
                  </a:moveTo>
                  <a:cubicBezTo>
                    <a:pt x="2844" y="1765"/>
                    <a:pt x="2811" y="1726"/>
                    <a:pt x="2778" y="1687"/>
                  </a:cubicBezTo>
                  <a:cubicBezTo>
                    <a:pt x="2705" y="1601"/>
                    <a:pt x="2633" y="1516"/>
                    <a:pt x="2560" y="1430"/>
                  </a:cubicBezTo>
                  <a:cubicBezTo>
                    <a:pt x="2557" y="1426"/>
                    <a:pt x="2553" y="1421"/>
                    <a:pt x="2549" y="1417"/>
                  </a:cubicBezTo>
                  <a:cubicBezTo>
                    <a:pt x="2534" y="1399"/>
                    <a:pt x="2511" y="1389"/>
                    <a:pt x="2489" y="1381"/>
                  </a:cubicBezTo>
                  <a:cubicBezTo>
                    <a:pt x="2466" y="1373"/>
                    <a:pt x="2441" y="1368"/>
                    <a:pt x="2416" y="1367"/>
                  </a:cubicBezTo>
                  <a:cubicBezTo>
                    <a:pt x="2503" y="1344"/>
                    <a:pt x="2567" y="1266"/>
                    <a:pt x="2567" y="1172"/>
                  </a:cubicBezTo>
                  <a:cubicBezTo>
                    <a:pt x="2567" y="202"/>
                    <a:pt x="2567" y="202"/>
                    <a:pt x="2567" y="202"/>
                  </a:cubicBezTo>
                  <a:cubicBezTo>
                    <a:pt x="2567" y="90"/>
                    <a:pt x="2476" y="0"/>
                    <a:pt x="2365" y="0"/>
                  </a:cubicBezTo>
                  <a:cubicBezTo>
                    <a:pt x="788" y="0"/>
                    <a:pt x="788" y="0"/>
                    <a:pt x="788" y="0"/>
                  </a:cubicBezTo>
                  <a:cubicBezTo>
                    <a:pt x="677" y="0"/>
                    <a:pt x="586" y="90"/>
                    <a:pt x="586" y="202"/>
                  </a:cubicBezTo>
                  <a:cubicBezTo>
                    <a:pt x="586" y="1172"/>
                    <a:pt x="586" y="1172"/>
                    <a:pt x="586" y="1172"/>
                  </a:cubicBezTo>
                  <a:cubicBezTo>
                    <a:pt x="586" y="1266"/>
                    <a:pt x="651" y="1345"/>
                    <a:pt x="738" y="1368"/>
                  </a:cubicBezTo>
                  <a:cubicBezTo>
                    <a:pt x="689" y="1370"/>
                    <a:pt x="633" y="1388"/>
                    <a:pt x="600" y="1426"/>
                  </a:cubicBezTo>
                  <a:cubicBezTo>
                    <a:pt x="575" y="1457"/>
                    <a:pt x="549" y="1487"/>
                    <a:pt x="524" y="1518"/>
                  </a:cubicBezTo>
                  <a:cubicBezTo>
                    <a:pt x="446" y="1610"/>
                    <a:pt x="368" y="1703"/>
                    <a:pt x="290" y="1796"/>
                  </a:cubicBezTo>
                  <a:cubicBezTo>
                    <a:pt x="271" y="1819"/>
                    <a:pt x="235" y="1852"/>
                    <a:pt x="235" y="1884"/>
                  </a:cubicBezTo>
                  <a:cubicBezTo>
                    <a:pt x="235" y="1971"/>
                    <a:pt x="235" y="1971"/>
                    <a:pt x="235" y="1971"/>
                  </a:cubicBezTo>
                  <a:cubicBezTo>
                    <a:pt x="236" y="1982"/>
                    <a:pt x="238" y="1993"/>
                    <a:pt x="244" y="2002"/>
                  </a:cubicBezTo>
                  <a:cubicBezTo>
                    <a:pt x="264" y="2030"/>
                    <a:pt x="304" y="2031"/>
                    <a:pt x="336" y="2031"/>
                  </a:cubicBezTo>
                  <a:cubicBezTo>
                    <a:pt x="380" y="2031"/>
                    <a:pt x="2688" y="2031"/>
                    <a:pt x="2758" y="2031"/>
                  </a:cubicBezTo>
                  <a:cubicBezTo>
                    <a:pt x="2792" y="2031"/>
                    <a:pt x="2831" y="2027"/>
                    <a:pt x="2865" y="2020"/>
                  </a:cubicBezTo>
                  <a:cubicBezTo>
                    <a:pt x="2888" y="2016"/>
                    <a:pt x="2915" y="2003"/>
                    <a:pt x="2918" y="1976"/>
                  </a:cubicBezTo>
                  <a:cubicBezTo>
                    <a:pt x="2918" y="1882"/>
                    <a:pt x="2918" y="1882"/>
                    <a:pt x="2918" y="1882"/>
                  </a:cubicBezTo>
                  <a:cubicBezTo>
                    <a:pt x="2921" y="1861"/>
                    <a:pt x="2909" y="1841"/>
                    <a:pt x="2896" y="1826"/>
                  </a:cubicBezTo>
                  <a:cubicBezTo>
                    <a:pt x="2889" y="1818"/>
                    <a:pt x="2883" y="1811"/>
                    <a:pt x="2877" y="1804"/>
                  </a:cubicBezTo>
                  <a:close/>
                  <a:moveTo>
                    <a:pt x="705" y="1159"/>
                  </a:moveTo>
                  <a:cubicBezTo>
                    <a:pt x="705" y="215"/>
                    <a:pt x="705" y="215"/>
                    <a:pt x="705" y="215"/>
                  </a:cubicBezTo>
                  <a:cubicBezTo>
                    <a:pt x="705" y="157"/>
                    <a:pt x="752" y="111"/>
                    <a:pt x="809" y="111"/>
                  </a:cubicBezTo>
                  <a:cubicBezTo>
                    <a:pt x="2344" y="111"/>
                    <a:pt x="2344" y="111"/>
                    <a:pt x="2344" y="111"/>
                  </a:cubicBezTo>
                  <a:cubicBezTo>
                    <a:pt x="2401" y="111"/>
                    <a:pt x="2448" y="157"/>
                    <a:pt x="2448" y="215"/>
                  </a:cubicBezTo>
                  <a:cubicBezTo>
                    <a:pt x="2448" y="1159"/>
                    <a:pt x="2448" y="1159"/>
                    <a:pt x="2448" y="1159"/>
                  </a:cubicBezTo>
                  <a:cubicBezTo>
                    <a:pt x="2448" y="1216"/>
                    <a:pt x="2401" y="1263"/>
                    <a:pt x="2344" y="1263"/>
                  </a:cubicBezTo>
                  <a:cubicBezTo>
                    <a:pt x="809" y="1263"/>
                    <a:pt x="809" y="1263"/>
                    <a:pt x="809" y="1263"/>
                  </a:cubicBezTo>
                  <a:cubicBezTo>
                    <a:pt x="752" y="1263"/>
                    <a:pt x="705" y="1216"/>
                    <a:pt x="705" y="1159"/>
                  </a:cubicBezTo>
                  <a:close/>
                  <a:moveTo>
                    <a:pt x="2407" y="1487"/>
                  </a:moveTo>
                  <a:cubicBezTo>
                    <a:pt x="2407" y="1489"/>
                    <a:pt x="2406" y="1491"/>
                    <a:pt x="2404" y="1493"/>
                  </a:cubicBezTo>
                  <a:cubicBezTo>
                    <a:pt x="2404" y="1493"/>
                    <a:pt x="2403" y="1493"/>
                    <a:pt x="2403" y="1493"/>
                  </a:cubicBezTo>
                  <a:cubicBezTo>
                    <a:pt x="2403" y="1493"/>
                    <a:pt x="2403" y="1493"/>
                    <a:pt x="2403" y="1493"/>
                  </a:cubicBezTo>
                  <a:cubicBezTo>
                    <a:pt x="2403" y="1494"/>
                    <a:pt x="2403" y="1494"/>
                    <a:pt x="2402" y="1494"/>
                  </a:cubicBezTo>
                  <a:cubicBezTo>
                    <a:pt x="2402" y="1494"/>
                    <a:pt x="2402" y="1494"/>
                    <a:pt x="2401" y="1495"/>
                  </a:cubicBezTo>
                  <a:cubicBezTo>
                    <a:pt x="2401" y="1495"/>
                    <a:pt x="2400" y="1495"/>
                    <a:pt x="2400" y="1496"/>
                  </a:cubicBezTo>
                  <a:cubicBezTo>
                    <a:pt x="2399" y="1496"/>
                    <a:pt x="2399" y="1496"/>
                    <a:pt x="2398" y="1496"/>
                  </a:cubicBezTo>
                  <a:cubicBezTo>
                    <a:pt x="2388" y="1501"/>
                    <a:pt x="2374" y="1500"/>
                    <a:pt x="2362" y="1500"/>
                  </a:cubicBezTo>
                  <a:cubicBezTo>
                    <a:pt x="2304" y="1500"/>
                    <a:pt x="2304" y="1500"/>
                    <a:pt x="2304" y="1500"/>
                  </a:cubicBezTo>
                  <a:cubicBezTo>
                    <a:pt x="2293" y="1500"/>
                    <a:pt x="2281" y="1498"/>
                    <a:pt x="2271" y="1493"/>
                  </a:cubicBezTo>
                  <a:cubicBezTo>
                    <a:pt x="2267" y="1491"/>
                    <a:pt x="2263" y="1489"/>
                    <a:pt x="2260" y="1487"/>
                  </a:cubicBezTo>
                  <a:cubicBezTo>
                    <a:pt x="2257" y="1484"/>
                    <a:pt x="2254" y="1482"/>
                    <a:pt x="2252" y="1479"/>
                  </a:cubicBezTo>
                  <a:cubicBezTo>
                    <a:pt x="2250" y="1474"/>
                    <a:pt x="2250" y="1474"/>
                    <a:pt x="2250" y="1474"/>
                  </a:cubicBezTo>
                  <a:cubicBezTo>
                    <a:pt x="2244" y="1463"/>
                    <a:pt x="2236" y="1453"/>
                    <a:pt x="2231" y="1441"/>
                  </a:cubicBezTo>
                  <a:cubicBezTo>
                    <a:pt x="2227" y="1433"/>
                    <a:pt x="2231" y="1429"/>
                    <a:pt x="2238" y="1426"/>
                  </a:cubicBezTo>
                  <a:cubicBezTo>
                    <a:pt x="2240" y="1425"/>
                    <a:pt x="2242" y="1424"/>
                    <a:pt x="2244" y="1424"/>
                  </a:cubicBezTo>
                  <a:cubicBezTo>
                    <a:pt x="2248" y="1423"/>
                    <a:pt x="2253" y="1422"/>
                    <a:pt x="2258" y="1422"/>
                  </a:cubicBezTo>
                  <a:cubicBezTo>
                    <a:pt x="2266" y="1422"/>
                    <a:pt x="2266" y="1422"/>
                    <a:pt x="2266" y="1422"/>
                  </a:cubicBezTo>
                  <a:cubicBezTo>
                    <a:pt x="2266" y="1422"/>
                    <a:pt x="2266" y="1422"/>
                    <a:pt x="2266" y="1422"/>
                  </a:cubicBezTo>
                  <a:cubicBezTo>
                    <a:pt x="2282" y="1422"/>
                    <a:pt x="2297" y="1422"/>
                    <a:pt x="2312" y="1422"/>
                  </a:cubicBezTo>
                  <a:cubicBezTo>
                    <a:pt x="2313" y="1422"/>
                    <a:pt x="2313" y="1422"/>
                    <a:pt x="2313" y="1422"/>
                  </a:cubicBezTo>
                  <a:cubicBezTo>
                    <a:pt x="2328" y="1422"/>
                    <a:pt x="2328" y="1422"/>
                    <a:pt x="2328" y="1422"/>
                  </a:cubicBezTo>
                  <a:cubicBezTo>
                    <a:pt x="2333" y="1422"/>
                    <a:pt x="2339" y="1422"/>
                    <a:pt x="2344" y="1423"/>
                  </a:cubicBezTo>
                  <a:cubicBezTo>
                    <a:pt x="2347" y="1424"/>
                    <a:pt x="2351" y="1425"/>
                    <a:pt x="2354" y="1426"/>
                  </a:cubicBezTo>
                  <a:cubicBezTo>
                    <a:pt x="2355" y="1426"/>
                    <a:pt x="2355" y="1426"/>
                    <a:pt x="2356" y="1426"/>
                  </a:cubicBezTo>
                  <a:cubicBezTo>
                    <a:pt x="2356" y="1427"/>
                    <a:pt x="2356" y="1427"/>
                    <a:pt x="2357" y="1427"/>
                  </a:cubicBezTo>
                  <a:cubicBezTo>
                    <a:pt x="2357" y="1427"/>
                    <a:pt x="2358" y="1427"/>
                    <a:pt x="2358" y="1427"/>
                  </a:cubicBezTo>
                  <a:cubicBezTo>
                    <a:pt x="2363" y="1429"/>
                    <a:pt x="2367" y="1431"/>
                    <a:pt x="2371" y="1433"/>
                  </a:cubicBezTo>
                  <a:cubicBezTo>
                    <a:pt x="2374" y="1436"/>
                    <a:pt x="2377" y="1438"/>
                    <a:pt x="2379" y="1441"/>
                  </a:cubicBezTo>
                  <a:cubicBezTo>
                    <a:pt x="2391" y="1458"/>
                    <a:pt x="2391" y="1458"/>
                    <a:pt x="2391" y="1458"/>
                  </a:cubicBezTo>
                  <a:cubicBezTo>
                    <a:pt x="2394" y="1463"/>
                    <a:pt x="2401" y="1471"/>
                    <a:pt x="2404" y="1478"/>
                  </a:cubicBezTo>
                  <a:cubicBezTo>
                    <a:pt x="2404" y="1478"/>
                    <a:pt x="2404" y="1478"/>
                    <a:pt x="2404" y="1478"/>
                  </a:cubicBezTo>
                  <a:cubicBezTo>
                    <a:pt x="2406" y="1481"/>
                    <a:pt x="2407" y="1484"/>
                    <a:pt x="2407" y="1487"/>
                  </a:cubicBezTo>
                  <a:close/>
                  <a:moveTo>
                    <a:pt x="1589" y="1480"/>
                  </a:moveTo>
                  <a:cubicBezTo>
                    <a:pt x="1589" y="1483"/>
                    <a:pt x="1588" y="1485"/>
                    <a:pt x="1587" y="1487"/>
                  </a:cubicBezTo>
                  <a:cubicBezTo>
                    <a:pt x="1576" y="1507"/>
                    <a:pt x="1525" y="1502"/>
                    <a:pt x="1507" y="1502"/>
                  </a:cubicBezTo>
                  <a:cubicBezTo>
                    <a:pt x="1496" y="1502"/>
                    <a:pt x="1485" y="1502"/>
                    <a:pt x="1474" y="1502"/>
                  </a:cubicBezTo>
                  <a:cubicBezTo>
                    <a:pt x="1464" y="1502"/>
                    <a:pt x="1451" y="1500"/>
                    <a:pt x="1442" y="1493"/>
                  </a:cubicBezTo>
                  <a:cubicBezTo>
                    <a:pt x="1442" y="1493"/>
                    <a:pt x="1441" y="1492"/>
                    <a:pt x="1441" y="1492"/>
                  </a:cubicBezTo>
                  <a:cubicBezTo>
                    <a:pt x="1441" y="1492"/>
                    <a:pt x="1440" y="1491"/>
                    <a:pt x="1440" y="1491"/>
                  </a:cubicBezTo>
                  <a:cubicBezTo>
                    <a:pt x="1439" y="1490"/>
                    <a:pt x="1439" y="1490"/>
                    <a:pt x="1439" y="1489"/>
                  </a:cubicBezTo>
                  <a:cubicBezTo>
                    <a:pt x="1439" y="1489"/>
                    <a:pt x="1439" y="1489"/>
                    <a:pt x="1438" y="1489"/>
                  </a:cubicBezTo>
                  <a:cubicBezTo>
                    <a:pt x="1438" y="1489"/>
                    <a:pt x="1438" y="1489"/>
                    <a:pt x="1438" y="1489"/>
                  </a:cubicBezTo>
                  <a:cubicBezTo>
                    <a:pt x="1438" y="1488"/>
                    <a:pt x="1437" y="1487"/>
                    <a:pt x="1437" y="1486"/>
                  </a:cubicBezTo>
                  <a:cubicBezTo>
                    <a:pt x="1436" y="1484"/>
                    <a:pt x="1436" y="1483"/>
                    <a:pt x="1436" y="1481"/>
                  </a:cubicBezTo>
                  <a:cubicBezTo>
                    <a:pt x="1436" y="1479"/>
                    <a:pt x="1436" y="1479"/>
                    <a:pt x="1436" y="1479"/>
                  </a:cubicBezTo>
                  <a:cubicBezTo>
                    <a:pt x="1437" y="1477"/>
                    <a:pt x="1437" y="1474"/>
                    <a:pt x="1437" y="1472"/>
                  </a:cubicBezTo>
                  <a:cubicBezTo>
                    <a:pt x="1437" y="1471"/>
                    <a:pt x="1437" y="1471"/>
                    <a:pt x="1437" y="1471"/>
                  </a:cubicBezTo>
                  <a:cubicBezTo>
                    <a:pt x="1438" y="1463"/>
                    <a:pt x="1438" y="1454"/>
                    <a:pt x="1440" y="1446"/>
                  </a:cubicBezTo>
                  <a:cubicBezTo>
                    <a:pt x="1440" y="1443"/>
                    <a:pt x="1440" y="1443"/>
                    <a:pt x="1440" y="1443"/>
                  </a:cubicBezTo>
                  <a:cubicBezTo>
                    <a:pt x="1441" y="1441"/>
                    <a:pt x="1442" y="1438"/>
                    <a:pt x="1444" y="1436"/>
                  </a:cubicBezTo>
                  <a:cubicBezTo>
                    <a:pt x="1446" y="1434"/>
                    <a:pt x="1448" y="1433"/>
                    <a:pt x="1450" y="1431"/>
                  </a:cubicBezTo>
                  <a:cubicBezTo>
                    <a:pt x="1450" y="1431"/>
                    <a:pt x="1450" y="1431"/>
                    <a:pt x="1450" y="1431"/>
                  </a:cubicBezTo>
                  <a:cubicBezTo>
                    <a:pt x="1451" y="1431"/>
                    <a:pt x="1451" y="1430"/>
                    <a:pt x="1452" y="1430"/>
                  </a:cubicBezTo>
                  <a:cubicBezTo>
                    <a:pt x="1452" y="1430"/>
                    <a:pt x="1453" y="1430"/>
                    <a:pt x="1453" y="1429"/>
                  </a:cubicBezTo>
                  <a:cubicBezTo>
                    <a:pt x="1453" y="1429"/>
                    <a:pt x="1454" y="1429"/>
                    <a:pt x="1454" y="1429"/>
                  </a:cubicBezTo>
                  <a:cubicBezTo>
                    <a:pt x="1455" y="1428"/>
                    <a:pt x="1457" y="1428"/>
                    <a:pt x="1458" y="1427"/>
                  </a:cubicBezTo>
                  <a:cubicBezTo>
                    <a:pt x="1459" y="1427"/>
                    <a:pt x="1459" y="1427"/>
                    <a:pt x="1460" y="1427"/>
                  </a:cubicBezTo>
                  <a:cubicBezTo>
                    <a:pt x="1461" y="1426"/>
                    <a:pt x="1463" y="1426"/>
                    <a:pt x="1464" y="1426"/>
                  </a:cubicBezTo>
                  <a:cubicBezTo>
                    <a:pt x="1465" y="1426"/>
                    <a:pt x="1465" y="1425"/>
                    <a:pt x="1466" y="1425"/>
                  </a:cubicBezTo>
                  <a:cubicBezTo>
                    <a:pt x="1466" y="1425"/>
                    <a:pt x="1466" y="1425"/>
                    <a:pt x="1466" y="1425"/>
                  </a:cubicBezTo>
                  <a:cubicBezTo>
                    <a:pt x="1467" y="1425"/>
                    <a:pt x="1468" y="1425"/>
                    <a:pt x="1468" y="1425"/>
                  </a:cubicBezTo>
                  <a:cubicBezTo>
                    <a:pt x="1472" y="1424"/>
                    <a:pt x="1476" y="1424"/>
                    <a:pt x="1480" y="1424"/>
                  </a:cubicBezTo>
                  <a:cubicBezTo>
                    <a:pt x="1483" y="1424"/>
                    <a:pt x="1483" y="1424"/>
                    <a:pt x="1483" y="1424"/>
                  </a:cubicBezTo>
                  <a:cubicBezTo>
                    <a:pt x="1487" y="1424"/>
                    <a:pt x="1492" y="1424"/>
                    <a:pt x="1496" y="1424"/>
                  </a:cubicBezTo>
                  <a:cubicBezTo>
                    <a:pt x="1550" y="1424"/>
                    <a:pt x="1550" y="1424"/>
                    <a:pt x="1550" y="1424"/>
                  </a:cubicBezTo>
                  <a:cubicBezTo>
                    <a:pt x="1551" y="1424"/>
                    <a:pt x="1552" y="1424"/>
                    <a:pt x="1554" y="1424"/>
                  </a:cubicBezTo>
                  <a:cubicBezTo>
                    <a:pt x="1554" y="1424"/>
                    <a:pt x="1555" y="1424"/>
                    <a:pt x="1555" y="1424"/>
                  </a:cubicBezTo>
                  <a:cubicBezTo>
                    <a:pt x="1556" y="1424"/>
                    <a:pt x="1558" y="1424"/>
                    <a:pt x="1559" y="1424"/>
                  </a:cubicBezTo>
                  <a:cubicBezTo>
                    <a:pt x="1570" y="1425"/>
                    <a:pt x="1582" y="1428"/>
                    <a:pt x="1586" y="1438"/>
                  </a:cubicBezTo>
                  <a:cubicBezTo>
                    <a:pt x="1587" y="1438"/>
                    <a:pt x="1587" y="1439"/>
                    <a:pt x="1587" y="1440"/>
                  </a:cubicBezTo>
                  <a:cubicBezTo>
                    <a:pt x="1588" y="1440"/>
                    <a:pt x="1588" y="1440"/>
                    <a:pt x="1588" y="1440"/>
                  </a:cubicBezTo>
                  <a:cubicBezTo>
                    <a:pt x="1591" y="1452"/>
                    <a:pt x="1588" y="1466"/>
                    <a:pt x="1589" y="1478"/>
                  </a:cubicBezTo>
                  <a:lnTo>
                    <a:pt x="1589" y="1480"/>
                  </a:lnTo>
                  <a:close/>
                  <a:moveTo>
                    <a:pt x="1511" y="1543"/>
                  </a:moveTo>
                  <a:cubicBezTo>
                    <a:pt x="1531" y="1543"/>
                    <a:pt x="1577" y="1537"/>
                    <a:pt x="1588" y="1559"/>
                  </a:cubicBezTo>
                  <a:cubicBezTo>
                    <a:pt x="1589" y="1561"/>
                    <a:pt x="1590" y="1563"/>
                    <a:pt x="1590" y="1566"/>
                  </a:cubicBezTo>
                  <a:cubicBezTo>
                    <a:pt x="1590" y="1589"/>
                    <a:pt x="1590" y="1589"/>
                    <a:pt x="1590" y="1589"/>
                  </a:cubicBezTo>
                  <a:cubicBezTo>
                    <a:pt x="1590" y="1595"/>
                    <a:pt x="1590" y="1602"/>
                    <a:pt x="1590" y="1609"/>
                  </a:cubicBezTo>
                  <a:cubicBezTo>
                    <a:pt x="1590" y="1609"/>
                    <a:pt x="1590" y="1609"/>
                    <a:pt x="1590" y="1609"/>
                  </a:cubicBezTo>
                  <a:cubicBezTo>
                    <a:pt x="1590" y="1612"/>
                    <a:pt x="1590" y="1612"/>
                    <a:pt x="1590" y="1612"/>
                  </a:cubicBezTo>
                  <a:cubicBezTo>
                    <a:pt x="1590" y="1615"/>
                    <a:pt x="1589" y="1619"/>
                    <a:pt x="1587" y="1622"/>
                  </a:cubicBezTo>
                  <a:cubicBezTo>
                    <a:pt x="1587" y="1622"/>
                    <a:pt x="1586" y="1623"/>
                    <a:pt x="1586" y="1623"/>
                  </a:cubicBezTo>
                  <a:cubicBezTo>
                    <a:pt x="1585" y="1624"/>
                    <a:pt x="1584" y="1625"/>
                    <a:pt x="1583" y="1626"/>
                  </a:cubicBezTo>
                  <a:cubicBezTo>
                    <a:pt x="1583" y="1626"/>
                    <a:pt x="1583" y="1626"/>
                    <a:pt x="1583" y="1626"/>
                  </a:cubicBezTo>
                  <a:cubicBezTo>
                    <a:pt x="1578" y="1631"/>
                    <a:pt x="1571" y="1634"/>
                    <a:pt x="1563" y="1636"/>
                  </a:cubicBezTo>
                  <a:cubicBezTo>
                    <a:pt x="1563" y="1636"/>
                    <a:pt x="1563" y="1636"/>
                    <a:pt x="1563" y="1636"/>
                  </a:cubicBezTo>
                  <a:cubicBezTo>
                    <a:pt x="1563" y="1636"/>
                    <a:pt x="1563" y="1636"/>
                    <a:pt x="1563" y="1636"/>
                  </a:cubicBezTo>
                  <a:cubicBezTo>
                    <a:pt x="1560" y="1637"/>
                    <a:pt x="1558" y="1637"/>
                    <a:pt x="1556" y="1637"/>
                  </a:cubicBezTo>
                  <a:cubicBezTo>
                    <a:pt x="1555" y="1637"/>
                    <a:pt x="1554" y="1637"/>
                    <a:pt x="1554" y="1638"/>
                  </a:cubicBezTo>
                  <a:cubicBezTo>
                    <a:pt x="1551" y="1638"/>
                    <a:pt x="1548" y="1638"/>
                    <a:pt x="1546" y="1638"/>
                  </a:cubicBezTo>
                  <a:cubicBezTo>
                    <a:pt x="1546" y="1638"/>
                    <a:pt x="1546" y="1638"/>
                    <a:pt x="1546" y="1638"/>
                  </a:cubicBezTo>
                  <a:cubicBezTo>
                    <a:pt x="1463" y="1638"/>
                    <a:pt x="1463" y="1638"/>
                    <a:pt x="1463" y="1638"/>
                  </a:cubicBezTo>
                  <a:cubicBezTo>
                    <a:pt x="1453" y="1638"/>
                    <a:pt x="1441" y="1636"/>
                    <a:pt x="1432" y="1631"/>
                  </a:cubicBezTo>
                  <a:cubicBezTo>
                    <a:pt x="1432" y="1631"/>
                    <a:pt x="1432" y="1631"/>
                    <a:pt x="1432" y="1631"/>
                  </a:cubicBezTo>
                  <a:cubicBezTo>
                    <a:pt x="1432" y="1631"/>
                    <a:pt x="1432" y="1630"/>
                    <a:pt x="1432" y="1630"/>
                  </a:cubicBezTo>
                  <a:cubicBezTo>
                    <a:pt x="1431" y="1629"/>
                    <a:pt x="1429" y="1628"/>
                    <a:pt x="1427" y="1627"/>
                  </a:cubicBezTo>
                  <a:cubicBezTo>
                    <a:pt x="1426" y="1626"/>
                    <a:pt x="1425" y="1624"/>
                    <a:pt x="1424" y="1623"/>
                  </a:cubicBezTo>
                  <a:cubicBezTo>
                    <a:pt x="1424" y="1623"/>
                    <a:pt x="1424" y="1623"/>
                    <a:pt x="1424" y="1622"/>
                  </a:cubicBezTo>
                  <a:cubicBezTo>
                    <a:pt x="1422" y="1619"/>
                    <a:pt x="1421" y="1616"/>
                    <a:pt x="1421" y="1612"/>
                  </a:cubicBezTo>
                  <a:cubicBezTo>
                    <a:pt x="1422" y="1606"/>
                    <a:pt x="1422" y="1606"/>
                    <a:pt x="1422" y="1606"/>
                  </a:cubicBezTo>
                  <a:cubicBezTo>
                    <a:pt x="1422" y="1606"/>
                    <a:pt x="1422" y="1606"/>
                    <a:pt x="1422" y="1606"/>
                  </a:cubicBezTo>
                  <a:cubicBezTo>
                    <a:pt x="1424" y="1593"/>
                    <a:pt x="1425" y="1580"/>
                    <a:pt x="1427" y="1567"/>
                  </a:cubicBezTo>
                  <a:cubicBezTo>
                    <a:pt x="1427" y="1566"/>
                    <a:pt x="1427" y="1566"/>
                    <a:pt x="1427" y="1566"/>
                  </a:cubicBezTo>
                  <a:cubicBezTo>
                    <a:pt x="1427" y="1566"/>
                    <a:pt x="1427" y="1566"/>
                    <a:pt x="1427" y="1565"/>
                  </a:cubicBezTo>
                  <a:cubicBezTo>
                    <a:pt x="1432" y="1536"/>
                    <a:pt x="1490" y="1543"/>
                    <a:pt x="1511" y="1543"/>
                  </a:cubicBezTo>
                  <a:close/>
                  <a:moveTo>
                    <a:pt x="1175" y="1631"/>
                  </a:moveTo>
                  <a:cubicBezTo>
                    <a:pt x="1173" y="1630"/>
                    <a:pt x="1172" y="1629"/>
                    <a:pt x="1170" y="1627"/>
                  </a:cubicBezTo>
                  <a:cubicBezTo>
                    <a:pt x="1169" y="1626"/>
                    <a:pt x="1169" y="1625"/>
                    <a:pt x="1168" y="1624"/>
                  </a:cubicBezTo>
                  <a:cubicBezTo>
                    <a:pt x="1168" y="1623"/>
                    <a:pt x="1168" y="1623"/>
                    <a:pt x="1168" y="1623"/>
                  </a:cubicBezTo>
                  <a:cubicBezTo>
                    <a:pt x="1166" y="1620"/>
                    <a:pt x="1166" y="1616"/>
                    <a:pt x="1167" y="1613"/>
                  </a:cubicBezTo>
                  <a:cubicBezTo>
                    <a:pt x="1169" y="1607"/>
                    <a:pt x="1169" y="1607"/>
                    <a:pt x="1169" y="1607"/>
                  </a:cubicBezTo>
                  <a:cubicBezTo>
                    <a:pt x="1169" y="1607"/>
                    <a:pt x="1169" y="1607"/>
                    <a:pt x="1169" y="1607"/>
                  </a:cubicBezTo>
                  <a:cubicBezTo>
                    <a:pt x="1169" y="1606"/>
                    <a:pt x="1169" y="1605"/>
                    <a:pt x="1170" y="1604"/>
                  </a:cubicBezTo>
                  <a:cubicBezTo>
                    <a:pt x="1181" y="1567"/>
                    <a:pt x="1181" y="1567"/>
                    <a:pt x="1181" y="1567"/>
                  </a:cubicBezTo>
                  <a:cubicBezTo>
                    <a:pt x="1181" y="1566"/>
                    <a:pt x="1181" y="1566"/>
                    <a:pt x="1182" y="1565"/>
                  </a:cubicBezTo>
                  <a:cubicBezTo>
                    <a:pt x="1193" y="1537"/>
                    <a:pt x="1244" y="1543"/>
                    <a:pt x="1268" y="1543"/>
                  </a:cubicBezTo>
                  <a:cubicBezTo>
                    <a:pt x="1278" y="1543"/>
                    <a:pt x="1297" y="1542"/>
                    <a:pt x="1314" y="1543"/>
                  </a:cubicBezTo>
                  <a:cubicBezTo>
                    <a:pt x="1317" y="1544"/>
                    <a:pt x="1320" y="1544"/>
                    <a:pt x="1323" y="1545"/>
                  </a:cubicBezTo>
                  <a:cubicBezTo>
                    <a:pt x="1323" y="1545"/>
                    <a:pt x="1323" y="1545"/>
                    <a:pt x="1324" y="1545"/>
                  </a:cubicBezTo>
                  <a:cubicBezTo>
                    <a:pt x="1332" y="1547"/>
                    <a:pt x="1339" y="1551"/>
                    <a:pt x="1342" y="1556"/>
                  </a:cubicBezTo>
                  <a:cubicBezTo>
                    <a:pt x="1342" y="1557"/>
                    <a:pt x="1342" y="1557"/>
                    <a:pt x="1343" y="1557"/>
                  </a:cubicBezTo>
                  <a:cubicBezTo>
                    <a:pt x="1343" y="1558"/>
                    <a:pt x="1343" y="1558"/>
                    <a:pt x="1343" y="1558"/>
                  </a:cubicBezTo>
                  <a:cubicBezTo>
                    <a:pt x="1343" y="1558"/>
                    <a:pt x="1343" y="1559"/>
                    <a:pt x="1343" y="1559"/>
                  </a:cubicBezTo>
                  <a:cubicBezTo>
                    <a:pt x="1344" y="1561"/>
                    <a:pt x="1345" y="1564"/>
                    <a:pt x="1344" y="1567"/>
                  </a:cubicBezTo>
                  <a:cubicBezTo>
                    <a:pt x="1344" y="1569"/>
                    <a:pt x="1344" y="1569"/>
                    <a:pt x="1344" y="1569"/>
                  </a:cubicBezTo>
                  <a:cubicBezTo>
                    <a:pt x="1344" y="1569"/>
                    <a:pt x="1344" y="1569"/>
                    <a:pt x="1344" y="1569"/>
                  </a:cubicBezTo>
                  <a:cubicBezTo>
                    <a:pt x="1343" y="1576"/>
                    <a:pt x="1341" y="1583"/>
                    <a:pt x="1340" y="1589"/>
                  </a:cubicBezTo>
                  <a:cubicBezTo>
                    <a:pt x="1336" y="1612"/>
                    <a:pt x="1336" y="1612"/>
                    <a:pt x="1336" y="1612"/>
                  </a:cubicBezTo>
                  <a:cubicBezTo>
                    <a:pt x="1336" y="1616"/>
                    <a:pt x="1334" y="1619"/>
                    <a:pt x="1331" y="1622"/>
                  </a:cubicBezTo>
                  <a:cubicBezTo>
                    <a:pt x="1331" y="1623"/>
                    <a:pt x="1330" y="1623"/>
                    <a:pt x="1330" y="1623"/>
                  </a:cubicBezTo>
                  <a:cubicBezTo>
                    <a:pt x="1330" y="1624"/>
                    <a:pt x="1329" y="1624"/>
                    <a:pt x="1329" y="1624"/>
                  </a:cubicBezTo>
                  <a:cubicBezTo>
                    <a:pt x="1328" y="1625"/>
                    <a:pt x="1327" y="1626"/>
                    <a:pt x="1326" y="1627"/>
                  </a:cubicBezTo>
                  <a:cubicBezTo>
                    <a:pt x="1320" y="1632"/>
                    <a:pt x="1312" y="1635"/>
                    <a:pt x="1305" y="1636"/>
                  </a:cubicBezTo>
                  <a:cubicBezTo>
                    <a:pt x="1305" y="1637"/>
                    <a:pt x="1305" y="1637"/>
                    <a:pt x="1305" y="1637"/>
                  </a:cubicBezTo>
                  <a:cubicBezTo>
                    <a:pt x="1304" y="1637"/>
                    <a:pt x="1304" y="1637"/>
                    <a:pt x="1304" y="1637"/>
                  </a:cubicBezTo>
                  <a:cubicBezTo>
                    <a:pt x="1302" y="1637"/>
                    <a:pt x="1300" y="1638"/>
                    <a:pt x="1297" y="1638"/>
                  </a:cubicBezTo>
                  <a:cubicBezTo>
                    <a:pt x="1297" y="1638"/>
                    <a:pt x="1296" y="1638"/>
                    <a:pt x="1295" y="1638"/>
                  </a:cubicBezTo>
                  <a:cubicBezTo>
                    <a:pt x="1292" y="1638"/>
                    <a:pt x="1290" y="1639"/>
                    <a:pt x="1287" y="1639"/>
                  </a:cubicBezTo>
                  <a:cubicBezTo>
                    <a:pt x="1287" y="1639"/>
                    <a:pt x="1287" y="1639"/>
                    <a:pt x="1287" y="1639"/>
                  </a:cubicBezTo>
                  <a:cubicBezTo>
                    <a:pt x="1204" y="1639"/>
                    <a:pt x="1204" y="1639"/>
                    <a:pt x="1204" y="1639"/>
                  </a:cubicBezTo>
                  <a:cubicBezTo>
                    <a:pt x="1194" y="1639"/>
                    <a:pt x="1183" y="1637"/>
                    <a:pt x="1175" y="1631"/>
                  </a:cubicBezTo>
                  <a:cubicBezTo>
                    <a:pt x="1175" y="1631"/>
                    <a:pt x="1175" y="1631"/>
                    <a:pt x="1175" y="1631"/>
                  </a:cubicBezTo>
                  <a:close/>
                  <a:moveTo>
                    <a:pt x="1278" y="1502"/>
                  </a:moveTo>
                  <a:cubicBezTo>
                    <a:pt x="1266" y="1502"/>
                    <a:pt x="1253" y="1502"/>
                    <a:pt x="1241" y="1502"/>
                  </a:cubicBezTo>
                  <a:cubicBezTo>
                    <a:pt x="1230" y="1502"/>
                    <a:pt x="1213" y="1500"/>
                    <a:pt x="1207" y="1489"/>
                  </a:cubicBezTo>
                  <a:cubicBezTo>
                    <a:pt x="1207" y="1488"/>
                    <a:pt x="1207" y="1487"/>
                    <a:pt x="1207" y="1486"/>
                  </a:cubicBezTo>
                  <a:cubicBezTo>
                    <a:pt x="1206" y="1486"/>
                    <a:pt x="1206" y="1485"/>
                    <a:pt x="1206" y="1484"/>
                  </a:cubicBezTo>
                  <a:cubicBezTo>
                    <a:pt x="1206" y="1483"/>
                    <a:pt x="1207" y="1482"/>
                    <a:pt x="1207" y="1481"/>
                  </a:cubicBezTo>
                  <a:cubicBezTo>
                    <a:pt x="1207" y="1481"/>
                    <a:pt x="1207" y="1481"/>
                    <a:pt x="1207" y="1481"/>
                  </a:cubicBezTo>
                  <a:cubicBezTo>
                    <a:pt x="1207" y="1481"/>
                    <a:pt x="1207" y="1481"/>
                    <a:pt x="1207" y="1481"/>
                  </a:cubicBezTo>
                  <a:cubicBezTo>
                    <a:pt x="1207" y="1478"/>
                    <a:pt x="1209" y="1474"/>
                    <a:pt x="1210" y="1472"/>
                  </a:cubicBezTo>
                  <a:cubicBezTo>
                    <a:pt x="1212" y="1463"/>
                    <a:pt x="1214" y="1453"/>
                    <a:pt x="1218" y="1445"/>
                  </a:cubicBezTo>
                  <a:cubicBezTo>
                    <a:pt x="1218" y="1444"/>
                    <a:pt x="1218" y="1444"/>
                    <a:pt x="1218" y="1444"/>
                  </a:cubicBezTo>
                  <a:cubicBezTo>
                    <a:pt x="1219" y="1441"/>
                    <a:pt x="1221" y="1438"/>
                    <a:pt x="1223" y="1436"/>
                  </a:cubicBezTo>
                  <a:cubicBezTo>
                    <a:pt x="1225" y="1435"/>
                    <a:pt x="1226" y="1434"/>
                    <a:pt x="1228" y="1433"/>
                  </a:cubicBezTo>
                  <a:cubicBezTo>
                    <a:pt x="1233" y="1429"/>
                    <a:pt x="1239" y="1427"/>
                    <a:pt x="1245" y="1426"/>
                  </a:cubicBezTo>
                  <a:cubicBezTo>
                    <a:pt x="1246" y="1426"/>
                    <a:pt x="1246" y="1426"/>
                    <a:pt x="1247" y="1426"/>
                  </a:cubicBezTo>
                  <a:cubicBezTo>
                    <a:pt x="1251" y="1425"/>
                    <a:pt x="1257" y="1424"/>
                    <a:pt x="1262" y="1424"/>
                  </a:cubicBezTo>
                  <a:cubicBezTo>
                    <a:pt x="1269" y="1424"/>
                    <a:pt x="1269" y="1424"/>
                    <a:pt x="1269" y="1424"/>
                  </a:cubicBezTo>
                  <a:cubicBezTo>
                    <a:pt x="1271" y="1424"/>
                    <a:pt x="1274" y="1424"/>
                    <a:pt x="1276" y="1424"/>
                  </a:cubicBezTo>
                  <a:cubicBezTo>
                    <a:pt x="1291" y="1424"/>
                    <a:pt x="1307" y="1424"/>
                    <a:pt x="1322" y="1424"/>
                  </a:cubicBezTo>
                  <a:cubicBezTo>
                    <a:pt x="1324" y="1424"/>
                    <a:pt x="1326" y="1424"/>
                    <a:pt x="1329" y="1424"/>
                  </a:cubicBezTo>
                  <a:cubicBezTo>
                    <a:pt x="1331" y="1424"/>
                    <a:pt x="1331" y="1424"/>
                    <a:pt x="1331" y="1424"/>
                  </a:cubicBezTo>
                  <a:cubicBezTo>
                    <a:pt x="1332" y="1424"/>
                    <a:pt x="1332" y="1424"/>
                    <a:pt x="1333" y="1424"/>
                  </a:cubicBezTo>
                  <a:cubicBezTo>
                    <a:pt x="1335" y="1424"/>
                    <a:pt x="1337" y="1424"/>
                    <a:pt x="1339" y="1425"/>
                  </a:cubicBezTo>
                  <a:cubicBezTo>
                    <a:pt x="1339" y="1425"/>
                    <a:pt x="1339" y="1425"/>
                    <a:pt x="1339" y="1425"/>
                  </a:cubicBezTo>
                  <a:cubicBezTo>
                    <a:pt x="1351" y="1426"/>
                    <a:pt x="1364" y="1429"/>
                    <a:pt x="1366" y="1439"/>
                  </a:cubicBezTo>
                  <a:cubicBezTo>
                    <a:pt x="1366" y="1439"/>
                    <a:pt x="1366" y="1440"/>
                    <a:pt x="1366" y="1440"/>
                  </a:cubicBezTo>
                  <a:cubicBezTo>
                    <a:pt x="1366" y="1440"/>
                    <a:pt x="1366" y="1440"/>
                    <a:pt x="1366" y="1441"/>
                  </a:cubicBezTo>
                  <a:cubicBezTo>
                    <a:pt x="1367" y="1452"/>
                    <a:pt x="1362" y="1467"/>
                    <a:pt x="1360" y="1478"/>
                  </a:cubicBezTo>
                  <a:cubicBezTo>
                    <a:pt x="1360" y="1478"/>
                    <a:pt x="1360" y="1478"/>
                    <a:pt x="1360" y="1478"/>
                  </a:cubicBezTo>
                  <a:cubicBezTo>
                    <a:pt x="1359" y="1481"/>
                    <a:pt x="1359" y="1481"/>
                    <a:pt x="1359" y="1481"/>
                  </a:cubicBezTo>
                  <a:cubicBezTo>
                    <a:pt x="1359" y="1483"/>
                    <a:pt x="1358" y="1485"/>
                    <a:pt x="1356" y="1487"/>
                  </a:cubicBezTo>
                  <a:cubicBezTo>
                    <a:pt x="1356" y="1488"/>
                    <a:pt x="1355" y="1488"/>
                    <a:pt x="1355" y="1489"/>
                  </a:cubicBezTo>
                  <a:cubicBezTo>
                    <a:pt x="1355" y="1489"/>
                    <a:pt x="1355" y="1489"/>
                    <a:pt x="1355" y="1489"/>
                  </a:cubicBezTo>
                  <a:cubicBezTo>
                    <a:pt x="1355" y="1489"/>
                    <a:pt x="1355" y="1489"/>
                    <a:pt x="1354" y="1489"/>
                  </a:cubicBezTo>
                  <a:cubicBezTo>
                    <a:pt x="1339" y="1507"/>
                    <a:pt x="1298" y="1502"/>
                    <a:pt x="1278" y="1502"/>
                  </a:cubicBezTo>
                  <a:close/>
                  <a:moveTo>
                    <a:pt x="911" y="1620"/>
                  </a:moveTo>
                  <a:cubicBezTo>
                    <a:pt x="911" y="1619"/>
                    <a:pt x="911" y="1618"/>
                    <a:pt x="911" y="1618"/>
                  </a:cubicBezTo>
                  <a:cubicBezTo>
                    <a:pt x="912" y="1616"/>
                    <a:pt x="912" y="1615"/>
                    <a:pt x="913" y="1614"/>
                  </a:cubicBezTo>
                  <a:cubicBezTo>
                    <a:pt x="913" y="1614"/>
                    <a:pt x="913" y="1614"/>
                    <a:pt x="913" y="1613"/>
                  </a:cubicBezTo>
                  <a:cubicBezTo>
                    <a:pt x="913" y="1612"/>
                    <a:pt x="913" y="1612"/>
                    <a:pt x="913" y="1612"/>
                  </a:cubicBezTo>
                  <a:cubicBezTo>
                    <a:pt x="914" y="1611"/>
                    <a:pt x="915" y="1609"/>
                    <a:pt x="916" y="1607"/>
                  </a:cubicBezTo>
                  <a:cubicBezTo>
                    <a:pt x="922" y="1594"/>
                    <a:pt x="928" y="1582"/>
                    <a:pt x="935" y="1569"/>
                  </a:cubicBezTo>
                  <a:cubicBezTo>
                    <a:pt x="935" y="1569"/>
                    <a:pt x="935" y="1569"/>
                    <a:pt x="935" y="1569"/>
                  </a:cubicBezTo>
                  <a:cubicBezTo>
                    <a:pt x="935" y="1568"/>
                    <a:pt x="935" y="1568"/>
                    <a:pt x="935" y="1568"/>
                  </a:cubicBezTo>
                  <a:cubicBezTo>
                    <a:pt x="936" y="1567"/>
                    <a:pt x="936" y="1566"/>
                    <a:pt x="937" y="1566"/>
                  </a:cubicBezTo>
                  <a:cubicBezTo>
                    <a:pt x="937" y="1565"/>
                    <a:pt x="938" y="1564"/>
                    <a:pt x="938" y="1563"/>
                  </a:cubicBezTo>
                  <a:cubicBezTo>
                    <a:pt x="938" y="1563"/>
                    <a:pt x="938" y="1563"/>
                    <a:pt x="939" y="1563"/>
                  </a:cubicBezTo>
                  <a:cubicBezTo>
                    <a:pt x="956" y="1539"/>
                    <a:pt x="997" y="1544"/>
                    <a:pt x="1023" y="1544"/>
                  </a:cubicBezTo>
                  <a:cubicBezTo>
                    <a:pt x="1023" y="1544"/>
                    <a:pt x="1023" y="1544"/>
                    <a:pt x="1023" y="1544"/>
                  </a:cubicBezTo>
                  <a:cubicBezTo>
                    <a:pt x="1030" y="1544"/>
                    <a:pt x="1049" y="1542"/>
                    <a:pt x="1066" y="1544"/>
                  </a:cubicBezTo>
                  <a:cubicBezTo>
                    <a:pt x="1071" y="1544"/>
                    <a:pt x="1077" y="1544"/>
                    <a:pt x="1081" y="1545"/>
                  </a:cubicBezTo>
                  <a:cubicBezTo>
                    <a:pt x="1084" y="1546"/>
                    <a:pt x="1087" y="1547"/>
                    <a:pt x="1089" y="1548"/>
                  </a:cubicBezTo>
                  <a:cubicBezTo>
                    <a:pt x="1095" y="1551"/>
                    <a:pt x="1099" y="1556"/>
                    <a:pt x="1099" y="1562"/>
                  </a:cubicBezTo>
                  <a:cubicBezTo>
                    <a:pt x="1099" y="1562"/>
                    <a:pt x="1099" y="1562"/>
                    <a:pt x="1099" y="1562"/>
                  </a:cubicBezTo>
                  <a:cubicBezTo>
                    <a:pt x="1099" y="1563"/>
                    <a:pt x="1099" y="1563"/>
                    <a:pt x="1099" y="1564"/>
                  </a:cubicBezTo>
                  <a:cubicBezTo>
                    <a:pt x="1099" y="1565"/>
                    <a:pt x="1099" y="1566"/>
                    <a:pt x="1099" y="1567"/>
                  </a:cubicBezTo>
                  <a:cubicBezTo>
                    <a:pt x="1082" y="1613"/>
                    <a:pt x="1082" y="1613"/>
                    <a:pt x="1082" y="1613"/>
                  </a:cubicBezTo>
                  <a:cubicBezTo>
                    <a:pt x="1081" y="1617"/>
                    <a:pt x="1078" y="1620"/>
                    <a:pt x="1075" y="1623"/>
                  </a:cubicBezTo>
                  <a:cubicBezTo>
                    <a:pt x="1071" y="1626"/>
                    <a:pt x="1067" y="1629"/>
                    <a:pt x="1062" y="1631"/>
                  </a:cubicBezTo>
                  <a:cubicBezTo>
                    <a:pt x="1062" y="1632"/>
                    <a:pt x="1061" y="1632"/>
                    <a:pt x="1061" y="1632"/>
                  </a:cubicBezTo>
                  <a:cubicBezTo>
                    <a:pt x="1054" y="1635"/>
                    <a:pt x="1047" y="1637"/>
                    <a:pt x="1039" y="1639"/>
                  </a:cubicBezTo>
                  <a:cubicBezTo>
                    <a:pt x="1038" y="1639"/>
                    <a:pt x="1038" y="1639"/>
                    <a:pt x="1038" y="1639"/>
                  </a:cubicBezTo>
                  <a:cubicBezTo>
                    <a:pt x="1036" y="1639"/>
                    <a:pt x="1035" y="1639"/>
                    <a:pt x="1034" y="1639"/>
                  </a:cubicBezTo>
                  <a:cubicBezTo>
                    <a:pt x="1020" y="1640"/>
                    <a:pt x="1005" y="1639"/>
                    <a:pt x="990" y="1639"/>
                  </a:cubicBezTo>
                  <a:cubicBezTo>
                    <a:pt x="975" y="1639"/>
                    <a:pt x="960" y="1640"/>
                    <a:pt x="945" y="1640"/>
                  </a:cubicBezTo>
                  <a:cubicBezTo>
                    <a:pt x="935" y="1640"/>
                    <a:pt x="920" y="1638"/>
                    <a:pt x="914" y="1628"/>
                  </a:cubicBezTo>
                  <a:cubicBezTo>
                    <a:pt x="913" y="1628"/>
                    <a:pt x="913" y="1628"/>
                    <a:pt x="913" y="1627"/>
                  </a:cubicBezTo>
                  <a:cubicBezTo>
                    <a:pt x="913" y="1627"/>
                    <a:pt x="912" y="1626"/>
                    <a:pt x="912" y="1626"/>
                  </a:cubicBezTo>
                  <a:cubicBezTo>
                    <a:pt x="912" y="1625"/>
                    <a:pt x="912" y="1624"/>
                    <a:pt x="911" y="1624"/>
                  </a:cubicBezTo>
                  <a:cubicBezTo>
                    <a:pt x="911" y="1624"/>
                    <a:pt x="911" y="1624"/>
                    <a:pt x="911" y="1624"/>
                  </a:cubicBezTo>
                  <a:cubicBezTo>
                    <a:pt x="911" y="1623"/>
                    <a:pt x="911" y="1623"/>
                    <a:pt x="911" y="1623"/>
                  </a:cubicBezTo>
                  <a:cubicBezTo>
                    <a:pt x="911" y="1622"/>
                    <a:pt x="911" y="1621"/>
                    <a:pt x="911" y="1620"/>
                  </a:cubicBezTo>
                  <a:close/>
                  <a:moveTo>
                    <a:pt x="910" y="1465"/>
                  </a:moveTo>
                  <a:cubicBezTo>
                    <a:pt x="910" y="1465"/>
                    <a:pt x="910" y="1465"/>
                    <a:pt x="910" y="1465"/>
                  </a:cubicBezTo>
                  <a:cubicBezTo>
                    <a:pt x="900" y="1482"/>
                    <a:pt x="900" y="1482"/>
                    <a:pt x="900" y="1482"/>
                  </a:cubicBezTo>
                  <a:cubicBezTo>
                    <a:pt x="899" y="1485"/>
                    <a:pt x="896" y="1488"/>
                    <a:pt x="893" y="1490"/>
                  </a:cubicBezTo>
                  <a:cubicBezTo>
                    <a:pt x="889" y="1493"/>
                    <a:pt x="885" y="1495"/>
                    <a:pt x="880" y="1497"/>
                  </a:cubicBezTo>
                  <a:cubicBezTo>
                    <a:pt x="879" y="1497"/>
                    <a:pt x="878" y="1498"/>
                    <a:pt x="876" y="1498"/>
                  </a:cubicBezTo>
                  <a:cubicBezTo>
                    <a:pt x="876" y="1499"/>
                    <a:pt x="875" y="1499"/>
                    <a:pt x="874" y="1499"/>
                  </a:cubicBezTo>
                  <a:cubicBezTo>
                    <a:pt x="874" y="1499"/>
                    <a:pt x="874" y="1499"/>
                    <a:pt x="874" y="1499"/>
                  </a:cubicBezTo>
                  <a:cubicBezTo>
                    <a:pt x="871" y="1500"/>
                    <a:pt x="868" y="1501"/>
                    <a:pt x="865" y="1502"/>
                  </a:cubicBezTo>
                  <a:cubicBezTo>
                    <a:pt x="859" y="1503"/>
                    <a:pt x="854" y="1503"/>
                    <a:pt x="848" y="1503"/>
                  </a:cubicBezTo>
                  <a:cubicBezTo>
                    <a:pt x="832" y="1503"/>
                    <a:pt x="832" y="1503"/>
                    <a:pt x="832" y="1503"/>
                  </a:cubicBezTo>
                  <a:cubicBezTo>
                    <a:pt x="832" y="1503"/>
                    <a:pt x="832" y="1503"/>
                    <a:pt x="832" y="1503"/>
                  </a:cubicBezTo>
                  <a:cubicBezTo>
                    <a:pt x="812" y="1503"/>
                    <a:pt x="793" y="1504"/>
                    <a:pt x="774" y="1504"/>
                  </a:cubicBezTo>
                  <a:cubicBezTo>
                    <a:pt x="765" y="1504"/>
                    <a:pt x="747" y="1502"/>
                    <a:pt x="745" y="1491"/>
                  </a:cubicBezTo>
                  <a:cubicBezTo>
                    <a:pt x="745" y="1489"/>
                    <a:pt x="745" y="1488"/>
                    <a:pt x="746" y="1486"/>
                  </a:cubicBezTo>
                  <a:cubicBezTo>
                    <a:pt x="747" y="1482"/>
                    <a:pt x="751" y="1478"/>
                    <a:pt x="753" y="1475"/>
                  </a:cubicBezTo>
                  <a:cubicBezTo>
                    <a:pt x="760" y="1464"/>
                    <a:pt x="766" y="1452"/>
                    <a:pt x="775" y="1443"/>
                  </a:cubicBezTo>
                  <a:cubicBezTo>
                    <a:pt x="775" y="1442"/>
                    <a:pt x="776" y="1442"/>
                    <a:pt x="776" y="1441"/>
                  </a:cubicBezTo>
                  <a:cubicBezTo>
                    <a:pt x="776" y="1441"/>
                    <a:pt x="777" y="1441"/>
                    <a:pt x="777" y="1441"/>
                  </a:cubicBezTo>
                  <a:cubicBezTo>
                    <a:pt x="799" y="1419"/>
                    <a:pt x="845" y="1425"/>
                    <a:pt x="873" y="1425"/>
                  </a:cubicBezTo>
                  <a:cubicBezTo>
                    <a:pt x="886" y="1425"/>
                    <a:pt x="901" y="1423"/>
                    <a:pt x="913" y="1428"/>
                  </a:cubicBezTo>
                  <a:cubicBezTo>
                    <a:pt x="913" y="1428"/>
                    <a:pt x="913" y="1428"/>
                    <a:pt x="913" y="1428"/>
                  </a:cubicBezTo>
                  <a:cubicBezTo>
                    <a:pt x="915" y="1429"/>
                    <a:pt x="916" y="1430"/>
                    <a:pt x="917" y="1430"/>
                  </a:cubicBezTo>
                  <a:cubicBezTo>
                    <a:pt x="917" y="1430"/>
                    <a:pt x="917" y="1431"/>
                    <a:pt x="918" y="1431"/>
                  </a:cubicBezTo>
                  <a:cubicBezTo>
                    <a:pt x="920" y="1432"/>
                    <a:pt x="922" y="1435"/>
                    <a:pt x="922" y="1437"/>
                  </a:cubicBezTo>
                  <a:cubicBezTo>
                    <a:pt x="923" y="1439"/>
                    <a:pt x="923" y="1442"/>
                    <a:pt x="921" y="1444"/>
                  </a:cubicBezTo>
                  <a:cubicBezTo>
                    <a:pt x="920" y="1446"/>
                    <a:pt x="920" y="1446"/>
                    <a:pt x="920" y="1446"/>
                  </a:cubicBezTo>
                  <a:cubicBezTo>
                    <a:pt x="918" y="1452"/>
                    <a:pt x="913" y="1460"/>
                    <a:pt x="910" y="1465"/>
                  </a:cubicBezTo>
                  <a:close/>
                  <a:moveTo>
                    <a:pt x="1095" y="1502"/>
                  </a:moveTo>
                  <a:cubicBezTo>
                    <a:pt x="1093" y="1502"/>
                    <a:pt x="1091" y="1502"/>
                    <a:pt x="1089" y="1502"/>
                  </a:cubicBezTo>
                  <a:cubicBezTo>
                    <a:pt x="1089" y="1502"/>
                    <a:pt x="1089" y="1503"/>
                    <a:pt x="1088" y="1503"/>
                  </a:cubicBezTo>
                  <a:cubicBezTo>
                    <a:pt x="1077" y="1504"/>
                    <a:pt x="1066" y="1503"/>
                    <a:pt x="1054" y="1503"/>
                  </a:cubicBezTo>
                  <a:cubicBezTo>
                    <a:pt x="1007" y="1503"/>
                    <a:pt x="1007" y="1503"/>
                    <a:pt x="1007" y="1503"/>
                  </a:cubicBezTo>
                  <a:cubicBezTo>
                    <a:pt x="997" y="1503"/>
                    <a:pt x="980" y="1501"/>
                    <a:pt x="976" y="1490"/>
                  </a:cubicBezTo>
                  <a:cubicBezTo>
                    <a:pt x="976" y="1489"/>
                    <a:pt x="976" y="1488"/>
                    <a:pt x="976" y="1487"/>
                  </a:cubicBezTo>
                  <a:cubicBezTo>
                    <a:pt x="976" y="1486"/>
                    <a:pt x="976" y="1486"/>
                    <a:pt x="976" y="1485"/>
                  </a:cubicBezTo>
                  <a:cubicBezTo>
                    <a:pt x="977" y="1481"/>
                    <a:pt x="980" y="1477"/>
                    <a:pt x="982" y="1473"/>
                  </a:cubicBezTo>
                  <a:cubicBezTo>
                    <a:pt x="986" y="1463"/>
                    <a:pt x="990" y="1449"/>
                    <a:pt x="998" y="1441"/>
                  </a:cubicBezTo>
                  <a:cubicBezTo>
                    <a:pt x="998" y="1440"/>
                    <a:pt x="999" y="1440"/>
                    <a:pt x="999" y="1440"/>
                  </a:cubicBezTo>
                  <a:cubicBezTo>
                    <a:pt x="1000" y="1439"/>
                    <a:pt x="1000" y="1439"/>
                    <a:pt x="1000" y="1438"/>
                  </a:cubicBezTo>
                  <a:cubicBezTo>
                    <a:pt x="1001" y="1438"/>
                    <a:pt x="1001" y="1438"/>
                    <a:pt x="1001" y="1438"/>
                  </a:cubicBezTo>
                  <a:cubicBezTo>
                    <a:pt x="1002" y="1437"/>
                    <a:pt x="1002" y="1437"/>
                    <a:pt x="1002" y="1437"/>
                  </a:cubicBezTo>
                  <a:cubicBezTo>
                    <a:pt x="1003" y="1436"/>
                    <a:pt x="1003" y="1436"/>
                    <a:pt x="1003" y="1436"/>
                  </a:cubicBezTo>
                  <a:cubicBezTo>
                    <a:pt x="1010" y="1431"/>
                    <a:pt x="1018" y="1428"/>
                    <a:pt x="1027" y="1427"/>
                  </a:cubicBezTo>
                  <a:cubicBezTo>
                    <a:pt x="1027" y="1427"/>
                    <a:pt x="1027" y="1426"/>
                    <a:pt x="1028" y="1426"/>
                  </a:cubicBezTo>
                  <a:cubicBezTo>
                    <a:pt x="1033" y="1425"/>
                    <a:pt x="1038" y="1425"/>
                    <a:pt x="1043" y="1425"/>
                  </a:cubicBezTo>
                  <a:cubicBezTo>
                    <a:pt x="1072" y="1425"/>
                    <a:pt x="1072" y="1425"/>
                    <a:pt x="1072" y="1425"/>
                  </a:cubicBezTo>
                  <a:cubicBezTo>
                    <a:pt x="1081" y="1425"/>
                    <a:pt x="1090" y="1425"/>
                    <a:pt x="1099" y="1425"/>
                  </a:cubicBezTo>
                  <a:cubicBezTo>
                    <a:pt x="1112" y="1425"/>
                    <a:pt x="1130" y="1423"/>
                    <a:pt x="1140" y="1432"/>
                  </a:cubicBezTo>
                  <a:cubicBezTo>
                    <a:pt x="1140" y="1433"/>
                    <a:pt x="1141" y="1433"/>
                    <a:pt x="1141" y="1434"/>
                  </a:cubicBezTo>
                  <a:cubicBezTo>
                    <a:pt x="1142" y="1434"/>
                    <a:pt x="1142" y="1434"/>
                    <a:pt x="1142" y="1434"/>
                  </a:cubicBezTo>
                  <a:cubicBezTo>
                    <a:pt x="1142" y="1434"/>
                    <a:pt x="1142" y="1435"/>
                    <a:pt x="1142" y="1435"/>
                  </a:cubicBezTo>
                  <a:cubicBezTo>
                    <a:pt x="1143" y="1435"/>
                    <a:pt x="1143" y="1436"/>
                    <a:pt x="1143" y="1436"/>
                  </a:cubicBezTo>
                  <a:cubicBezTo>
                    <a:pt x="1144" y="1438"/>
                    <a:pt x="1144" y="1440"/>
                    <a:pt x="1144" y="1442"/>
                  </a:cubicBezTo>
                  <a:cubicBezTo>
                    <a:pt x="1143" y="1452"/>
                    <a:pt x="1135" y="1467"/>
                    <a:pt x="1133" y="1473"/>
                  </a:cubicBezTo>
                  <a:cubicBezTo>
                    <a:pt x="1133" y="1474"/>
                    <a:pt x="1133" y="1474"/>
                    <a:pt x="1133" y="1474"/>
                  </a:cubicBezTo>
                  <a:cubicBezTo>
                    <a:pt x="1132" y="1476"/>
                    <a:pt x="1131" y="1478"/>
                    <a:pt x="1130" y="1480"/>
                  </a:cubicBezTo>
                  <a:cubicBezTo>
                    <a:pt x="1130" y="1481"/>
                    <a:pt x="1130" y="1481"/>
                    <a:pt x="1130" y="1481"/>
                  </a:cubicBezTo>
                  <a:cubicBezTo>
                    <a:pt x="1130" y="1482"/>
                    <a:pt x="1129" y="1483"/>
                    <a:pt x="1129" y="1483"/>
                  </a:cubicBezTo>
                  <a:cubicBezTo>
                    <a:pt x="1129" y="1484"/>
                    <a:pt x="1128" y="1484"/>
                    <a:pt x="1128" y="1485"/>
                  </a:cubicBezTo>
                  <a:cubicBezTo>
                    <a:pt x="1128" y="1485"/>
                    <a:pt x="1127" y="1486"/>
                    <a:pt x="1127" y="1487"/>
                  </a:cubicBezTo>
                  <a:cubicBezTo>
                    <a:pt x="1126" y="1487"/>
                    <a:pt x="1126" y="1487"/>
                    <a:pt x="1126" y="1488"/>
                  </a:cubicBezTo>
                  <a:cubicBezTo>
                    <a:pt x="1125" y="1488"/>
                    <a:pt x="1125" y="1488"/>
                    <a:pt x="1125" y="1488"/>
                  </a:cubicBezTo>
                  <a:cubicBezTo>
                    <a:pt x="1124" y="1489"/>
                    <a:pt x="1124" y="1489"/>
                    <a:pt x="1124" y="1490"/>
                  </a:cubicBezTo>
                  <a:cubicBezTo>
                    <a:pt x="1122" y="1491"/>
                    <a:pt x="1121" y="1492"/>
                    <a:pt x="1119" y="1493"/>
                  </a:cubicBezTo>
                  <a:cubicBezTo>
                    <a:pt x="1117" y="1494"/>
                    <a:pt x="1115" y="1495"/>
                    <a:pt x="1114" y="1496"/>
                  </a:cubicBezTo>
                  <a:cubicBezTo>
                    <a:pt x="1113" y="1496"/>
                    <a:pt x="1113" y="1496"/>
                    <a:pt x="1113" y="1496"/>
                  </a:cubicBezTo>
                  <a:cubicBezTo>
                    <a:pt x="1112" y="1497"/>
                    <a:pt x="1112" y="1497"/>
                    <a:pt x="1112" y="1497"/>
                  </a:cubicBezTo>
                  <a:cubicBezTo>
                    <a:pt x="1106" y="1499"/>
                    <a:pt x="1100" y="1501"/>
                    <a:pt x="1095" y="1502"/>
                  </a:cubicBezTo>
                  <a:close/>
                  <a:moveTo>
                    <a:pt x="773" y="1710"/>
                  </a:moveTo>
                  <a:cubicBezTo>
                    <a:pt x="773" y="1710"/>
                    <a:pt x="773" y="1710"/>
                    <a:pt x="773" y="1710"/>
                  </a:cubicBezTo>
                  <a:cubicBezTo>
                    <a:pt x="771" y="1721"/>
                    <a:pt x="762" y="1732"/>
                    <a:pt x="756" y="1742"/>
                  </a:cubicBezTo>
                  <a:cubicBezTo>
                    <a:pt x="756" y="1742"/>
                    <a:pt x="756" y="1742"/>
                    <a:pt x="756" y="1742"/>
                  </a:cubicBezTo>
                  <a:cubicBezTo>
                    <a:pt x="750" y="1753"/>
                    <a:pt x="744" y="1767"/>
                    <a:pt x="736" y="1777"/>
                  </a:cubicBezTo>
                  <a:cubicBezTo>
                    <a:pt x="735" y="1778"/>
                    <a:pt x="735" y="1779"/>
                    <a:pt x="734" y="1781"/>
                  </a:cubicBezTo>
                  <a:cubicBezTo>
                    <a:pt x="734" y="1781"/>
                    <a:pt x="733" y="1781"/>
                    <a:pt x="733" y="1781"/>
                  </a:cubicBezTo>
                  <a:cubicBezTo>
                    <a:pt x="732" y="1782"/>
                    <a:pt x="731" y="1783"/>
                    <a:pt x="730" y="1784"/>
                  </a:cubicBezTo>
                  <a:cubicBezTo>
                    <a:pt x="729" y="1785"/>
                    <a:pt x="729" y="1785"/>
                    <a:pt x="728" y="1786"/>
                  </a:cubicBezTo>
                  <a:cubicBezTo>
                    <a:pt x="728" y="1786"/>
                    <a:pt x="728" y="1786"/>
                    <a:pt x="728" y="1786"/>
                  </a:cubicBezTo>
                  <a:cubicBezTo>
                    <a:pt x="719" y="1794"/>
                    <a:pt x="708" y="1799"/>
                    <a:pt x="696" y="1802"/>
                  </a:cubicBezTo>
                  <a:cubicBezTo>
                    <a:pt x="695" y="1803"/>
                    <a:pt x="693" y="1803"/>
                    <a:pt x="692" y="1804"/>
                  </a:cubicBezTo>
                  <a:cubicBezTo>
                    <a:pt x="685" y="1805"/>
                    <a:pt x="678" y="1806"/>
                    <a:pt x="671" y="1806"/>
                  </a:cubicBezTo>
                  <a:cubicBezTo>
                    <a:pt x="665" y="1806"/>
                    <a:pt x="665" y="1806"/>
                    <a:pt x="665" y="1806"/>
                  </a:cubicBezTo>
                  <a:cubicBezTo>
                    <a:pt x="665" y="1806"/>
                    <a:pt x="665" y="1806"/>
                    <a:pt x="665" y="1806"/>
                  </a:cubicBezTo>
                  <a:cubicBezTo>
                    <a:pt x="636" y="1806"/>
                    <a:pt x="607" y="1807"/>
                    <a:pt x="578" y="1807"/>
                  </a:cubicBezTo>
                  <a:cubicBezTo>
                    <a:pt x="575" y="1807"/>
                    <a:pt x="573" y="1806"/>
                    <a:pt x="571" y="1806"/>
                  </a:cubicBezTo>
                  <a:cubicBezTo>
                    <a:pt x="567" y="1806"/>
                    <a:pt x="563" y="1805"/>
                    <a:pt x="560" y="1804"/>
                  </a:cubicBezTo>
                  <a:cubicBezTo>
                    <a:pt x="555" y="1802"/>
                    <a:pt x="551" y="1800"/>
                    <a:pt x="549" y="1797"/>
                  </a:cubicBezTo>
                  <a:cubicBezTo>
                    <a:pt x="546" y="1794"/>
                    <a:pt x="545" y="1790"/>
                    <a:pt x="545" y="1786"/>
                  </a:cubicBezTo>
                  <a:cubicBezTo>
                    <a:pt x="545" y="1783"/>
                    <a:pt x="546" y="1780"/>
                    <a:pt x="548" y="1777"/>
                  </a:cubicBezTo>
                  <a:cubicBezTo>
                    <a:pt x="548" y="1776"/>
                    <a:pt x="549" y="1776"/>
                    <a:pt x="549" y="1776"/>
                  </a:cubicBezTo>
                  <a:cubicBezTo>
                    <a:pt x="549" y="1775"/>
                    <a:pt x="549" y="1774"/>
                    <a:pt x="550" y="1774"/>
                  </a:cubicBezTo>
                  <a:cubicBezTo>
                    <a:pt x="551" y="1772"/>
                    <a:pt x="551" y="1772"/>
                    <a:pt x="551" y="1772"/>
                  </a:cubicBezTo>
                  <a:cubicBezTo>
                    <a:pt x="551" y="1772"/>
                    <a:pt x="551" y="1772"/>
                    <a:pt x="551" y="1772"/>
                  </a:cubicBezTo>
                  <a:cubicBezTo>
                    <a:pt x="558" y="1761"/>
                    <a:pt x="566" y="1750"/>
                    <a:pt x="574" y="1739"/>
                  </a:cubicBezTo>
                  <a:cubicBezTo>
                    <a:pt x="579" y="1730"/>
                    <a:pt x="585" y="1720"/>
                    <a:pt x="592" y="1713"/>
                  </a:cubicBezTo>
                  <a:cubicBezTo>
                    <a:pt x="593" y="1712"/>
                    <a:pt x="593" y="1711"/>
                    <a:pt x="594" y="1710"/>
                  </a:cubicBezTo>
                  <a:cubicBezTo>
                    <a:pt x="594" y="1710"/>
                    <a:pt x="595" y="1710"/>
                    <a:pt x="595" y="1710"/>
                  </a:cubicBezTo>
                  <a:cubicBezTo>
                    <a:pt x="596" y="1708"/>
                    <a:pt x="598" y="1707"/>
                    <a:pt x="600" y="1705"/>
                  </a:cubicBezTo>
                  <a:cubicBezTo>
                    <a:pt x="600" y="1705"/>
                    <a:pt x="600" y="1705"/>
                    <a:pt x="600" y="1705"/>
                  </a:cubicBezTo>
                  <a:cubicBezTo>
                    <a:pt x="600" y="1705"/>
                    <a:pt x="600" y="1705"/>
                    <a:pt x="600" y="1705"/>
                  </a:cubicBezTo>
                  <a:cubicBezTo>
                    <a:pt x="610" y="1697"/>
                    <a:pt x="622" y="1692"/>
                    <a:pt x="635" y="1690"/>
                  </a:cubicBezTo>
                  <a:cubicBezTo>
                    <a:pt x="635" y="1690"/>
                    <a:pt x="635" y="1690"/>
                    <a:pt x="635" y="1690"/>
                  </a:cubicBezTo>
                  <a:cubicBezTo>
                    <a:pt x="636" y="1690"/>
                    <a:pt x="636" y="1690"/>
                    <a:pt x="636" y="1690"/>
                  </a:cubicBezTo>
                  <a:cubicBezTo>
                    <a:pt x="638" y="1689"/>
                    <a:pt x="640" y="1689"/>
                    <a:pt x="643" y="1688"/>
                  </a:cubicBezTo>
                  <a:cubicBezTo>
                    <a:pt x="644" y="1688"/>
                    <a:pt x="646" y="1688"/>
                    <a:pt x="647" y="1688"/>
                  </a:cubicBezTo>
                  <a:cubicBezTo>
                    <a:pt x="649" y="1688"/>
                    <a:pt x="650" y="1688"/>
                    <a:pt x="652" y="1688"/>
                  </a:cubicBezTo>
                  <a:cubicBezTo>
                    <a:pt x="653" y="1687"/>
                    <a:pt x="654" y="1687"/>
                    <a:pt x="655" y="1687"/>
                  </a:cubicBezTo>
                  <a:cubicBezTo>
                    <a:pt x="656" y="1687"/>
                    <a:pt x="656" y="1687"/>
                    <a:pt x="656" y="1687"/>
                  </a:cubicBezTo>
                  <a:cubicBezTo>
                    <a:pt x="656" y="1687"/>
                    <a:pt x="656" y="1687"/>
                    <a:pt x="656" y="1687"/>
                  </a:cubicBezTo>
                  <a:cubicBezTo>
                    <a:pt x="683" y="1687"/>
                    <a:pt x="709" y="1687"/>
                    <a:pt x="736" y="1687"/>
                  </a:cubicBezTo>
                  <a:cubicBezTo>
                    <a:pt x="736" y="1687"/>
                    <a:pt x="736" y="1687"/>
                    <a:pt x="736" y="1687"/>
                  </a:cubicBezTo>
                  <a:cubicBezTo>
                    <a:pt x="740" y="1687"/>
                    <a:pt x="740" y="1687"/>
                    <a:pt x="740" y="1687"/>
                  </a:cubicBezTo>
                  <a:cubicBezTo>
                    <a:pt x="747" y="1687"/>
                    <a:pt x="753" y="1688"/>
                    <a:pt x="757" y="1689"/>
                  </a:cubicBezTo>
                  <a:cubicBezTo>
                    <a:pt x="759" y="1690"/>
                    <a:pt x="760" y="1690"/>
                    <a:pt x="761" y="1691"/>
                  </a:cubicBezTo>
                  <a:cubicBezTo>
                    <a:pt x="761" y="1691"/>
                    <a:pt x="762" y="1691"/>
                    <a:pt x="763" y="1691"/>
                  </a:cubicBezTo>
                  <a:cubicBezTo>
                    <a:pt x="763" y="1692"/>
                    <a:pt x="763" y="1692"/>
                    <a:pt x="764" y="1692"/>
                  </a:cubicBezTo>
                  <a:cubicBezTo>
                    <a:pt x="771" y="1695"/>
                    <a:pt x="775" y="1701"/>
                    <a:pt x="773" y="1710"/>
                  </a:cubicBezTo>
                  <a:close/>
                  <a:moveTo>
                    <a:pt x="828" y="1613"/>
                  </a:moveTo>
                  <a:cubicBezTo>
                    <a:pt x="827" y="1614"/>
                    <a:pt x="827" y="1614"/>
                    <a:pt x="827" y="1614"/>
                  </a:cubicBezTo>
                  <a:cubicBezTo>
                    <a:pt x="827" y="1614"/>
                    <a:pt x="827" y="1614"/>
                    <a:pt x="827" y="1614"/>
                  </a:cubicBezTo>
                  <a:cubicBezTo>
                    <a:pt x="826" y="1616"/>
                    <a:pt x="825" y="1617"/>
                    <a:pt x="824" y="1619"/>
                  </a:cubicBezTo>
                  <a:cubicBezTo>
                    <a:pt x="824" y="1619"/>
                    <a:pt x="824" y="1619"/>
                    <a:pt x="823" y="1619"/>
                  </a:cubicBezTo>
                  <a:cubicBezTo>
                    <a:pt x="817" y="1627"/>
                    <a:pt x="807" y="1632"/>
                    <a:pt x="797" y="1635"/>
                  </a:cubicBezTo>
                  <a:cubicBezTo>
                    <a:pt x="797" y="1635"/>
                    <a:pt x="797" y="1635"/>
                    <a:pt x="797" y="1635"/>
                  </a:cubicBezTo>
                  <a:cubicBezTo>
                    <a:pt x="795" y="1636"/>
                    <a:pt x="794" y="1636"/>
                    <a:pt x="792" y="1636"/>
                  </a:cubicBezTo>
                  <a:cubicBezTo>
                    <a:pt x="791" y="1637"/>
                    <a:pt x="790" y="1637"/>
                    <a:pt x="789" y="1637"/>
                  </a:cubicBezTo>
                  <a:cubicBezTo>
                    <a:pt x="788" y="1637"/>
                    <a:pt x="788" y="1638"/>
                    <a:pt x="787" y="1638"/>
                  </a:cubicBezTo>
                  <a:cubicBezTo>
                    <a:pt x="781" y="1639"/>
                    <a:pt x="774" y="1640"/>
                    <a:pt x="768" y="1640"/>
                  </a:cubicBezTo>
                  <a:cubicBezTo>
                    <a:pt x="767" y="1640"/>
                    <a:pt x="767" y="1640"/>
                    <a:pt x="767" y="1640"/>
                  </a:cubicBezTo>
                  <a:cubicBezTo>
                    <a:pt x="756" y="1641"/>
                    <a:pt x="745" y="1640"/>
                    <a:pt x="735" y="1640"/>
                  </a:cubicBezTo>
                  <a:cubicBezTo>
                    <a:pt x="718" y="1640"/>
                    <a:pt x="702" y="1640"/>
                    <a:pt x="685" y="1640"/>
                  </a:cubicBezTo>
                  <a:cubicBezTo>
                    <a:pt x="683" y="1640"/>
                    <a:pt x="680" y="1640"/>
                    <a:pt x="677" y="1640"/>
                  </a:cubicBezTo>
                  <a:cubicBezTo>
                    <a:pt x="677" y="1640"/>
                    <a:pt x="677" y="1640"/>
                    <a:pt x="676" y="1640"/>
                  </a:cubicBezTo>
                  <a:cubicBezTo>
                    <a:pt x="674" y="1639"/>
                    <a:pt x="672" y="1639"/>
                    <a:pt x="669" y="1638"/>
                  </a:cubicBezTo>
                  <a:cubicBezTo>
                    <a:pt x="669" y="1638"/>
                    <a:pt x="669" y="1638"/>
                    <a:pt x="669" y="1638"/>
                  </a:cubicBezTo>
                  <a:cubicBezTo>
                    <a:pt x="669" y="1638"/>
                    <a:pt x="669" y="1638"/>
                    <a:pt x="669" y="1638"/>
                  </a:cubicBezTo>
                  <a:cubicBezTo>
                    <a:pt x="662" y="1636"/>
                    <a:pt x="655" y="1632"/>
                    <a:pt x="655" y="1624"/>
                  </a:cubicBezTo>
                  <a:cubicBezTo>
                    <a:pt x="655" y="1623"/>
                    <a:pt x="655" y="1621"/>
                    <a:pt x="656" y="1620"/>
                  </a:cubicBezTo>
                  <a:cubicBezTo>
                    <a:pt x="656" y="1619"/>
                    <a:pt x="656" y="1619"/>
                    <a:pt x="656" y="1618"/>
                  </a:cubicBezTo>
                  <a:cubicBezTo>
                    <a:pt x="657" y="1617"/>
                    <a:pt x="657" y="1616"/>
                    <a:pt x="658" y="1614"/>
                  </a:cubicBezTo>
                  <a:cubicBezTo>
                    <a:pt x="658" y="1614"/>
                    <a:pt x="658" y="1614"/>
                    <a:pt x="658" y="1614"/>
                  </a:cubicBezTo>
                  <a:cubicBezTo>
                    <a:pt x="659" y="1613"/>
                    <a:pt x="659" y="1613"/>
                    <a:pt x="659" y="1613"/>
                  </a:cubicBezTo>
                  <a:cubicBezTo>
                    <a:pt x="660" y="1612"/>
                    <a:pt x="661" y="1610"/>
                    <a:pt x="662" y="1609"/>
                  </a:cubicBezTo>
                  <a:cubicBezTo>
                    <a:pt x="670" y="1597"/>
                    <a:pt x="678" y="1585"/>
                    <a:pt x="686" y="1572"/>
                  </a:cubicBezTo>
                  <a:cubicBezTo>
                    <a:pt x="687" y="1572"/>
                    <a:pt x="687" y="1572"/>
                    <a:pt x="687" y="1572"/>
                  </a:cubicBezTo>
                  <a:cubicBezTo>
                    <a:pt x="689" y="1568"/>
                    <a:pt x="689" y="1568"/>
                    <a:pt x="689" y="1568"/>
                  </a:cubicBezTo>
                  <a:cubicBezTo>
                    <a:pt x="692" y="1565"/>
                    <a:pt x="695" y="1562"/>
                    <a:pt x="699" y="1559"/>
                  </a:cubicBezTo>
                  <a:cubicBezTo>
                    <a:pt x="702" y="1557"/>
                    <a:pt x="705" y="1555"/>
                    <a:pt x="708" y="1554"/>
                  </a:cubicBezTo>
                  <a:cubicBezTo>
                    <a:pt x="709" y="1553"/>
                    <a:pt x="710" y="1553"/>
                    <a:pt x="711" y="1552"/>
                  </a:cubicBezTo>
                  <a:cubicBezTo>
                    <a:pt x="712" y="1552"/>
                    <a:pt x="712" y="1552"/>
                    <a:pt x="713" y="1551"/>
                  </a:cubicBezTo>
                  <a:cubicBezTo>
                    <a:pt x="713" y="1551"/>
                    <a:pt x="714" y="1551"/>
                    <a:pt x="714" y="1551"/>
                  </a:cubicBezTo>
                  <a:cubicBezTo>
                    <a:pt x="715" y="1551"/>
                    <a:pt x="715" y="1551"/>
                    <a:pt x="716" y="1550"/>
                  </a:cubicBezTo>
                  <a:cubicBezTo>
                    <a:pt x="720" y="1549"/>
                    <a:pt x="725" y="1547"/>
                    <a:pt x="730" y="1546"/>
                  </a:cubicBezTo>
                  <a:cubicBezTo>
                    <a:pt x="735" y="1545"/>
                    <a:pt x="741" y="1544"/>
                    <a:pt x="747" y="1544"/>
                  </a:cubicBezTo>
                  <a:cubicBezTo>
                    <a:pt x="763" y="1544"/>
                    <a:pt x="763" y="1544"/>
                    <a:pt x="763" y="1544"/>
                  </a:cubicBezTo>
                  <a:cubicBezTo>
                    <a:pt x="767" y="1544"/>
                    <a:pt x="770" y="1544"/>
                    <a:pt x="774" y="1544"/>
                  </a:cubicBezTo>
                  <a:cubicBezTo>
                    <a:pt x="789" y="1544"/>
                    <a:pt x="803" y="1544"/>
                    <a:pt x="818" y="1544"/>
                  </a:cubicBezTo>
                  <a:cubicBezTo>
                    <a:pt x="818" y="1544"/>
                    <a:pt x="818" y="1544"/>
                    <a:pt x="818" y="1544"/>
                  </a:cubicBezTo>
                  <a:cubicBezTo>
                    <a:pt x="824" y="1544"/>
                    <a:pt x="824" y="1544"/>
                    <a:pt x="824" y="1544"/>
                  </a:cubicBezTo>
                  <a:cubicBezTo>
                    <a:pt x="830" y="1544"/>
                    <a:pt x="835" y="1545"/>
                    <a:pt x="839" y="1546"/>
                  </a:cubicBezTo>
                  <a:cubicBezTo>
                    <a:pt x="843" y="1547"/>
                    <a:pt x="845" y="1548"/>
                    <a:pt x="847" y="1549"/>
                  </a:cubicBezTo>
                  <a:cubicBezTo>
                    <a:pt x="854" y="1553"/>
                    <a:pt x="858" y="1559"/>
                    <a:pt x="853" y="1568"/>
                  </a:cubicBezTo>
                  <a:cubicBezTo>
                    <a:pt x="848" y="1579"/>
                    <a:pt x="841" y="1590"/>
                    <a:pt x="835" y="1600"/>
                  </a:cubicBezTo>
                  <a:cubicBezTo>
                    <a:pt x="828" y="1613"/>
                    <a:pt x="828" y="1613"/>
                    <a:pt x="828" y="1613"/>
                  </a:cubicBezTo>
                  <a:cubicBezTo>
                    <a:pt x="828" y="1613"/>
                    <a:pt x="828" y="1613"/>
                    <a:pt x="828" y="1613"/>
                  </a:cubicBezTo>
                  <a:close/>
                  <a:moveTo>
                    <a:pt x="1592" y="1771"/>
                  </a:moveTo>
                  <a:cubicBezTo>
                    <a:pt x="1592" y="1773"/>
                    <a:pt x="1592" y="1775"/>
                    <a:pt x="1591" y="1777"/>
                  </a:cubicBezTo>
                  <a:cubicBezTo>
                    <a:pt x="1591" y="1778"/>
                    <a:pt x="1591" y="1778"/>
                    <a:pt x="1591" y="1778"/>
                  </a:cubicBezTo>
                  <a:cubicBezTo>
                    <a:pt x="1590" y="1780"/>
                    <a:pt x="1590" y="1782"/>
                    <a:pt x="1589" y="1783"/>
                  </a:cubicBezTo>
                  <a:cubicBezTo>
                    <a:pt x="1589" y="1783"/>
                    <a:pt x="1589" y="1783"/>
                    <a:pt x="1589" y="1784"/>
                  </a:cubicBezTo>
                  <a:cubicBezTo>
                    <a:pt x="1588" y="1784"/>
                    <a:pt x="1588" y="1784"/>
                    <a:pt x="1588" y="1784"/>
                  </a:cubicBezTo>
                  <a:cubicBezTo>
                    <a:pt x="1587" y="1786"/>
                    <a:pt x="1586" y="1788"/>
                    <a:pt x="1584" y="1789"/>
                  </a:cubicBezTo>
                  <a:cubicBezTo>
                    <a:pt x="1584" y="1789"/>
                    <a:pt x="1584" y="1789"/>
                    <a:pt x="1584" y="1789"/>
                  </a:cubicBezTo>
                  <a:cubicBezTo>
                    <a:pt x="1582" y="1791"/>
                    <a:pt x="1581" y="1792"/>
                    <a:pt x="1579" y="1794"/>
                  </a:cubicBezTo>
                  <a:cubicBezTo>
                    <a:pt x="1578" y="1794"/>
                    <a:pt x="1578" y="1794"/>
                    <a:pt x="1578" y="1794"/>
                  </a:cubicBezTo>
                  <a:cubicBezTo>
                    <a:pt x="1578" y="1794"/>
                    <a:pt x="1577" y="1795"/>
                    <a:pt x="1577" y="1795"/>
                  </a:cubicBezTo>
                  <a:cubicBezTo>
                    <a:pt x="1575" y="1796"/>
                    <a:pt x="1573" y="1797"/>
                    <a:pt x="1571" y="1798"/>
                  </a:cubicBezTo>
                  <a:cubicBezTo>
                    <a:pt x="1571" y="1798"/>
                    <a:pt x="1571" y="1798"/>
                    <a:pt x="1570" y="1798"/>
                  </a:cubicBezTo>
                  <a:cubicBezTo>
                    <a:pt x="1569" y="1799"/>
                    <a:pt x="1567" y="1800"/>
                    <a:pt x="1566" y="1800"/>
                  </a:cubicBezTo>
                  <a:cubicBezTo>
                    <a:pt x="1565" y="1800"/>
                    <a:pt x="1564" y="1801"/>
                    <a:pt x="1563" y="1801"/>
                  </a:cubicBezTo>
                  <a:cubicBezTo>
                    <a:pt x="1563" y="1801"/>
                    <a:pt x="1563" y="1801"/>
                    <a:pt x="1562" y="1801"/>
                  </a:cubicBezTo>
                  <a:cubicBezTo>
                    <a:pt x="1562" y="1801"/>
                    <a:pt x="1561" y="1801"/>
                    <a:pt x="1561" y="1802"/>
                  </a:cubicBezTo>
                  <a:cubicBezTo>
                    <a:pt x="1559" y="1802"/>
                    <a:pt x="1557" y="1802"/>
                    <a:pt x="1555" y="1803"/>
                  </a:cubicBezTo>
                  <a:cubicBezTo>
                    <a:pt x="1553" y="1803"/>
                    <a:pt x="1551" y="1803"/>
                    <a:pt x="1550" y="1803"/>
                  </a:cubicBezTo>
                  <a:cubicBezTo>
                    <a:pt x="1548" y="1804"/>
                    <a:pt x="1546" y="1804"/>
                    <a:pt x="1544" y="1804"/>
                  </a:cubicBezTo>
                  <a:cubicBezTo>
                    <a:pt x="1544" y="1804"/>
                    <a:pt x="1543" y="1804"/>
                    <a:pt x="1542" y="1804"/>
                  </a:cubicBezTo>
                  <a:cubicBezTo>
                    <a:pt x="1540" y="1804"/>
                    <a:pt x="1540" y="1804"/>
                    <a:pt x="1540" y="1804"/>
                  </a:cubicBezTo>
                  <a:cubicBezTo>
                    <a:pt x="1540" y="1804"/>
                    <a:pt x="1540" y="1804"/>
                    <a:pt x="1540" y="1804"/>
                  </a:cubicBezTo>
                  <a:cubicBezTo>
                    <a:pt x="1530" y="1804"/>
                    <a:pt x="1519" y="1804"/>
                    <a:pt x="1509" y="1804"/>
                  </a:cubicBezTo>
                  <a:cubicBezTo>
                    <a:pt x="1461" y="1804"/>
                    <a:pt x="908" y="1806"/>
                    <a:pt x="869" y="1806"/>
                  </a:cubicBezTo>
                  <a:cubicBezTo>
                    <a:pt x="866" y="1806"/>
                    <a:pt x="863" y="1806"/>
                    <a:pt x="861" y="1805"/>
                  </a:cubicBezTo>
                  <a:cubicBezTo>
                    <a:pt x="857" y="1805"/>
                    <a:pt x="853" y="1804"/>
                    <a:pt x="850" y="1803"/>
                  </a:cubicBezTo>
                  <a:cubicBezTo>
                    <a:pt x="845" y="1802"/>
                    <a:pt x="841" y="1799"/>
                    <a:pt x="838" y="1796"/>
                  </a:cubicBezTo>
                  <a:cubicBezTo>
                    <a:pt x="835" y="1793"/>
                    <a:pt x="833" y="1790"/>
                    <a:pt x="832" y="1786"/>
                  </a:cubicBezTo>
                  <a:cubicBezTo>
                    <a:pt x="832" y="1782"/>
                    <a:pt x="832" y="1778"/>
                    <a:pt x="834" y="1773"/>
                  </a:cubicBezTo>
                  <a:cubicBezTo>
                    <a:pt x="836" y="1771"/>
                    <a:pt x="836" y="1771"/>
                    <a:pt x="836" y="1771"/>
                  </a:cubicBezTo>
                  <a:cubicBezTo>
                    <a:pt x="836" y="1771"/>
                    <a:pt x="836" y="1771"/>
                    <a:pt x="836" y="1771"/>
                  </a:cubicBezTo>
                  <a:cubicBezTo>
                    <a:pt x="842" y="1758"/>
                    <a:pt x="848" y="1745"/>
                    <a:pt x="854" y="1732"/>
                  </a:cubicBezTo>
                  <a:cubicBezTo>
                    <a:pt x="856" y="1730"/>
                    <a:pt x="857" y="1728"/>
                    <a:pt x="858" y="1726"/>
                  </a:cubicBezTo>
                  <a:cubicBezTo>
                    <a:pt x="862" y="1716"/>
                    <a:pt x="862" y="1716"/>
                    <a:pt x="862" y="1716"/>
                  </a:cubicBezTo>
                  <a:cubicBezTo>
                    <a:pt x="864" y="1712"/>
                    <a:pt x="868" y="1708"/>
                    <a:pt x="872" y="1704"/>
                  </a:cubicBezTo>
                  <a:cubicBezTo>
                    <a:pt x="873" y="1704"/>
                    <a:pt x="874" y="1703"/>
                    <a:pt x="875" y="1702"/>
                  </a:cubicBezTo>
                  <a:cubicBezTo>
                    <a:pt x="875" y="1702"/>
                    <a:pt x="876" y="1701"/>
                    <a:pt x="877" y="1701"/>
                  </a:cubicBezTo>
                  <a:cubicBezTo>
                    <a:pt x="878" y="1700"/>
                    <a:pt x="878" y="1700"/>
                    <a:pt x="879" y="1699"/>
                  </a:cubicBezTo>
                  <a:cubicBezTo>
                    <a:pt x="880" y="1699"/>
                    <a:pt x="880" y="1699"/>
                    <a:pt x="880" y="1699"/>
                  </a:cubicBezTo>
                  <a:cubicBezTo>
                    <a:pt x="881" y="1698"/>
                    <a:pt x="881" y="1698"/>
                    <a:pt x="882" y="1698"/>
                  </a:cubicBezTo>
                  <a:cubicBezTo>
                    <a:pt x="883" y="1697"/>
                    <a:pt x="885" y="1696"/>
                    <a:pt x="886" y="1695"/>
                  </a:cubicBezTo>
                  <a:cubicBezTo>
                    <a:pt x="887" y="1695"/>
                    <a:pt x="888" y="1695"/>
                    <a:pt x="889" y="1694"/>
                  </a:cubicBezTo>
                  <a:cubicBezTo>
                    <a:pt x="890" y="1694"/>
                    <a:pt x="891" y="1693"/>
                    <a:pt x="893" y="1693"/>
                  </a:cubicBezTo>
                  <a:cubicBezTo>
                    <a:pt x="895" y="1692"/>
                    <a:pt x="897" y="1691"/>
                    <a:pt x="899" y="1690"/>
                  </a:cubicBezTo>
                  <a:cubicBezTo>
                    <a:pt x="900" y="1690"/>
                    <a:pt x="901" y="1690"/>
                    <a:pt x="903" y="1689"/>
                  </a:cubicBezTo>
                  <a:cubicBezTo>
                    <a:pt x="903" y="1689"/>
                    <a:pt x="904" y="1689"/>
                    <a:pt x="904" y="1689"/>
                  </a:cubicBezTo>
                  <a:cubicBezTo>
                    <a:pt x="910" y="1687"/>
                    <a:pt x="917" y="1687"/>
                    <a:pt x="923" y="1687"/>
                  </a:cubicBezTo>
                  <a:cubicBezTo>
                    <a:pt x="923" y="1687"/>
                    <a:pt x="1503" y="1685"/>
                    <a:pt x="1525" y="1685"/>
                  </a:cubicBezTo>
                  <a:cubicBezTo>
                    <a:pt x="1531" y="1685"/>
                    <a:pt x="1538" y="1685"/>
                    <a:pt x="1545" y="1685"/>
                  </a:cubicBezTo>
                  <a:cubicBezTo>
                    <a:pt x="1548" y="1685"/>
                    <a:pt x="1551" y="1685"/>
                    <a:pt x="1554" y="1686"/>
                  </a:cubicBezTo>
                  <a:cubicBezTo>
                    <a:pt x="1554" y="1686"/>
                    <a:pt x="1555" y="1686"/>
                    <a:pt x="1555" y="1686"/>
                  </a:cubicBezTo>
                  <a:cubicBezTo>
                    <a:pt x="1557" y="1686"/>
                    <a:pt x="1560" y="1686"/>
                    <a:pt x="1562" y="1687"/>
                  </a:cubicBezTo>
                  <a:cubicBezTo>
                    <a:pt x="1562" y="1687"/>
                    <a:pt x="1563" y="1687"/>
                    <a:pt x="1563" y="1687"/>
                  </a:cubicBezTo>
                  <a:cubicBezTo>
                    <a:pt x="1563" y="1687"/>
                    <a:pt x="1563" y="1687"/>
                    <a:pt x="1563" y="1687"/>
                  </a:cubicBezTo>
                  <a:cubicBezTo>
                    <a:pt x="1566" y="1688"/>
                    <a:pt x="1568" y="1689"/>
                    <a:pt x="1570" y="1690"/>
                  </a:cubicBezTo>
                  <a:cubicBezTo>
                    <a:pt x="1570" y="1690"/>
                    <a:pt x="1571" y="1690"/>
                    <a:pt x="1571" y="1690"/>
                  </a:cubicBezTo>
                  <a:cubicBezTo>
                    <a:pt x="1573" y="1691"/>
                    <a:pt x="1575" y="1692"/>
                    <a:pt x="1577" y="1693"/>
                  </a:cubicBezTo>
                  <a:cubicBezTo>
                    <a:pt x="1577" y="1693"/>
                    <a:pt x="1577" y="1693"/>
                    <a:pt x="1578" y="1693"/>
                  </a:cubicBezTo>
                  <a:cubicBezTo>
                    <a:pt x="1578" y="1694"/>
                    <a:pt x="1578" y="1694"/>
                    <a:pt x="1578" y="1694"/>
                  </a:cubicBezTo>
                  <a:cubicBezTo>
                    <a:pt x="1580" y="1695"/>
                    <a:pt x="1581" y="1696"/>
                    <a:pt x="1582" y="1697"/>
                  </a:cubicBezTo>
                  <a:cubicBezTo>
                    <a:pt x="1584" y="1698"/>
                    <a:pt x="1586" y="1700"/>
                    <a:pt x="1588" y="1703"/>
                  </a:cubicBezTo>
                  <a:cubicBezTo>
                    <a:pt x="1590" y="1706"/>
                    <a:pt x="1592" y="1710"/>
                    <a:pt x="1592" y="1714"/>
                  </a:cubicBezTo>
                  <a:cubicBezTo>
                    <a:pt x="1592" y="1717"/>
                    <a:pt x="1592" y="1717"/>
                    <a:pt x="1592" y="1717"/>
                  </a:cubicBezTo>
                  <a:cubicBezTo>
                    <a:pt x="1592" y="1717"/>
                    <a:pt x="1592" y="1717"/>
                    <a:pt x="1592" y="1717"/>
                  </a:cubicBezTo>
                  <a:cubicBezTo>
                    <a:pt x="1592" y="1731"/>
                    <a:pt x="1592" y="1746"/>
                    <a:pt x="1592" y="1760"/>
                  </a:cubicBezTo>
                  <a:cubicBezTo>
                    <a:pt x="1592" y="1764"/>
                    <a:pt x="1593" y="1767"/>
                    <a:pt x="1592" y="1771"/>
                  </a:cubicBezTo>
                  <a:close/>
                  <a:moveTo>
                    <a:pt x="1671" y="1490"/>
                  </a:moveTo>
                  <a:cubicBezTo>
                    <a:pt x="1671" y="1490"/>
                    <a:pt x="1670" y="1489"/>
                    <a:pt x="1670" y="1489"/>
                  </a:cubicBezTo>
                  <a:cubicBezTo>
                    <a:pt x="1670" y="1489"/>
                    <a:pt x="1669" y="1489"/>
                    <a:pt x="1669" y="1488"/>
                  </a:cubicBezTo>
                  <a:cubicBezTo>
                    <a:pt x="1667" y="1486"/>
                    <a:pt x="1666" y="1483"/>
                    <a:pt x="1665" y="1480"/>
                  </a:cubicBezTo>
                  <a:cubicBezTo>
                    <a:pt x="1665" y="1477"/>
                    <a:pt x="1665" y="1477"/>
                    <a:pt x="1665" y="1477"/>
                  </a:cubicBezTo>
                  <a:cubicBezTo>
                    <a:pt x="1665" y="1475"/>
                    <a:pt x="1665" y="1473"/>
                    <a:pt x="1665" y="1471"/>
                  </a:cubicBezTo>
                  <a:cubicBezTo>
                    <a:pt x="1665" y="1471"/>
                    <a:pt x="1665" y="1471"/>
                    <a:pt x="1665" y="1471"/>
                  </a:cubicBezTo>
                  <a:cubicBezTo>
                    <a:pt x="1664" y="1463"/>
                    <a:pt x="1662" y="1454"/>
                    <a:pt x="1663" y="1445"/>
                  </a:cubicBezTo>
                  <a:cubicBezTo>
                    <a:pt x="1663" y="1443"/>
                    <a:pt x="1663" y="1443"/>
                    <a:pt x="1663" y="1443"/>
                  </a:cubicBezTo>
                  <a:cubicBezTo>
                    <a:pt x="1662" y="1440"/>
                    <a:pt x="1663" y="1437"/>
                    <a:pt x="1665" y="1435"/>
                  </a:cubicBezTo>
                  <a:cubicBezTo>
                    <a:pt x="1667" y="1433"/>
                    <a:pt x="1669" y="1431"/>
                    <a:pt x="1673" y="1429"/>
                  </a:cubicBezTo>
                  <a:cubicBezTo>
                    <a:pt x="1676" y="1427"/>
                    <a:pt x="1680" y="1426"/>
                    <a:pt x="1684" y="1425"/>
                  </a:cubicBezTo>
                  <a:cubicBezTo>
                    <a:pt x="1684" y="1425"/>
                    <a:pt x="1684" y="1425"/>
                    <a:pt x="1684" y="1425"/>
                  </a:cubicBezTo>
                  <a:cubicBezTo>
                    <a:pt x="1685" y="1425"/>
                    <a:pt x="1685" y="1425"/>
                    <a:pt x="1685" y="1425"/>
                  </a:cubicBezTo>
                  <a:cubicBezTo>
                    <a:pt x="1687" y="1424"/>
                    <a:pt x="1689" y="1424"/>
                    <a:pt x="1690" y="1424"/>
                  </a:cubicBezTo>
                  <a:cubicBezTo>
                    <a:pt x="1691" y="1424"/>
                    <a:pt x="1692" y="1424"/>
                    <a:pt x="1693" y="1424"/>
                  </a:cubicBezTo>
                  <a:cubicBezTo>
                    <a:pt x="1700" y="1423"/>
                    <a:pt x="1708" y="1423"/>
                    <a:pt x="1716" y="1423"/>
                  </a:cubicBezTo>
                  <a:cubicBezTo>
                    <a:pt x="1769" y="1423"/>
                    <a:pt x="1769" y="1423"/>
                    <a:pt x="1769" y="1423"/>
                  </a:cubicBezTo>
                  <a:cubicBezTo>
                    <a:pt x="1772" y="1423"/>
                    <a:pt x="1775" y="1423"/>
                    <a:pt x="1778" y="1424"/>
                  </a:cubicBezTo>
                  <a:cubicBezTo>
                    <a:pt x="1792" y="1425"/>
                    <a:pt x="1808" y="1429"/>
                    <a:pt x="1810" y="1442"/>
                  </a:cubicBezTo>
                  <a:cubicBezTo>
                    <a:pt x="1814" y="1454"/>
                    <a:pt x="1815" y="1466"/>
                    <a:pt x="1817" y="1478"/>
                  </a:cubicBezTo>
                  <a:cubicBezTo>
                    <a:pt x="1818" y="1480"/>
                    <a:pt x="1818" y="1480"/>
                    <a:pt x="1818" y="1480"/>
                  </a:cubicBezTo>
                  <a:cubicBezTo>
                    <a:pt x="1818" y="1482"/>
                    <a:pt x="1818" y="1485"/>
                    <a:pt x="1817" y="1487"/>
                  </a:cubicBezTo>
                  <a:cubicBezTo>
                    <a:pt x="1817" y="1487"/>
                    <a:pt x="1817" y="1488"/>
                    <a:pt x="1816" y="1488"/>
                  </a:cubicBezTo>
                  <a:cubicBezTo>
                    <a:pt x="1816" y="1488"/>
                    <a:pt x="1816" y="1488"/>
                    <a:pt x="1816" y="1488"/>
                  </a:cubicBezTo>
                  <a:cubicBezTo>
                    <a:pt x="1816" y="1488"/>
                    <a:pt x="1816" y="1488"/>
                    <a:pt x="1816" y="1488"/>
                  </a:cubicBezTo>
                  <a:cubicBezTo>
                    <a:pt x="1813" y="1494"/>
                    <a:pt x="1807" y="1497"/>
                    <a:pt x="1799" y="1499"/>
                  </a:cubicBezTo>
                  <a:cubicBezTo>
                    <a:pt x="1798" y="1499"/>
                    <a:pt x="1798" y="1499"/>
                    <a:pt x="1797" y="1499"/>
                  </a:cubicBezTo>
                  <a:cubicBezTo>
                    <a:pt x="1796" y="1500"/>
                    <a:pt x="1796" y="1500"/>
                    <a:pt x="1795" y="1500"/>
                  </a:cubicBezTo>
                  <a:cubicBezTo>
                    <a:pt x="1794" y="1500"/>
                    <a:pt x="1794" y="1500"/>
                    <a:pt x="1793" y="1500"/>
                  </a:cubicBezTo>
                  <a:cubicBezTo>
                    <a:pt x="1792" y="1500"/>
                    <a:pt x="1790" y="1501"/>
                    <a:pt x="1789" y="1501"/>
                  </a:cubicBezTo>
                  <a:cubicBezTo>
                    <a:pt x="1771" y="1503"/>
                    <a:pt x="1750" y="1501"/>
                    <a:pt x="1741" y="1501"/>
                  </a:cubicBezTo>
                  <a:cubicBezTo>
                    <a:pt x="1707" y="1501"/>
                    <a:pt x="1707" y="1501"/>
                    <a:pt x="1707" y="1501"/>
                  </a:cubicBezTo>
                  <a:cubicBezTo>
                    <a:pt x="1704" y="1501"/>
                    <a:pt x="1702" y="1501"/>
                    <a:pt x="1699" y="1501"/>
                  </a:cubicBezTo>
                  <a:cubicBezTo>
                    <a:pt x="1697" y="1501"/>
                    <a:pt x="1695" y="1500"/>
                    <a:pt x="1693" y="1500"/>
                  </a:cubicBezTo>
                  <a:cubicBezTo>
                    <a:pt x="1693" y="1500"/>
                    <a:pt x="1692" y="1500"/>
                    <a:pt x="1692" y="1500"/>
                  </a:cubicBezTo>
                  <a:cubicBezTo>
                    <a:pt x="1691" y="1500"/>
                    <a:pt x="1691" y="1500"/>
                    <a:pt x="1691" y="1500"/>
                  </a:cubicBezTo>
                  <a:cubicBezTo>
                    <a:pt x="1689" y="1499"/>
                    <a:pt x="1687" y="1499"/>
                    <a:pt x="1685" y="1498"/>
                  </a:cubicBezTo>
                  <a:cubicBezTo>
                    <a:pt x="1684" y="1498"/>
                    <a:pt x="1684" y="1497"/>
                    <a:pt x="1683" y="1497"/>
                  </a:cubicBezTo>
                  <a:cubicBezTo>
                    <a:pt x="1681" y="1496"/>
                    <a:pt x="1680" y="1496"/>
                    <a:pt x="1678" y="1495"/>
                  </a:cubicBezTo>
                  <a:cubicBezTo>
                    <a:pt x="1676" y="1494"/>
                    <a:pt x="1674" y="1492"/>
                    <a:pt x="1672" y="1491"/>
                  </a:cubicBezTo>
                  <a:cubicBezTo>
                    <a:pt x="1672" y="1491"/>
                    <a:pt x="1671" y="1490"/>
                    <a:pt x="1671" y="1490"/>
                  </a:cubicBezTo>
                  <a:close/>
                  <a:moveTo>
                    <a:pt x="1680" y="1622"/>
                  </a:moveTo>
                  <a:cubicBezTo>
                    <a:pt x="1677" y="1618"/>
                    <a:pt x="1676" y="1615"/>
                    <a:pt x="1675" y="1612"/>
                  </a:cubicBezTo>
                  <a:cubicBezTo>
                    <a:pt x="1675" y="1607"/>
                    <a:pt x="1675" y="1607"/>
                    <a:pt x="1675" y="1607"/>
                  </a:cubicBezTo>
                  <a:cubicBezTo>
                    <a:pt x="1675" y="1607"/>
                    <a:pt x="1675" y="1607"/>
                    <a:pt x="1675" y="1607"/>
                  </a:cubicBezTo>
                  <a:cubicBezTo>
                    <a:pt x="1674" y="1593"/>
                    <a:pt x="1673" y="1580"/>
                    <a:pt x="1672" y="1567"/>
                  </a:cubicBezTo>
                  <a:cubicBezTo>
                    <a:pt x="1672" y="1567"/>
                    <a:pt x="1672" y="1567"/>
                    <a:pt x="1672" y="1567"/>
                  </a:cubicBezTo>
                  <a:cubicBezTo>
                    <a:pt x="1672" y="1566"/>
                    <a:pt x="1672" y="1566"/>
                    <a:pt x="1672" y="1566"/>
                  </a:cubicBezTo>
                  <a:cubicBezTo>
                    <a:pt x="1672" y="1565"/>
                    <a:pt x="1672" y="1564"/>
                    <a:pt x="1672" y="1563"/>
                  </a:cubicBezTo>
                  <a:cubicBezTo>
                    <a:pt x="1675" y="1535"/>
                    <a:pt x="1735" y="1542"/>
                    <a:pt x="1754" y="1542"/>
                  </a:cubicBezTo>
                  <a:cubicBezTo>
                    <a:pt x="1776" y="1542"/>
                    <a:pt x="1819" y="1537"/>
                    <a:pt x="1832" y="1559"/>
                  </a:cubicBezTo>
                  <a:cubicBezTo>
                    <a:pt x="1833" y="1561"/>
                    <a:pt x="1835" y="1563"/>
                    <a:pt x="1835" y="1565"/>
                  </a:cubicBezTo>
                  <a:cubicBezTo>
                    <a:pt x="1836" y="1568"/>
                    <a:pt x="1836" y="1568"/>
                    <a:pt x="1836" y="1568"/>
                  </a:cubicBezTo>
                  <a:cubicBezTo>
                    <a:pt x="1836" y="1568"/>
                    <a:pt x="1836" y="1568"/>
                    <a:pt x="1836" y="1568"/>
                  </a:cubicBezTo>
                  <a:cubicBezTo>
                    <a:pt x="1837" y="1575"/>
                    <a:pt x="1838" y="1581"/>
                    <a:pt x="1840" y="1588"/>
                  </a:cubicBezTo>
                  <a:cubicBezTo>
                    <a:pt x="1844" y="1611"/>
                    <a:pt x="1844" y="1611"/>
                    <a:pt x="1844" y="1611"/>
                  </a:cubicBezTo>
                  <a:cubicBezTo>
                    <a:pt x="1845" y="1615"/>
                    <a:pt x="1844" y="1618"/>
                    <a:pt x="1843" y="1621"/>
                  </a:cubicBezTo>
                  <a:cubicBezTo>
                    <a:pt x="1842" y="1623"/>
                    <a:pt x="1840" y="1625"/>
                    <a:pt x="1838" y="1627"/>
                  </a:cubicBezTo>
                  <a:cubicBezTo>
                    <a:pt x="1838" y="1627"/>
                    <a:pt x="1837" y="1628"/>
                    <a:pt x="1836" y="1629"/>
                  </a:cubicBezTo>
                  <a:cubicBezTo>
                    <a:pt x="1836" y="1629"/>
                    <a:pt x="1835" y="1629"/>
                    <a:pt x="1835" y="1630"/>
                  </a:cubicBezTo>
                  <a:cubicBezTo>
                    <a:pt x="1835" y="1630"/>
                    <a:pt x="1834" y="1630"/>
                    <a:pt x="1834" y="1630"/>
                  </a:cubicBezTo>
                  <a:cubicBezTo>
                    <a:pt x="1833" y="1631"/>
                    <a:pt x="1832" y="1631"/>
                    <a:pt x="1830" y="1632"/>
                  </a:cubicBezTo>
                  <a:cubicBezTo>
                    <a:pt x="1829" y="1633"/>
                    <a:pt x="1828" y="1633"/>
                    <a:pt x="1827" y="1634"/>
                  </a:cubicBezTo>
                  <a:cubicBezTo>
                    <a:pt x="1826" y="1634"/>
                    <a:pt x="1825" y="1634"/>
                    <a:pt x="1825" y="1634"/>
                  </a:cubicBezTo>
                  <a:cubicBezTo>
                    <a:pt x="1824" y="1635"/>
                    <a:pt x="1823" y="1635"/>
                    <a:pt x="1822" y="1635"/>
                  </a:cubicBezTo>
                  <a:cubicBezTo>
                    <a:pt x="1821" y="1635"/>
                    <a:pt x="1820" y="1636"/>
                    <a:pt x="1819" y="1636"/>
                  </a:cubicBezTo>
                  <a:cubicBezTo>
                    <a:pt x="1818" y="1636"/>
                    <a:pt x="1818" y="1636"/>
                    <a:pt x="1818" y="1636"/>
                  </a:cubicBezTo>
                  <a:cubicBezTo>
                    <a:pt x="1816" y="1636"/>
                    <a:pt x="1814" y="1637"/>
                    <a:pt x="1812" y="1637"/>
                  </a:cubicBezTo>
                  <a:cubicBezTo>
                    <a:pt x="1809" y="1637"/>
                    <a:pt x="1807" y="1637"/>
                    <a:pt x="1805" y="1637"/>
                  </a:cubicBezTo>
                  <a:cubicBezTo>
                    <a:pt x="1805" y="1637"/>
                    <a:pt x="1805" y="1637"/>
                    <a:pt x="1805" y="1637"/>
                  </a:cubicBezTo>
                  <a:cubicBezTo>
                    <a:pt x="1804" y="1637"/>
                    <a:pt x="1804" y="1637"/>
                    <a:pt x="1804" y="1637"/>
                  </a:cubicBezTo>
                  <a:cubicBezTo>
                    <a:pt x="1804" y="1637"/>
                    <a:pt x="1804" y="1637"/>
                    <a:pt x="1804" y="1637"/>
                  </a:cubicBezTo>
                  <a:cubicBezTo>
                    <a:pt x="1777" y="1637"/>
                    <a:pt x="1750" y="1637"/>
                    <a:pt x="1722" y="1638"/>
                  </a:cubicBezTo>
                  <a:cubicBezTo>
                    <a:pt x="1719" y="1638"/>
                    <a:pt x="1716" y="1637"/>
                    <a:pt x="1714" y="1637"/>
                  </a:cubicBezTo>
                  <a:cubicBezTo>
                    <a:pt x="1713" y="1637"/>
                    <a:pt x="1712" y="1637"/>
                    <a:pt x="1712" y="1637"/>
                  </a:cubicBezTo>
                  <a:cubicBezTo>
                    <a:pt x="1709" y="1636"/>
                    <a:pt x="1707" y="1636"/>
                    <a:pt x="1705" y="1636"/>
                  </a:cubicBezTo>
                  <a:cubicBezTo>
                    <a:pt x="1705" y="1636"/>
                    <a:pt x="1705" y="1636"/>
                    <a:pt x="1705" y="1636"/>
                  </a:cubicBezTo>
                  <a:cubicBezTo>
                    <a:pt x="1704" y="1635"/>
                    <a:pt x="1704" y="1635"/>
                    <a:pt x="1704" y="1635"/>
                  </a:cubicBezTo>
                  <a:cubicBezTo>
                    <a:pt x="1701" y="1635"/>
                    <a:pt x="1699" y="1634"/>
                    <a:pt x="1697" y="1633"/>
                  </a:cubicBezTo>
                  <a:cubicBezTo>
                    <a:pt x="1696" y="1633"/>
                    <a:pt x="1695" y="1632"/>
                    <a:pt x="1695" y="1632"/>
                  </a:cubicBezTo>
                  <a:cubicBezTo>
                    <a:pt x="1693" y="1632"/>
                    <a:pt x="1692" y="1631"/>
                    <a:pt x="1691" y="1630"/>
                  </a:cubicBezTo>
                  <a:cubicBezTo>
                    <a:pt x="1691" y="1630"/>
                    <a:pt x="1690" y="1630"/>
                    <a:pt x="1690" y="1630"/>
                  </a:cubicBezTo>
                  <a:cubicBezTo>
                    <a:pt x="1686" y="1628"/>
                    <a:pt x="1682" y="1625"/>
                    <a:pt x="1680" y="1622"/>
                  </a:cubicBezTo>
                  <a:close/>
                  <a:moveTo>
                    <a:pt x="1875" y="1783"/>
                  </a:moveTo>
                  <a:cubicBezTo>
                    <a:pt x="1873" y="1787"/>
                    <a:pt x="1870" y="1790"/>
                    <a:pt x="1866" y="1793"/>
                  </a:cubicBezTo>
                  <a:cubicBezTo>
                    <a:pt x="1862" y="1796"/>
                    <a:pt x="1858" y="1799"/>
                    <a:pt x="1852" y="1800"/>
                  </a:cubicBezTo>
                  <a:cubicBezTo>
                    <a:pt x="1846" y="1802"/>
                    <a:pt x="1840" y="1803"/>
                    <a:pt x="1833" y="1803"/>
                  </a:cubicBezTo>
                  <a:cubicBezTo>
                    <a:pt x="1815" y="1803"/>
                    <a:pt x="1815" y="1803"/>
                    <a:pt x="1815" y="1803"/>
                  </a:cubicBezTo>
                  <a:cubicBezTo>
                    <a:pt x="1814" y="1803"/>
                    <a:pt x="1814" y="1803"/>
                    <a:pt x="1814" y="1803"/>
                  </a:cubicBezTo>
                  <a:cubicBezTo>
                    <a:pt x="1789" y="1803"/>
                    <a:pt x="1765" y="1803"/>
                    <a:pt x="1740" y="1803"/>
                  </a:cubicBezTo>
                  <a:cubicBezTo>
                    <a:pt x="1737" y="1803"/>
                    <a:pt x="1734" y="1803"/>
                    <a:pt x="1731" y="1803"/>
                  </a:cubicBezTo>
                  <a:cubicBezTo>
                    <a:pt x="1730" y="1803"/>
                    <a:pt x="1730" y="1803"/>
                    <a:pt x="1729" y="1803"/>
                  </a:cubicBezTo>
                  <a:cubicBezTo>
                    <a:pt x="1726" y="1802"/>
                    <a:pt x="1724" y="1802"/>
                    <a:pt x="1721" y="1801"/>
                  </a:cubicBezTo>
                  <a:cubicBezTo>
                    <a:pt x="1721" y="1801"/>
                    <a:pt x="1721" y="1801"/>
                    <a:pt x="1720" y="1801"/>
                  </a:cubicBezTo>
                  <a:cubicBezTo>
                    <a:pt x="1720" y="1801"/>
                    <a:pt x="1720" y="1801"/>
                    <a:pt x="1720" y="1801"/>
                  </a:cubicBezTo>
                  <a:cubicBezTo>
                    <a:pt x="1709" y="1798"/>
                    <a:pt x="1698" y="1792"/>
                    <a:pt x="1692" y="1783"/>
                  </a:cubicBezTo>
                  <a:cubicBezTo>
                    <a:pt x="1692" y="1783"/>
                    <a:pt x="1692" y="1783"/>
                    <a:pt x="1692" y="1783"/>
                  </a:cubicBezTo>
                  <a:cubicBezTo>
                    <a:pt x="1692" y="1783"/>
                    <a:pt x="1692" y="1783"/>
                    <a:pt x="1692" y="1783"/>
                  </a:cubicBezTo>
                  <a:cubicBezTo>
                    <a:pt x="1691" y="1782"/>
                    <a:pt x="1690" y="1780"/>
                    <a:pt x="1690" y="1778"/>
                  </a:cubicBezTo>
                  <a:cubicBezTo>
                    <a:pt x="1689" y="1777"/>
                    <a:pt x="1689" y="1776"/>
                    <a:pt x="1689" y="1775"/>
                  </a:cubicBezTo>
                  <a:cubicBezTo>
                    <a:pt x="1688" y="1774"/>
                    <a:pt x="1688" y="1773"/>
                    <a:pt x="1688" y="1772"/>
                  </a:cubicBezTo>
                  <a:cubicBezTo>
                    <a:pt x="1688" y="1772"/>
                    <a:pt x="1688" y="1771"/>
                    <a:pt x="1688" y="1771"/>
                  </a:cubicBezTo>
                  <a:cubicBezTo>
                    <a:pt x="1687" y="1769"/>
                    <a:pt x="1687" y="1769"/>
                    <a:pt x="1687" y="1769"/>
                  </a:cubicBezTo>
                  <a:cubicBezTo>
                    <a:pt x="1687" y="1769"/>
                    <a:pt x="1687" y="1769"/>
                    <a:pt x="1687" y="1769"/>
                  </a:cubicBezTo>
                  <a:cubicBezTo>
                    <a:pt x="1686" y="1756"/>
                    <a:pt x="1685" y="1742"/>
                    <a:pt x="1684" y="1728"/>
                  </a:cubicBezTo>
                  <a:cubicBezTo>
                    <a:pt x="1684" y="1725"/>
                    <a:pt x="1684" y="1723"/>
                    <a:pt x="1684" y="1721"/>
                  </a:cubicBezTo>
                  <a:cubicBezTo>
                    <a:pt x="1683" y="1714"/>
                    <a:pt x="1683" y="1714"/>
                    <a:pt x="1683" y="1714"/>
                  </a:cubicBezTo>
                  <a:cubicBezTo>
                    <a:pt x="1683" y="1713"/>
                    <a:pt x="1683" y="1713"/>
                    <a:pt x="1683" y="1713"/>
                  </a:cubicBezTo>
                  <a:cubicBezTo>
                    <a:pt x="1683" y="1711"/>
                    <a:pt x="1683" y="1710"/>
                    <a:pt x="1684" y="1709"/>
                  </a:cubicBezTo>
                  <a:cubicBezTo>
                    <a:pt x="1684" y="1708"/>
                    <a:pt x="1684" y="1707"/>
                    <a:pt x="1684" y="1707"/>
                  </a:cubicBezTo>
                  <a:cubicBezTo>
                    <a:pt x="1685" y="1706"/>
                    <a:pt x="1685" y="1705"/>
                    <a:pt x="1685" y="1704"/>
                  </a:cubicBezTo>
                  <a:cubicBezTo>
                    <a:pt x="1686" y="1703"/>
                    <a:pt x="1686" y="1703"/>
                    <a:pt x="1686" y="1702"/>
                  </a:cubicBezTo>
                  <a:cubicBezTo>
                    <a:pt x="1686" y="1702"/>
                    <a:pt x="1686" y="1702"/>
                    <a:pt x="1686" y="1702"/>
                  </a:cubicBezTo>
                  <a:cubicBezTo>
                    <a:pt x="1687" y="1700"/>
                    <a:pt x="1688" y="1699"/>
                    <a:pt x="1689" y="1698"/>
                  </a:cubicBezTo>
                  <a:cubicBezTo>
                    <a:pt x="1690" y="1697"/>
                    <a:pt x="1691" y="1697"/>
                    <a:pt x="1691" y="1696"/>
                  </a:cubicBezTo>
                  <a:cubicBezTo>
                    <a:pt x="1692" y="1695"/>
                    <a:pt x="1693" y="1695"/>
                    <a:pt x="1694" y="1694"/>
                  </a:cubicBezTo>
                  <a:cubicBezTo>
                    <a:pt x="1695" y="1694"/>
                    <a:pt x="1695" y="1693"/>
                    <a:pt x="1695" y="1693"/>
                  </a:cubicBezTo>
                  <a:cubicBezTo>
                    <a:pt x="1695" y="1693"/>
                    <a:pt x="1696" y="1693"/>
                    <a:pt x="1696" y="1693"/>
                  </a:cubicBezTo>
                  <a:cubicBezTo>
                    <a:pt x="1698" y="1692"/>
                    <a:pt x="1699" y="1691"/>
                    <a:pt x="1701" y="1690"/>
                  </a:cubicBezTo>
                  <a:cubicBezTo>
                    <a:pt x="1702" y="1690"/>
                    <a:pt x="1702" y="1689"/>
                    <a:pt x="1702" y="1689"/>
                  </a:cubicBezTo>
                  <a:cubicBezTo>
                    <a:pt x="1703" y="1689"/>
                    <a:pt x="1703" y="1689"/>
                    <a:pt x="1703" y="1689"/>
                  </a:cubicBezTo>
                  <a:cubicBezTo>
                    <a:pt x="1704" y="1689"/>
                    <a:pt x="1704" y="1689"/>
                    <a:pt x="1705" y="1688"/>
                  </a:cubicBezTo>
                  <a:cubicBezTo>
                    <a:pt x="1706" y="1688"/>
                    <a:pt x="1708" y="1687"/>
                    <a:pt x="1709" y="1687"/>
                  </a:cubicBezTo>
                  <a:cubicBezTo>
                    <a:pt x="1710" y="1687"/>
                    <a:pt x="1711" y="1686"/>
                    <a:pt x="1712" y="1686"/>
                  </a:cubicBezTo>
                  <a:cubicBezTo>
                    <a:pt x="1713" y="1686"/>
                    <a:pt x="1714" y="1686"/>
                    <a:pt x="1714" y="1686"/>
                  </a:cubicBezTo>
                  <a:cubicBezTo>
                    <a:pt x="1717" y="1685"/>
                    <a:pt x="1720" y="1685"/>
                    <a:pt x="1723" y="1685"/>
                  </a:cubicBezTo>
                  <a:cubicBezTo>
                    <a:pt x="1723" y="1685"/>
                    <a:pt x="1724" y="1685"/>
                    <a:pt x="1724" y="1685"/>
                  </a:cubicBezTo>
                  <a:cubicBezTo>
                    <a:pt x="1725" y="1685"/>
                    <a:pt x="1726" y="1685"/>
                    <a:pt x="1727" y="1685"/>
                  </a:cubicBezTo>
                  <a:cubicBezTo>
                    <a:pt x="1731" y="1685"/>
                    <a:pt x="1731" y="1685"/>
                    <a:pt x="1731" y="1685"/>
                  </a:cubicBezTo>
                  <a:cubicBezTo>
                    <a:pt x="1736" y="1684"/>
                    <a:pt x="1740" y="1684"/>
                    <a:pt x="1744" y="1684"/>
                  </a:cubicBezTo>
                  <a:cubicBezTo>
                    <a:pt x="1748" y="1684"/>
                    <a:pt x="1752" y="1684"/>
                    <a:pt x="1755" y="1684"/>
                  </a:cubicBezTo>
                  <a:cubicBezTo>
                    <a:pt x="1791" y="1684"/>
                    <a:pt x="1791" y="1684"/>
                    <a:pt x="1791" y="1684"/>
                  </a:cubicBezTo>
                  <a:cubicBezTo>
                    <a:pt x="1801" y="1684"/>
                    <a:pt x="1811" y="1684"/>
                    <a:pt x="1820" y="1685"/>
                  </a:cubicBezTo>
                  <a:cubicBezTo>
                    <a:pt x="1822" y="1685"/>
                    <a:pt x="1823" y="1685"/>
                    <a:pt x="1825" y="1685"/>
                  </a:cubicBezTo>
                  <a:cubicBezTo>
                    <a:pt x="1826" y="1686"/>
                    <a:pt x="1827" y="1686"/>
                    <a:pt x="1828" y="1686"/>
                  </a:cubicBezTo>
                  <a:cubicBezTo>
                    <a:pt x="1828" y="1686"/>
                    <a:pt x="1829" y="1686"/>
                    <a:pt x="1830" y="1686"/>
                  </a:cubicBezTo>
                  <a:cubicBezTo>
                    <a:pt x="1830" y="1686"/>
                    <a:pt x="1831" y="1686"/>
                    <a:pt x="1831" y="1687"/>
                  </a:cubicBezTo>
                  <a:cubicBezTo>
                    <a:pt x="1832" y="1687"/>
                    <a:pt x="1832" y="1687"/>
                    <a:pt x="1833" y="1687"/>
                  </a:cubicBezTo>
                  <a:cubicBezTo>
                    <a:pt x="1834" y="1687"/>
                    <a:pt x="1836" y="1688"/>
                    <a:pt x="1838" y="1689"/>
                  </a:cubicBezTo>
                  <a:cubicBezTo>
                    <a:pt x="1839" y="1689"/>
                    <a:pt x="1840" y="1689"/>
                    <a:pt x="1841" y="1690"/>
                  </a:cubicBezTo>
                  <a:cubicBezTo>
                    <a:pt x="1842" y="1690"/>
                    <a:pt x="1842" y="1690"/>
                    <a:pt x="1843" y="1691"/>
                  </a:cubicBezTo>
                  <a:cubicBezTo>
                    <a:pt x="1845" y="1691"/>
                    <a:pt x="1846" y="1692"/>
                    <a:pt x="1847" y="1693"/>
                  </a:cubicBezTo>
                  <a:cubicBezTo>
                    <a:pt x="1852" y="1695"/>
                    <a:pt x="1856" y="1698"/>
                    <a:pt x="1859" y="1702"/>
                  </a:cubicBezTo>
                  <a:cubicBezTo>
                    <a:pt x="1862" y="1705"/>
                    <a:pt x="1864" y="1709"/>
                    <a:pt x="1865" y="1713"/>
                  </a:cubicBezTo>
                  <a:cubicBezTo>
                    <a:pt x="1870" y="1736"/>
                    <a:pt x="1870" y="1736"/>
                    <a:pt x="1870" y="1736"/>
                  </a:cubicBezTo>
                  <a:cubicBezTo>
                    <a:pt x="1871" y="1746"/>
                    <a:pt x="1873" y="1755"/>
                    <a:pt x="1875" y="1764"/>
                  </a:cubicBezTo>
                  <a:cubicBezTo>
                    <a:pt x="1875" y="1764"/>
                    <a:pt x="1875" y="1764"/>
                    <a:pt x="1875" y="1764"/>
                  </a:cubicBezTo>
                  <a:cubicBezTo>
                    <a:pt x="1876" y="1770"/>
                    <a:pt x="1876" y="1770"/>
                    <a:pt x="1876" y="1770"/>
                  </a:cubicBezTo>
                  <a:cubicBezTo>
                    <a:pt x="1877" y="1775"/>
                    <a:pt x="1877" y="1779"/>
                    <a:pt x="1875" y="1783"/>
                  </a:cubicBezTo>
                  <a:close/>
                  <a:moveTo>
                    <a:pt x="2041" y="1494"/>
                  </a:moveTo>
                  <a:cubicBezTo>
                    <a:pt x="2036" y="1492"/>
                    <a:pt x="2032" y="1490"/>
                    <a:pt x="2030" y="1487"/>
                  </a:cubicBezTo>
                  <a:cubicBezTo>
                    <a:pt x="2027" y="1485"/>
                    <a:pt x="2024" y="1482"/>
                    <a:pt x="2023" y="1479"/>
                  </a:cubicBezTo>
                  <a:cubicBezTo>
                    <a:pt x="2021" y="1474"/>
                    <a:pt x="2021" y="1474"/>
                    <a:pt x="2021" y="1474"/>
                  </a:cubicBezTo>
                  <a:cubicBezTo>
                    <a:pt x="2019" y="1467"/>
                    <a:pt x="2016" y="1460"/>
                    <a:pt x="2014" y="1453"/>
                  </a:cubicBezTo>
                  <a:cubicBezTo>
                    <a:pt x="2012" y="1449"/>
                    <a:pt x="2009" y="1444"/>
                    <a:pt x="2009" y="1439"/>
                  </a:cubicBezTo>
                  <a:cubicBezTo>
                    <a:pt x="2009" y="1439"/>
                    <a:pt x="2009" y="1438"/>
                    <a:pt x="2009" y="1437"/>
                  </a:cubicBezTo>
                  <a:cubicBezTo>
                    <a:pt x="2009" y="1437"/>
                    <a:pt x="2009" y="1437"/>
                    <a:pt x="2009" y="1437"/>
                  </a:cubicBezTo>
                  <a:cubicBezTo>
                    <a:pt x="2009" y="1436"/>
                    <a:pt x="2009" y="1436"/>
                    <a:pt x="2009" y="1436"/>
                  </a:cubicBezTo>
                  <a:cubicBezTo>
                    <a:pt x="2010" y="1435"/>
                    <a:pt x="2009" y="1435"/>
                    <a:pt x="2010" y="1434"/>
                  </a:cubicBezTo>
                  <a:cubicBezTo>
                    <a:pt x="2010" y="1434"/>
                    <a:pt x="2010" y="1434"/>
                    <a:pt x="2010" y="1434"/>
                  </a:cubicBezTo>
                  <a:cubicBezTo>
                    <a:pt x="2016" y="1421"/>
                    <a:pt x="2039" y="1423"/>
                    <a:pt x="2051" y="1423"/>
                  </a:cubicBezTo>
                  <a:cubicBezTo>
                    <a:pt x="2110" y="1422"/>
                    <a:pt x="2110" y="1422"/>
                    <a:pt x="2110" y="1422"/>
                  </a:cubicBezTo>
                  <a:cubicBezTo>
                    <a:pt x="2115" y="1422"/>
                    <a:pt x="2120" y="1423"/>
                    <a:pt x="2125" y="1424"/>
                  </a:cubicBezTo>
                  <a:cubicBezTo>
                    <a:pt x="2126" y="1424"/>
                    <a:pt x="2128" y="1424"/>
                    <a:pt x="2129" y="1425"/>
                  </a:cubicBezTo>
                  <a:cubicBezTo>
                    <a:pt x="2129" y="1425"/>
                    <a:pt x="2130" y="1425"/>
                    <a:pt x="2131" y="1425"/>
                  </a:cubicBezTo>
                  <a:cubicBezTo>
                    <a:pt x="2132" y="1425"/>
                    <a:pt x="2133" y="1426"/>
                    <a:pt x="2133" y="1426"/>
                  </a:cubicBezTo>
                  <a:cubicBezTo>
                    <a:pt x="2135" y="1426"/>
                    <a:pt x="2137" y="1427"/>
                    <a:pt x="2138" y="1428"/>
                  </a:cubicBezTo>
                  <a:cubicBezTo>
                    <a:pt x="2139" y="1428"/>
                    <a:pt x="2139" y="1428"/>
                    <a:pt x="2139" y="1428"/>
                  </a:cubicBezTo>
                  <a:cubicBezTo>
                    <a:pt x="2139" y="1428"/>
                    <a:pt x="2139" y="1428"/>
                    <a:pt x="2140" y="1428"/>
                  </a:cubicBezTo>
                  <a:cubicBezTo>
                    <a:pt x="2141" y="1429"/>
                    <a:pt x="2142" y="1429"/>
                    <a:pt x="2144" y="1430"/>
                  </a:cubicBezTo>
                  <a:cubicBezTo>
                    <a:pt x="2145" y="1431"/>
                    <a:pt x="2146" y="1431"/>
                    <a:pt x="2146" y="1431"/>
                  </a:cubicBezTo>
                  <a:cubicBezTo>
                    <a:pt x="2147" y="1432"/>
                    <a:pt x="2147" y="1432"/>
                    <a:pt x="2148" y="1432"/>
                  </a:cubicBezTo>
                  <a:cubicBezTo>
                    <a:pt x="2148" y="1433"/>
                    <a:pt x="2148" y="1433"/>
                    <a:pt x="2149" y="1433"/>
                  </a:cubicBezTo>
                  <a:cubicBezTo>
                    <a:pt x="2149" y="1433"/>
                    <a:pt x="2150" y="1434"/>
                    <a:pt x="2150" y="1434"/>
                  </a:cubicBezTo>
                  <a:cubicBezTo>
                    <a:pt x="2153" y="1436"/>
                    <a:pt x="2156" y="1439"/>
                    <a:pt x="2157" y="1442"/>
                  </a:cubicBezTo>
                  <a:cubicBezTo>
                    <a:pt x="2157" y="1442"/>
                    <a:pt x="2157" y="1442"/>
                    <a:pt x="2157" y="1442"/>
                  </a:cubicBezTo>
                  <a:cubicBezTo>
                    <a:pt x="2163" y="1450"/>
                    <a:pt x="2166" y="1460"/>
                    <a:pt x="2170" y="1468"/>
                  </a:cubicBezTo>
                  <a:cubicBezTo>
                    <a:pt x="2170" y="1468"/>
                    <a:pt x="2170" y="1468"/>
                    <a:pt x="2170" y="1468"/>
                  </a:cubicBezTo>
                  <a:cubicBezTo>
                    <a:pt x="2172" y="1473"/>
                    <a:pt x="2176" y="1477"/>
                    <a:pt x="2177" y="1482"/>
                  </a:cubicBezTo>
                  <a:cubicBezTo>
                    <a:pt x="2177" y="1482"/>
                    <a:pt x="2177" y="1483"/>
                    <a:pt x="2177" y="1483"/>
                  </a:cubicBezTo>
                  <a:cubicBezTo>
                    <a:pt x="2177" y="1483"/>
                    <a:pt x="2177" y="1483"/>
                    <a:pt x="2177" y="1483"/>
                  </a:cubicBezTo>
                  <a:cubicBezTo>
                    <a:pt x="2178" y="1492"/>
                    <a:pt x="2170" y="1496"/>
                    <a:pt x="2162" y="1498"/>
                  </a:cubicBezTo>
                  <a:cubicBezTo>
                    <a:pt x="2161" y="1498"/>
                    <a:pt x="2161" y="1498"/>
                    <a:pt x="2161" y="1499"/>
                  </a:cubicBezTo>
                  <a:cubicBezTo>
                    <a:pt x="2160" y="1499"/>
                    <a:pt x="2160" y="1499"/>
                    <a:pt x="2159" y="1499"/>
                  </a:cubicBezTo>
                  <a:cubicBezTo>
                    <a:pt x="2158" y="1499"/>
                    <a:pt x="2156" y="1499"/>
                    <a:pt x="2155" y="1500"/>
                  </a:cubicBezTo>
                  <a:cubicBezTo>
                    <a:pt x="2154" y="1500"/>
                    <a:pt x="2154" y="1500"/>
                    <a:pt x="2153" y="1500"/>
                  </a:cubicBezTo>
                  <a:cubicBezTo>
                    <a:pt x="2152" y="1500"/>
                    <a:pt x="2150" y="1500"/>
                    <a:pt x="2149" y="1500"/>
                  </a:cubicBezTo>
                  <a:cubicBezTo>
                    <a:pt x="2148" y="1500"/>
                    <a:pt x="2147" y="1500"/>
                    <a:pt x="2146" y="1500"/>
                  </a:cubicBezTo>
                  <a:cubicBezTo>
                    <a:pt x="2146" y="1500"/>
                    <a:pt x="2146" y="1500"/>
                    <a:pt x="2146" y="1500"/>
                  </a:cubicBezTo>
                  <a:cubicBezTo>
                    <a:pt x="2144" y="1500"/>
                    <a:pt x="2144" y="1500"/>
                    <a:pt x="2144" y="1500"/>
                  </a:cubicBezTo>
                  <a:cubicBezTo>
                    <a:pt x="2135" y="1500"/>
                    <a:pt x="2126" y="1500"/>
                    <a:pt x="2117" y="1500"/>
                  </a:cubicBezTo>
                  <a:cubicBezTo>
                    <a:pt x="2102" y="1500"/>
                    <a:pt x="2087" y="1500"/>
                    <a:pt x="2072" y="1500"/>
                  </a:cubicBezTo>
                  <a:cubicBezTo>
                    <a:pt x="2061" y="1500"/>
                    <a:pt x="2050" y="1499"/>
                    <a:pt x="2041" y="1494"/>
                  </a:cubicBezTo>
                  <a:cubicBezTo>
                    <a:pt x="2041" y="1494"/>
                    <a:pt x="2041" y="1494"/>
                    <a:pt x="2041" y="1494"/>
                  </a:cubicBezTo>
                  <a:close/>
                  <a:moveTo>
                    <a:pt x="2079" y="1621"/>
                  </a:moveTo>
                  <a:cubicBezTo>
                    <a:pt x="2076" y="1617"/>
                    <a:pt x="2073" y="1614"/>
                    <a:pt x="2072" y="1611"/>
                  </a:cubicBezTo>
                  <a:cubicBezTo>
                    <a:pt x="2064" y="1588"/>
                    <a:pt x="2064" y="1588"/>
                    <a:pt x="2064" y="1588"/>
                  </a:cubicBezTo>
                  <a:cubicBezTo>
                    <a:pt x="2061" y="1581"/>
                    <a:pt x="2059" y="1575"/>
                    <a:pt x="2056" y="1568"/>
                  </a:cubicBezTo>
                  <a:cubicBezTo>
                    <a:pt x="2056" y="1568"/>
                    <a:pt x="2056" y="1568"/>
                    <a:pt x="2056" y="1568"/>
                  </a:cubicBezTo>
                  <a:cubicBezTo>
                    <a:pt x="2055" y="1565"/>
                    <a:pt x="2055" y="1565"/>
                    <a:pt x="2055" y="1565"/>
                  </a:cubicBezTo>
                  <a:cubicBezTo>
                    <a:pt x="2054" y="1561"/>
                    <a:pt x="2054" y="1558"/>
                    <a:pt x="2055" y="1555"/>
                  </a:cubicBezTo>
                  <a:cubicBezTo>
                    <a:pt x="2056" y="1553"/>
                    <a:pt x="2057" y="1552"/>
                    <a:pt x="2059" y="1550"/>
                  </a:cubicBezTo>
                  <a:cubicBezTo>
                    <a:pt x="2059" y="1550"/>
                    <a:pt x="2059" y="1550"/>
                    <a:pt x="2060" y="1549"/>
                  </a:cubicBezTo>
                  <a:cubicBezTo>
                    <a:pt x="2060" y="1549"/>
                    <a:pt x="2061" y="1548"/>
                    <a:pt x="2061" y="1548"/>
                  </a:cubicBezTo>
                  <a:cubicBezTo>
                    <a:pt x="2064" y="1546"/>
                    <a:pt x="2068" y="1544"/>
                    <a:pt x="2072" y="1543"/>
                  </a:cubicBezTo>
                  <a:cubicBezTo>
                    <a:pt x="2076" y="1542"/>
                    <a:pt x="2080" y="1542"/>
                    <a:pt x="2084" y="1541"/>
                  </a:cubicBezTo>
                  <a:cubicBezTo>
                    <a:pt x="2100" y="1540"/>
                    <a:pt x="2117" y="1541"/>
                    <a:pt x="2125" y="1541"/>
                  </a:cubicBezTo>
                  <a:cubicBezTo>
                    <a:pt x="2153" y="1541"/>
                    <a:pt x="2202" y="1535"/>
                    <a:pt x="2218" y="1564"/>
                  </a:cubicBezTo>
                  <a:cubicBezTo>
                    <a:pt x="2218" y="1564"/>
                    <a:pt x="2218" y="1564"/>
                    <a:pt x="2218" y="1564"/>
                  </a:cubicBezTo>
                  <a:cubicBezTo>
                    <a:pt x="2218" y="1565"/>
                    <a:pt x="2218" y="1565"/>
                    <a:pt x="2218" y="1565"/>
                  </a:cubicBezTo>
                  <a:cubicBezTo>
                    <a:pt x="2218" y="1565"/>
                    <a:pt x="2218" y="1565"/>
                    <a:pt x="2218" y="1565"/>
                  </a:cubicBezTo>
                  <a:cubicBezTo>
                    <a:pt x="2224" y="1577"/>
                    <a:pt x="2230" y="1589"/>
                    <a:pt x="2236" y="1601"/>
                  </a:cubicBezTo>
                  <a:cubicBezTo>
                    <a:pt x="2238" y="1605"/>
                    <a:pt x="2241" y="1609"/>
                    <a:pt x="2242" y="1614"/>
                  </a:cubicBezTo>
                  <a:cubicBezTo>
                    <a:pt x="2242" y="1614"/>
                    <a:pt x="2242" y="1614"/>
                    <a:pt x="2242" y="1614"/>
                  </a:cubicBezTo>
                  <a:cubicBezTo>
                    <a:pt x="2242" y="1615"/>
                    <a:pt x="2242" y="1616"/>
                    <a:pt x="2242" y="1617"/>
                  </a:cubicBezTo>
                  <a:cubicBezTo>
                    <a:pt x="2242" y="1618"/>
                    <a:pt x="2242" y="1619"/>
                    <a:pt x="2242" y="1620"/>
                  </a:cubicBezTo>
                  <a:cubicBezTo>
                    <a:pt x="2242" y="1620"/>
                    <a:pt x="2242" y="1620"/>
                    <a:pt x="2242" y="1620"/>
                  </a:cubicBezTo>
                  <a:cubicBezTo>
                    <a:pt x="2242" y="1620"/>
                    <a:pt x="2242" y="1621"/>
                    <a:pt x="2242" y="1621"/>
                  </a:cubicBezTo>
                  <a:cubicBezTo>
                    <a:pt x="2242" y="1622"/>
                    <a:pt x="2241" y="1623"/>
                    <a:pt x="2240" y="1624"/>
                  </a:cubicBezTo>
                  <a:cubicBezTo>
                    <a:pt x="2240" y="1625"/>
                    <a:pt x="2240" y="1625"/>
                    <a:pt x="2240" y="1625"/>
                  </a:cubicBezTo>
                  <a:cubicBezTo>
                    <a:pt x="2239" y="1626"/>
                    <a:pt x="2238" y="1627"/>
                    <a:pt x="2237" y="1628"/>
                  </a:cubicBezTo>
                  <a:cubicBezTo>
                    <a:pt x="2237" y="1628"/>
                    <a:pt x="2237" y="1628"/>
                    <a:pt x="2237" y="1628"/>
                  </a:cubicBezTo>
                  <a:cubicBezTo>
                    <a:pt x="2236" y="1629"/>
                    <a:pt x="2236" y="1629"/>
                    <a:pt x="2236" y="1629"/>
                  </a:cubicBezTo>
                  <a:cubicBezTo>
                    <a:pt x="2235" y="1630"/>
                    <a:pt x="2234" y="1630"/>
                    <a:pt x="2234" y="1630"/>
                  </a:cubicBezTo>
                  <a:cubicBezTo>
                    <a:pt x="2231" y="1632"/>
                    <a:pt x="2229" y="1633"/>
                    <a:pt x="2225" y="1634"/>
                  </a:cubicBezTo>
                  <a:cubicBezTo>
                    <a:pt x="2225" y="1634"/>
                    <a:pt x="2224" y="1635"/>
                    <a:pt x="2223" y="1635"/>
                  </a:cubicBezTo>
                  <a:cubicBezTo>
                    <a:pt x="2221" y="1635"/>
                    <a:pt x="2220" y="1635"/>
                    <a:pt x="2219" y="1636"/>
                  </a:cubicBezTo>
                  <a:cubicBezTo>
                    <a:pt x="2218" y="1636"/>
                    <a:pt x="2218" y="1636"/>
                    <a:pt x="2217" y="1636"/>
                  </a:cubicBezTo>
                  <a:cubicBezTo>
                    <a:pt x="2217" y="1636"/>
                    <a:pt x="2216" y="1636"/>
                    <a:pt x="2216" y="1636"/>
                  </a:cubicBezTo>
                  <a:cubicBezTo>
                    <a:pt x="2187" y="1639"/>
                    <a:pt x="2156" y="1636"/>
                    <a:pt x="2126" y="1637"/>
                  </a:cubicBezTo>
                  <a:cubicBezTo>
                    <a:pt x="2123" y="1637"/>
                    <a:pt x="2120" y="1636"/>
                    <a:pt x="2117" y="1636"/>
                  </a:cubicBezTo>
                  <a:cubicBezTo>
                    <a:pt x="2117" y="1636"/>
                    <a:pt x="2117" y="1636"/>
                    <a:pt x="2117" y="1636"/>
                  </a:cubicBezTo>
                  <a:cubicBezTo>
                    <a:pt x="2106" y="1635"/>
                    <a:pt x="2095" y="1631"/>
                    <a:pt x="2086" y="1625"/>
                  </a:cubicBezTo>
                  <a:cubicBezTo>
                    <a:pt x="2083" y="1624"/>
                    <a:pt x="2081" y="1622"/>
                    <a:pt x="2079" y="1621"/>
                  </a:cubicBezTo>
                  <a:close/>
                  <a:moveTo>
                    <a:pt x="2322" y="1782"/>
                  </a:moveTo>
                  <a:cubicBezTo>
                    <a:pt x="2322" y="1783"/>
                    <a:pt x="2321" y="1783"/>
                    <a:pt x="2321" y="1784"/>
                  </a:cubicBezTo>
                  <a:cubicBezTo>
                    <a:pt x="2321" y="1785"/>
                    <a:pt x="2321" y="1785"/>
                    <a:pt x="2321" y="1786"/>
                  </a:cubicBezTo>
                  <a:cubicBezTo>
                    <a:pt x="2320" y="1787"/>
                    <a:pt x="2320" y="1788"/>
                    <a:pt x="2319" y="1789"/>
                  </a:cubicBezTo>
                  <a:cubicBezTo>
                    <a:pt x="2319" y="1789"/>
                    <a:pt x="2319" y="1789"/>
                    <a:pt x="2319" y="1790"/>
                  </a:cubicBezTo>
                  <a:cubicBezTo>
                    <a:pt x="2318" y="1790"/>
                    <a:pt x="2318" y="1791"/>
                    <a:pt x="2317" y="1791"/>
                  </a:cubicBezTo>
                  <a:cubicBezTo>
                    <a:pt x="2317" y="1791"/>
                    <a:pt x="2317" y="1792"/>
                    <a:pt x="2316" y="1792"/>
                  </a:cubicBezTo>
                  <a:cubicBezTo>
                    <a:pt x="2316" y="1792"/>
                    <a:pt x="2316" y="1792"/>
                    <a:pt x="2316" y="1793"/>
                  </a:cubicBezTo>
                  <a:cubicBezTo>
                    <a:pt x="2310" y="1798"/>
                    <a:pt x="2303" y="1800"/>
                    <a:pt x="2296" y="1801"/>
                  </a:cubicBezTo>
                  <a:cubicBezTo>
                    <a:pt x="2296" y="1801"/>
                    <a:pt x="2295" y="1801"/>
                    <a:pt x="2295" y="1801"/>
                  </a:cubicBezTo>
                  <a:cubicBezTo>
                    <a:pt x="2292" y="1802"/>
                    <a:pt x="2289" y="1802"/>
                    <a:pt x="2286" y="1802"/>
                  </a:cubicBezTo>
                  <a:cubicBezTo>
                    <a:pt x="2286" y="1802"/>
                    <a:pt x="2286" y="1802"/>
                    <a:pt x="2286" y="1802"/>
                  </a:cubicBezTo>
                  <a:cubicBezTo>
                    <a:pt x="2283" y="1802"/>
                    <a:pt x="2283" y="1802"/>
                    <a:pt x="2283" y="1802"/>
                  </a:cubicBezTo>
                  <a:cubicBezTo>
                    <a:pt x="2280" y="1802"/>
                    <a:pt x="2277" y="1802"/>
                    <a:pt x="2275" y="1802"/>
                  </a:cubicBezTo>
                  <a:cubicBezTo>
                    <a:pt x="2193" y="1802"/>
                    <a:pt x="2193" y="1802"/>
                    <a:pt x="2193" y="1802"/>
                  </a:cubicBezTo>
                  <a:cubicBezTo>
                    <a:pt x="2190" y="1802"/>
                    <a:pt x="2187" y="1802"/>
                    <a:pt x="2184" y="1802"/>
                  </a:cubicBezTo>
                  <a:cubicBezTo>
                    <a:pt x="2183" y="1801"/>
                    <a:pt x="2182" y="1801"/>
                    <a:pt x="2181" y="1801"/>
                  </a:cubicBezTo>
                  <a:cubicBezTo>
                    <a:pt x="2164" y="1799"/>
                    <a:pt x="2144" y="1791"/>
                    <a:pt x="2135" y="1776"/>
                  </a:cubicBezTo>
                  <a:cubicBezTo>
                    <a:pt x="2133" y="1774"/>
                    <a:pt x="2132" y="1772"/>
                    <a:pt x="2131" y="1770"/>
                  </a:cubicBezTo>
                  <a:cubicBezTo>
                    <a:pt x="2131" y="1769"/>
                    <a:pt x="2131" y="1769"/>
                    <a:pt x="2131" y="1769"/>
                  </a:cubicBezTo>
                  <a:cubicBezTo>
                    <a:pt x="2131" y="1769"/>
                    <a:pt x="2131" y="1769"/>
                    <a:pt x="2131" y="1769"/>
                  </a:cubicBezTo>
                  <a:cubicBezTo>
                    <a:pt x="2127" y="1757"/>
                    <a:pt x="2122" y="1746"/>
                    <a:pt x="2118" y="1734"/>
                  </a:cubicBezTo>
                  <a:cubicBezTo>
                    <a:pt x="2116" y="1728"/>
                    <a:pt x="2112" y="1720"/>
                    <a:pt x="2110" y="1713"/>
                  </a:cubicBezTo>
                  <a:cubicBezTo>
                    <a:pt x="2110" y="1713"/>
                    <a:pt x="2110" y="1713"/>
                    <a:pt x="2110" y="1713"/>
                  </a:cubicBezTo>
                  <a:cubicBezTo>
                    <a:pt x="2110" y="1713"/>
                    <a:pt x="2110" y="1712"/>
                    <a:pt x="2110" y="1712"/>
                  </a:cubicBezTo>
                  <a:cubicBezTo>
                    <a:pt x="2110" y="1712"/>
                    <a:pt x="2109" y="1711"/>
                    <a:pt x="2109" y="1710"/>
                  </a:cubicBezTo>
                  <a:cubicBezTo>
                    <a:pt x="2109" y="1707"/>
                    <a:pt x="2109" y="1704"/>
                    <a:pt x="2109" y="1701"/>
                  </a:cubicBezTo>
                  <a:cubicBezTo>
                    <a:pt x="2110" y="1699"/>
                    <a:pt x="2111" y="1698"/>
                    <a:pt x="2112" y="1696"/>
                  </a:cubicBezTo>
                  <a:cubicBezTo>
                    <a:pt x="2112" y="1696"/>
                    <a:pt x="2112" y="1696"/>
                    <a:pt x="2112" y="1696"/>
                  </a:cubicBezTo>
                  <a:cubicBezTo>
                    <a:pt x="2117" y="1688"/>
                    <a:pt x="2126" y="1685"/>
                    <a:pt x="2136" y="1684"/>
                  </a:cubicBezTo>
                  <a:cubicBezTo>
                    <a:pt x="2136" y="1684"/>
                    <a:pt x="2136" y="1684"/>
                    <a:pt x="2137" y="1684"/>
                  </a:cubicBezTo>
                  <a:cubicBezTo>
                    <a:pt x="2139" y="1684"/>
                    <a:pt x="2141" y="1684"/>
                    <a:pt x="2144" y="1684"/>
                  </a:cubicBezTo>
                  <a:cubicBezTo>
                    <a:pt x="2144" y="1684"/>
                    <a:pt x="2145" y="1683"/>
                    <a:pt x="2145" y="1683"/>
                  </a:cubicBezTo>
                  <a:cubicBezTo>
                    <a:pt x="2151" y="1683"/>
                    <a:pt x="2151" y="1683"/>
                    <a:pt x="2151" y="1683"/>
                  </a:cubicBezTo>
                  <a:cubicBezTo>
                    <a:pt x="2152" y="1683"/>
                    <a:pt x="2153" y="1683"/>
                    <a:pt x="2155" y="1683"/>
                  </a:cubicBezTo>
                  <a:cubicBezTo>
                    <a:pt x="2180" y="1683"/>
                    <a:pt x="2205" y="1683"/>
                    <a:pt x="2231" y="1683"/>
                  </a:cubicBezTo>
                  <a:cubicBezTo>
                    <a:pt x="2231" y="1683"/>
                    <a:pt x="2231" y="1683"/>
                    <a:pt x="2231" y="1683"/>
                  </a:cubicBezTo>
                  <a:cubicBezTo>
                    <a:pt x="2231" y="1683"/>
                    <a:pt x="2231" y="1683"/>
                    <a:pt x="2231" y="1683"/>
                  </a:cubicBezTo>
                  <a:cubicBezTo>
                    <a:pt x="2234" y="1683"/>
                    <a:pt x="2237" y="1683"/>
                    <a:pt x="2240" y="1684"/>
                  </a:cubicBezTo>
                  <a:cubicBezTo>
                    <a:pt x="2240" y="1684"/>
                    <a:pt x="2241" y="1684"/>
                    <a:pt x="2241" y="1684"/>
                  </a:cubicBezTo>
                  <a:cubicBezTo>
                    <a:pt x="2258" y="1686"/>
                    <a:pt x="2277" y="1693"/>
                    <a:pt x="2287" y="1706"/>
                  </a:cubicBezTo>
                  <a:cubicBezTo>
                    <a:pt x="2289" y="1708"/>
                    <a:pt x="2290" y="1710"/>
                    <a:pt x="2291" y="1712"/>
                  </a:cubicBezTo>
                  <a:cubicBezTo>
                    <a:pt x="2294" y="1717"/>
                    <a:pt x="2294" y="1717"/>
                    <a:pt x="2294" y="1717"/>
                  </a:cubicBezTo>
                  <a:cubicBezTo>
                    <a:pt x="2299" y="1727"/>
                    <a:pt x="2304" y="1737"/>
                    <a:pt x="2309" y="1748"/>
                  </a:cubicBezTo>
                  <a:cubicBezTo>
                    <a:pt x="2312" y="1754"/>
                    <a:pt x="2318" y="1762"/>
                    <a:pt x="2320" y="1771"/>
                  </a:cubicBezTo>
                  <a:cubicBezTo>
                    <a:pt x="2322" y="1775"/>
                    <a:pt x="2323" y="1778"/>
                    <a:pt x="2322" y="1782"/>
                  </a:cubicBezTo>
                  <a:close/>
                  <a:moveTo>
                    <a:pt x="2340" y="1624"/>
                  </a:moveTo>
                  <a:cubicBezTo>
                    <a:pt x="2338" y="1622"/>
                    <a:pt x="2337" y="1621"/>
                    <a:pt x="2335" y="1620"/>
                  </a:cubicBezTo>
                  <a:cubicBezTo>
                    <a:pt x="2331" y="1617"/>
                    <a:pt x="2328" y="1613"/>
                    <a:pt x="2326" y="1610"/>
                  </a:cubicBezTo>
                  <a:cubicBezTo>
                    <a:pt x="2324" y="1607"/>
                    <a:pt x="2324" y="1607"/>
                    <a:pt x="2324" y="1607"/>
                  </a:cubicBezTo>
                  <a:cubicBezTo>
                    <a:pt x="2324" y="1607"/>
                    <a:pt x="2324" y="1607"/>
                    <a:pt x="2324" y="1607"/>
                  </a:cubicBezTo>
                  <a:cubicBezTo>
                    <a:pt x="2317" y="1594"/>
                    <a:pt x="2310" y="1582"/>
                    <a:pt x="2303" y="1569"/>
                  </a:cubicBezTo>
                  <a:cubicBezTo>
                    <a:pt x="2303" y="1569"/>
                    <a:pt x="2303" y="1569"/>
                    <a:pt x="2303" y="1569"/>
                  </a:cubicBezTo>
                  <a:cubicBezTo>
                    <a:pt x="2300" y="1564"/>
                    <a:pt x="2300" y="1564"/>
                    <a:pt x="2300" y="1564"/>
                  </a:cubicBezTo>
                  <a:cubicBezTo>
                    <a:pt x="2298" y="1561"/>
                    <a:pt x="2298" y="1558"/>
                    <a:pt x="2298" y="1555"/>
                  </a:cubicBezTo>
                  <a:cubicBezTo>
                    <a:pt x="2299" y="1552"/>
                    <a:pt x="2300" y="1550"/>
                    <a:pt x="2303" y="1547"/>
                  </a:cubicBezTo>
                  <a:cubicBezTo>
                    <a:pt x="2306" y="1545"/>
                    <a:pt x="2309" y="1544"/>
                    <a:pt x="2313" y="1542"/>
                  </a:cubicBezTo>
                  <a:cubicBezTo>
                    <a:pt x="2318" y="1541"/>
                    <a:pt x="2323" y="1541"/>
                    <a:pt x="2329" y="1541"/>
                  </a:cubicBezTo>
                  <a:cubicBezTo>
                    <a:pt x="2330" y="1541"/>
                    <a:pt x="2330" y="1541"/>
                    <a:pt x="2330" y="1541"/>
                  </a:cubicBezTo>
                  <a:cubicBezTo>
                    <a:pt x="2342" y="1540"/>
                    <a:pt x="2356" y="1540"/>
                    <a:pt x="2363" y="1540"/>
                  </a:cubicBezTo>
                  <a:cubicBezTo>
                    <a:pt x="2394" y="1540"/>
                    <a:pt x="2443" y="1534"/>
                    <a:pt x="2463" y="1564"/>
                  </a:cubicBezTo>
                  <a:cubicBezTo>
                    <a:pt x="2470" y="1573"/>
                    <a:pt x="2476" y="1583"/>
                    <a:pt x="2483" y="1593"/>
                  </a:cubicBezTo>
                  <a:cubicBezTo>
                    <a:pt x="2486" y="1598"/>
                    <a:pt x="2492" y="1605"/>
                    <a:pt x="2495" y="1611"/>
                  </a:cubicBezTo>
                  <a:cubicBezTo>
                    <a:pt x="2497" y="1614"/>
                    <a:pt x="2498" y="1617"/>
                    <a:pt x="2498" y="1620"/>
                  </a:cubicBezTo>
                  <a:cubicBezTo>
                    <a:pt x="2498" y="1621"/>
                    <a:pt x="2497" y="1623"/>
                    <a:pt x="2496" y="1625"/>
                  </a:cubicBezTo>
                  <a:cubicBezTo>
                    <a:pt x="2496" y="1626"/>
                    <a:pt x="2495" y="1627"/>
                    <a:pt x="2494" y="1628"/>
                  </a:cubicBezTo>
                  <a:cubicBezTo>
                    <a:pt x="2494" y="1628"/>
                    <a:pt x="2494" y="1628"/>
                    <a:pt x="2494" y="1628"/>
                  </a:cubicBezTo>
                  <a:cubicBezTo>
                    <a:pt x="2494" y="1628"/>
                    <a:pt x="2494" y="1628"/>
                    <a:pt x="2494" y="1628"/>
                  </a:cubicBezTo>
                  <a:cubicBezTo>
                    <a:pt x="2493" y="1629"/>
                    <a:pt x="2493" y="1629"/>
                    <a:pt x="2492" y="1630"/>
                  </a:cubicBezTo>
                  <a:cubicBezTo>
                    <a:pt x="2492" y="1630"/>
                    <a:pt x="2491" y="1630"/>
                    <a:pt x="2491" y="1630"/>
                  </a:cubicBezTo>
                  <a:cubicBezTo>
                    <a:pt x="2490" y="1631"/>
                    <a:pt x="2489" y="1631"/>
                    <a:pt x="2488" y="1632"/>
                  </a:cubicBezTo>
                  <a:cubicBezTo>
                    <a:pt x="2487" y="1632"/>
                    <a:pt x="2485" y="1633"/>
                    <a:pt x="2484" y="1633"/>
                  </a:cubicBezTo>
                  <a:cubicBezTo>
                    <a:pt x="2484" y="1633"/>
                    <a:pt x="2484" y="1634"/>
                    <a:pt x="2484" y="1634"/>
                  </a:cubicBezTo>
                  <a:cubicBezTo>
                    <a:pt x="2484" y="1634"/>
                    <a:pt x="2483" y="1634"/>
                    <a:pt x="2483" y="1634"/>
                  </a:cubicBezTo>
                  <a:cubicBezTo>
                    <a:pt x="2469" y="1638"/>
                    <a:pt x="2448" y="1636"/>
                    <a:pt x="2434" y="1636"/>
                  </a:cubicBezTo>
                  <a:cubicBezTo>
                    <a:pt x="2418" y="1636"/>
                    <a:pt x="2401" y="1636"/>
                    <a:pt x="2385" y="1636"/>
                  </a:cubicBezTo>
                  <a:cubicBezTo>
                    <a:pt x="2370" y="1636"/>
                    <a:pt x="2353" y="1632"/>
                    <a:pt x="2340" y="1624"/>
                  </a:cubicBezTo>
                  <a:close/>
                  <a:moveTo>
                    <a:pt x="2605" y="1791"/>
                  </a:moveTo>
                  <a:cubicBezTo>
                    <a:pt x="2605" y="1791"/>
                    <a:pt x="2605" y="1791"/>
                    <a:pt x="2604" y="1791"/>
                  </a:cubicBezTo>
                  <a:cubicBezTo>
                    <a:pt x="2602" y="1794"/>
                    <a:pt x="2598" y="1797"/>
                    <a:pt x="2593" y="1798"/>
                  </a:cubicBezTo>
                  <a:cubicBezTo>
                    <a:pt x="2589" y="1800"/>
                    <a:pt x="2583" y="1801"/>
                    <a:pt x="2576" y="1801"/>
                  </a:cubicBezTo>
                  <a:cubicBezTo>
                    <a:pt x="2569" y="1801"/>
                    <a:pt x="2569" y="1801"/>
                    <a:pt x="2569" y="1801"/>
                  </a:cubicBezTo>
                  <a:cubicBezTo>
                    <a:pt x="2569" y="1801"/>
                    <a:pt x="2569" y="1801"/>
                    <a:pt x="2569" y="1801"/>
                  </a:cubicBezTo>
                  <a:cubicBezTo>
                    <a:pt x="2541" y="1801"/>
                    <a:pt x="2512" y="1801"/>
                    <a:pt x="2483" y="1801"/>
                  </a:cubicBezTo>
                  <a:cubicBezTo>
                    <a:pt x="2480" y="1801"/>
                    <a:pt x="2476" y="1801"/>
                    <a:pt x="2473" y="1801"/>
                  </a:cubicBezTo>
                  <a:cubicBezTo>
                    <a:pt x="2473" y="1801"/>
                    <a:pt x="2473" y="1801"/>
                    <a:pt x="2473" y="1801"/>
                  </a:cubicBezTo>
                  <a:cubicBezTo>
                    <a:pt x="2453" y="1799"/>
                    <a:pt x="2432" y="1790"/>
                    <a:pt x="2419" y="1775"/>
                  </a:cubicBezTo>
                  <a:cubicBezTo>
                    <a:pt x="2418" y="1773"/>
                    <a:pt x="2416" y="1771"/>
                    <a:pt x="2415" y="1769"/>
                  </a:cubicBezTo>
                  <a:cubicBezTo>
                    <a:pt x="2415" y="1769"/>
                    <a:pt x="2415" y="1769"/>
                    <a:pt x="2415" y="1769"/>
                  </a:cubicBezTo>
                  <a:cubicBezTo>
                    <a:pt x="2415" y="1769"/>
                    <a:pt x="2415" y="1769"/>
                    <a:pt x="2415" y="1769"/>
                  </a:cubicBezTo>
                  <a:cubicBezTo>
                    <a:pt x="2409" y="1758"/>
                    <a:pt x="2402" y="1747"/>
                    <a:pt x="2396" y="1736"/>
                  </a:cubicBezTo>
                  <a:cubicBezTo>
                    <a:pt x="2392" y="1728"/>
                    <a:pt x="2383" y="1716"/>
                    <a:pt x="2381" y="1706"/>
                  </a:cubicBezTo>
                  <a:cubicBezTo>
                    <a:pt x="2381" y="1706"/>
                    <a:pt x="2381" y="1706"/>
                    <a:pt x="2381" y="1706"/>
                  </a:cubicBezTo>
                  <a:cubicBezTo>
                    <a:pt x="2380" y="1705"/>
                    <a:pt x="2380" y="1704"/>
                    <a:pt x="2380" y="1703"/>
                  </a:cubicBezTo>
                  <a:cubicBezTo>
                    <a:pt x="2379" y="1693"/>
                    <a:pt x="2387" y="1688"/>
                    <a:pt x="2396" y="1685"/>
                  </a:cubicBezTo>
                  <a:cubicBezTo>
                    <a:pt x="2396" y="1685"/>
                    <a:pt x="2396" y="1685"/>
                    <a:pt x="2396" y="1685"/>
                  </a:cubicBezTo>
                  <a:cubicBezTo>
                    <a:pt x="2396" y="1685"/>
                    <a:pt x="2397" y="1685"/>
                    <a:pt x="2397" y="1685"/>
                  </a:cubicBezTo>
                  <a:cubicBezTo>
                    <a:pt x="2398" y="1685"/>
                    <a:pt x="2398" y="1685"/>
                    <a:pt x="2399" y="1684"/>
                  </a:cubicBezTo>
                  <a:cubicBezTo>
                    <a:pt x="2403" y="1683"/>
                    <a:pt x="2408" y="1683"/>
                    <a:pt x="2413" y="1683"/>
                  </a:cubicBezTo>
                  <a:cubicBezTo>
                    <a:pt x="2470" y="1683"/>
                    <a:pt x="2470" y="1683"/>
                    <a:pt x="2470" y="1683"/>
                  </a:cubicBezTo>
                  <a:cubicBezTo>
                    <a:pt x="2479" y="1683"/>
                    <a:pt x="2489" y="1683"/>
                    <a:pt x="2498" y="1683"/>
                  </a:cubicBezTo>
                  <a:cubicBezTo>
                    <a:pt x="2498" y="1683"/>
                    <a:pt x="2498" y="1683"/>
                    <a:pt x="2498" y="1683"/>
                  </a:cubicBezTo>
                  <a:cubicBezTo>
                    <a:pt x="2499" y="1683"/>
                    <a:pt x="2499" y="1683"/>
                    <a:pt x="2500" y="1683"/>
                  </a:cubicBezTo>
                  <a:cubicBezTo>
                    <a:pt x="2502" y="1683"/>
                    <a:pt x="2505" y="1683"/>
                    <a:pt x="2507" y="1683"/>
                  </a:cubicBezTo>
                  <a:cubicBezTo>
                    <a:pt x="2508" y="1683"/>
                    <a:pt x="2508" y="1683"/>
                    <a:pt x="2509" y="1683"/>
                  </a:cubicBezTo>
                  <a:cubicBezTo>
                    <a:pt x="2527" y="1685"/>
                    <a:pt x="2546" y="1692"/>
                    <a:pt x="2558" y="1705"/>
                  </a:cubicBezTo>
                  <a:cubicBezTo>
                    <a:pt x="2559" y="1705"/>
                    <a:pt x="2560" y="1706"/>
                    <a:pt x="2561" y="1707"/>
                  </a:cubicBezTo>
                  <a:cubicBezTo>
                    <a:pt x="2561" y="1708"/>
                    <a:pt x="2562" y="1708"/>
                    <a:pt x="2562" y="1709"/>
                  </a:cubicBezTo>
                  <a:cubicBezTo>
                    <a:pt x="2563" y="1710"/>
                    <a:pt x="2563" y="1710"/>
                    <a:pt x="2564" y="1711"/>
                  </a:cubicBezTo>
                  <a:cubicBezTo>
                    <a:pt x="2564" y="1711"/>
                    <a:pt x="2564" y="1711"/>
                    <a:pt x="2564" y="1711"/>
                  </a:cubicBezTo>
                  <a:cubicBezTo>
                    <a:pt x="2566" y="1713"/>
                    <a:pt x="2566" y="1713"/>
                    <a:pt x="2566" y="1713"/>
                  </a:cubicBezTo>
                  <a:cubicBezTo>
                    <a:pt x="2571" y="1721"/>
                    <a:pt x="2576" y="1729"/>
                    <a:pt x="2582" y="1737"/>
                  </a:cubicBezTo>
                  <a:cubicBezTo>
                    <a:pt x="2582" y="1737"/>
                    <a:pt x="2582" y="1737"/>
                    <a:pt x="2582" y="1737"/>
                  </a:cubicBezTo>
                  <a:cubicBezTo>
                    <a:pt x="2589" y="1748"/>
                    <a:pt x="2599" y="1759"/>
                    <a:pt x="2605" y="1772"/>
                  </a:cubicBezTo>
                  <a:cubicBezTo>
                    <a:pt x="2606" y="1773"/>
                    <a:pt x="2606" y="1773"/>
                    <a:pt x="2606" y="1774"/>
                  </a:cubicBezTo>
                  <a:cubicBezTo>
                    <a:pt x="2607" y="1775"/>
                    <a:pt x="2607" y="1775"/>
                    <a:pt x="2607" y="1775"/>
                  </a:cubicBezTo>
                  <a:cubicBezTo>
                    <a:pt x="2609" y="1782"/>
                    <a:pt x="2608" y="1787"/>
                    <a:pt x="2605" y="1791"/>
                  </a:cubicBezTo>
                  <a:close/>
                  <a:moveTo>
                    <a:pt x="2937" y="318"/>
                  </a:moveTo>
                  <a:cubicBezTo>
                    <a:pt x="3034" y="414"/>
                    <a:pt x="3089" y="549"/>
                    <a:pt x="3089" y="685"/>
                  </a:cubicBezTo>
                  <a:cubicBezTo>
                    <a:pt x="3089" y="821"/>
                    <a:pt x="3034" y="955"/>
                    <a:pt x="2937" y="1051"/>
                  </a:cubicBezTo>
                  <a:cubicBezTo>
                    <a:pt x="3050" y="999"/>
                    <a:pt x="3153" y="855"/>
                    <a:pt x="3152" y="685"/>
                  </a:cubicBezTo>
                  <a:cubicBezTo>
                    <a:pt x="3153" y="514"/>
                    <a:pt x="3050" y="371"/>
                    <a:pt x="2937" y="318"/>
                  </a:cubicBezTo>
                  <a:close/>
                  <a:moveTo>
                    <a:pt x="216" y="318"/>
                  </a:moveTo>
                  <a:cubicBezTo>
                    <a:pt x="104" y="371"/>
                    <a:pt x="0" y="514"/>
                    <a:pt x="2" y="685"/>
                  </a:cubicBezTo>
                  <a:cubicBezTo>
                    <a:pt x="0" y="855"/>
                    <a:pt x="104" y="999"/>
                    <a:pt x="216" y="1051"/>
                  </a:cubicBezTo>
                  <a:cubicBezTo>
                    <a:pt x="120" y="955"/>
                    <a:pt x="64" y="821"/>
                    <a:pt x="65" y="685"/>
                  </a:cubicBezTo>
                  <a:cubicBezTo>
                    <a:pt x="64" y="549"/>
                    <a:pt x="120" y="414"/>
                    <a:pt x="216" y="318"/>
                  </a:cubicBezTo>
                  <a:close/>
                </a:path>
              </a:pathLst>
            </a:custGeom>
            <a:solidFill>
              <a:schemeClr val="bg1"/>
            </a:solidFill>
            <a:ln>
              <a:noFill/>
            </a:ln>
          </p:spPr>
          <p:txBody>
            <a:bodyPr vert="horz" wrap="square" lIns="0" tIns="41153" rIns="82305" bIns="41153" numCol="1" anchor="t" anchorCtr="0" compatLnSpc="1">
              <a:prstTxWarp prst="textNoShape">
                <a:avLst/>
              </a:prstTxWarp>
            </a:bodyPr>
            <a:lstStyle/>
            <a:p>
              <a:pPr algn="ctr" defTabSz="896259"/>
              <a:endParaRPr lang="en-US" sz="1568">
                <a:gradFill>
                  <a:gsLst>
                    <a:gs pos="0">
                      <a:srgbClr val="FFFFFF"/>
                    </a:gs>
                    <a:gs pos="100000">
                      <a:srgbClr val="FFFFFF"/>
                    </a:gs>
                  </a:gsLst>
                  <a:lin ang="5400000" scaled="0"/>
                </a:gradFill>
              </a:endParaRPr>
            </a:p>
          </p:txBody>
        </p:sp>
      </p:grpSp>
      <p:grpSp>
        <p:nvGrpSpPr>
          <p:cNvPr id="9" name="Group 8"/>
          <p:cNvGrpSpPr/>
          <p:nvPr/>
        </p:nvGrpSpPr>
        <p:grpSpPr>
          <a:xfrm>
            <a:off x="2233611" y="1188678"/>
            <a:ext cx="1882002" cy="986218"/>
            <a:chOff x="2278993" y="1212341"/>
            <a:chExt cx="1920240" cy="1005851"/>
          </a:xfrm>
        </p:grpSpPr>
        <p:sp>
          <p:nvSpPr>
            <p:cNvPr id="43" name="Rectangle 42"/>
            <p:cNvSpPr/>
            <p:nvPr/>
          </p:nvSpPr>
          <p:spPr>
            <a:xfrm>
              <a:off x="2278993" y="1212341"/>
              <a:ext cx="1920240" cy="1005851"/>
            </a:xfrm>
            <a:prstGeom prst="rect">
              <a:avLst/>
            </a:prstGeom>
            <a:solidFill>
              <a:schemeClr val="accent1"/>
            </a:solidFill>
            <a:ln w="10795" cap="flat" cmpd="sng" algn="ctr">
              <a:noFill/>
              <a:prstDash val="solid"/>
            </a:ln>
            <a:effectLst/>
          </p:spPr>
          <p:txBody>
            <a:bodyPr lIns="121872" tIns="60936" rIns="121872" bIns="60936" rtlCol="0" anchor="t" anchorCtr="0"/>
            <a:lstStyle/>
            <a:p>
              <a:pPr defTabSz="896080"/>
              <a:r>
                <a:rPr lang="en-US" sz="1568" dirty="0" smtClean="0">
                  <a:gradFill>
                    <a:gsLst>
                      <a:gs pos="0">
                        <a:schemeClr val="bg1"/>
                      </a:gs>
                      <a:gs pos="53000">
                        <a:schemeClr val="bg1"/>
                      </a:gs>
                    </a:gsLst>
                    <a:lin ang="5400000" scaled="0"/>
                  </a:gradFill>
                  <a:ea typeface="Segoe UI" pitchFamily="34" charset="0"/>
                  <a:cs typeface="Segoe UI" pitchFamily="34" charset="0"/>
                </a:rPr>
                <a:t>Workflow</a:t>
              </a:r>
              <a:endParaRPr lang="en-US" sz="1568" dirty="0">
                <a:gradFill>
                  <a:gsLst>
                    <a:gs pos="0">
                      <a:schemeClr val="bg1"/>
                    </a:gs>
                    <a:gs pos="53000">
                      <a:schemeClr val="bg1"/>
                    </a:gs>
                  </a:gsLst>
                  <a:lin ang="5400000" scaled="0"/>
                </a:gradFill>
                <a:ea typeface="Segoe UI" pitchFamily="34" charset="0"/>
                <a:cs typeface="Segoe UI" pitchFamily="34" charset="0"/>
              </a:endParaRPr>
            </a:p>
          </p:txBody>
        </p:sp>
        <p:grpSp>
          <p:nvGrpSpPr>
            <p:cNvPr id="29" name="Group 28"/>
            <p:cNvGrpSpPr/>
            <p:nvPr/>
          </p:nvGrpSpPr>
          <p:grpSpPr bwMode="black">
            <a:xfrm>
              <a:off x="3083269" y="1535182"/>
              <a:ext cx="311688" cy="601337"/>
              <a:chOff x="3360738" y="989012"/>
              <a:chExt cx="746125" cy="1439864"/>
            </a:xfrm>
          </p:grpSpPr>
          <p:sp>
            <p:nvSpPr>
              <p:cNvPr id="30" name="Freeform 36"/>
              <p:cNvSpPr>
                <a:spLocks/>
              </p:cNvSpPr>
              <p:nvPr/>
            </p:nvSpPr>
            <p:spPr bwMode="black">
              <a:xfrm>
                <a:off x="3360738" y="1255713"/>
                <a:ext cx="525463" cy="1173163"/>
              </a:xfrm>
              <a:custGeom>
                <a:avLst/>
                <a:gdLst>
                  <a:gd name="T0" fmla="*/ 252 w 562"/>
                  <a:gd name="T1" fmla="*/ 272 h 1256"/>
                  <a:gd name="T2" fmla="*/ 234 w 562"/>
                  <a:gd name="T3" fmla="*/ 192 h 1256"/>
                  <a:gd name="T4" fmla="*/ 407 w 562"/>
                  <a:gd name="T5" fmla="*/ 20 h 1256"/>
                  <a:gd name="T6" fmla="*/ 534 w 562"/>
                  <a:gd name="T7" fmla="*/ 76 h 1256"/>
                  <a:gd name="T8" fmla="*/ 562 w 562"/>
                  <a:gd name="T9" fmla="*/ 51 h 1256"/>
                  <a:gd name="T10" fmla="*/ 443 w 562"/>
                  <a:gd name="T11" fmla="*/ 0 h 1256"/>
                  <a:gd name="T12" fmla="*/ 164 w 562"/>
                  <a:gd name="T13" fmla="*/ 0 h 1256"/>
                  <a:gd name="T14" fmla="*/ 0 w 562"/>
                  <a:gd name="T15" fmla="*/ 163 h 1256"/>
                  <a:gd name="T16" fmla="*/ 0 w 562"/>
                  <a:gd name="T17" fmla="*/ 556 h 1256"/>
                  <a:gd name="T18" fmla="*/ 55 w 562"/>
                  <a:gd name="T19" fmla="*/ 612 h 1256"/>
                  <a:gd name="T20" fmla="*/ 110 w 562"/>
                  <a:gd name="T21" fmla="*/ 556 h 1256"/>
                  <a:gd name="T22" fmla="*/ 110 w 562"/>
                  <a:gd name="T23" fmla="*/ 201 h 1256"/>
                  <a:gd name="T24" fmla="*/ 139 w 562"/>
                  <a:gd name="T25" fmla="*/ 201 h 1256"/>
                  <a:gd name="T26" fmla="*/ 139 w 562"/>
                  <a:gd name="T27" fmla="*/ 1182 h 1256"/>
                  <a:gd name="T28" fmla="*/ 214 w 562"/>
                  <a:gd name="T29" fmla="*/ 1256 h 1256"/>
                  <a:gd name="T30" fmla="*/ 288 w 562"/>
                  <a:gd name="T31" fmla="*/ 1182 h 1256"/>
                  <a:gd name="T32" fmla="*/ 288 w 562"/>
                  <a:gd name="T33" fmla="*/ 615 h 1256"/>
                  <a:gd name="T34" fmla="*/ 317 w 562"/>
                  <a:gd name="T35" fmla="*/ 615 h 1256"/>
                  <a:gd name="T36" fmla="*/ 317 w 562"/>
                  <a:gd name="T37" fmla="*/ 1182 h 1256"/>
                  <a:gd name="T38" fmla="*/ 392 w 562"/>
                  <a:gd name="T39" fmla="*/ 1256 h 1256"/>
                  <a:gd name="T40" fmla="*/ 467 w 562"/>
                  <a:gd name="T41" fmla="*/ 1182 h 1256"/>
                  <a:gd name="T42" fmla="*/ 467 w 562"/>
                  <a:gd name="T43" fmla="*/ 516 h 1256"/>
                  <a:gd name="T44" fmla="*/ 252 w 562"/>
                  <a:gd name="T45" fmla="*/ 272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2" h="1256">
                    <a:moveTo>
                      <a:pt x="252" y="272"/>
                    </a:moveTo>
                    <a:cubicBezTo>
                      <a:pt x="248" y="262"/>
                      <a:pt x="234" y="225"/>
                      <a:pt x="234" y="192"/>
                    </a:cubicBezTo>
                    <a:cubicBezTo>
                      <a:pt x="234" y="97"/>
                      <a:pt x="312" y="20"/>
                      <a:pt x="407" y="20"/>
                    </a:cubicBezTo>
                    <a:cubicBezTo>
                      <a:pt x="456" y="20"/>
                      <a:pt x="501" y="41"/>
                      <a:pt x="534" y="76"/>
                    </a:cubicBezTo>
                    <a:cubicBezTo>
                      <a:pt x="542" y="66"/>
                      <a:pt x="551" y="58"/>
                      <a:pt x="562" y="51"/>
                    </a:cubicBezTo>
                    <a:cubicBezTo>
                      <a:pt x="532" y="20"/>
                      <a:pt x="490" y="0"/>
                      <a:pt x="443" y="0"/>
                    </a:cubicBezTo>
                    <a:cubicBezTo>
                      <a:pt x="164" y="0"/>
                      <a:pt x="164" y="0"/>
                      <a:pt x="164" y="0"/>
                    </a:cubicBezTo>
                    <a:cubicBezTo>
                      <a:pt x="73" y="0"/>
                      <a:pt x="0" y="73"/>
                      <a:pt x="0" y="163"/>
                    </a:cubicBezTo>
                    <a:cubicBezTo>
                      <a:pt x="0" y="556"/>
                      <a:pt x="0" y="556"/>
                      <a:pt x="0" y="556"/>
                    </a:cubicBezTo>
                    <a:cubicBezTo>
                      <a:pt x="0" y="587"/>
                      <a:pt x="25" y="612"/>
                      <a:pt x="55" y="612"/>
                    </a:cubicBezTo>
                    <a:cubicBezTo>
                      <a:pt x="86" y="612"/>
                      <a:pt x="110" y="587"/>
                      <a:pt x="110" y="556"/>
                    </a:cubicBezTo>
                    <a:cubicBezTo>
                      <a:pt x="110" y="201"/>
                      <a:pt x="110" y="201"/>
                      <a:pt x="110" y="201"/>
                    </a:cubicBezTo>
                    <a:cubicBezTo>
                      <a:pt x="139" y="201"/>
                      <a:pt x="139" y="201"/>
                      <a:pt x="139" y="201"/>
                    </a:cubicBezTo>
                    <a:cubicBezTo>
                      <a:pt x="139" y="1182"/>
                      <a:pt x="139" y="1182"/>
                      <a:pt x="139" y="1182"/>
                    </a:cubicBezTo>
                    <a:cubicBezTo>
                      <a:pt x="139" y="1223"/>
                      <a:pt x="173" y="1256"/>
                      <a:pt x="214" y="1256"/>
                    </a:cubicBezTo>
                    <a:cubicBezTo>
                      <a:pt x="255" y="1256"/>
                      <a:pt x="288" y="1223"/>
                      <a:pt x="288" y="1182"/>
                    </a:cubicBezTo>
                    <a:cubicBezTo>
                      <a:pt x="288" y="615"/>
                      <a:pt x="288" y="615"/>
                      <a:pt x="288" y="615"/>
                    </a:cubicBezTo>
                    <a:cubicBezTo>
                      <a:pt x="317" y="615"/>
                      <a:pt x="317" y="615"/>
                      <a:pt x="317" y="615"/>
                    </a:cubicBezTo>
                    <a:cubicBezTo>
                      <a:pt x="317" y="1182"/>
                      <a:pt x="317" y="1182"/>
                      <a:pt x="317" y="1182"/>
                    </a:cubicBezTo>
                    <a:cubicBezTo>
                      <a:pt x="317" y="1223"/>
                      <a:pt x="351" y="1256"/>
                      <a:pt x="392" y="1256"/>
                    </a:cubicBezTo>
                    <a:cubicBezTo>
                      <a:pt x="433" y="1256"/>
                      <a:pt x="467" y="1223"/>
                      <a:pt x="467" y="1182"/>
                    </a:cubicBezTo>
                    <a:cubicBezTo>
                      <a:pt x="467" y="516"/>
                      <a:pt x="467" y="516"/>
                      <a:pt x="467" y="516"/>
                    </a:cubicBezTo>
                    <a:cubicBezTo>
                      <a:pt x="398" y="459"/>
                      <a:pt x="284" y="354"/>
                      <a:pt x="252" y="2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5720" rIns="91440" bIns="45720" numCol="1" anchor="t" anchorCtr="0" compatLnSpc="1">
                <a:prstTxWarp prst="textNoShape">
                  <a:avLst/>
                </a:prstTxWarp>
              </a:bodyPr>
              <a:lstStyle/>
              <a:p>
                <a:pPr algn="ctr" defTabSz="896259"/>
                <a:endParaRPr lang="en-US" sz="1568">
                  <a:gradFill>
                    <a:gsLst>
                      <a:gs pos="0">
                        <a:srgbClr val="FFFFFF"/>
                      </a:gs>
                      <a:gs pos="100000">
                        <a:srgbClr val="FFFFFF"/>
                      </a:gs>
                    </a:gsLst>
                    <a:lin ang="5400000" scaled="0"/>
                  </a:gradFill>
                </a:endParaRPr>
              </a:p>
            </p:txBody>
          </p:sp>
          <p:sp>
            <p:nvSpPr>
              <p:cNvPr id="31" name="Freeform 37"/>
              <p:cNvSpPr>
                <a:spLocks/>
              </p:cNvSpPr>
              <p:nvPr/>
            </p:nvSpPr>
            <p:spPr bwMode="black">
              <a:xfrm>
                <a:off x="3824288" y="1733550"/>
                <a:ext cx="103188" cy="93663"/>
              </a:xfrm>
              <a:custGeom>
                <a:avLst/>
                <a:gdLst>
                  <a:gd name="T0" fmla="*/ 58 w 110"/>
                  <a:gd name="T1" fmla="*/ 43 h 101"/>
                  <a:gd name="T2" fmla="*/ 38 w 110"/>
                  <a:gd name="T3" fmla="*/ 59 h 101"/>
                  <a:gd name="T4" fmla="*/ 17 w 110"/>
                  <a:gd name="T5" fmla="*/ 43 h 101"/>
                  <a:gd name="T6" fmla="*/ 0 w 110"/>
                  <a:gd name="T7" fmla="*/ 29 h 101"/>
                  <a:gd name="T8" fmla="*/ 0 w 110"/>
                  <a:gd name="T9" fmla="*/ 45 h 101"/>
                  <a:gd name="T10" fmla="*/ 56 w 110"/>
                  <a:gd name="T11" fmla="*/ 101 h 101"/>
                  <a:gd name="T12" fmla="*/ 110 w 110"/>
                  <a:gd name="T13" fmla="*/ 45 h 101"/>
                  <a:gd name="T14" fmla="*/ 110 w 110"/>
                  <a:gd name="T15" fmla="*/ 0 h 101"/>
                  <a:gd name="T16" fmla="*/ 58 w 110"/>
                  <a:gd name="T17" fmla="*/ 43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01">
                    <a:moveTo>
                      <a:pt x="58" y="43"/>
                    </a:moveTo>
                    <a:cubicBezTo>
                      <a:pt x="38" y="59"/>
                      <a:pt x="38" y="59"/>
                      <a:pt x="38" y="59"/>
                    </a:cubicBezTo>
                    <a:cubicBezTo>
                      <a:pt x="17" y="43"/>
                      <a:pt x="17" y="43"/>
                      <a:pt x="17" y="43"/>
                    </a:cubicBezTo>
                    <a:cubicBezTo>
                      <a:pt x="13" y="40"/>
                      <a:pt x="7" y="35"/>
                      <a:pt x="0" y="29"/>
                    </a:cubicBezTo>
                    <a:cubicBezTo>
                      <a:pt x="0" y="45"/>
                      <a:pt x="0" y="45"/>
                      <a:pt x="0" y="45"/>
                    </a:cubicBezTo>
                    <a:cubicBezTo>
                      <a:pt x="0" y="76"/>
                      <a:pt x="25" y="101"/>
                      <a:pt x="56" y="101"/>
                    </a:cubicBezTo>
                    <a:cubicBezTo>
                      <a:pt x="85" y="101"/>
                      <a:pt x="110" y="76"/>
                      <a:pt x="110" y="45"/>
                    </a:cubicBezTo>
                    <a:cubicBezTo>
                      <a:pt x="110" y="0"/>
                      <a:pt x="110" y="0"/>
                      <a:pt x="110" y="0"/>
                    </a:cubicBezTo>
                    <a:cubicBezTo>
                      <a:pt x="86" y="20"/>
                      <a:pt x="67" y="35"/>
                      <a:pt x="58" y="4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5720" rIns="91440" bIns="45720" numCol="1" anchor="t" anchorCtr="0" compatLnSpc="1">
                <a:prstTxWarp prst="textNoShape">
                  <a:avLst/>
                </a:prstTxWarp>
              </a:bodyPr>
              <a:lstStyle/>
              <a:p>
                <a:pPr algn="ctr" defTabSz="896259"/>
                <a:endParaRPr lang="en-US" sz="1568">
                  <a:gradFill>
                    <a:gsLst>
                      <a:gs pos="0">
                        <a:srgbClr val="FFFFFF"/>
                      </a:gs>
                      <a:gs pos="100000">
                        <a:srgbClr val="FFFFFF"/>
                      </a:gs>
                    </a:gsLst>
                    <a:lin ang="5400000" scaled="0"/>
                  </a:gradFill>
                </a:endParaRPr>
              </a:p>
            </p:txBody>
          </p:sp>
          <p:sp>
            <p:nvSpPr>
              <p:cNvPr id="32" name="Oval 38"/>
              <p:cNvSpPr>
                <a:spLocks noChangeArrowheads="1"/>
              </p:cNvSpPr>
              <p:nvPr/>
            </p:nvSpPr>
            <p:spPr bwMode="black">
              <a:xfrm>
                <a:off x="3525838" y="989012"/>
                <a:ext cx="234950" cy="2381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5720" rIns="91440" bIns="45720" numCol="1" anchor="t" anchorCtr="0" compatLnSpc="1">
                <a:prstTxWarp prst="textNoShape">
                  <a:avLst/>
                </a:prstTxWarp>
              </a:bodyPr>
              <a:lstStyle/>
              <a:p>
                <a:pPr algn="ctr" defTabSz="896259"/>
                <a:endParaRPr lang="en-US" sz="1568">
                  <a:gradFill>
                    <a:gsLst>
                      <a:gs pos="0">
                        <a:srgbClr val="FFFFFF"/>
                      </a:gs>
                      <a:gs pos="100000">
                        <a:srgbClr val="FFFFFF"/>
                      </a:gs>
                    </a:gsLst>
                    <a:lin ang="5400000" scaled="0"/>
                  </a:gradFill>
                </a:endParaRPr>
              </a:p>
            </p:txBody>
          </p:sp>
          <p:sp>
            <p:nvSpPr>
              <p:cNvPr id="48" name="Freeform 39"/>
              <p:cNvSpPr>
                <a:spLocks/>
              </p:cNvSpPr>
              <p:nvPr/>
            </p:nvSpPr>
            <p:spPr bwMode="black">
              <a:xfrm>
                <a:off x="3606800" y="1304925"/>
                <a:ext cx="500063" cy="444500"/>
              </a:xfrm>
              <a:custGeom>
                <a:avLst/>
                <a:gdLst>
                  <a:gd name="T0" fmla="*/ 267 w 535"/>
                  <a:gd name="T1" fmla="*/ 476 h 477"/>
                  <a:gd name="T2" fmla="*/ 15 w 535"/>
                  <a:gd name="T3" fmla="*/ 208 h 477"/>
                  <a:gd name="T4" fmla="*/ 0 w 535"/>
                  <a:gd name="T5" fmla="*/ 140 h 477"/>
                  <a:gd name="T6" fmla="*/ 141 w 535"/>
                  <a:gd name="T7" fmla="*/ 0 h 477"/>
                  <a:gd name="T8" fmla="*/ 268 w 535"/>
                  <a:gd name="T9" fmla="*/ 80 h 477"/>
                  <a:gd name="T10" fmla="*/ 394 w 535"/>
                  <a:gd name="T11" fmla="*/ 0 h 477"/>
                  <a:gd name="T12" fmla="*/ 535 w 535"/>
                  <a:gd name="T13" fmla="*/ 140 h 477"/>
                  <a:gd name="T14" fmla="*/ 520 w 535"/>
                  <a:gd name="T15" fmla="*/ 208 h 477"/>
                  <a:gd name="T16" fmla="*/ 269 w 535"/>
                  <a:gd name="T17" fmla="*/ 476 h 477"/>
                  <a:gd name="T18" fmla="*/ 268 w 535"/>
                  <a:gd name="T19" fmla="*/ 477 h 477"/>
                  <a:gd name="T20" fmla="*/ 267 w 535"/>
                  <a:gd name="T21" fmla="*/ 476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5" h="477">
                    <a:moveTo>
                      <a:pt x="267" y="476"/>
                    </a:moveTo>
                    <a:cubicBezTo>
                      <a:pt x="247" y="461"/>
                      <a:pt x="55" y="310"/>
                      <a:pt x="15" y="208"/>
                    </a:cubicBezTo>
                    <a:cubicBezTo>
                      <a:pt x="8" y="189"/>
                      <a:pt x="0" y="162"/>
                      <a:pt x="0" y="140"/>
                    </a:cubicBezTo>
                    <a:cubicBezTo>
                      <a:pt x="0" y="63"/>
                      <a:pt x="63" y="0"/>
                      <a:pt x="141" y="0"/>
                    </a:cubicBezTo>
                    <a:cubicBezTo>
                      <a:pt x="197" y="0"/>
                      <a:pt x="245" y="33"/>
                      <a:pt x="268" y="80"/>
                    </a:cubicBezTo>
                    <a:cubicBezTo>
                      <a:pt x="290" y="33"/>
                      <a:pt x="339" y="0"/>
                      <a:pt x="394" y="0"/>
                    </a:cubicBezTo>
                    <a:cubicBezTo>
                      <a:pt x="472" y="0"/>
                      <a:pt x="535" y="63"/>
                      <a:pt x="535" y="140"/>
                    </a:cubicBezTo>
                    <a:cubicBezTo>
                      <a:pt x="535" y="162"/>
                      <a:pt x="527" y="189"/>
                      <a:pt x="520" y="208"/>
                    </a:cubicBezTo>
                    <a:cubicBezTo>
                      <a:pt x="480" y="310"/>
                      <a:pt x="288" y="461"/>
                      <a:pt x="269" y="476"/>
                    </a:cubicBezTo>
                    <a:cubicBezTo>
                      <a:pt x="268" y="477"/>
                      <a:pt x="268" y="477"/>
                      <a:pt x="268" y="477"/>
                    </a:cubicBezTo>
                    <a:lnTo>
                      <a:pt x="267" y="4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5720" rIns="91440" bIns="45720" numCol="1" anchor="t" anchorCtr="0" compatLnSpc="1">
                <a:prstTxWarp prst="textNoShape">
                  <a:avLst/>
                </a:prstTxWarp>
              </a:bodyPr>
              <a:lstStyle/>
              <a:p>
                <a:pPr algn="ctr" defTabSz="896259"/>
                <a:endParaRPr lang="en-US" sz="1568">
                  <a:gradFill>
                    <a:gsLst>
                      <a:gs pos="0">
                        <a:srgbClr val="FFFFFF"/>
                      </a:gs>
                      <a:gs pos="100000">
                        <a:srgbClr val="FFFFFF"/>
                      </a:gs>
                    </a:gsLst>
                    <a:lin ang="5400000" scaled="0"/>
                  </a:gradFill>
                </a:endParaRPr>
              </a:p>
            </p:txBody>
          </p:sp>
        </p:grpSp>
      </p:grpSp>
      <p:sp>
        <p:nvSpPr>
          <p:cNvPr id="15" name="Rectangle 14"/>
          <p:cNvSpPr/>
          <p:nvPr/>
        </p:nvSpPr>
        <p:spPr bwMode="auto">
          <a:xfrm>
            <a:off x="368" y="6387579"/>
            <a:ext cx="12188457" cy="89655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15" tIns="44815" rIns="44815" bIns="44815" numCol="1" spcCol="0" rtlCol="0" fromWordArt="0" anchor="ctr" anchorCtr="0" forceAA="0" compatLnSpc="1">
            <a:prstTxWarp prst="textNoShape">
              <a:avLst/>
            </a:prstTxWarp>
            <a:noAutofit/>
          </a:bodyPr>
          <a:lstStyle/>
          <a:p>
            <a:pPr algn="ctr" defTabSz="896000" fontAlgn="base">
              <a:spcBef>
                <a:spcPct val="0"/>
              </a:spcBef>
              <a:spcAft>
                <a:spcPct val="0"/>
              </a:spcAft>
            </a:pPr>
            <a:endParaRPr lang="en-US" sz="2156"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idx="4294967295"/>
          </p:nvPr>
        </p:nvSpPr>
        <p:spPr>
          <a:xfrm>
            <a:off x="281114" y="301377"/>
            <a:ext cx="11147937" cy="748683"/>
          </a:xfrm>
        </p:spPr>
        <p:txBody>
          <a:bodyPr/>
          <a:lstStyle/>
          <a:p>
            <a:r>
              <a:rPr lang="en-US" sz="5293" dirty="0"/>
              <a:t>The SharePoint client </a:t>
            </a:r>
            <a:r>
              <a:rPr lang="en-US" sz="5293" dirty="0" smtClean="0"/>
              <a:t>APIs</a:t>
            </a:r>
            <a:endParaRPr lang="en-US" sz="5293" dirty="0"/>
          </a:p>
        </p:txBody>
      </p:sp>
      <p:sp>
        <p:nvSpPr>
          <p:cNvPr id="13" name="Rectangle 12"/>
          <p:cNvSpPr/>
          <p:nvPr/>
        </p:nvSpPr>
        <p:spPr bwMode="auto">
          <a:xfrm>
            <a:off x="4481285" y="-2219216"/>
            <a:ext cx="896191" cy="89655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15" tIns="44815" rIns="44815" bIns="44815" numCol="1" spcCol="0" rtlCol="0" fromWordArt="0" anchor="ctr" anchorCtr="0" forceAA="0" compatLnSpc="1">
            <a:prstTxWarp prst="textNoShape">
              <a:avLst/>
            </a:prstTxWarp>
            <a:noAutofit/>
          </a:bodyPr>
          <a:lstStyle/>
          <a:p>
            <a:pPr algn="ctr" defTabSz="896000" fontAlgn="base">
              <a:spcBef>
                <a:spcPct val="0"/>
              </a:spcBef>
              <a:spcAft>
                <a:spcPct val="0"/>
              </a:spcAft>
            </a:pPr>
            <a:endParaRPr lang="en-US" sz="2156"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543461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70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200"/>
                                        <p:tgtEl>
                                          <p:spTgt spid="8"/>
                                        </p:tgtEl>
                                      </p:cBhvr>
                                    </p:animEffect>
                                  </p:childTnLst>
                                </p:cTn>
                              </p:par>
                              <p:par>
                                <p:cTn id="8" presetID="63" presetClass="path" presetSubtype="0" decel="100000" fill="hold" nodeType="withEffect">
                                  <p:stCondLst>
                                    <p:cond delay="700"/>
                                  </p:stCondLst>
                                  <p:childTnLst>
                                    <p:animMotion origin="layout" path="M -0.02412 4.2079E-6 L -2.20832E-6 4.2079E-6 " pathEditMode="relative" rAng="0" ptsTypes="AA">
                                      <p:cBhvr>
                                        <p:cTn id="9" dur="200" fill="hold"/>
                                        <p:tgtEl>
                                          <p:spTgt spid="8"/>
                                        </p:tgtEl>
                                        <p:attrNameLst>
                                          <p:attrName>ppt_x</p:attrName>
                                          <p:attrName>ppt_y</p:attrName>
                                        </p:attrNameLst>
                                      </p:cBhvr>
                                      <p:rCtr x="1200" y="0"/>
                                    </p:animMotion>
                                  </p:childTnLst>
                                </p:cTn>
                              </p:par>
                              <p:par>
                                <p:cTn id="10" presetID="6" presetClass="emph" presetSubtype="0" accel="100000" autoRev="1" fill="hold" nodeType="withEffect">
                                  <p:stCondLst>
                                    <p:cond delay="200"/>
                                  </p:stCondLst>
                                  <p:childTnLst>
                                    <p:animScale>
                                      <p:cBhvr>
                                        <p:cTn id="11" dur="400" fill="hold"/>
                                        <p:tgtEl>
                                          <p:spTgt spid="8"/>
                                        </p:tgtEl>
                                      </p:cBhvr>
                                      <p:by x="80000" y="80000"/>
                                    </p:animScale>
                                  </p:childTnLst>
                                </p:cTn>
                              </p:par>
                            </p:childTnLst>
                          </p:cTn>
                        </p:par>
                        <p:par>
                          <p:cTn id="12" fill="hold">
                            <p:stCondLst>
                              <p:cond delay="1000"/>
                            </p:stCondLst>
                            <p:childTnLst>
                              <p:par>
                                <p:cTn id="13" presetID="1" presetClass="entr" presetSubtype="0" fill="hold" grpId="0" nodeType="after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par>
                                <p:cTn id="15" presetID="10" presetClass="entr" presetSubtype="0" fill="hold" nodeType="withEffect">
                                  <p:stCondLst>
                                    <p:cond delay="70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200"/>
                                        <p:tgtEl>
                                          <p:spTgt spid="9"/>
                                        </p:tgtEl>
                                      </p:cBhvr>
                                    </p:animEffect>
                                  </p:childTnLst>
                                </p:cTn>
                              </p:par>
                              <p:par>
                                <p:cTn id="18" presetID="63" presetClass="path" presetSubtype="0" decel="100000" fill="hold" nodeType="withEffect">
                                  <p:stCondLst>
                                    <p:cond delay="700"/>
                                  </p:stCondLst>
                                  <p:childTnLst>
                                    <p:animMotion origin="layout" path="M -0.02412 4.2079E-6 L -2.20832E-6 4.2079E-6 " pathEditMode="relative" rAng="0" ptsTypes="AA">
                                      <p:cBhvr>
                                        <p:cTn id="19" dur="200" fill="hold"/>
                                        <p:tgtEl>
                                          <p:spTgt spid="9"/>
                                        </p:tgtEl>
                                        <p:attrNameLst>
                                          <p:attrName>ppt_x</p:attrName>
                                          <p:attrName>ppt_y</p:attrName>
                                        </p:attrNameLst>
                                      </p:cBhvr>
                                      <p:rCtr x="1200" y="0"/>
                                    </p:animMotion>
                                  </p:childTnLst>
                                </p:cTn>
                              </p:par>
                              <p:par>
                                <p:cTn id="20" presetID="6" presetClass="emph" presetSubtype="0" accel="100000" autoRev="1" fill="hold" nodeType="withEffect">
                                  <p:stCondLst>
                                    <p:cond delay="200"/>
                                  </p:stCondLst>
                                  <p:childTnLst>
                                    <p:animScale>
                                      <p:cBhvr>
                                        <p:cTn id="21" dur="400" fill="hold"/>
                                        <p:tgtEl>
                                          <p:spTgt spid="9"/>
                                        </p:tgtEl>
                                      </p:cBhvr>
                                      <p:by x="80000" y="80000"/>
                                    </p:animScale>
                                  </p:childTnLst>
                                </p:cTn>
                              </p:par>
                            </p:childTnLst>
                          </p:cTn>
                        </p:par>
                        <p:par>
                          <p:cTn id="22" fill="hold">
                            <p:stCondLst>
                              <p:cond delay="2000"/>
                            </p:stCondLst>
                            <p:childTnLst>
                              <p:par>
                                <p:cTn id="23" presetID="1" presetClass="entr" presetSubtype="0" fill="hold" grpId="1" nodeType="afterEffect">
                                  <p:stCondLst>
                                    <p:cond delay="0"/>
                                  </p:stCondLst>
                                  <p:childTnLst>
                                    <p:set>
                                      <p:cBhvr>
                                        <p:cTn id="24" dur="1" fill="hold">
                                          <p:stCondLst>
                                            <p:cond delay="0"/>
                                          </p:stCondLst>
                                        </p:cTn>
                                        <p:tgtEl>
                                          <p:spTgt spid="13"/>
                                        </p:tgtEl>
                                        <p:attrNameLst>
                                          <p:attrName>style.visibility</p:attrName>
                                        </p:attrNameLst>
                                      </p:cBhvr>
                                      <p:to>
                                        <p:strVal val="visible"/>
                                      </p:to>
                                    </p:set>
                                  </p:childTnLst>
                                </p:cTn>
                              </p:par>
                              <p:par>
                                <p:cTn id="25" presetID="10" presetClass="entr" presetSubtype="0" fill="hold" nodeType="withEffect">
                                  <p:stCondLst>
                                    <p:cond delay="700"/>
                                  </p:stCondLst>
                                  <p:childTnLst>
                                    <p:set>
                                      <p:cBhvr>
                                        <p:cTn id="26" dur="1" fill="hold">
                                          <p:stCondLst>
                                            <p:cond delay="0"/>
                                          </p:stCondLst>
                                        </p:cTn>
                                        <p:tgtEl>
                                          <p:spTgt spid="10"/>
                                        </p:tgtEl>
                                        <p:attrNameLst>
                                          <p:attrName>style.visibility</p:attrName>
                                        </p:attrNameLst>
                                      </p:cBhvr>
                                      <p:to>
                                        <p:strVal val="visible"/>
                                      </p:to>
                                    </p:set>
                                    <p:animEffect transition="in" filter="fade">
                                      <p:cBhvr>
                                        <p:cTn id="27" dur="200"/>
                                        <p:tgtEl>
                                          <p:spTgt spid="10"/>
                                        </p:tgtEl>
                                      </p:cBhvr>
                                    </p:animEffect>
                                  </p:childTnLst>
                                </p:cTn>
                              </p:par>
                              <p:par>
                                <p:cTn id="28" presetID="63" presetClass="path" presetSubtype="0" decel="100000" fill="hold" nodeType="withEffect">
                                  <p:stCondLst>
                                    <p:cond delay="700"/>
                                  </p:stCondLst>
                                  <p:childTnLst>
                                    <p:animMotion origin="layout" path="M -0.02412 4.2079E-6 L -2.20832E-6 4.2079E-6 " pathEditMode="relative" rAng="0" ptsTypes="AA">
                                      <p:cBhvr>
                                        <p:cTn id="29" dur="200" fill="hold"/>
                                        <p:tgtEl>
                                          <p:spTgt spid="10"/>
                                        </p:tgtEl>
                                        <p:attrNameLst>
                                          <p:attrName>ppt_x</p:attrName>
                                          <p:attrName>ppt_y</p:attrName>
                                        </p:attrNameLst>
                                      </p:cBhvr>
                                      <p:rCtr x="1200" y="0"/>
                                    </p:animMotion>
                                  </p:childTnLst>
                                </p:cTn>
                              </p:par>
                              <p:par>
                                <p:cTn id="30" presetID="6" presetClass="emph" presetSubtype="0" accel="100000" autoRev="1" fill="hold" nodeType="withEffect">
                                  <p:stCondLst>
                                    <p:cond delay="200"/>
                                  </p:stCondLst>
                                  <p:childTnLst>
                                    <p:animScale>
                                      <p:cBhvr>
                                        <p:cTn id="31" dur="400" fill="hold"/>
                                        <p:tgtEl>
                                          <p:spTgt spid="10"/>
                                        </p:tgtEl>
                                      </p:cBhvr>
                                      <p:by x="80000" y="80000"/>
                                    </p:animScale>
                                  </p:childTnLst>
                                </p:cTn>
                              </p:par>
                            </p:childTnLst>
                          </p:cTn>
                        </p:par>
                        <p:par>
                          <p:cTn id="32" fill="hold">
                            <p:stCondLst>
                              <p:cond delay="3000"/>
                            </p:stCondLst>
                            <p:childTnLst>
                              <p:par>
                                <p:cTn id="33" presetID="1" presetClass="entr" presetSubtype="0" fill="hold" grpId="2" nodeType="afterEffect">
                                  <p:stCondLst>
                                    <p:cond delay="0"/>
                                  </p:stCondLst>
                                  <p:childTnLst>
                                    <p:set>
                                      <p:cBhvr>
                                        <p:cTn id="34" dur="1" fill="hold">
                                          <p:stCondLst>
                                            <p:cond delay="0"/>
                                          </p:stCondLst>
                                        </p:cTn>
                                        <p:tgtEl>
                                          <p:spTgt spid="13"/>
                                        </p:tgtEl>
                                        <p:attrNameLst>
                                          <p:attrName>style.visibility</p:attrName>
                                        </p:attrNameLst>
                                      </p:cBhvr>
                                      <p:to>
                                        <p:strVal val="visible"/>
                                      </p:to>
                                    </p:set>
                                  </p:childTnLst>
                                </p:cTn>
                              </p:par>
                              <p:par>
                                <p:cTn id="35" presetID="10" presetClass="entr" presetSubtype="0" fill="hold" nodeType="withEffect">
                                  <p:stCondLst>
                                    <p:cond delay="700"/>
                                  </p:stCondLst>
                                  <p:childTnLst>
                                    <p:set>
                                      <p:cBhvr>
                                        <p:cTn id="36" dur="1" fill="hold">
                                          <p:stCondLst>
                                            <p:cond delay="0"/>
                                          </p:stCondLst>
                                        </p:cTn>
                                        <p:tgtEl>
                                          <p:spTgt spid="11"/>
                                        </p:tgtEl>
                                        <p:attrNameLst>
                                          <p:attrName>style.visibility</p:attrName>
                                        </p:attrNameLst>
                                      </p:cBhvr>
                                      <p:to>
                                        <p:strVal val="visible"/>
                                      </p:to>
                                    </p:set>
                                    <p:animEffect transition="in" filter="fade">
                                      <p:cBhvr>
                                        <p:cTn id="37" dur="200"/>
                                        <p:tgtEl>
                                          <p:spTgt spid="11"/>
                                        </p:tgtEl>
                                      </p:cBhvr>
                                    </p:animEffect>
                                  </p:childTnLst>
                                </p:cTn>
                              </p:par>
                              <p:par>
                                <p:cTn id="38" presetID="63" presetClass="path" presetSubtype="0" decel="100000" fill="hold" nodeType="withEffect">
                                  <p:stCondLst>
                                    <p:cond delay="700"/>
                                  </p:stCondLst>
                                  <p:childTnLst>
                                    <p:animMotion origin="layout" path="M -0.02412 4.2079E-6 L -2.20832E-6 4.2079E-6 " pathEditMode="relative" rAng="0" ptsTypes="AA">
                                      <p:cBhvr>
                                        <p:cTn id="39" dur="200" fill="hold"/>
                                        <p:tgtEl>
                                          <p:spTgt spid="11"/>
                                        </p:tgtEl>
                                        <p:attrNameLst>
                                          <p:attrName>ppt_x</p:attrName>
                                          <p:attrName>ppt_y</p:attrName>
                                        </p:attrNameLst>
                                      </p:cBhvr>
                                      <p:rCtr x="1200" y="0"/>
                                    </p:animMotion>
                                  </p:childTnLst>
                                </p:cTn>
                              </p:par>
                              <p:par>
                                <p:cTn id="40" presetID="6" presetClass="emph" presetSubtype="0" accel="100000" autoRev="1" fill="hold" nodeType="withEffect">
                                  <p:stCondLst>
                                    <p:cond delay="200"/>
                                  </p:stCondLst>
                                  <p:childTnLst>
                                    <p:animScale>
                                      <p:cBhvr>
                                        <p:cTn id="41" dur="400" fill="hold"/>
                                        <p:tgtEl>
                                          <p:spTgt spid="11"/>
                                        </p:tgtEl>
                                      </p:cBhvr>
                                      <p:by x="80000" y="80000"/>
                                    </p:animScale>
                                  </p:childTnLst>
                                </p:cTn>
                              </p:par>
                            </p:childTnLst>
                          </p:cTn>
                        </p:par>
                        <p:par>
                          <p:cTn id="42" fill="hold">
                            <p:stCondLst>
                              <p:cond delay="4000"/>
                            </p:stCondLst>
                            <p:childTnLst>
                              <p:par>
                                <p:cTn id="43" presetID="1" presetClass="entr" presetSubtype="0" fill="hold" grpId="3" nodeType="afterEffect">
                                  <p:stCondLst>
                                    <p:cond delay="0"/>
                                  </p:stCondLst>
                                  <p:childTnLst>
                                    <p:set>
                                      <p:cBhvr>
                                        <p:cTn id="44" dur="1" fill="hold">
                                          <p:stCondLst>
                                            <p:cond delay="0"/>
                                          </p:stCondLst>
                                        </p:cTn>
                                        <p:tgtEl>
                                          <p:spTgt spid="13"/>
                                        </p:tgtEl>
                                        <p:attrNameLst>
                                          <p:attrName>style.visibility</p:attrName>
                                        </p:attrNameLst>
                                      </p:cBhvr>
                                      <p:to>
                                        <p:strVal val="visible"/>
                                      </p:to>
                                    </p:set>
                                  </p:childTnLst>
                                </p:cTn>
                              </p:par>
                              <p:par>
                                <p:cTn id="45" presetID="10" presetClass="entr" presetSubtype="0" fill="hold" nodeType="withEffect">
                                  <p:stCondLst>
                                    <p:cond delay="700"/>
                                  </p:stCondLst>
                                  <p:childTnLst>
                                    <p:set>
                                      <p:cBhvr>
                                        <p:cTn id="46" dur="1" fill="hold">
                                          <p:stCondLst>
                                            <p:cond delay="0"/>
                                          </p:stCondLst>
                                        </p:cTn>
                                        <p:tgtEl>
                                          <p:spTgt spid="12"/>
                                        </p:tgtEl>
                                        <p:attrNameLst>
                                          <p:attrName>style.visibility</p:attrName>
                                        </p:attrNameLst>
                                      </p:cBhvr>
                                      <p:to>
                                        <p:strVal val="visible"/>
                                      </p:to>
                                    </p:set>
                                    <p:animEffect transition="in" filter="fade">
                                      <p:cBhvr>
                                        <p:cTn id="47" dur="200"/>
                                        <p:tgtEl>
                                          <p:spTgt spid="12"/>
                                        </p:tgtEl>
                                      </p:cBhvr>
                                    </p:animEffect>
                                  </p:childTnLst>
                                </p:cTn>
                              </p:par>
                              <p:par>
                                <p:cTn id="48" presetID="63" presetClass="path" presetSubtype="0" decel="100000" fill="hold" nodeType="withEffect">
                                  <p:stCondLst>
                                    <p:cond delay="700"/>
                                  </p:stCondLst>
                                  <p:childTnLst>
                                    <p:animMotion origin="layout" path="M -0.02412 4.2079E-6 L -2.20832E-6 4.2079E-6 " pathEditMode="relative" rAng="0" ptsTypes="AA">
                                      <p:cBhvr>
                                        <p:cTn id="49" dur="200" fill="hold"/>
                                        <p:tgtEl>
                                          <p:spTgt spid="12"/>
                                        </p:tgtEl>
                                        <p:attrNameLst>
                                          <p:attrName>ppt_x</p:attrName>
                                          <p:attrName>ppt_y</p:attrName>
                                        </p:attrNameLst>
                                      </p:cBhvr>
                                      <p:rCtr x="1200" y="0"/>
                                    </p:animMotion>
                                  </p:childTnLst>
                                </p:cTn>
                              </p:par>
                              <p:par>
                                <p:cTn id="50" presetID="6" presetClass="emph" presetSubtype="0" accel="100000" autoRev="1" fill="hold" nodeType="withEffect">
                                  <p:stCondLst>
                                    <p:cond delay="200"/>
                                  </p:stCondLst>
                                  <p:childTnLst>
                                    <p:animScale>
                                      <p:cBhvr>
                                        <p:cTn id="51" dur="400" fill="hold"/>
                                        <p:tgtEl>
                                          <p:spTgt spid="12"/>
                                        </p:tgtEl>
                                      </p:cBhvr>
                                      <p:by x="80000" y="80000"/>
                                    </p:animScale>
                                  </p:childTnLst>
                                </p:cTn>
                              </p:par>
                            </p:childTnLst>
                          </p:cTn>
                        </p:par>
                        <p:par>
                          <p:cTn id="52" fill="hold">
                            <p:stCondLst>
                              <p:cond delay="5000"/>
                            </p:stCondLst>
                            <p:childTnLst>
                              <p:par>
                                <p:cTn id="53" presetID="1" presetClass="entr" presetSubtype="0" fill="hold" grpId="4" nodeType="afterEffect">
                                  <p:stCondLst>
                                    <p:cond delay="0"/>
                                  </p:stCondLst>
                                  <p:childTnLst>
                                    <p:set>
                                      <p:cBhvr>
                                        <p:cTn id="54" dur="1" fill="hold">
                                          <p:stCondLst>
                                            <p:cond delay="0"/>
                                          </p:stCondLst>
                                        </p:cTn>
                                        <p:tgtEl>
                                          <p:spTgt spid="13"/>
                                        </p:tgtEl>
                                        <p:attrNameLst>
                                          <p:attrName>style.visibility</p:attrName>
                                        </p:attrNameLst>
                                      </p:cBhvr>
                                      <p:to>
                                        <p:strVal val="visible"/>
                                      </p:to>
                                    </p:set>
                                  </p:childTnLst>
                                </p:cTn>
                              </p:par>
                              <p:par>
                                <p:cTn id="55" presetID="10" presetClass="entr" presetSubtype="0" fill="hold" grpId="0" nodeType="withEffect">
                                  <p:stCondLst>
                                    <p:cond delay="700"/>
                                  </p:stCondLst>
                                  <p:childTnLst>
                                    <p:set>
                                      <p:cBhvr>
                                        <p:cTn id="56" dur="1" fill="hold">
                                          <p:stCondLst>
                                            <p:cond delay="0"/>
                                          </p:stCondLst>
                                        </p:cTn>
                                        <p:tgtEl>
                                          <p:spTgt spid="47"/>
                                        </p:tgtEl>
                                        <p:attrNameLst>
                                          <p:attrName>style.visibility</p:attrName>
                                        </p:attrNameLst>
                                      </p:cBhvr>
                                      <p:to>
                                        <p:strVal val="visible"/>
                                      </p:to>
                                    </p:set>
                                    <p:animEffect transition="in" filter="fade">
                                      <p:cBhvr>
                                        <p:cTn id="57" dur="200"/>
                                        <p:tgtEl>
                                          <p:spTgt spid="47"/>
                                        </p:tgtEl>
                                      </p:cBhvr>
                                    </p:animEffect>
                                  </p:childTnLst>
                                </p:cTn>
                              </p:par>
                              <p:par>
                                <p:cTn id="58" presetID="63" presetClass="path" presetSubtype="0" decel="100000" fill="hold" grpId="1" nodeType="withEffect">
                                  <p:stCondLst>
                                    <p:cond delay="700"/>
                                  </p:stCondLst>
                                  <p:childTnLst>
                                    <p:animMotion origin="layout" path="M -0.02412 4.2079E-6 L -2.20832E-6 4.2079E-6 " pathEditMode="relative" rAng="0" ptsTypes="AA">
                                      <p:cBhvr>
                                        <p:cTn id="59" dur="200" fill="hold"/>
                                        <p:tgtEl>
                                          <p:spTgt spid="47"/>
                                        </p:tgtEl>
                                        <p:attrNameLst>
                                          <p:attrName>ppt_x</p:attrName>
                                          <p:attrName>ppt_y</p:attrName>
                                        </p:attrNameLst>
                                      </p:cBhvr>
                                      <p:rCtr x="1200" y="0"/>
                                    </p:animMotion>
                                  </p:childTnLst>
                                </p:cTn>
                              </p:par>
                              <p:par>
                                <p:cTn id="60" presetID="6" presetClass="emph" presetSubtype="0" accel="100000" autoRev="1" fill="hold" grpId="2" nodeType="withEffect">
                                  <p:stCondLst>
                                    <p:cond delay="200"/>
                                  </p:stCondLst>
                                  <p:childTnLst>
                                    <p:animScale>
                                      <p:cBhvr>
                                        <p:cTn id="61" dur="400" fill="hold"/>
                                        <p:tgtEl>
                                          <p:spTgt spid="47"/>
                                        </p:tgtEl>
                                      </p:cBhvr>
                                      <p:by x="80000" y="80000"/>
                                    </p:animScale>
                                  </p:childTnLst>
                                </p:cTn>
                              </p:par>
                              <p:par>
                                <p:cTn id="62" presetID="2" presetClass="entr" presetSubtype="4" decel="100000" fill="hold" grpId="0" nodeType="withEffect">
                                  <p:stCondLst>
                                    <p:cond delay="1250"/>
                                  </p:stCondLst>
                                  <p:childTnLst>
                                    <p:set>
                                      <p:cBhvr>
                                        <p:cTn id="63" dur="1" fill="hold">
                                          <p:stCondLst>
                                            <p:cond delay="0"/>
                                          </p:stCondLst>
                                        </p:cTn>
                                        <p:tgtEl>
                                          <p:spTgt spid="38"/>
                                        </p:tgtEl>
                                        <p:attrNameLst>
                                          <p:attrName>style.visibility</p:attrName>
                                        </p:attrNameLst>
                                      </p:cBhvr>
                                      <p:to>
                                        <p:strVal val="visible"/>
                                      </p:to>
                                    </p:set>
                                    <p:anim calcmode="lin" valueType="num">
                                      <p:cBhvr additive="base">
                                        <p:cTn id="64" dur="1500" fill="hold"/>
                                        <p:tgtEl>
                                          <p:spTgt spid="38"/>
                                        </p:tgtEl>
                                        <p:attrNameLst>
                                          <p:attrName>ppt_x</p:attrName>
                                        </p:attrNameLst>
                                      </p:cBhvr>
                                      <p:tavLst>
                                        <p:tav tm="0">
                                          <p:val>
                                            <p:strVal val="#ppt_x"/>
                                          </p:val>
                                        </p:tav>
                                        <p:tav tm="100000">
                                          <p:val>
                                            <p:strVal val="#ppt_x"/>
                                          </p:val>
                                        </p:tav>
                                      </p:tavLst>
                                    </p:anim>
                                    <p:anim calcmode="lin" valueType="num">
                                      <p:cBhvr additive="base">
                                        <p:cTn id="65" dur="1500" fill="hold"/>
                                        <p:tgtEl>
                                          <p:spTgt spid="38"/>
                                        </p:tgtEl>
                                        <p:attrNameLst>
                                          <p:attrName>ppt_y</p:attrName>
                                        </p:attrNameLst>
                                      </p:cBhvr>
                                      <p:tavLst>
                                        <p:tav tm="0">
                                          <p:val>
                                            <p:strVal val="1+#ppt_h/2"/>
                                          </p:val>
                                        </p:tav>
                                        <p:tav tm="100000">
                                          <p:val>
                                            <p:strVal val="#ppt_y"/>
                                          </p:val>
                                        </p:tav>
                                      </p:tavLst>
                                    </p:anim>
                                  </p:childTnLst>
                                </p:cTn>
                              </p:par>
                            </p:childTnLst>
                          </p:cTn>
                        </p:par>
                        <p:par>
                          <p:cTn id="66" fill="hold">
                            <p:stCondLst>
                              <p:cond delay="7750"/>
                            </p:stCondLst>
                            <p:childTnLst>
                              <p:par>
                                <p:cTn id="67" presetID="2" presetClass="entr" presetSubtype="4" decel="100000" fill="hold" nodeType="afterEffect">
                                  <p:stCondLst>
                                    <p:cond delay="0"/>
                                  </p:stCondLst>
                                  <p:childTnLst>
                                    <p:set>
                                      <p:cBhvr>
                                        <p:cTn id="68" dur="1" fill="hold">
                                          <p:stCondLst>
                                            <p:cond delay="0"/>
                                          </p:stCondLst>
                                        </p:cTn>
                                        <p:tgtEl>
                                          <p:spTgt spid="14"/>
                                        </p:tgtEl>
                                        <p:attrNameLst>
                                          <p:attrName>style.visibility</p:attrName>
                                        </p:attrNameLst>
                                      </p:cBhvr>
                                      <p:to>
                                        <p:strVal val="visible"/>
                                      </p:to>
                                    </p:set>
                                    <p:anim calcmode="lin" valueType="num">
                                      <p:cBhvr additive="base">
                                        <p:cTn id="69" dur="1000" fill="hold"/>
                                        <p:tgtEl>
                                          <p:spTgt spid="14"/>
                                        </p:tgtEl>
                                        <p:attrNameLst>
                                          <p:attrName>ppt_x</p:attrName>
                                        </p:attrNameLst>
                                      </p:cBhvr>
                                      <p:tavLst>
                                        <p:tav tm="0">
                                          <p:val>
                                            <p:strVal val="#ppt_x"/>
                                          </p:val>
                                        </p:tav>
                                        <p:tav tm="100000">
                                          <p:val>
                                            <p:strVal val="#ppt_x"/>
                                          </p:val>
                                        </p:tav>
                                      </p:tavLst>
                                    </p:anim>
                                    <p:anim calcmode="lin" valueType="num">
                                      <p:cBhvr additive="base">
                                        <p:cTn id="70" dur="1000" fill="hold"/>
                                        <p:tgtEl>
                                          <p:spTgt spid="14"/>
                                        </p:tgtEl>
                                        <p:attrNameLst>
                                          <p:attrName>ppt_y</p:attrName>
                                        </p:attrNameLst>
                                      </p:cBhvr>
                                      <p:tavLst>
                                        <p:tav tm="0">
                                          <p:val>
                                            <p:strVal val="1+#ppt_h/2"/>
                                          </p:val>
                                        </p:tav>
                                        <p:tav tm="100000">
                                          <p:val>
                                            <p:strVal val="#ppt_y"/>
                                          </p:val>
                                        </p:tav>
                                      </p:tavLst>
                                    </p:anim>
                                  </p:childTnLst>
                                </p:cTn>
                              </p:par>
                              <p:par>
                                <p:cTn id="71" presetID="2" presetClass="entr" presetSubtype="4" decel="100000" fill="hold" nodeType="withEffect">
                                  <p:stCondLst>
                                    <p:cond delay="250"/>
                                  </p:stCondLst>
                                  <p:childTnLst>
                                    <p:set>
                                      <p:cBhvr>
                                        <p:cTn id="72" dur="1" fill="hold">
                                          <p:stCondLst>
                                            <p:cond delay="0"/>
                                          </p:stCondLst>
                                        </p:cTn>
                                        <p:tgtEl>
                                          <p:spTgt spid="5"/>
                                        </p:tgtEl>
                                        <p:attrNameLst>
                                          <p:attrName>style.visibility</p:attrName>
                                        </p:attrNameLst>
                                      </p:cBhvr>
                                      <p:to>
                                        <p:strVal val="visible"/>
                                      </p:to>
                                    </p:set>
                                    <p:anim calcmode="lin" valueType="num">
                                      <p:cBhvr additive="base">
                                        <p:cTn id="73" dur="1000" fill="hold"/>
                                        <p:tgtEl>
                                          <p:spTgt spid="5"/>
                                        </p:tgtEl>
                                        <p:attrNameLst>
                                          <p:attrName>ppt_x</p:attrName>
                                        </p:attrNameLst>
                                      </p:cBhvr>
                                      <p:tavLst>
                                        <p:tav tm="0">
                                          <p:val>
                                            <p:strVal val="#ppt_x"/>
                                          </p:val>
                                        </p:tav>
                                        <p:tav tm="100000">
                                          <p:val>
                                            <p:strVal val="#ppt_x"/>
                                          </p:val>
                                        </p:tav>
                                      </p:tavLst>
                                    </p:anim>
                                    <p:anim calcmode="lin" valueType="num">
                                      <p:cBhvr additive="base">
                                        <p:cTn id="74" dur="1000" fill="hold"/>
                                        <p:tgtEl>
                                          <p:spTgt spid="5"/>
                                        </p:tgtEl>
                                        <p:attrNameLst>
                                          <p:attrName>ppt_y</p:attrName>
                                        </p:attrNameLst>
                                      </p:cBhvr>
                                      <p:tavLst>
                                        <p:tav tm="0">
                                          <p:val>
                                            <p:strVal val="1+#ppt_h/2"/>
                                          </p:val>
                                        </p:tav>
                                        <p:tav tm="100000">
                                          <p:val>
                                            <p:strVal val="#ppt_y"/>
                                          </p:val>
                                        </p:tav>
                                      </p:tavLst>
                                    </p:anim>
                                  </p:childTnLst>
                                </p:cTn>
                              </p:par>
                            </p:childTnLst>
                          </p:cTn>
                        </p:par>
                        <p:par>
                          <p:cTn id="75" fill="hold">
                            <p:stCondLst>
                              <p:cond delay="9000"/>
                            </p:stCondLst>
                            <p:childTnLst>
                              <p:par>
                                <p:cTn id="76" presetID="2" presetClass="entr" presetSubtype="4" decel="100000" fill="hold" grpId="0" nodeType="afterEffect">
                                  <p:stCondLst>
                                    <p:cond delay="0"/>
                                  </p:stCondLst>
                                  <p:childTnLst>
                                    <p:set>
                                      <p:cBhvr>
                                        <p:cTn id="77" dur="1" fill="hold">
                                          <p:stCondLst>
                                            <p:cond delay="0"/>
                                          </p:stCondLst>
                                        </p:cTn>
                                        <p:tgtEl>
                                          <p:spTgt spid="37"/>
                                        </p:tgtEl>
                                        <p:attrNameLst>
                                          <p:attrName>style.visibility</p:attrName>
                                        </p:attrNameLst>
                                      </p:cBhvr>
                                      <p:to>
                                        <p:strVal val="visible"/>
                                      </p:to>
                                    </p:set>
                                    <p:anim calcmode="lin" valueType="num">
                                      <p:cBhvr additive="base">
                                        <p:cTn id="78" dur="1000" fill="hold"/>
                                        <p:tgtEl>
                                          <p:spTgt spid="37"/>
                                        </p:tgtEl>
                                        <p:attrNameLst>
                                          <p:attrName>ppt_x</p:attrName>
                                        </p:attrNameLst>
                                      </p:cBhvr>
                                      <p:tavLst>
                                        <p:tav tm="0">
                                          <p:val>
                                            <p:strVal val="#ppt_x"/>
                                          </p:val>
                                        </p:tav>
                                        <p:tav tm="100000">
                                          <p:val>
                                            <p:strVal val="#ppt_x"/>
                                          </p:val>
                                        </p:tav>
                                      </p:tavLst>
                                    </p:anim>
                                    <p:anim calcmode="lin" valueType="num">
                                      <p:cBhvr additive="base">
                                        <p:cTn id="79" dur="1000" fill="hold"/>
                                        <p:tgtEl>
                                          <p:spTgt spid="3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animBg="1"/>
      <p:bldP spid="38" grpId="0" animBg="1"/>
      <p:bldP spid="47" grpId="0" animBg="1"/>
      <p:bldP spid="47" grpId="1" animBg="1"/>
      <p:bldP spid="47" grpId="2" animBg="1"/>
      <p:bldP spid="13" grpId="0" animBg="1"/>
      <p:bldP spid="13" grpId="1" animBg="1"/>
      <p:bldP spid="13" grpId="2" animBg="1"/>
      <p:bldP spid="13" grpId="3" animBg="1"/>
      <p:bldP spid="13" grpId="4"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p:cNvSpPr/>
          <p:nvPr/>
        </p:nvSpPr>
        <p:spPr bwMode="auto">
          <a:xfrm>
            <a:off x="10215189" y="5958961"/>
            <a:ext cx="1676755" cy="89619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797" tIns="44797" rIns="44797" bIns="44797" numCol="1" spcCol="0" rtlCol="0" fromWordArt="0" anchor="ctr" anchorCtr="0" forceAA="0" compatLnSpc="1">
            <a:prstTxWarp prst="textNoShape">
              <a:avLst/>
            </a:prstTxWarp>
            <a:noAutofit/>
          </a:bodyPr>
          <a:lstStyle/>
          <a:p>
            <a:pPr algn="ctr" defTabSz="895645" fontAlgn="base">
              <a:spcBef>
                <a:spcPct val="0"/>
              </a:spcBef>
              <a:spcAft>
                <a:spcPct val="0"/>
              </a:spcAft>
            </a:pPr>
            <a:endParaRPr lang="en-US" sz="2155" dirty="0">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a:xfrm>
            <a:off x="283522" y="283029"/>
            <a:ext cx="11144529" cy="747596"/>
          </a:xfrm>
        </p:spPr>
        <p:txBody>
          <a:bodyPr vert="horz" wrap="square" lIns="143349" tIns="89593" rIns="143349" bIns="89593" rtlCol="0" anchor="t">
            <a:noAutofit/>
          </a:bodyPr>
          <a:lstStyle/>
          <a:p>
            <a:r>
              <a:rPr lang="en-US" sz="5291" dirty="0"/>
              <a:t>Office 365 </a:t>
            </a:r>
            <a:r>
              <a:rPr lang="en-US" sz="5291" dirty="0" smtClean="0"/>
              <a:t>APIs </a:t>
            </a:r>
            <a:endParaRPr lang="en-US" sz="5291" dirty="0"/>
          </a:p>
        </p:txBody>
      </p:sp>
      <p:grpSp>
        <p:nvGrpSpPr>
          <p:cNvPr id="50" name="Group 49"/>
          <p:cNvGrpSpPr/>
          <p:nvPr/>
        </p:nvGrpSpPr>
        <p:grpSpPr>
          <a:xfrm>
            <a:off x="5658794" y="1177630"/>
            <a:ext cx="2790579" cy="5385795"/>
            <a:chOff x="5859729" y="1200150"/>
            <a:chExt cx="2310892" cy="5495222"/>
          </a:xfrm>
        </p:grpSpPr>
        <p:grpSp>
          <p:nvGrpSpPr>
            <p:cNvPr id="5" name="Group 4"/>
            <p:cNvGrpSpPr/>
            <p:nvPr/>
          </p:nvGrpSpPr>
          <p:grpSpPr>
            <a:xfrm>
              <a:off x="5859729" y="1200150"/>
              <a:ext cx="2310892" cy="5495222"/>
              <a:chOff x="5859729" y="1200150"/>
              <a:chExt cx="2310892" cy="5495222"/>
            </a:xfrm>
          </p:grpSpPr>
          <p:sp>
            <p:nvSpPr>
              <p:cNvPr id="13" name="Freeform 12"/>
              <p:cNvSpPr/>
              <p:nvPr/>
            </p:nvSpPr>
            <p:spPr>
              <a:xfrm>
                <a:off x="5859729" y="1200150"/>
                <a:ext cx="2310892" cy="5495222"/>
              </a:xfrm>
              <a:custGeom>
                <a:avLst/>
                <a:gdLst>
                  <a:gd name="connsiteX0" fmla="*/ 0 w 2574199"/>
                  <a:gd name="connsiteY0" fmla="*/ 0 h 5448054"/>
                  <a:gd name="connsiteX1" fmla="*/ 2574199 w 2574199"/>
                  <a:gd name="connsiteY1" fmla="*/ 0 h 5448054"/>
                  <a:gd name="connsiteX2" fmla="*/ 2574199 w 2574199"/>
                  <a:gd name="connsiteY2" fmla="*/ 5448054 h 5448054"/>
                  <a:gd name="connsiteX3" fmla="*/ 0 w 2574199"/>
                  <a:gd name="connsiteY3" fmla="*/ 5448054 h 5448054"/>
                  <a:gd name="connsiteX4" fmla="*/ 0 w 2574199"/>
                  <a:gd name="connsiteY4" fmla="*/ 0 h 54480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4199" h="5448054">
                    <a:moveTo>
                      <a:pt x="0" y="0"/>
                    </a:moveTo>
                    <a:lnTo>
                      <a:pt x="2574199" y="0"/>
                    </a:lnTo>
                    <a:lnTo>
                      <a:pt x="2574199" y="5448054"/>
                    </a:lnTo>
                    <a:lnTo>
                      <a:pt x="0" y="5448054"/>
                    </a:lnTo>
                    <a:lnTo>
                      <a:pt x="0" y="0"/>
                    </a:lnTo>
                    <a:close/>
                  </a:path>
                </a:pathLst>
              </a:custGeom>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2807" tIns="146246" rIns="182807" bIns="146246" numCol="1" spcCol="1270" anchor="t" anchorCtr="0">
                <a:noAutofit/>
              </a:bodyPr>
              <a:lstStyle/>
              <a:p>
                <a:pPr defTabSz="1480789">
                  <a:lnSpc>
                    <a:spcPct val="90000"/>
                  </a:lnSpc>
                  <a:spcBef>
                    <a:spcPct val="0"/>
                  </a:spcBef>
                  <a:spcAft>
                    <a:spcPct val="35000"/>
                  </a:spcAft>
                </a:pPr>
                <a:r>
                  <a:rPr lang="en-US" sz="2940" dirty="0">
                    <a:gradFill>
                      <a:gsLst>
                        <a:gs pos="0">
                          <a:schemeClr val="bg1"/>
                        </a:gs>
                        <a:gs pos="53000">
                          <a:schemeClr val="bg1"/>
                        </a:gs>
                      </a:gsLst>
                      <a:lin ang="5400000" scaled="0"/>
                    </a:gradFill>
                  </a:rPr>
                  <a:t>SharePoint</a:t>
                </a:r>
              </a:p>
            </p:txBody>
          </p:sp>
          <p:sp>
            <p:nvSpPr>
              <p:cNvPr id="14" name="Freeform 13"/>
              <p:cNvSpPr/>
              <p:nvPr/>
            </p:nvSpPr>
            <p:spPr>
              <a:xfrm>
                <a:off x="5952989" y="1935601"/>
                <a:ext cx="2107834" cy="1954296"/>
              </a:xfrm>
              <a:custGeom>
                <a:avLst/>
                <a:gdLst>
                  <a:gd name="connsiteX0" fmla="*/ 0 w 2059359"/>
                  <a:gd name="connsiteY0" fmla="*/ 0 h 3541235"/>
                  <a:gd name="connsiteX1" fmla="*/ 2059359 w 2059359"/>
                  <a:gd name="connsiteY1" fmla="*/ 0 h 3541235"/>
                  <a:gd name="connsiteX2" fmla="*/ 2059359 w 2059359"/>
                  <a:gd name="connsiteY2" fmla="*/ 3541235 h 3541235"/>
                  <a:gd name="connsiteX3" fmla="*/ 0 w 2059359"/>
                  <a:gd name="connsiteY3" fmla="*/ 3541235 h 3541235"/>
                  <a:gd name="connsiteX4" fmla="*/ 0 w 2059359"/>
                  <a:gd name="connsiteY4" fmla="*/ 0 h 35412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9359" h="3541235">
                    <a:moveTo>
                      <a:pt x="0" y="0"/>
                    </a:moveTo>
                    <a:lnTo>
                      <a:pt x="2059359" y="0"/>
                    </a:lnTo>
                    <a:lnTo>
                      <a:pt x="2059359" y="3541235"/>
                    </a:lnTo>
                    <a:lnTo>
                      <a:pt x="0" y="3541235"/>
                    </a:lnTo>
                    <a:lnTo>
                      <a:pt x="0"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r>
                  <a:rPr lang="en-US" sz="1763" dirty="0">
                    <a:gradFill>
                      <a:gsLst>
                        <a:gs pos="1250">
                          <a:schemeClr val="tx1"/>
                        </a:gs>
                        <a:gs pos="100000">
                          <a:schemeClr val="tx1"/>
                        </a:gs>
                      </a:gsLst>
                      <a:lin ang="5400000" scaled="0"/>
                    </a:gradFill>
                  </a:rPr>
                  <a:t>Sites</a:t>
                </a:r>
              </a:p>
            </p:txBody>
          </p:sp>
        </p:grpSp>
        <p:sp>
          <p:nvSpPr>
            <p:cNvPr id="17" name="Freeform 14"/>
            <p:cNvSpPr>
              <a:spLocks noChangeAspect="1" noEditPoints="1"/>
            </p:cNvSpPr>
            <p:nvPr/>
          </p:nvSpPr>
          <p:spPr bwMode="black">
            <a:xfrm>
              <a:off x="6500331" y="2415947"/>
              <a:ext cx="1231404" cy="1231082"/>
            </a:xfrm>
            <a:custGeom>
              <a:avLst/>
              <a:gdLst>
                <a:gd name="T0" fmla="*/ 518 w 709"/>
                <a:gd name="T1" fmla="*/ 343 h 709"/>
                <a:gd name="T2" fmla="*/ 449 w 709"/>
                <a:gd name="T3" fmla="*/ 258 h 709"/>
                <a:gd name="T4" fmla="*/ 362 w 709"/>
                <a:gd name="T5" fmla="*/ 189 h 709"/>
                <a:gd name="T6" fmla="*/ 449 w 709"/>
                <a:gd name="T7" fmla="*/ 0 h 709"/>
                <a:gd name="T8" fmla="*/ 260 w 709"/>
                <a:gd name="T9" fmla="*/ 189 h 709"/>
                <a:gd name="T10" fmla="*/ 345 w 709"/>
                <a:gd name="T11" fmla="*/ 258 h 709"/>
                <a:gd name="T12" fmla="*/ 260 w 709"/>
                <a:gd name="T13" fmla="*/ 343 h 709"/>
                <a:gd name="T14" fmla="*/ 189 w 709"/>
                <a:gd name="T15" fmla="*/ 258 h 709"/>
                <a:gd name="T16" fmla="*/ 0 w 709"/>
                <a:gd name="T17" fmla="*/ 447 h 709"/>
                <a:gd name="T18" fmla="*/ 85 w 709"/>
                <a:gd name="T19" fmla="*/ 520 h 709"/>
                <a:gd name="T20" fmla="*/ 0 w 709"/>
                <a:gd name="T21" fmla="*/ 709 h 709"/>
                <a:gd name="T22" fmla="*/ 189 w 709"/>
                <a:gd name="T23" fmla="*/ 520 h 709"/>
                <a:gd name="T24" fmla="*/ 104 w 709"/>
                <a:gd name="T25" fmla="*/ 447 h 709"/>
                <a:gd name="T26" fmla="*/ 189 w 709"/>
                <a:gd name="T27" fmla="*/ 362 h 709"/>
                <a:gd name="T28" fmla="*/ 260 w 709"/>
                <a:gd name="T29" fmla="*/ 447 h 709"/>
                <a:gd name="T30" fmla="*/ 345 w 709"/>
                <a:gd name="T31" fmla="*/ 520 h 709"/>
                <a:gd name="T32" fmla="*/ 260 w 709"/>
                <a:gd name="T33" fmla="*/ 709 h 709"/>
                <a:gd name="T34" fmla="*/ 449 w 709"/>
                <a:gd name="T35" fmla="*/ 520 h 709"/>
                <a:gd name="T36" fmla="*/ 362 w 709"/>
                <a:gd name="T37" fmla="*/ 447 h 709"/>
                <a:gd name="T38" fmla="*/ 449 w 709"/>
                <a:gd name="T39" fmla="*/ 362 h 709"/>
                <a:gd name="T40" fmla="*/ 518 w 709"/>
                <a:gd name="T41" fmla="*/ 447 h 709"/>
                <a:gd name="T42" fmla="*/ 709 w 709"/>
                <a:gd name="T43" fmla="*/ 258 h 709"/>
                <a:gd name="T44" fmla="*/ 277 w 709"/>
                <a:gd name="T45" fmla="*/ 17 h 709"/>
                <a:gd name="T46" fmla="*/ 433 w 709"/>
                <a:gd name="T47" fmla="*/ 170 h 709"/>
                <a:gd name="T48" fmla="*/ 277 w 709"/>
                <a:gd name="T49" fmla="*/ 17 h 709"/>
                <a:gd name="T50" fmla="*/ 17 w 709"/>
                <a:gd name="T51" fmla="*/ 690 h 709"/>
                <a:gd name="T52" fmla="*/ 173 w 709"/>
                <a:gd name="T53" fmla="*/ 536 h 709"/>
                <a:gd name="T54" fmla="*/ 173 w 709"/>
                <a:gd name="T55" fmla="*/ 430 h 709"/>
                <a:gd name="T56" fmla="*/ 17 w 709"/>
                <a:gd name="T57" fmla="*/ 274 h 709"/>
                <a:gd name="T58" fmla="*/ 173 w 709"/>
                <a:gd name="T59" fmla="*/ 430 h 709"/>
                <a:gd name="T60" fmla="*/ 277 w 709"/>
                <a:gd name="T61" fmla="*/ 690 h 709"/>
                <a:gd name="T62" fmla="*/ 433 w 709"/>
                <a:gd name="T63" fmla="*/ 536 h 709"/>
                <a:gd name="T64" fmla="*/ 433 w 709"/>
                <a:gd name="T65" fmla="*/ 430 h 709"/>
                <a:gd name="T66" fmla="*/ 277 w 709"/>
                <a:gd name="T67" fmla="*/ 274 h 709"/>
                <a:gd name="T68" fmla="*/ 433 w 709"/>
                <a:gd name="T69" fmla="*/ 430 h 709"/>
                <a:gd name="T70" fmla="*/ 536 w 709"/>
                <a:gd name="T71" fmla="*/ 430 h 709"/>
                <a:gd name="T72" fmla="*/ 690 w 709"/>
                <a:gd name="T73" fmla="*/ 274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9" h="709">
                  <a:moveTo>
                    <a:pt x="518" y="258"/>
                  </a:moveTo>
                  <a:lnTo>
                    <a:pt x="518" y="343"/>
                  </a:lnTo>
                  <a:lnTo>
                    <a:pt x="449" y="343"/>
                  </a:lnTo>
                  <a:lnTo>
                    <a:pt x="449" y="258"/>
                  </a:lnTo>
                  <a:lnTo>
                    <a:pt x="362" y="258"/>
                  </a:lnTo>
                  <a:lnTo>
                    <a:pt x="362" y="189"/>
                  </a:lnTo>
                  <a:lnTo>
                    <a:pt x="449" y="189"/>
                  </a:lnTo>
                  <a:lnTo>
                    <a:pt x="449" y="0"/>
                  </a:lnTo>
                  <a:lnTo>
                    <a:pt x="260" y="0"/>
                  </a:lnTo>
                  <a:lnTo>
                    <a:pt x="260" y="189"/>
                  </a:lnTo>
                  <a:lnTo>
                    <a:pt x="345" y="189"/>
                  </a:lnTo>
                  <a:lnTo>
                    <a:pt x="345" y="258"/>
                  </a:lnTo>
                  <a:lnTo>
                    <a:pt x="260" y="258"/>
                  </a:lnTo>
                  <a:lnTo>
                    <a:pt x="260" y="343"/>
                  </a:lnTo>
                  <a:lnTo>
                    <a:pt x="189" y="343"/>
                  </a:lnTo>
                  <a:lnTo>
                    <a:pt x="189" y="258"/>
                  </a:lnTo>
                  <a:lnTo>
                    <a:pt x="0" y="258"/>
                  </a:lnTo>
                  <a:lnTo>
                    <a:pt x="0" y="447"/>
                  </a:lnTo>
                  <a:lnTo>
                    <a:pt x="85" y="447"/>
                  </a:lnTo>
                  <a:lnTo>
                    <a:pt x="85" y="520"/>
                  </a:lnTo>
                  <a:lnTo>
                    <a:pt x="0" y="520"/>
                  </a:lnTo>
                  <a:lnTo>
                    <a:pt x="0" y="709"/>
                  </a:lnTo>
                  <a:lnTo>
                    <a:pt x="189" y="709"/>
                  </a:lnTo>
                  <a:lnTo>
                    <a:pt x="189" y="520"/>
                  </a:lnTo>
                  <a:lnTo>
                    <a:pt x="104" y="520"/>
                  </a:lnTo>
                  <a:lnTo>
                    <a:pt x="104" y="447"/>
                  </a:lnTo>
                  <a:lnTo>
                    <a:pt x="189" y="447"/>
                  </a:lnTo>
                  <a:lnTo>
                    <a:pt x="189" y="362"/>
                  </a:lnTo>
                  <a:lnTo>
                    <a:pt x="260" y="362"/>
                  </a:lnTo>
                  <a:lnTo>
                    <a:pt x="260" y="447"/>
                  </a:lnTo>
                  <a:lnTo>
                    <a:pt x="345" y="447"/>
                  </a:lnTo>
                  <a:lnTo>
                    <a:pt x="345" y="520"/>
                  </a:lnTo>
                  <a:lnTo>
                    <a:pt x="260" y="520"/>
                  </a:lnTo>
                  <a:lnTo>
                    <a:pt x="260" y="709"/>
                  </a:lnTo>
                  <a:lnTo>
                    <a:pt x="449" y="709"/>
                  </a:lnTo>
                  <a:lnTo>
                    <a:pt x="449" y="520"/>
                  </a:lnTo>
                  <a:lnTo>
                    <a:pt x="362" y="520"/>
                  </a:lnTo>
                  <a:lnTo>
                    <a:pt x="362" y="447"/>
                  </a:lnTo>
                  <a:lnTo>
                    <a:pt x="449" y="447"/>
                  </a:lnTo>
                  <a:lnTo>
                    <a:pt x="449" y="362"/>
                  </a:lnTo>
                  <a:lnTo>
                    <a:pt x="518" y="362"/>
                  </a:lnTo>
                  <a:lnTo>
                    <a:pt x="518" y="447"/>
                  </a:lnTo>
                  <a:lnTo>
                    <a:pt x="709" y="447"/>
                  </a:lnTo>
                  <a:lnTo>
                    <a:pt x="709" y="258"/>
                  </a:lnTo>
                  <a:lnTo>
                    <a:pt x="518" y="258"/>
                  </a:lnTo>
                  <a:close/>
                  <a:moveTo>
                    <a:pt x="277" y="17"/>
                  </a:moveTo>
                  <a:lnTo>
                    <a:pt x="433" y="17"/>
                  </a:lnTo>
                  <a:lnTo>
                    <a:pt x="433" y="170"/>
                  </a:lnTo>
                  <a:lnTo>
                    <a:pt x="277" y="170"/>
                  </a:lnTo>
                  <a:lnTo>
                    <a:pt x="277" y="17"/>
                  </a:lnTo>
                  <a:close/>
                  <a:moveTo>
                    <a:pt x="173" y="690"/>
                  </a:moveTo>
                  <a:lnTo>
                    <a:pt x="17" y="690"/>
                  </a:lnTo>
                  <a:lnTo>
                    <a:pt x="17" y="536"/>
                  </a:lnTo>
                  <a:lnTo>
                    <a:pt x="173" y="536"/>
                  </a:lnTo>
                  <a:lnTo>
                    <a:pt x="173" y="690"/>
                  </a:lnTo>
                  <a:close/>
                  <a:moveTo>
                    <a:pt x="173" y="430"/>
                  </a:moveTo>
                  <a:lnTo>
                    <a:pt x="17" y="430"/>
                  </a:lnTo>
                  <a:lnTo>
                    <a:pt x="17" y="274"/>
                  </a:lnTo>
                  <a:lnTo>
                    <a:pt x="173" y="274"/>
                  </a:lnTo>
                  <a:lnTo>
                    <a:pt x="173" y="430"/>
                  </a:lnTo>
                  <a:close/>
                  <a:moveTo>
                    <a:pt x="433" y="690"/>
                  </a:moveTo>
                  <a:lnTo>
                    <a:pt x="277" y="690"/>
                  </a:lnTo>
                  <a:lnTo>
                    <a:pt x="277" y="536"/>
                  </a:lnTo>
                  <a:lnTo>
                    <a:pt x="433" y="536"/>
                  </a:lnTo>
                  <a:lnTo>
                    <a:pt x="433" y="690"/>
                  </a:lnTo>
                  <a:close/>
                  <a:moveTo>
                    <a:pt x="433" y="430"/>
                  </a:moveTo>
                  <a:lnTo>
                    <a:pt x="277" y="430"/>
                  </a:lnTo>
                  <a:lnTo>
                    <a:pt x="277" y="274"/>
                  </a:lnTo>
                  <a:lnTo>
                    <a:pt x="433" y="274"/>
                  </a:lnTo>
                  <a:lnTo>
                    <a:pt x="433" y="430"/>
                  </a:lnTo>
                  <a:close/>
                  <a:moveTo>
                    <a:pt x="690" y="430"/>
                  </a:moveTo>
                  <a:lnTo>
                    <a:pt x="536" y="430"/>
                  </a:lnTo>
                  <a:lnTo>
                    <a:pt x="536" y="274"/>
                  </a:lnTo>
                  <a:lnTo>
                    <a:pt x="690" y="274"/>
                  </a:lnTo>
                  <a:lnTo>
                    <a:pt x="690" y="430"/>
                  </a:lnTo>
                  <a:close/>
                </a:path>
              </a:pathLst>
            </a:custGeom>
            <a:solidFill>
              <a:schemeClr val="bg1"/>
            </a:solidFill>
            <a:ln>
              <a:noFill/>
            </a:ln>
          </p:spPr>
          <p:txBody>
            <a:bodyPr vert="horz" wrap="square" lIns="82271" tIns="41136" rIns="82271" bIns="41136" numCol="1" anchor="t" anchorCtr="0" compatLnSpc="1">
              <a:prstTxWarp prst="textNoShape">
                <a:avLst/>
              </a:prstTxWarp>
            </a:bodyPr>
            <a:lstStyle/>
            <a:p>
              <a:endParaRPr lang="en-US" sz="1567"/>
            </a:p>
          </p:txBody>
        </p:sp>
      </p:grpSp>
      <p:grpSp>
        <p:nvGrpSpPr>
          <p:cNvPr id="49" name="Group 48"/>
          <p:cNvGrpSpPr/>
          <p:nvPr/>
        </p:nvGrpSpPr>
        <p:grpSpPr>
          <a:xfrm>
            <a:off x="3026528" y="1177630"/>
            <a:ext cx="2543758" cy="5385795"/>
            <a:chOff x="3088020" y="1200149"/>
            <a:chExt cx="2595442" cy="5495222"/>
          </a:xfrm>
        </p:grpSpPr>
        <p:sp>
          <p:nvSpPr>
            <p:cNvPr id="9" name="Freeform 8"/>
            <p:cNvSpPr/>
            <p:nvPr/>
          </p:nvSpPr>
          <p:spPr>
            <a:xfrm>
              <a:off x="3088020" y="1200149"/>
              <a:ext cx="2595442" cy="5495222"/>
            </a:xfrm>
            <a:custGeom>
              <a:avLst/>
              <a:gdLst>
                <a:gd name="connsiteX0" fmla="*/ 0 w 2574199"/>
                <a:gd name="connsiteY0" fmla="*/ 0 h 5448054"/>
                <a:gd name="connsiteX1" fmla="*/ 2574199 w 2574199"/>
                <a:gd name="connsiteY1" fmla="*/ 0 h 5448054"/>
                <a:gd name="connsiteX2" fmla="*/ 2574199 w 2574199"/>
                <a:gd name="connsiteY2" fmla="*/ 5448054 h 5448054"/>
                <a:gd name="connsiteX3" fmla="*/ 0 w 2574199"/>
                <a:gd name="connsiteY3" fmla="*/ 5448054 h 5448054"/>
                <a:gd name="connsiteX4" fmla="*/ 0 w 2574199"/>
                <a:gd name="connsiteY4" fmla="*/ 0 h 54480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4199" h="5448054">
                  <a:moveTo>
                    <a:pt x="0" y="0"/>
                  </a:moveTo>
                  <a:lnTo>
                    <a:pt x="2574199" y="0"/>
                  </a:lnTo>
                  <a:lnTo>
                    <a:pt x="2574199" y="5448054"/>
                  </a:lnTo>
                  <a:lnTo>
                    <a:pt x="0" y="5448054"/>
                  </a:lnTo>
                  <a:lnTo>
                    <a:pt x="0" y="0"/>
                  </a:lnTo>
                  <a:close/>
                </a:path>
              </a:pathLst>
            </a:custGeom>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2807" tIns="146246" rIns="182807" bIns="146246" numCol="1" spcCol="1270" anchor="t" anchorCtr="0">
              <a:noAutofit/>
            </a:bodyPr>
            <a:lstStyle/>
            <a:p>
              <a:pPr defTabSz="1480789">
                <a:lnSpc>
                  <a:spcPct val="90000"/>
                </a:lnSpc>
                <a:spcBef>
                  <a:spcPct val="0"/>
                </a:spcBef>
                <a:spcAft>
                  <a:spcPct val="35000"/>
                </a:spcAft>
              </a:pPr>
              <a:r>
                <a:rPr lang="en-US" sz="2940" dirty="0">
                  <a:gradFill>
                    <a:gsLst>
                      <a:gs pos="0">
                        <a:schemeClr val="bg1"/>
                      </a:gs>
                      <a:gs pos="53000">
                        <a:schemeClr val="bg1"/>
                      </a:gs>
                    </a:gsLst>
                    <a:lin ang="5400000" scaled="0"/>
                  </a:gradFill>
                </a:rPr>
                <a:t>Exchange &amp; Outlook.com</a:t>
              </a:r>
            </a:p>
          </p:txBody>
        </p:sp>
        <p:sp>
          <p:nvSpPr>
            <p:cNvPr id="11" name="Freeform 10"/>
            <p:cNvSpPr/>
            <p:nvPr/>
          </p:nvSpPr>
          <p:spPr>
            <a:xfrm>
              <a:off x="3336707" y="4021667"/>
              <a:ext cx="2076353" cy="1106780"/>
            </a:xfrm>
            <a:custGeom>
              <a:avLst/>
              <a:gdLst>
                <a:gd name="connsiteX0" fmla="*/ 0 w 2059359"/>
                <a:gd name="connsiteY0" fmla="*/ 0 h 1070324"/>
                <a:gd name="connsiteX1" fmla="*/ 2059359 w 2059359"/>
                <a:gd name="connsiteY1" fmla="*/ 0 h 1070324"/>
                <a:gd name="connsiteX2" fmla="*/ 2059359 w 2059359"/>
                <a:gd name="connsiteY2" fmla="*/ 1070324 h 1070324"/>
                <a:gd name="connsiteX3" fmla="*/ 0 w 2059359"/>
                <a:gd name="connsiteY3" fmla="*/ 1070324 h 1070324"/>
                <a:gd name="connsiteX4" fmla="*/ 0 w 2059359"/>
                <a:gd name="connsiteY4" fmla="*/ 0 h 10703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9359" h="1070324">
                  <a:moveTo>
                    <a:pt x="0" y="0"/>
                  </a:moveTo>
                  <a:lnTo>
                    <a:pt x="2059359" y="0"/>
                  </a:lnTo>
                  <a:lnTo>
                    <a:pt x="2059359" y="1070324"/>
                  </a:lnTo>
                  <a:lnTo>
                    <a:pt x="0" y="1070324"/>
                  </a:lnTo>
                  <a:lnTo>
                    <a:pt x="0"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r>
                <a:rPr lang="en-US" sz="1763" dirty="0">
                  <a:gradFill>
                    <a:gsLst>
                      <a:gs pos="1250">
                        <a:schemeClr val="tx1"/>
                      </a:gs>
                      <a:gs pos="100000">
                        <a:schemeClr val="tx1"/>
                      </a:gs>
                    </a:gsLst>
                    <a:lin ang="5400000" scaled="0"/>
                  </a:gradFill>
                </a:rPr>
                <a:t>Calendar</a:t>
              </a:r>
            </a:p>
          </p:txBody>
        </p:sp>
        <p:sp>
          <p:nvSpPr>
            <p:cNvPr id="12" name="Freeform 11"/>
            <p:cNvSpPr/>
            <p:nvPr/>
          </p:nvSpPr>
          <p:spPr>
            <a:xfrm>
              <a:off x="3336707" y="5206486"/>
              <a:ext cx="2076353" cy="1106780"/>
            </a:xfrm>
            <a:custGeom>
              <a:avLst/>
              <a:gdLst>
                <a:gd name="connsiteX0" fmla="*/ 0 w 2059359"/>
                <a:gd name="connsiteY0" fmla="*/ 0 h 1070324"/>
                <a:gd name="connsiteX1" fmla="*/ 2059359 w 2059359"/>
                <a:gd name="connsiteY1" fmla="*/ 0 h 1070324"/>
                <a:gd name="connsiteX2" fmla="*/ 2059359 w 2059359"/>
                <a:gd name="connsiteY2" fmla="*/ 1070324 h 1070324"/>
                <a:gd name="connsiteX3" fmla="*/ 0 w 2059359"/>
                <a:gd name="connsiteY3" fmla="*/ 1070324 h 1070324"/>
                <a:gd name="connsiteX4" fmla="*/ 0 w 2059359"/>
                <a:gd name="connsiteY4" fmla="*/ 0 h 10703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9359" h="1070324">
                  <a:moveTo>
                    <a:pt x="0" y="0"/>
                  </a:moveTo>
                  <a:lnTo>
                    <a:pt x="2059359" y="0"/>
                  </a:lnTo>
                  <a:lnTo>
                    <a:pt x="2059359" y="1070324"/>
                  </a:lnTo>
                  <a:lnTo>
                    <a:pt x="0" y="1070324"/>
                  </a:lnTo>
                  <a:lnTo>
                    <a:pt x="0"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r>
                <a:rPr lang="en-US" sz="1763" dirty="0">
                  <a:gradFill>
                    <a:gsLst>
                      <a:gs pos="1250">
                        <a:schemeClr val="tx1"/>
                      </a:gs>
                      <a:gs pos="100000">
                        <a:schemeClr val="tx1"/>
                      </a:gs>
                    </a:gsLst>
                    <a:lin ang="5400000" scaled="0"/>
                  </a:gradFill>
                </a:rPr>
                <a:t>Contacts</a:t>
              </a:r>
            </a:p>
          </p:txBody>
        </p:sp>
        <p:grpSp>
          <p:nvGrpSpPr>
            <p:cNvPr id="45" name="Group 44"/>
            <p:cNvGrpSpPr/>
            <p:nvPr/>
          </p:nvGrpSpPr>
          <p:grpSpPr>
            <a:xfrm>
              <a:off x="3336707" y="2842193"/>
              <a:ext cx="2076353" cy="1106780"/>
              <a:chOff x="3301946" y="3131494"/>
              <a:chExt cx="2059359" cy="1097280"/>
            </a:xfrm>
          </p:grpSpPr>
          <p:sp>
            <p:nvSpPr>
              <p:cNvPr id="10" name="Freeform 9"/>
              <p:cNvSpPr/>
              <p:nvPr/>
            </p:nvSpPr>
            <p:spPr>
              <a:xfrm>
                <a:off x="3301946" y="3131494"/>
                <a:ext cx="2059359" cy="1097280"/>
              </a:xfrm>
              <a:custGeom>
                <a:avLst/>
                <a:gdLst>
                  <a:gd name="connsiteX0" fmla="*/ 0 w 2059359"/>
                  <a:gd name="connsiteY0" fmla="*/ 0 h 1070324"/>
                  <a:gd name="connsiteX1" fmla="*/ 2059359 w 2059359"/>
                  <a:gd name="connsiteY1" fmla="*/ 0 h 1070324"/>
                  <a:gd name="connsiteX2" fmla="*/ 2059359 w 2059359"/>
                  <a:gd name="connsiteY2" fmla="*/ 1070324 h 1070324"/>
                  <a:gd name="connsiteX3" fmla="*/ 0 w 2059359"/>
                  <a:gd name="connsiteY3" fmla="*/ 1070324 h 1070324"/>
                  <a:gd name="connsiteX4" fmla="*/ 0 w 2059359"/>
                  <a:gd name="connsiteY4" fmla="*/ 0 h 10703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9359" h="1070324">
                    <a:moveTo>
                      <a:pt x="0" y="0"/>
                    </a:moveTo>
                    <a:lnTo>
                      <a:pt x="2059359" y="0"/>
                    </a:lnTo>
                    <a:lnTo>
                      <a:pt x="2059359" y="1070324"/>
                    </a:lnTo>
                    <a:lnTo>
                      <a:pt x="0" y="1070324"/>
                    </a:lnTo>
                    <a:lnTo>
                      <a:pt x="0"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r>
                  <a:rPr lang="en-US" sz="1763" dirty="0">
                    <a:gradFill>
                      <a:gsLst>
                        <a:gs pos="1250">
                          <a:schemeClr val="tx1"/>
                        </a:gs>
                        <a:gs pos="100000">
                          <a:schemeClr val="tx1"/>
                        </a:gs>
                      </a:gsLst>
                      <a:lin ang="5400000" scaled="0"/>
                    </a:gradFill>
                  </a:rPr>
                  <a:t>Mail</a:t>
                </a:r>
              </a:p>
            </p:txBody>
          </p:sp>
          <p:sp>
            <p:nvSpPr>
              <p:cNvPr id="18" name="Freeform 25"/>
              <p:cNvSpPr>
                <a:spLocks noEditPoints="1"/>
              </p:cNvSpPr>
              <p:nvPr/>
            </p:nvSpPr>
            <p:spPr bwMode="auto">
              <a:xfrm>
                <a:off x="4052653" y="3751883"/>
                <a:ext cx="557945" cy="334337"/>
              </a:xfrm>
              <a:custGeom>
                <a:avLst/>
                <a:gdLst>
                  <a:gd name="T0" fmla="*/ 220 w 220"/>
                  <a:gd name="T1" fmla="*/ 21 h 132"/>
                  <a:gd name="T2" fmla="*/ 220 w 220"/>
                  <a:gd name="T3" fmla="*/ 123 h 132"/>
                  <a:gd name="T4" fmla="*/ 220 w 220"/>
                  <a:gd name="T5" fmla="*/ 125 h 132"/>
                  <a:gd name="T6" fmla="*/ 143 w 220"/>
                  <a:gd name="T7" fmla="*/ 67 h 132"/>
                  <a:gd name="T8" fmla="*/ 220 w 220"/>
                  <a:gd name="T9" fmla="*/ 21 h 132"/>
                  <a:gd name="T10" fmla="*/ 110 w 220"/>
                  <a:gd name="T11" fmla="*/ 79 h 132"/>
                  <a:gd name="T12" fmla="*/ 220 w 220"/>
                  <a:gd name="T13" fmla="*/ 14 h 132"/>
                  <a:gd name="T14" fmla="*/ 220 w 220"/>
                  <a:gd name="T15" fmla="*/ 8 h 132"/>
                  <a:gd name="T16" fmla="*/ 211 w 220"/>
                  <a:gd name="T17" fmla="*/ 0 h 132"/>
                  <a:gd name="T18" fmla="*/ 8 w 220"/>
                  <a:gd name="T19" fmla="*/ 0 h 132"/>
                  <a:gd name="T20" fmla="*/ 0 w 220"/>
                  <a:gd name="T21" fmla="*/ 8 h 132"/>
                  <a:gd name="T22" fmla="*/ 0 w 220"/>
                  <a:gd name="T23" fmla="*/ 15 h 132"/>
                  <a:gd name="T24" fmla="*/ 110 w 220"/>
                  <a:gd name="T25" fmla="*/ 79 h 132"/>
                  <a:gd name="T26" fmla="*/ 137 w 220"/>
                  <a:gd name="T27" fmla="*/ 70 h 132"/>
                  <a:gd name="T28" fmla="*/ 110 w 220"/>
                  <a:gd name="T29" fmla="*/ 86 h 132"/>
                  <a:gd name="T30" fmla="*/ 83 w 220"/>
                  <a:gd name="T31" fmla="*/ 70 h 132"/>
                  <a:gd name="T32" fmla="*/ 4 w 220"/>
                  <a:gd name="T33" fmla="*/ 130 h 132"/>
                  <a:gd name="T34" fmla="*/ 8 w 220"/>
                  <a:gd name="T35" fmla="*/ 132 h 132"/>
                  <a:gd name="T36" fmla="*/ 211 w 220"/>
                  <a:gd name="T37" fmla="*/ 132 h 132"/>
                  <a:gd name="T38" fmla="*/ 217 w 220"/>
                  <a:gd name="T39" fmla="*/ 130 h 132"/>
                  <a:gd name="T40" fmla="*/ 137 w 220"/>
                  <a:gd name="T41" fmla="*/ 70 h 132"/>
                  <a:gd name="T42" fmla="*/ 0 w 220"/>
                  <a:gd name="T43" fmla="*/ 22 h 132"/>
                  <a:gd name="T44" fmla="*/ 0 w 220"/>
                  <a:gd name="T45" fmla="*/ 123 h 132"/>
                  <a:gd name="T46" fmla="*/ 0 w 220"/>
                  <a:gd name="T47" fmla="*/ 125 h 132"/>
                  <a:gd name="T48" fmla="*/ 77 w 220"/>
                  <a:gd name="T49" fmla="*/ 67 h 132"/>
                  <a:gd name="T50" fmla="*/ 0 w 220"/>
                  <a:gd name="T51" fmla="*/ 2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0" h="132">
                    <a:moveTo>
                      <a:pt x="220" y="21"/>
                    </a:moveTo>
                    <a:cubicBezTo>
                      <a:pt x="220" y="123"/>
                      <a:pt x="220" y="123"/>
                      <a:pt x="220" y="123"/>
                    </a:cubicBezTo>
                    <a:cubicBezTo>
                      <a:pt x="220" y="124"/>
                      <a:pt x="220" y="124"/>
                      <a:pt x="220" y="125"/>
                    </a:cubicBezTo>
                    <a:cubicBezTo>
                      <a:pt x="143" y="67"/>
                      <a:pt x="143" y="67"/>
                      <a:pt x="143" y="67"/>
                    </a:cubicBezTo>
                    <a:lnTo>
                      <a:pt x="220" y="21"/>
                    </a:lnTo>
                    <a:close/>
                    <a:moveTo>
                      <a:pt x="110" y="79"/>
                    </a:moveTo>
                    <a:cubicBezTo>
                      <a:pt x="220" y="14"/>
                      <a:pt x="220" y="14"/>
                      <a:pt x="220" y="14"/>
                    </a:cubicBezTo>
                    <a:cubicBezTo>
                      <a:pt x="220" y="8"/>
                      <a:pt x="220" y="8"/>
                      <a:pt x="220" y="8"/>
                    </a:cubicBezTo>
                    <a:cubicBezTo>
                      <a:pt x="220" y="4"/>
                      <a:pt x="216" y="0"/>
                      <a:pt x="211" y="0"/>
                    </a:cubicBezTo>
                    <a:cubicBezTo>
                      <a:pt x="8" y="0"/>
                      <a:pt x="8" y="0"/>
                      <a:pt x="8" y="0"/>
                    </a:cubicBezTo>
                    <a:cubicBezTo>
                      <a:pt x="4" y="0"/>
                      <a:pt x="0" y="4"/>
                      <a:pt x="0" y="8"/>
                    </a:cubicBezTo>
                    <a:cubicBezTo>
                      <a:pt x="0" y="15"/>
                      <a:pt x="0" y="15"/>
                      <a:pt x="0" y="15"/>
                    </a:cubicBezTo>
                    <a:lnTo>
                      <a:pt x="110" y="79"/>
                    </a:lnTo>
                    <a:close/>
                    <a:moveTo>
                      <a:pt x="137" y="70"/>
                    </a:moveTo>
                    <a:cubicBezTo>
                      <a:pt x="110" y="86"/>
                      <a:pt x="110" y="86"/>
                      <a:pt x="110" y="86"/>
                    </a:cubicBezTo>
                    <a:cubicBezTo>
                      <a:pt x="83" y="70"/>
                      <a:pt x="83" y="70"/>
                      <a:pt x="83" y="70"/>
                    </a:cubicBezTo>
                    <a:cubicBezTo>
                      <a:pt x="4" y="130"/>
                      <a:pt x="4" y="130"/>
                      <a:pt x="4" y="130"/>
                    </a:cubicBezTo>
                    <a:cubicBezTo>
                      <a:pt x="5" y="131"/>
                      <a:pt x="7" y="132"/>
                      <a:pt x="8" y="132"/>
                    </a:cubicBezTo>
                    <a:cubicBezTo>
                      <a:pt x="211" y="132"/>
                      <a:pt x="211" y="132"/>
                      <a:pt x="211" y="132"/>
                    </a:cubicBezTo>
                    <a:cubicBezTo>
                      <a:pt x="213" y="132"/>
                      <a:pt x="215" y="131"/>
                      <a:pt x="217" y="130"/>
                    </a:cubicBezTo>
                    <a:lnTo>
                      <a:pt x="137" y="70"/>
                    </a:lnTo>
                    <a:close/>
                    <a:moveTo>
                      <a:pt x="0" y="22"/>
                    </a:moveTo>
                    <a:cubicBezTo>
                      <a:pt x="0" y="123"/>
                      <a:pt x="0" y="123"/>
                      <a:pt x="0" y="123"/>
                    </a:cubicBezTo>
                    <a:cubicBezTo>
                      <a:pt x="0" y="124"/>
                      <a:pt x="0" y="125"/>
                      <a:pt x="0" y="125"/>
                    </a:cubicBezTo>
                    <a:cubicBezTo>
                      <a:pt x="77" y="67"/>
                      <a:pt x="77" y="67"/>
                      <a:pt x="77" y="67"/>
                    </a:cubicBezTo>
                    <a:lnTo>
                      <a:pt x="0" y="22"/>
                    </a:lnTo>
                    <a:close/>
                  </a:path>
                </a:pathLst>
              </a:custGeom>
              <a:solidFill>
                <a:schemeClr val="bg1"/>
              </a:solidFill>
              <a:ln>
                <a:noFill/>
              </a:ln>
              <a:extLst/>
            </p:spPr>
            <p:txBody>
              <a:bodyPr vert="horz" wrap="square" lIns="91403" tIns="45701" rIns="91403" bIns="45701" numCol="1" anchor="t" anchorCtr="0" compatLnSpc="1">
                <a:prstTxWarp prst="textNoShape">
                  <a:avLst/>
                </a:prstTxWarp>
              </a:bodyPr>
              <a:lstStyle/>
              <a:p>
                <a:pPr defTabSz="895728"/>
                <a:endParaRPr lang="en-US" sz="1665">
                  <a:solidFill>
                    <a:srgbClr val="000000"/>
                  </a:solidFill>
                </a:endParaRPr>
              </a:p>
            </p:txBody>
          </p:sp>
        </p:grpSp>
        <p:grpSp>
          <p:nvGrpSpPr>
            <p:cNvPr id="19" name="Group 46"/>
            <p:cNvGrpSpPr>
              <a:grpSpLocks noChangeAspect="1"/>
            </p:cNvGrpSpPr>
            <p:nvPr/>
          </p:nvGrpSpPr>
          <p:grpSpPr bwMode="auto">
            <a:xfrm>
              <a:off x="4105124" y="4639145"/>
              <a:ext cx="389719" cy="452698"/>
              <a:chOff x="16287" y="-405"/>
              <a:chExt cx="813" cy="944"/>
            </a:xfrm>
            <a:solidFill>
              <a:schemeClr val="bg1"/>
            </a:solidFill>
          </p:grpSpPr>
          <p:sp>
            <p:nvSpPr>
              <p:cNvPr id="20" name="Freeform 47"/>
              <p:cNvSpPr>
                <a:spLocks noEditPoints="1"/>
              </p:cNvSpPr>
              <p:nvPr/>
            </p:nvSpPr>
            <p:spPr bwMode="auto">
              <a:xfrm>
                <a:off x="16287" y="-89"/>
                <a:ext cx="813" cy="628"/>
              </a:xfrm>
              <a:custGeom>
                <a:avLst/>
                <a:gdLst>
                  <a:gd name="T0" fmla="*/ 0 w 344"/>
                  <a:gd name="T1" fmla="*/ 237 h 266"/>
                  <a:gd name="T2" fmla="*/ 320 w 344"/>
                  <a:gd name="T3" fmla="*/ 266 h 266"/>
                  <a:gd name="T4" fmla="*/ 344 w 344"/>
                  <a:gd name="T5" fmla="*/ 0 h 266"/>
                  <a:gd name="T6" fmla="*/ 84 w 344"/>
                  <a:gd name="T7" fmla="*/ 242 h 266"/>
                  <a:gd name="T8" fmla="*/ 22 w 344"/>
                  <a:gd name="T9" fmla="*/ 180 h 266"/>
                  <a:gd name="T10" fmla="*/ 84 w 344"/>
                  <a:gd name="T11" fmla="*/ 242 h 266"/>
                  <a:gd name="T12" fmla="*/ 22 w 344"/>
                  <a:gd name="T13" fmla="*/ 164 h 266"/>
                  <a:gd name="T14" fmla="*/ 84 w 344"/>
                  <a:gd name="T15" fmla="*/ 101 h 266"/>
                  <a:gd name="T16" fmla="*/ 84 w 344"/>
                  <a:gd name="T17" fmla="*/ 86 h 266"/>
                  <a:gd name="T18" fmla="*/ 22 w 344"/>
                  <a:gd name="T19" fmla="*/ 23 h 266"/>
                  <a:gd name="T20" fmla="*/ 84 w 344"/>
                  <a:gd name="T21" fmla="*/ 86 h 266"/>
                  <a:gd name="T22" fmla="*/ 100 w 344"/>
                  <a:gd name="T23" fmla="*/ 242 h 266"/>
                  <a:gd name="T24" fmla="*/ 163 w 344"/>
                  <a:gd name="T25" fmla="*/ 180 h 266"/>
                  <a:gd name="T26" fmla="*/ 163 w 344"/>
                  <a:gd name="T27" fmla="*/ 164 h 266"/>
                  <a:gd name="T28" fmla="*/ 100 w 344"/>
                  <a:gd name="T29" fmla="*/ 101 h 266"/>
                  <a:gd name="T30" fmla="*/ 163 w 344"/>
                  <a:gd name="T31" fmla="*/ 164 h 266"/>
                  <a:gd name="T32" fmla="*/ 100 w 344"/>
                  <a:gd name="T33" fmla="*/ 86 h 266"/>
                  <a:gd name="T34" fmla="*/ 163 w 344"/>
                  <a:gd name="T35" fmla="*/ 23 h 266"/>
                  <a:gd name="T36" fmla="*/ 241 w 344"/>
                  <a:gd name="T37" fmla="*/ 242 h 266"/>
                  <a:gd name="T38" fmla="*/ 179 w 344"/>
                  <a:gd name="T39" fmla="*/ 180 h 266"/>
                  <a:gd name="T40" fmla="*/ 241 w 344"/>
                  <a:gd name="T41" fmla="*/ 242 h 266"/>
                  <a:gd name="T42" fmla="*/ 179 w 344"/>
                  <a:gd name="T43" fmla="*/ 164 h 266"/>
                  <a:gd name="T44" fmla="*/ 241 w 344"/>
                  <a:gd name="T45" fmla="*/ 101 h 266"/>
                  <a:gd name="T46" fmla="*/ 241 w 344"/>
                  <a:gd name="T47" fmla="*/ 86 h 266"/>
                  <a:gd name="T48" fmla="*/ 179 w 344"/>
                  <a:gd name="T49" fmla="*/ 23 h 266"/>
                  <a:gd name="T50" fmla="*/ 241 w 344"/>
                  <a:gd name="T51" fmla="*/ 86 h 266"/>
                  <a:gd name="T52" fmla="*/ 257 w 344"/>
                  <a:gd name="T53" fmla="*/ 242 h 266"/>
                  <a:gd name="T54" fmla="*/ 320 w 344"/>
                  <a:gd name="T55" fmla="*/ 180 h 266"/>
                  <a:gd name="T56" fmla="*/ 320 w 344"/>
                  <a:gd name="T57" fmla="*/ 164 h 266"/>
                  <a:gd name="T58" fmla="*/ 257 w 344"/>
                  <a:gd name="T59" fmla="*/ 101 h 266"/>
                  <a:gd name="T60" fmla="*/ 320 w 344"/>
                  <a:gd name="T61" fmla="*/ 164 h 266"/>
                  <a:gd name="T62" fmla="*/ 257 w 344"/>
                  <a:gd name="T63" fmla="*/ 86 h 266"/>
                  <a:gd name="T64" fmla="*/ 320 w 344"/>
                  <a:gd name="T65" fmla="*/ 23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4" h="266">
                    <a:moveTo>
                      <a:pt x="0" y="0"/>
                    </a:moveTo>
                    <a:cubicBezTo>
                      <a:pt x="0" y="237"/>
                      <a:pt x="0" y="237"/>
                      <a:pt x="0" y="237"/>
                    </a:cubicBezTo>
                    <a:cubicBezTo>
                      <a:pt x="0" y="253"/>
                      <a:pt x="11" y="266"/>
                      <a:pt x="24" y="266"/>
                    </a:cubicBezTo>
                    <a:cubicBezTo>
                      <a:pt x="320" y="266"/>
                      <a:pt x="320" y="266"/>
                      <a:pt x="320" y="266"/>
                    </a:cubicBezTo>
                    <a:cubicBezTo>
                      <a:pt x="333" y="266"/>
                      <a:pt x="344" y="253"/>
                      <a:pt x="344" y="237"/>
                    </a:cubicBezTo>
                    <a:cubicBezTo>
                      <a:pt x="344" y="0"/>
                      <a:pt x="344" y="0"/>
                      <a:pt x="344" y="0"/>
                    </a:cubicBezTo>
                    <a:lnTo>
                      <a:pt x="0" y="0"/>
                    </a:lnTo>
                    <a:close/>
                    <a:moveTo>
                      <a:pt x="84" y="242"/>
                    </a:moveTo>
                    <a:cubicBezTo>
                      <a:pt x="22" y="242"/>
                      <a:pt x="22" y="242"/>
                      <a:pt x="22" y="242"/>
                    </a:cubicBezTo>
                    <a:cubicBezTo>
                      <a:pt x="22" y="180"/>
                      <a:pt x="22" y="180"/>
                      <a:pt x="22" y="180"/>
                    </a:cubicBezTo>
                    <a:cubicBezTo>
                      <a:pt x="84" y="180"/>
                      <a:pt x="84" y="180"/>
                      <a:pt x="84" y="180"/>
                    </a:cubicBezTo>
                    <a:lnTo>
                      <a:pt x="84" y="242"/>
                    </a:lnTo>
                    <a:close/>
                    <a:moveTo>
                      <a:pt x="84" y="164"/>
                    </a:moveTo>
                    <a:cubicBezTo>
                      <a:pt x="22" y="164"/>
                      <a:pt x="22" y="164"/>
                      <a:pt x="22" y="164"/>
                    </a:cubicBezTo>
                    <a:cubicBezTo>
                      <a:pt x="22" y="101"/>
                      <a:pt x="22" y="101"/>
                      <a:pt x="22" y="101"/>
                    </a:cubicBezTo>
                    <a:cubicBezTo>
                      <a:pt x="84" y="101"/>
                      <a:pt x="84" y="101"/>
                      <a:pt x="84" y="101"/>
                    </a:cubicBezTo>
                    <a:lnTo>
                      <a:pt x="84" y="164"/>
                    </a:lnTo>
                    <a:close/>
                    <a:moveTo>
                      <a:pt x="84" y="86"/>
                    </a:moveTo>
                    <a:cubicBezTo>
                      <a:pt x="22" y="86"/>
                      <a:pt x="22" y="86"/>
                      <a:pt x="22" y="86"/>
                    </a:cubicBezTo>
                    <a:cubicBezTo>
                      <a:pt x="22" y="23"/>
                      <a:pt x="22" y="23"/>
                      <a:pt x="22" y="23"/>
                    </a:cubicBezTo>
                    <a:cubicBezTo>
                      <a:pt x="84" y="23"/>
                      <a:pt x="84" y="23"/>
                      <a:pt x="84" y="23"/>
                    </a:cubicBezTo>
                    <a:lnTo>
                      <a:pt x="84" y="86"/>
                    </a:lnTo>
                    <a:close/>
                    <a:moveTo>
                      <a:pt x="163" y="242"/>
                    </a:moveTo>
                    <a:cubicBezTo>
                      <a:pt x="100" y="242"/>
                      <a:pt x="100" y="242"/>
                      <a:pt x="100" y="242"/>
                    </a:cubicBezTo>
                    <a:cubicBezTo>
                      <a:pt x="100" y="180"/>
                      <a:pt x="100" y="180"/>
                      <a:pt x="100" y="180"/>
                    </a:cubicBezTo>
                    <a:cubicBezTo>
                      <a:pt x="163" y="180"/>
                      <a:pt x="163" y="180"/>
                      <a:pt x="163" y="180"/>
                    </a:cubicBezTo>
                    <a:cubicBezTo>
                      <a:pt x="163" y="242"/>
                      <a:pt x="163" y="242"/>
                      <a:pt x="163" y="242"/>
                    </a:cubicBezTo>
                    <a:close/>
                    <a:moveTo>
                      <a:pt x="163" y="164"/>
                    </a:moveTo>
                    <a:cubicBezTo>
                      <a:pt x="100" y="164"/>
                      <a:pt x="100" y="164"/>
                      <a:pt x="100" y="164"/>
                    </a:cubicBezTo>
                    <a:cubicBezTo>
                      <a:pt x="100" y="101"/>
                      <a:pt x="100" y="101"/>
                      <a:pt x="100" y="101"/>
                    </a:cubicBezTo>
                    <a:cubicBezTo>
                      <a:pt x="163" y="101"/>
                      <a:pt x="163" y="101"/>
                      <a:pt x="163" y="101"/>
                    </a:cubicBezTo>
                    <a:cubicBezTo>
                      <a:pt x="163" y="164"/>
                      <a:pt x="163" y="164"/>
                      <a:pt x="163" y="164"/>
                    </a:cubicBezTo>
                    <a:close/>
                    <a:moveTo>
                      <a:pt x="163" y="86"/>
                    </a:moveTo>
                    <a:cubicBezTo>
                      <a:pt x="100" y="86"/>
                      <a:pt x="100" y="86"/>
                      <a:pt x="100" y="86"/>
                    </a:cubicBezTo>
                    <a:cubicBezTo>
                      <a:pt x="100" y="23"/>
                      <a:pt x="100" y="23"/>
                      <a:pt x="100" y="23"/>
                    </a:cubicBezTo>
                    <a:cubicBezTo>
                      <a:pt x="163" y="23"/>
                      <a:pt x="163" y="23"/>
                      <a:pt x="163" y="23"/>
                    </a:cubicBezTo>
                    <a:cubicBezTo>
                      <a:pt x="163" y="86"/>
                      <a:pt x="163" y="86"/>
                      <a:pt x="163" y="86"/>
                    </a:cubicBezTo>
                    <a:close/>
                    <a:moveTo>
                      <a:pt x="241" y="242"/>
                    </a:moveTo>
                    <a:cubicBezTo>
                      <a:pt x="179" y="242"/>
                      <a:pt x="179" y="242"/>
                      <a:pt x="179" y="242"/>
                    </a:cubicBezTo>
                    <a:cubicBezTo>
                      <a:pt x="179" y="180"/>
                      <a:pt x="179" y="180"/>
                      <a:pt x="179" y="180"/>
                    </a:cubicBezTo>
                    <a:cubicBezTo>
                      <a:pt x="241" y="180"/>
                      <a:pt x="241" y="180"/>
                      <a:pt x="241" y="180"/>
                    </a:cubicBezTo>
                    <a:lnTo>
                      <a:pt x="241" y="242"/>
                    </a:lnTo>
                    <a:close/>
                    <a:moveTo>
                      <a:pt x="241" y="164"/>
                    </a:moveTo>
                    <a:cubicBezTo>
                      <a:pt x="179" y="164"/>
                      <a:pt x="179" y="164"/>
                      <a:pt x="179" y="164"/>
                    </a:cubicBezTo>
                    <a:cubicBezTo>
                      <a:pt x="179" y="101"/>
                      <a:pt x="179" y="101"/>
                      <a:pt x="179" y="101"/>
                    </a:cubicBezTo>
                    <a:cubicBezTo>
                      <a:pt x="241" y="101"/>
                      <a:pt x="241" y="101"/>
                      <a:pt x="241" y="101"/>
                    </a:cubicBezTo>
                    <a:lnTo>
                      <a:pt x="241" y="164"/>
                    </a:lnTo>
                    <a:close/>
                    <a:moveTo>
                      <a:pt x="241" y="86"/>
                    </a:moveTo>
                    <a:cubicBezTo>
                      <a:pt x="179" y="86"/>
                      <a:pt x="179" y="86"/>
                      <a:pt x="179" y="86"/>
                    </a:cubicBezTo>
                    <a:cubicBezTo>
                      <a:pt x="179" y="23"/>
                      <a:pt x="179" y="23"/>
                      <a:pt x="179" y="23"/>
                    </a:cubicBezTo>
                    <a:cubicBezTo>
                      <a:pt x="241" y="23"/>
                      <a:pt x="241" y="23"/>
                      <a:pt x="241" y="23"/>
                    </a:cubicBezTo>
                    <a:lnTo>
                      <a:pt x="241" y="86"/>
                    </a:lnTo>
                    <a:close/>
                    <a:moveTo>
                      <a:pt x="320" y="242"/>
                    </a:moveTo>
                    <a:cubicBezTo>
                      <a:pt x="257" y="242"/>
                      <a:pt x="257" y="242"/>
                      <a:pt x="257" y="242"/>
                    </a:cubicBezTo>
                    <a:cubicBezTo>
                      <a:pt x="257" y="180"/>
                      <a:pt x="257" y="180"/>
                      <a:pt x="257" y="180"/>
                    </a:cubicBezTo>
                    <a:cubicBezTo>
                      <a:pt x="320" y="180"/>
                      <a:pt x="320" y="180"/>
                      <a:pt x="320" y="180"/>
                    </a:cubicBezTo>
                    <a:cubicBezTo>
                      <a:pt x="320" y="180"/>
                      <a:pt x="320" y="242"/>
                      <a:pt x="320" y="242"/>
                    </a:cubicBezTo>
                    <a:close/>
                    <a:moveTo>
                      <a:pt x="320" y="164"/>
                    </a:moveTo>
                    <a:cubicBezTo>
                      <a:pt x="257" y="164"/>
                      <a:pt x="257" y="164"/>
                      <a:pt x="257" y="164"/>
                    </a:cubicBezTo>
                    <a:cubicBezTo>
                      <a:pt x="257" y="101"/>
                      <a:pt x="257" y="101"/>
                      <a:pt x="257" y="101"/>
                    </a:cubicBezTo>
                    <a:cubicBezTo>
                      <a:pt x="320" y="101"/>
                      <a:pt x="320" y="101"/>
                      <a:pt x="320" y="101"/>
                    </a:cubicBezTo>
                    <a:cubicBezTo>
                      <a:pt x="320" y="101"/>
                      <a:pt x="320" y="164"/>
                      <a:pt x="320" y="164"/>
                    </a:cubicBezTo>
                    <a:close/>
                    <a:moveTo>
                      <a:pt x="320" y="86"/>
                    </a:moveTo>
                    <a:cubicBezTo>
                      <a:pt x="257" y="86"/>
                      <a:pt x="257" y="86"/>
                      <a:pt x="257" y="86"/>
                    </a:cubicBezTo>
                    <a:cubicBezTo>
                      <a:pt x="257" y="23"/>
                      <a:pt x="257" y="23"/>
                      <a:pt x="257" y="23"/>
                    </a:cubicBezTo>
                    <a:cubicBezTo>
                      <a:pt x="320" y="23"/>
                      <a:pt x="320" y="23"/>
                      <a:pt x="320" y="23"/>
                    </a:cubicBezTo>
                    <a:cubicBezTo>
                      <a:pt x="320" y="23"/>
                      <a:pt x="320" y="86"/>
                      <a:pt x="320" y="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5905"/>
                <a:endParaRPr lang="en-US" sz="1665">
                  <a:solidFill>
                    <a:srgbClr val="FFFFFF"/>
                  </a:solidFill>
                </a:endParaRPr>
              </a:p>
            </p:txBody>
          </p:sp>
          <p:sp>
            <p:nvSpPr>
              <p:cNvPr id="21" name="Freeform 48"/>
              <p:cNvSpPr>
                <a:spLocks noEditPoints="1"/>
              </p:cNvSpPr>
              <p:nvPr/>
            </p:nvSpPr>
            <p:spPr bwMode="auto">
              <a:xfrm>
                <a:off x="16287" y="-405"/>
                <a:ext cx="813" cy="288"/>
              </a:xfrm>
              <a:custGeom>
                <a:avLst/>
                <a:gdLst>
                  <a:gd name="T0" fmla="*/ 320 w 344"/>
                  <a:gd name="T1" fmla="*/ 51 h 122"/>
                  <a:gd name="T2" fmla="*/ 261 w 344"/>
                  <a:gd name="T3" fmla="*/ 51 h 122"/>
                  <a:gd name="T4" fmla="*/ 261 w 344"/>
                  <a:gd name="T5" fmla="*/ 15 h 122"/>
                  <a:gd name="T6" fmla="*/ 249 w 344"/>
                  <a:gd name="T7" fmla="*/ 0 h 122"/>
                  <a:gd name="T8" fmla="*/ 237 w 344"/>
                  <a:gd name="T9" fmla="*/ 15 h 122"/>
                  <a:gd name="T10" fmla="*/ 237 w 344"/>
                  <a:gd name="T11" fmla="*/ 51 h 122"/>
                  <a:gd name="T12" fmla="*/ 104 w 344"/>
                  <a:gd name="T13" fmla="*/ 51 h 122"/>
                  <a:gd name="T14" fmla="*/ 104 w 344"/>
                  <a:gd name="T15" fmla="*/ 15 h 122"/>
                  <a:gd name="T16" fmla="*/ 92 w 344"/>
                  <a:gd name="T17" fmla="*/ 0 h 122"/>
                  <a:gd name="T18" fmla="*/ 80 w 344"/>
                  <a:gd name="T19" fmla="*/ 15 h 122"/>
                  <a:gd name="T20" fmla="*/ 80 w 344"/>
                  <a:gd name="T21" fmla="*/ 51 h 122"/>
                  <a:gd name="T22" fmla="*/ 24 w 344"/>
                  <a:gd name="T23" fmla="*/ 51 h 122"/>
                  <a:gd name="T24" fmla="*/ 0 w 344"/>
                  <a:gd name="T25" fmla="*/ 80 h 122"/>
                  <a:gd name="T26" fmla="*/ 0 w 344"/>
                  <a:gd name="T27" fmla="*/ 122 h 122"/>
                  <a:gd name="T28" fmla="*/ 344 w 344"/>
                  <a:gd name="T29" fmla="*/ 122 h 122"/>
                  <a:gd name="T30" fmla="*/ 344 w 344"/>
                  <a:gd name="T31" fmla="*/ 80 h 122"/>
                  <a:gd name="T32" fmla="*/ 320 w 344"/>
                  <a:gd name="T33" fmla="*/ 51 h 122"/>
                  <a:gd name="T34" fmla="*/ 92 w 344"/>
                  <a:gd name="T35" fmla="*/ 106 h 122"/>
                  <a:gd name="T36" fmla="*/ 70 w 344"/>
                  <a:gd name="T37" fmla="*/ 83 h 122"/>
                  <a:gd name="T38" fmla="*/ 80 w 344"/>
                  <a:gd name="T39" fmla="*/ 64 h 122"/>
                  <a:gd name="T40" fmla="*/ 80 w 344"/>
                  <a:gd name="T41" fmla="*/ 75 h 122"/>
                  <a:gd name="T42" fmla="*/ 92 w 344"/>
                  <a:gd name="T43" fmla="*/ 90 h 122"/>
                  <a:gd name="T44" fmla="*/ 104 w 344"/>
                  <a:gd name="T45" fmla="*/ 75 h 122"/>
                  <a:gd name="T46" fmla="*/ 104 w 344"/>
                  <a:gd name="T47" fmla="*/ 64 h 122"/>
                  <a:gd name="T48" fmla="*/ 115 w 344"/>
                  <a:gd name="T49" fmla="*/ 83 h 122"/>
                  <a:gd name="T50" fmla="*/ 92 w 344"/>
                  <a:gd name="T51" fmla="*/ 106 h 122"/>
                  <a:gd name="T52" fmla="*/ 249 w 344"/>
                  <a:gd name="T53" fmla="*/ 106 h 122"/>
                  <a:gd name="T54" fmla="*/ 227 w 344"/>
                  <a:gd name="T55" fmla="*/ 83 h 122"/>
                  <a:gd name="T56" fmla="*/ 237 w 344"/>
                  <a:gd name="T57" fmla="*/ 64 h 122"/>
                  <a:gd name="T58" fmla="*/ 237 w 344"/>
                  <a:gd name="T59" fmla="*/ 75 h 122"/>
                  <a:gd name="T60" fmla="*/ 249 w 344"/>
                  <a:gd name="T61" fmla="*/ 90 h 122"/>
                  <a:gd name="T62" fmla="*/ 261 w 344"/>
                  <a:gd name="T63" fmla="*/ 75 h 122"/>
                  <a:gd name="T64" fmla="*/ 261 w 344"/>
                  <a:gd name="T65" fmla="*/ 64 h 122"/>
                  <a:gd name="T66" fmla="*/ 272 w 344"/>
                  <a:gd name="T67" fmla="*/ 83 h 122"/>
                  <a:gd name="T68" fmla="*/ 249 w 344"/>
                  <a:gd name="T69" fmla="*/ 106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122">
                    <a:moveTo>
                      <a:pt x="320" y="51"/>
                    </a:moveTo>
                    <a:cubicBezTo>
                      <a:pt x="261" y="51"/>
                      <a:pt x="261" y="51"/>
                      <a:pt x="261" y="51"/>
                    </a:cubicBezTo>
                    <a:cubicBezTo>
                      <a:pt x="261" y="15"/>
                      <a:pt x="261" y="15"/>
                      <a:pt x="261" y="15"/>
                    </a:cubicBezTo>
                    <a:cubicBezTo>
                      <a:pt x="261" y="7"/>
                      <a:pt x="256" y="0"/>
                      <a:pt x="249" y="0"/>
                    </a:cubicBezTo>
                    <a:cubicBezTo>
                      <a:pt x="242" y="0"/>
                      <a:pt x="237" y="7"/>
                      <a:pt x="237" y="15"/>
                    </a:cubicBezTo>
                    <a:cubicBezTo>
                      <a:pt x="237" y="51"/>
                      <a:pt x="237" y="51"/>
                      <a:pt x="237" y="51"/>
                    </a:cubicBezTo>
                    <a:cubicBezTo>
                      <a:pt x="104" y="51"/>
                      <a:pt x="104" y="51"/>
                      <a:pt x="104" y="51"/>
                    </a:cubicBezTo>
                    <a:cubicBezTo>
                      <a:pt x="104" y="15"/>
                      <a:pt x="104" y="15"/>
                      <a:pt x="104" y="15"/>
                    </a:cubicBezTo>
                    <a:cubicBezTo>
                      <a:pt x="104" y="7"/>
                      <a:pt x="99" y="0"/>
                      <a:pt x="92" y="0"/>
                    </a:cubicBezTo>
                    <a:cubicBezTo>
                      <a:pt x="85" y="0"/>
                      <a:pt x="80" y="7"/>
                      <a:pt x="80" y="15"/>
                    </a:cubicBezTo>
                    <a:cubicBezTo>
                      <a:pt x="80" y="51"/>
                      <a:pt x="80" y="51"/>
                      <a:pt x="80" y="51"/>
                    </a:cubicBezTo>
                    <a:cubicBezTo>
                      <a:pt x="24" y="51"/>
                      <a:pt x="24" y="51"/>
                      <a:pt x="24" y="51"/>
                    </a:cubicBezTo>
                    <a:cubicBezTo>
                      <a:pt x="11" y="51"/>
                      <a:pt x="0" y="64"/>
                      <a:pt x="0" y="80"/>
                    </a:cubicBezTo>
                    <a:cubicBezTo>
                      <a:pt x="0" y="122"/>
                      <a:pt x="0" y="122"/>
                      <a:pt x="0" y="122"/>
                    </a:cubicBezTo>
                    <a:cubicBezTo>
                      <a:pt x="344" y="122"/>
                      <a:pt x="344" y="122"/>
                      <a:pt x="344" y="122"/>
                    </a:cubicBezTo>
                    <a:cubicBezTo>
                      <a:pt x="344" y="80"/>
                      <a:pt x="344" y="80"/>
                      <a:pt x="344" y="80"/>
                    </a:cubicBezTo>
                    <a:cubicBezTo>
                      <a:pt x="344" y="64"/>
                      <a:pt x="333" y="51"/>
                      <a:pt x="320" y="51"/>
                    </a:cubicBezTo>
                    <a:close/>
                    <a:moveTo>
                      <a:pt x="92" y="106"/>
                    </a:moveTo>
                    <a:cubicBezTo>
                      <a:pt x="80" y="106"/>
                      <a:pt x="70" y="96"/>
                      <a:pt x="70" y="83"/>
                    </a:cubicBezTo>
                    <a:cubicBezTo>
                      <a:pt x="70" y="75"/>
                      <a:pt x="74" y="68"/>
                      <a:pt x="80" y="64"/>
                    </a:cubicBezTo>
                    <a:cubicBezTo>
                      <a:pt x="80" y="75"/>
                      <a:pt x="80" y="75"/>
                      <a:pt x="80" y="75"/>
                    </a:cubicBezTo>
                    <a:cubicBezTo>
                      <a:pt x="80" y="83"/>
                      <a:pt x="85" y="90"/>
                      <a:pt x="92" y="90"/>
                    </a:cubicBezTo>
                    <a:cubicBezTo>
                      <a:pt x="99" y="90"/>
                      <a:pt x="104" y="83"/>
                      <a:pt x="104" y="75"/>
                    </a:cubicBezTo>
                    <a:cubicBezTo>
                      <a:pt x="104" y="64"/>
                      <a:pt x="104" y="64"/>
                      <a:pt x="104" y="64"/>
                    </a:cubicBezTo>
                    <a:cubicBezTo>
                      <a:pt x="111" y="68"/>
                      <a:pt x="115" y="75"/>
                      <a:pt x="115" y="83"/>
                    </a:cubicBezTo>
                    <a:cubicBezTo>
                      <a:pt x="115" y="96"/>
                      <a:pt x="105" y="106"/>
                      <a:pt x="92" y="106"/>
                    </a:cubicBezTo>
                    <a:close/>
                    <a:moveTo>
                      <a:pt x="249" y="106"/>
                    </a:moveTo>
                    <a:cubicBezTo>
                      <a:pt x="237" y="106"/>
                      <a:pt x="227" y="96"/>
                      <a:pt x="227" y="83"/>
                    </a:cubicBezTo>
                    <a:cubicBezTo>
                      <a:pt x="227" y="75"/>
                      <a:pt x="231" y="68"/>
                      <a:pt x="237" y="64"/>
                    </a:cubicBezTo>
                    <a:cubicBezTo>
                      <a:pt x="237" y="75"/>
                      <a:pt x="237" y="75"/>
                      <a:pt x="237" y="75"/>
                    </a:cubicBezTo>
                    <a:cubicBezTo>
                      <a:pt x="237" y="83"/>
                      <a:pt x="242" y="90"/>
                      <a:pt x="249" y="90"/>
                    </a:cubicBezTo>
                    <a:cubicBezTo>
                      <a:pt x="256" y="90"/>
                      <a:pt x="261" y="83"/>
                      <a:pt x="261" y="75"/>
                    </a:cubicBezTo>
                    <a:cubicBezTo>
                      <a:pt x="261" y="64"/>
                      <a:pt x="261" y="64"/>
                      <a:pt x="261" y="64"/>
                    </a:cubicBezTo>
                    <a:cubicBezTo>
                      <a:pt x="268" y="68"/>
                      <a:pt x="272" y="75"/>
                      <a:pt x="272" y="83"/>
                    </a:cubicBezTo>
                    <a:cubicBezTo>
                      <a:pt x="272" y="96"/>
                      <a:pt x="262" y="106"/>
                      <a:pt x="249" y="1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5905"/>
                <a:endParaRPr lang="en-US" sz="1665">
                  <a:solidFill>
                    <a:srgbClr val="FFFFFF"/>
                  </a:solidFill>
                </a:endParaRPr>
              </a:p>
            </p:txBody>
          </p:sp>
        </p:grpSp>
        <p:sp>
          <p:nvSpPr>
            <p:cNvPr id="22" name="Freeform 625"/>
            <p:cNvSpPr>
              <a:spLocks noChangeAspect="1"/>
            </p:cNvSpPr>
            <p:nvPr/>
          </p:nvSpPr>
          <p:spPr bwMode="auto">
            <a:xfrm>
              <a:off x="4056716" y="5697381"/>
              <a:ext cx="592457" cy="452815"/>
            </a:xfrm>
            <a:custGeom>
              <a:avLst/>
              <a:gdLst>
                <a:gd name="T0" fmla="*/ 276 w 280"/>
                <a:gd name="T1" fmla="*/ 190 h 214"/>
                <a:gd name="T2" fmla="*/ 169 w 280"/>
                <a:gd name="T3" fmla="*/ 139 h 214"/>
                <a:gd name="T4" fmla="*/ 168 w 280"/>
                <a:gd name="T5" fmla="*/ 115 h 214"/>
                <a:gd name="T6" fmla="*/ 183 w 280"/>
                <a:gd name="T7" fmla="*/ 65 h 214"/>
                <a:gd name="T8" fmla="*/ 140 w 280"/>
                <a:gd name="T9" fmla="*/ 0 h 214"/>
                <a:gd name="T10" fmla="*/ 97 w 280"/>
                <a:gd name="T11" fmla="*/ 65 h 214"/>
                <a:gd name="T12" fmla="*/ 112 w 280"/>
                <a:gd name="T13" fmla="*/ 115 h 214"/>
                <a:gd name="T14" fmla="*/ 111 w 280"/>
                <a:gd name="T15" fmla="*/ 139 h 214"/>
                <a:gd name="T16" fmla="*/ 4 w 280"/>
                <a:gd name="T17" fmla="*/ 190 h 214"/>
                <a:gd name="T18" fmla="*/ 0 w 280"/>
                <a:gd name="T19" fmla="*/ 214 h 214"/>
                <a:gd name="T20" fmla="*/ 280 w 280"/>
                <a:gd name="T21" fmla="*/ 214 h 214"/>
                <a:gd name="T22" fmla="*/ 276 w 280"/>
                <a:gd name="T23" fmla="*/ 190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0" h="214">
                  <a:moveTo>
                    <a:pt x="276" y="190"/>
                  </a:moveTo>
                  <a:cubicBezTo>
                    <a:pt x="270" y="160"/>
                    <a:pt x="189" y="163"/>
                    <a:pt x="169" y="139"/>
                  </a:cubicBezTo>
                  <a:cubicBezTo>
                    <a:pt x="165" y="134"/>
                    <a:pt x="165" y="134"/>
                    <a:pt x="168" y="115"/>
                  </a:cubicBezTo>
                  <a:cubicBezTo>
                    <a:pt x="172" y="94"/>
                    <a:pt x="177" y="107"/>
                    <a:pt x="183" y="65"/>
                  </a:cubicBezTo>
                  <a:cubicBezTo>
                    <a:pt x="189" y="30"/>
                    <a:pt x="177" y="0"/>
                    <a:pt x="140" y="0"/>
                  </a:cubicBezTo>
                  <a:cubicBezTo>
                    <a:pt x="103" y="0"/>
                    <a:pt x="91" y="30"/>
                    <a:pt x="97" y="65"/>
                  </a:cubicBezTo>
                  <a:cubicBezTo>
                    <a:pt x="103" y="107"/>
                    <a:pt x="108" y="94"/>
                    <a:pt x="112" y="115"/>
                  </a:cubicBezTo>
                  <a:cubicBezTo>
                    <a:pt x="115" y="134"/>
                    <a:pt x="115" y="134"/>
                    <a:pt x="111" y="139"/>
                  </a:cubicBezTo>
                  <a:cubicBezTo>
                    <a:pt x="91" y="163"/>
                    <a:pt x="10" y="160"/>
                    <a:pt x="4" y="190"/>
                  </a:cubicBezTo>
                  <a:cubicBezTo>
                    <a:pt x="3" y="194"/>
                    <a:pt x="0" y="214"/>
                    <a:pt x="0" y="214"/>
                  </a:cubicBezTo>
                  <a:cubicBezTo>
                    <a:pt x="280" y="214"/>
                    <a:pt x="280" y="214"/>
                    <a:pt x="280" y="214"/>
                  </a:cubicBezTo>
                  <a:cubicBezTo>
                    <a:pt x="280" y="214"/>
                    <a:pt x="277" y="194"/>
                    <a:pt x="276" y="190"/>
                  </a:cubicBezTo>
                  <a:close/>
                </a:path>
              </a:pathLst>
            </a:custGeom>
            <a:solidFill>
              <a:schemeClr val="bg1"/>
            </a:solidFill>
            <a:ln>
              <a:noFill/>
            </a:ln>
            <a:extLst/>
          </p:spPr>
          <p:txBody>
            <a:bodyPr vert="horz" wrap="square" lIns="91403" tIns="45701" rIns="91403" bIns="45701" numCol="1" anchor="t" anchorCtr="0" compatLnSpc="1">
              <a:prstTxWarp prst="textNoShape">
                <a:avLst/>
              </a:prstTxWarp>
            </a:bodyPr>
            <a:lstStyle/>
            <a:p>
              <a:pPr defTabSz="895905"/>
              <a:endParaRPr lang="en-US" sz="1665">
                <a:solidFill>
                  <a:srgbClr val="FFFFFF"/>
                </a:solidFill>
              </a:endParaRPr>
            </a:p>
          </p:txBody>
        </p:sp>
      </p:grpSp>
      <p:grpSp>
        <p:nvGrpSpPr>
          <p:cNvPr id="48" name="Group 47"/>
          <p:cNvGrpSpPr/>
          <p:nvPr/>
        </p:nvGrpSpPr>
        <p:grpSpPr>
          <a:xfrm>
            <a:off x="954411" y="1177630"/>
            <a:ext cx="2010343" cy="5385795"/>
            <a:chOff x="973802" y="1200149"/>
            <a:chExt cx="2051189" cy="5495222"/>
          </a:xfrm>
        </p:grpSpPr>
        <p:sp>
          <p:nvSpPr>
            <p:cNvPr id="6" name="Freeform 5"/>
            <p:cNvSpPr/>
            <p:nvPr/>
          </p:nvSpPr>
          <p:spPr>
            <a:xfrm>
              <a:off x="973802" y="1200149"/>
              <a:ext cx="2051189" cy="5495222"/>
            </a:xfrm>
            <a:custGeom>
              <a:avLst/>
              <a:gdLst>
                <a:gd name="connsiteX0" fmla="*/ 0 w 2574199"/>
                <a:gd name="connsiteY0" fmla="*/ 0 h 5448054"/>
                <a:gd name="connsiteX1" fmla="*/ 2574199 w 2574199"/>
                <a:gd name="connsiteY1" fmla="*/ 0 h 5448054"/>
                <a:gd name="connsiteX2" fmla="*/ 2574199 w 2574199"/>
                <a:gd name="connsiteY2" fmla="*/ 5448054 h 5448054"/>
                <a:gd name="connsiteX3" fmla="*/ 0 w 2574199"/>
                <a:gd name="connsiteY3" fmla="*/ 5448054 h 5448054"/>
                <a:gd name="connsiteX4" fmla="*/ 0 w 2574199"/>
                <a:gd name="connsiteY4" fmla="*/ 0 h 54480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4199" h="5448054">
                  <a:moveTo>
                    <a:pt x="0" y="0"/>
                  </a:moveTo>
                  <a:lnTo>
                    <a:pt x="2574199" y="0"/>
                  </a:lnTo>
                  <a:lnTo>
                    <a:pt x="2574199" y="5448054"/>
                  </a:lnTo>
                  <a:lnTo>
                    <a:pt x="0" y="5448054"/>
                  </a:lnTo>
                  <a:lnTo>
                    <a:pt x="0" y="0"/>
                  </a:lnTo>
                  <a:close/>
                </a:path>
              </a:pathLst>
            </a:custGeom>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2807" tIns="146246" rIns="182807" bIns="146246" numCol="1" spcCol="1270" anchor="t" anchorCtr="0">
              <a:noAutofit/>
            </a:bodyPr>
            <a:lstStyle/>
            <a:p>
              <a:pPr defTabSz="1480789">
                <a:lnSpc>
                  <a:spcPct val="90000"/>
                </a:lnSpc>
                <a:spcBef>
                  <a:spcPct val="0"/>
                </a:spcBef>
                <a:spcAft>
                  <a:spcPct val="35000"/>
                </a:spcAft>
              </a:pPr>
              <a:r>
                <a:rPr lang="en-US" sz="2940" dirty="0">
                  <a:gradFill>
                    <a:gsLst>
                      <a:gs pos="0">
                        <a:schemeClr val="bg1"/>
                      </a:gs>
                      <a:gs pos="53000">
                        <a:schemeClr val="bg1"/>
                      </a:gs>
                    </a:gsLst>
                    <a:lin ang="5400000" scaled="0"/>
                  </a:gradFill>
                </a:rPr>
                <a:t>Active Directory</a:t>
              </a:r>
            </a:p>
          </p:txBody>
        </p:sp>
        <p:sp>
          <p:nvSpPr>
            <p:cNvPr id="7" name="Freeform 6"/>
            <p:cNvSpPr/>
            <p:nvPr/>
          </p:nvSpPr>
          <p:spPr>
            <a:xfrm>
              <a:off x="1235991" y="2850326"/>
              <a:ext cx="1501094" cy="1724732"/>
            </a:xfrm>
            <a:custGeom>
              <a:avLst/>
              <a:gdLst>
                <a:gd name="connsiteX0" fmla="*/ 0 w 2059359"/>
                <a:gd name="connsiteY0" fmla="*/ 0 h 1642662"/>
                <a:gd name="connsiteX1" fmla="*/ 2059359 w 2059359"/>
                <a:gd name="connsiteY1" fmla="*/ 0 h 1642662"/>
                <a:gd name="connsiteX2" fmla="*/ 2059359 w 2059359"/>
                <a:gd name="connsiteY2" fmla="*/ 1642662 h 1642662"/>
                <a:gd name="connsiteX3" fmla="*/ 0 w 2059359"/>
                <a:gd name="connsiteY3" fmla="*/ 1642662 h 1642662"/>
                <a:gd name="connsiteX4" fmla="*/ 0 w 2059359"/>
                <a:gd name="connsiteY4" fmla="*/ 0 h 16426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9359" h="1642662">
                  <a:moveTo>
                    <a:pt x="0" y="0"/>
                  </a:moveTo>
                  <a:lnTo>
                    <a:pt x="2059359" y="0"/>
                  </a:lnTo>
                  <a:lnTo>
                    <a:pt x="2059359" y="1642662"/>
                  </a:lnTo>
                  <a:lnTo>
                    <a:pt x="0" y="1642662"/>
                  </a:lnTo>
                  <a:lnTo>
                    <a:pt x="0"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r>
                <a:rPr lang="en-US" sz="1763" dirty="0">
                  <a:gradFill>
                    <a:gsLst>
                      <a:gs pos="1250">
                        <a:schemeClr val="tx1"/>
                      </a:gs>
                      <a:gs pos="100000">
                        <a:schemeClr val="tx1"/>
                      </a:gs>
                    </a:gsLst>
                    <a:lin ang="5400000" scaled="0"/>
                  </a:gradFill>
                </a:rPr>
                <a:t>Users</a:t>
              </a:r>
            </a:p>
          </p:txBody>
        </p:sp>
        <p:sp>
          <p:nvSpPr>
            <p:cNvPr id="8" name="Freeform 7"/>
            <p:cNvSpPr/>
            <p:nvPr/>
          </p:nvSpPr>
          <p:spPr>
            <a:xfrm>
              <a:off x="1235991" y="4720529"/>
              <a:ext cx="1501094" cy="1706286"/>
            </a:xfrm>
            <a:custGeom>
              <a:avLst/>
              <a:gdLst>
                <a:gd name="connsiteX0" fmla="*/ 0 w 2059359"/>
                <a:gd name="connsiteY0" fmla="*/ 0 h 1642662"/>
                <a:gd name="connsiteX1" fmla="*/ 2059359 w 2059359"/>
                <a:gd name="connsiteY1" fmla="*/ 0 h 1642662"/>
                <a:gd name="connsiteX2" fmla="*/ 2059359 w 2059359"/>
                <a:gd name="connsiteY2" fmla="*/ 1642662 h 1642662"/>
                <a:gd name="connsiteX3" fmla="*/ 0 w 2059359"/>
                <a:gd name="connsiteY3" fmla="*/ 1642662 h 1642662"/>
                <a:gd name="connsiteX4" fmla="*/ 0 w 2059359"/>
                <a:gd name="connsiteY4" fmla="*/ 0 h 16426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9359" h="1642662">
                  <a:moveTo>
                    <a:pt x="0" y="0"/>
                  </a:moveTo>
                  <a:lnTo>
                    <a:pt x="2059359" y="0"/>
                  </a:lnTo>
                  <a:lnTo>
                    <a:pt x="2059359" y="1642662"/>
                  </a:lnTo>
                  <a:lnTo>
                    <a:pt x="0" y="1642662"/>
                  </a:lnTo>
                  <a:lnTo>
                    <a:pt x="0"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r>
                <a:rPr lang="en-US" sz="1763" dirty="0">
                  <a:gradFill>
                    <a:gsLst>
                      <a:gs pos="1250">
                        <a:schemeClr val="tx1"/>
                      </a:gs>
                      <a:gs pos="100000">
                        <a:schemeClr val="tx1"/>
                      </a:gs>
                    </a:gsLst>
                    <a:lin ang="5400000" scaled="0"/>
                  </a:gradFill>
                </a:rPr>
                <a:t>Groups</a:t>
              </a:r>
            </a:p>
          </p:txBody>
        </p:sp>
        <p:grpSp>
          <p:nvGrpSpPr>
            <p:cNvPr id="24" name="Group 740"/>
            <p:cNvGrpSpPr>
              <a:grpSpLocks noChangeAspect="1"/>
            </p:cNvGrpSpPr>
            <p:nvPr/>
          </p:nvGrpSpPr>
          <p:grpSpPr bwMode="auto">
            <a:xfrm>
              <a:off x="1499997" y="3609381"/>
              <a:ext cx="925834" cy="794491"/>
              <a:chOff x="7349" y="-2816"/>
              <a:chExt cx="661" cy="567"/>
            </a:xfrm>
            <a:solidFill>
              <a:schemeClr val="bg1"/>
            </a:solidFill>
          </p:grpSpPr>
          <p:sp>
            <p:nvSpPr>
              <p:cNvPr id="25" name="Freeform 741"/>
              <p:cNvSpPr>
                <a:spLocks/>
              </p:cNvSpPr>
              <p:nvPr/>
            </p:nvSpPr>
            <p:spPr bwMode="auto">
              <a:xfrm>
                <a:off x="7573" y="-2676"/>
                <a:ext cx="213" cy="427"/>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5905"/>
                <a:endParaRPr lang="en-US" sz="1665">
                  <a:solidFill>
                    <a:srgbClr val="FFFFFF"/>
                  </a:solidFill>
                </a:endParaRPr>
              </a:p>
            </p:txBody>
          </p:sp>
          <p:sp>
            <p:nvSpPr>
              <p:cNvPr id="26" name="Oval 742"/>
              <p:cNvSpPr>
                <a:spLocks noChangeArrowheads="1"/>
              </p:cNvSpPr>
              <p:nvPr/>
            </p:nvSpPr>
            <p:spPr bwMode="auto">
              <a:xfrm>
                <a:off x="7616" y="-2816"/>
                <a:ext cx="127" cy="1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5905"/>
                <a:endParaRPr lang="en-US" sz="1665">
                  <a:solidFill>
                    <a:srgbClr val="FFFFFF"/>
                  </a:solidFill>
                </a:endParaRPr>
              </a:p>
            </p:txBody>
          </p:sp>
          <p:sp>
            <p:nvSpPr>
              <p:cNvPr id="27" name="Freeform 743"/>
              <p:cNvSpPr>
                <a:spLocks/>
              </p:cNvSpPr>
              <p:nvPr/>
            </p:nvSpPr>
            <p:spPr bwMode="auto">
              <a:xfrm>
                <a:off x="7831" y="-2660"/>
                <a:ext cx="179" cy="364"/>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7 w 76"/>
                  <a:gd name="T15" fmla="*/ 154 h 154"/>
                  <a:gd name="T16" fmla="*/ 48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7" y="154"/>
                    </a:cubicBezTo>
                    <a:cubicBezTo>
                      <a:pt x="48" y="154"/>
                      <a:pt x="48" y="154"/>
                      <a:pt x="48"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5905"/>
                <a:endParaRPr lang="en-US" sz="1665">
                  <a:solidFill>
                    <a:srgbClr val="FFFFFF"/>
                  </a:solidFill>
                </a:endParaRPr>
              </a:p>
            </p:txBody>
          </p:sp>
          <p:sp>
            <p:nvSpPr>
              <p:cNvPr id="28" name="Oval 744"/>
              <p:cNvSpPr>
                <a:spLocks noChangeArrowheads="1"/>
              </p:cNvSpPr>
              <p:nvPr/>
            </p:nvSpPr>
            <p:spPr bwMode="auto">
              <a:xfrm>
                <a:off x="7866" y="-2780"/>
                <a:ext cx="109" cy="10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5905"/>
                <a:endParaRPr lang="en-US" sz="1665">
                  <a:solidFill>
                    <a:srgbClr val="FFFFFF"/>
                  </a:solidFill>
                </a:endParaRPr>
              </a:p>
            </p:txBody>
          </p:sp>
          <p:sp>
            <p:nvSpPr>
              <p:cNvPr id="29" name="Freeform 745"/>
              <p:cNvSpPr>
                <a:spLocks/>
              </p:cNvSpPr>
              <p:nvPr/>
            </p:nvSpPr>
            <p:spPr bwMode="auto">
              <a:xfrm>
                <a:off x="7349" y="-2660"/>
                <a:ext cx="179" cy="364"/>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5905"/>
                <a:endParaRPr lang="en-US" sz="1665">
                  <a:solidFill>
                    <a:srgbClr val="FFFFFF"/>
                  </a:solidFill>
                </a:endParaRPr>
              </a:p>
            </p:txBody>
          </p:sp>
          <p:sp>
            <p:nvSpPr>
              <p:cNvPr id="30" name="Oval 746"/>
              <p:cNvSpPr>
                <a:spLocks noChangeArrowheads="1"/>
              </p:cNvSpPr>
              <p:nvPr/>
            </p:nvSpPr>
            <p:spPr bwMode="auto">
              <a:xfrm>
                <a:off x="7384" y="-2780"/>
                <a:ext cx="109" cy="10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5905"/>
                <a:endParaRPr lang="en-US" sz="1665">
                  <a:solidFill>
                    <a:srgbClr val="FFFFFF"/>
                  </a:solidFill>
                </a:endParaRPr>
              </a:p>
            </p:txBody>
          </p:sp>
        </p:grpSp>
        <p:grpSp>
          <p:nvGrpSpPr>
            <p:cNvPr id="31" name="Group 30"/>
            <p:cNvGrpSpPr/>
            <p:nvPr/>
          </p:nvGrpSpPr>
          <p:grpSpPr>
            <a:xfrm>
              <a:off x="1436792" y="5546224"/>
              <a:ext cx="1152305" cy="683415"/>
              <a:chOff x="9265153" y="147839"/>
              <a:chExt cx="1442708" cy="855305"/>
            </a:xfrm>
            <a:solidFill>
              <a:schemeClr val="bg1"/>
            </a:solidFill>
          </p:grpSpPr>
          <p:sp>
            <p:nvSpPr>
              <p:cNvPr id="32" name="Freeform 6"/>
              <p:cNvSpPr>
                <a:spLocks noEditPoints="1"/>
              </p:cNvSpPr>
              <p:nvPr/>
            </p:nvSpPr>
            <p:spPr bwMode="auto">
              <a:xfrm>
                <a:off x="9265153" y="325595"/>
                <a:ext cx="1442708" cy="558210"/>
              </a:xfrm>
              <a:custGeom>
                <a:avLst/>
                <a:gdLst>
                  <a:gd name="T0" fmla="*/ 1360 w 1360"/>
                  <a:gd name="T1" fmla="*/ 210 h 425"/>
                  <a:gd name="T2" fmla="*/ 1358 w 1360"/>
                  <a:gd name="T3" fmla="*/ 222 h 425"/>
                  <a:gd name="T4" fmla="*/ 1340 w 1360"/>
                  <a:gd name="T5" fmla="*/ 262 h 425"/>
                  <a:gd name="T6" fmla="*/ 1218 w 1360"/>
                  <a:gd name="T7" fmla="*/ 345 h 425"/>
                  <a:gd name="T8" fmla="*/ 857 w 1360"/>
                  <a:gd name="T9" fmla="*/ 418 h 425"/>
                  <a:gd name="T10" fmla="*/ 491 w 1360"/>
                  <a:gd name="T11" fmla="*/ 415 h 425"/>
                  <a:gd name="T12" fmla="*/ 133 w 1360"/>
                  <a:gd name="T13" fmla="*/ 336 h 425"/>
                  <a:gd name="T14" fmla="*/ 17 w 1360"/>
                  <a:gd name="T15" fmla="*/ 256 h 425"/>
                  <a:gd name="T16" fmla="*/ 0 w 1360"/>
                  <a:gd name="T17" fmla="*/ 203 h 425"/>
                  <a:gd name="T18" fmla="*/ 1 w 1360"/>
                  <a:gd name="T19" fmla="*/ 193 h 425"/>
                  <a:gd name="T20" fmla="*/ 17 w 1360"/>
                  <a:gd name="T21" fmla="*/ 158 h 425"/>
                  <a:gd name="T22" fmla="*/ 134 w 1360"/>
                  <a:gd name="T23" fmla="*/ 79 h 425"/>
                  <a:gd name="T24" fmla="*/ 492 w 1360"/>
                  <a:gd name="T25" fmla="*/ 7 h 425"/>
                  <a:gd name="T26" fmla="*/ 856 w 1360"/>
                  <a:gd name="T27" fmla="*/ 10 h 425"/>
                  <a:gd name="T28" fmla="*/ 1210 w 1360"/>
                  <a:gd name="T29" fmla="*/ 88 h 425"/>
                  <a:gd name="T30" fmla="*/ 1321 w 1360"/>
                  <a:gd name="T31" fmla="*/ 164 h 425"/>
                  <a:gd name="T32" fmla="*/ 1360 w 1360"/>
                  <a:gd name="T33" fmla="*/ 207 h 425"/>
                  <a:gd name="T34" fmla="*/ 1321 w 1360"/>
                  <a:gd name="T35" fmla="*/ 164 h 425"/>
                  <a:gd name="T36" fmla="*/ 1209 w 1360"/>
                  <a:gd name="T37" fmla="*/ 90 h 425"/>
                  <a:gd name="T38" fmla="*/ 855 w 1360"/>
                  <a:gd name="T39" fmla="*/ 19 h 425"/>
                  <a:gd name="T40" fmla="*/ 493 w 1360"/>
                  <a:gd name="T41" fmla="*/ 22 h 425"/>
                  <a:gd name="T42" fmla="*/ 143 w 1360"/>
                  <a:gd name="T43" fmla="*/ 99 h 425"/>
                  <a:gd name="T44" fmla="*/ 36 w 1360"/>
                  <a:gd name="T45" fmla="*/ 171 h 425"/>
                  <a:gd name="T46" fmla="*/ 25 w 1360"/>
                  <a:gd name="T47" fmla="*/ 197 h 425"/>
                  <a:gd name="T48" fmla="*/ 24 w 1360"/>
                  <a:gd name="T49" fmla="*/ 204 h 425"/>
                  <a:gd name="T50" fmla="*/ 24 w 1360"/>
                  <a:gd name="T51" fmla="*/ 209 h 425"/>
                  <a:gd name="T52" fmla="*/ 25 w 1360"/>
                  <a:gd name="T53" fmla="*/ 215 h 425"/>
                  <a:gd name="T54" fmla="*/ 37 w 1360"/>
                  <a:gd name="T55" fmla="*/ 241 h 425"/>
                  <a:gd name="T56" fmla="*/ 144 w 1360"/>
                  <a:gd name="T57" fmla="*/ 311 h 425"/>
                  <a:gd name="T58" fmla="*/ 494 w 1360"/>
                  <a:gd name="T59" fmla="*/ 382 h 425"/>
                  <a:gd name="T60" fmla="*/ 854 w 1360"/>
                  <a:gd name="T61" fmla="*/ 379 h 425"/>
                  <a:gd name="T62" fmla="*/ 1201 w 1360"/>
                  <a:gd name="T63" fmla="*/ 303 h 425"/>
                  <a:gd name="T64" fmla="*/ 1302 w 1360"/>
                  <a:gd name="T65" fmla="*/ 235 h 425"/>
                  <a:gd name="T66" fmla="*/ 1311 w 1360"/>
                  <a:gd name="T67" fmla="*/ 213 h 425"/>
                  <a:gd name="T68" fmla="*/ 1312 w 1360"/>
                  <a:gd name="T69" fmla="*/ 209 h 425"/>
                  <a:gd name="T70" fmla="*/ 1336 w 1360"/>
                  <a:gd name="T71" fmla="*/ 206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360" h="425">
                    <a:moveTo>
                      <a:pt x="1360" y="207"/>
                    </a:moveTo>
                    <a:cubicBezTo>
                      <a:pt x="1360" y="210"/>
                      <a:pt x="1360" y="210"/>
                      <a:pt x="1360" y="210"/>
                    </a:cubicBezTo>
                    <a:cubicBezTo>
                      <a:pt x="1360" y="211"/>
                      <a:pt x="1360" y="213"/>
                      <a:pt x="1359" y="214"/>
                    </a:cubicBezTo>
                    <a:cubicBezTo>
                      <a:pt x="1359" y="217"/>
                      <a:pt x="1359" y="219"/>
                      <a:pt x="1358" y="222"/>
                    </a:cubicBezTo>
                    <a:cubicBezTo>
                      <a:pt x="1357" y="227"/>
                      <a:pt x="1356" y="232"/>
                      <a:pt x="1354" y="237"/>
                    </a:cubicBezTo>
                    <a:cubicBezTo>
                      <a:pt x="1351" y="246"/>
                      <a:pt x="1346" y="255"/>
                      <a:pt x="1340" y="262"/>
                    </a:cubicBezTo>
                    <a:cubicBezTo>
                      <a:pt x="1329" y="277"/>
                      <a:pt x="1316" y="289"/>
                      <a:pt x="1303" y="299"/>
                    </a:cubicBezTo>
                    <a:cubicBezTo>
                      <a:pt x="1276" y="319"/>
                      <a:pt x="1247" y="333"/>
                      <a:pt x="1218" y="345"/>
                    </a:cubicBezTo>
                    <a:cubicBezTo>
                      <a:pt x="1160" y="368"/>
                      <a:pt x="1100" y="383"/>
                      <a:pt x="1039" y="394"/>
                    </a:cubicBezTo>
                    <a:cubicBezTo>
                      <a:pt x="979" y="406"/>
                      <a:pt x="918" y="413"/>
                      <a:pt x="857" y="418"/>
                    </a:cubicBezTo>
                    <a:cubicBezTo>
                      <a:pt x="796" y="423"/>
                      <a:pt x="735" y="425"/>
                      <a:pt x="674" y="424"/>
                    </a:cubicBezTo>
                    <a:cubicBezTo>
                      <a:pt x="613" y="424"/>
                      <a:pt x="552" y="421"/>
                      <a:pt x="491" y="415"/>
                    </a:cubicBezTo>
                    <a:cubicBezTo>
                      <a:pt x="430" y="409"/>
                      <a:pt x="370" y="401"/>
                      <a:pt x="310" y="389"/>
                    </a:cubicBezTo>
                    <a:cubicBezTo>
                      <a:pt x="250" y="376"/>
                      <a:pt x="190" y="360"/>
                      <a:pt x="133" y="336"/>
                    </a:cubicBezTo>
                    <a:cubicBezTo>
                      <a:pt x="105" y="324"/>
                      <a:pt x="77" y="310"/>
                      <a:pt x="51" y="291"/>
                    </a:cubicBezTo>
                    <a:cubicBezTo>
                      <a:pt x="39" y="281"/>
                      <a:pt x="27" y="270"/>
                      <a:pt x="17" y="256"/>
                    </a:cubicBezTo>
                    <a:cubicBezTo>
                      <a:pt x="7" y="242"/>
                      <a:pt x="0" y="225"/>
                      <a:pt x="0" y="206"/>
                    </a:cubicBezTo>
                    <a:cubicBezTo>
                      <a:pt x="0" y="203"/>
                      <a:pt x="0" y="203"/>
                      <a:pt x="0" y="203"/>
                    </a:cubicBezTo>
                    <a:cubicBezTo>
                      <a:pt x="0" y="202"/>
                      <a:pt x="0" y="201"/>
                      <a:pt x="1" y="200"/>
                    </a:cubicBezTo>
                    <a:cubicBezTo>
                      <a:pt x="1" y="197"/>
                      <a:pt x="1" y="195"/>
                      <a:pt x="1" y="193"/>
                    </a:cubicBezTo>
                    <a:cubicBezTo>
                      <a:pt x="2" y="189"/>
                      <a:pt x="4" y="184"/>
                      <a:pt x="5" y="180"/>
                    </a:cubicBezTo>
                    <a:cubicBezTo>
                      <a:pt x="8" y="172"/>
                      <a:pt x="13" y="164"/>
                      <a:pt x="17" y="158"/>
                    </a:cubicBezTo>
                    <a:cubicBezTo>
                      <a:pt x="27" y="144"/>
                      <a:pt x="39" y="133"/>
                      <a:pt x="52" y="123"/>
                    </a:cubicBezTo>
                    <a:cubicBezTo>
                      <a:pt x="78" y="105"/>
                      <a:pt x="106" y="91"/>
                      <a:pt x="134" y="79"/>
                    </a:cubicBezTo>
                    <a:cubicBezTo>
                      <a:pt x="192" y="56"/>
                      <a:pt x="251" y="42"/>
                      <a:pt x="311" y="30"/>
                    </a:cubicBezTo>
                    <a:cubicBezTo>
                      <a:pt x="371" y="19"/>
                      <a:pt x="431" y="11"/>
                      <a:pt x="492" y="7"/>
                    </a:cubicBezTo>
                    <a:cubicBezTo>
                      <a:pt x="553" y="2"/>
                      <a:pt x="613" y="0"/>
                      <a:pt x="674" y="1"/>
                    </a:cubicBezTo>
                    <a:cubicBezTo>
                      <a:pt x="735" y="1"/>
                      <a:pt x="795" y="4"/>
                      <a:pt x="856" y="10"/>
                    </a:cubicBezTo>
                    <a:cubicBezTo>
                      <a:pt x="916" y="15"/>
                      <a:pt x="976" y="24"/>
                      <a:pt x="1036" y="36"/>
                    </a:cubicBezTo>
                    <a:cubicBezTo>
                      <a:pt x="1095" y="48"/>
                      <a:pt x="1154" y="64"/>
                      <a:pt x="1210" y="88"/>
                    </a:cubicBezTo>
                    <a:cubicBezTo>
                      <a:pt x="1238" y="99"/>
                      <a:pt x="1265" y="113"/>
                      <a:pt x="1289" y="132"/>
                    </a:cubicBezTo>
                    <a:cubicBezTo>
                      <a:pt x="1301" y="141"/>
                      <a:pt x="1313" y="152"/>
                      <a:pt x="1321" y="164"/>
                    </a:cubicBezTo>
                    <a:cubicBezTo>
                      <a:pt x="1330" y="176"/>
                      <a:pt x="1336" y="191"/>
                      <a:pt x="1336" y="206"/>
                    </a:cubicBezTo>
                    <a:lnTo>
                      <a:pt x="1360" y="207"/>
                    </a:lnTo>
                    <a:close/>
                    <a:moveTo>
                      <a:pt x="1336" y="206"/>
                    </a:moveTo>
                    <a:cubicBezTo>
                      <a:pt x="1336" y="191"/>
                      <a:pt x="1330" y="177"/>
                      <a:pt x="1321" y="164"/>
                    </a:cubicBezTo>
                    <a:cubicBezTo>
                      <a:pt x="1312" y="152"/>
                      <a:pt x="1301" y="142"/>
                      <a:pt x="1288" y="133"/>
                    </a:cubicBezTo>
                    <a:cubicBezTo>
                      <a:pt x="1264" y="115"/>
                      <a:pt x="1237" y="102"/>
                      <a:pt x="1209" y="90"/>
                    </a:cubicBezTo>
                    <a:cubicBezTo>
                      <a:pt x="1153" y="68"/>
                      <a:pt x="1094" y="53"/>
                      <a:pt x="1035" y="42"/>
                    </a:cubicBezTo>
                    <a:cubicBezTo>
                      <a:pt x="975" y="31"/>
                      <a:pt x="915" y="23"/>
                      <a:pt x="855" y="19"/>
                    </a:cubicBezTo>
                    <a:cubicBezTo>
                      <a:pt x="795" y="14"/>
                      <a:pt x="734" y="12"/>
                      <a:pt x="674" y="13"/>
                    </a:cubicBezTo>
                    <a:cubicBezTo>
                      <a:pt x="614" y="13"/>
                      <a:pt x="553" y="16"/>
                      <a:pt x="493" y="22"/>
                    </a:cubicBezTo>
                    <a:cubicBezTo>
                      <a:pt x="433" y="27"/>
                      <a:pt x="373" y="36"/>
                      <a:pt x="315" y="48"/>
                    </a:cubicBezTo>
                    <a:cubicBezTo>
                      <a:pt x="256" y="60"/>
                      <a:pt x="197" y="76"/>
                      <a:pt x="143" y="99"/>
                    </a:cubicBezTo>
                    <a:cubicBezTo>
                      <a:pt x="115" y="110"/>
                      <a:pt x="89" y="124"/>
                      <a:pt x="66" y="141"/>
                    </a:cubicBezTo>
                    <a:cubicBezTo>
                      <a:pt x="54" y="150"/>
                      <a:pt x="44" y="160"/>
                      <a:pt x="36" y="171"/>
                    </a:cubicBezTo>
                    <a:cubicBezTo>
                      <a:pt x="33" y="176"/>
                      <a:pt x="29" y="182"/>
                      <a:pt x="27" y="188"/>
                    </a:cubicBezTo>
                    <a:cubicBezTo>
                      <a:pt x="26" y="191"/>
                      <a:pt x="25" y="194"/>
                      <a:pt x="25" y="197"/>
                    </a:cubicBezTo>
                    <a:cubicBezTo>
                      <a:pt x="25" y="199"/>
                      <a:pt x="24" y="200"/>
                      <a:pt x="24" y="202"/>
                    </a:cubicBezTo>
                    <a:cubicBezTo>
                      <a:pt x="24" y="204"/>
                      <a:pt x="24" y="204"/>
                      <a:pt x="24" y="204"/>
                    </a:cubicBezTo>
                    <a:cubicBezTo>
                      <a:pt x="24" y="207"/>
                      <a:pt x="24" y="207"/>
                      <a:pt x="24" y="207"/>
                    </a:cubicBezTo>
                    <a:cubicBezTo>
                      <a:pt x="24" y="209"/>
                      <a:pt x="24" y="209"/>
                      <a:pt x="24" y="209"/>
                    </a:cubicBezTo>
                    <a:cubicBezTo>
                      <a:pt x="24" y="209"/>
                      <a:pt x="24" y="210"/>
                      <a:pt x="24" y="211"/>
                    </a:cubicBezTo>
                    <a:cubicBezTo>
                      <a:pt x="25" y="212"/>
                      <a:pt x="25" y="214"/>
                      <a:pt x="25" y="215"/>
                    </a:cubicBezTo>
                    <a:cubicBezTo>
                      <a:pt x="26" y="219"/>
                      <a:pt x="27" y="221"/>
                      <a:pt x="28" y="224"/>
                    </a:cubicBezTo>
                    <a:cubicBezTo>
                      <a:pt x="30" y="230"/>
                      <a:pt x="33" y="236"/>
                      <a:pt x="37" y="241"/>
                    </a:cubicBezTo>
                    <a:cubicBezTo>
                      <a:pt x="45" y="252"/>
                      <a:pt x="55" y="262"/>
                      <a:pt x="67" y="270"/>
                    </a:cubicBezTo>
                    <a:cubicBezTo>
                      <a:pt x="90" y="287"/>
                      <a:pt x="116" y="300"/>
                      <a:pt x="144" y="311"/>
                    </a:cubicBezTo>
                    <a:cubicBezTo>
                      <a:pt x="199" y="333"/>
                      <a:pt x="257" y="348"/>
                      <a:pt x="316" y="359"/>
                    </a:cubicBezTo>
                    <a:cubicBezTo>
                      <a:pt x="375" y="370"/>
                      <a:pt x="434" y="378"/>
                      <a:pt x="494" y="382"/>
                    </a:cubicBezTo>
                    <a:cubicBezTo>
                      <a:pt x="554" y="387"/>
                      <a:pt x="614" y="389"/>
                      <a:pt x="674" y="388"/>
                    </a:cubicBezTo>
                    <a:cubicBezTo>
                      <a:pt x="734" y="388"/>
                      <a:pt x="794" y="385"/>
                      <a:pt x="854" y="379"/>
                    </a:cubicBezTo>
                    <a:cubicBezTo>
                      <a:pt x="913" y="374"/>
                      <a:pt x="973" y="365"/>
                      <a:pt x="1031" y="353"/>
                    </a:cubicBezTo>
                    <a:cubicBezTo>
                      <a:pt x="1089" y="341"/>
                      <a:pt x="1147" y="326"/>
                      <a:pt x="1201" y="303"/>
                    </a:cubicBezTo>
                    <a:cubicBezTo>
                      <a:pt x="1228" y="292"/>
                      <a:pt x="1253" y="278"/>
                      <a:pt x="1275" y="262"/>
                    </a:cubicBezTo>
                    <a:cubicBezTo>
                      <a:pt x="1286" y="254"/>
                      <a:pt x="1295" y="244"/>
                      <a:pt x="1302" y="235"/>
                    </a:cubicBezTo>
                    <a:cubicBezTo>
                      <a:pt x="1305" y="230"/>
                      <a:pt x="1308" y="225"/>
                      <a:pt x="1309" y="220"/>
                    </a:cubicBezTo>
                    <a:cubicBezTo>
                      <a:pt x="1310" y="218"/>
                      <a:pt x="1311" y="216"/>
                      <a:pt x="1311" y="213"/>
                    </a:cubicBezTo>
                    <a:cubicBezTo>
                      <a:pt x="1311" y="212"/>
                      <a:pt x="1312" y="211"/>
                      <a:pt x="1312" y="210"/>
                    </a:cubicBezTo>
                    <a:cubicBezTo>
                      <a:pt x="1312" y="209"/>
                      <a:pt x="1312" y="209"/>
                      <a:pt x="1312" y="209"/>
                    </a:cubicBezTo>
                    <a:cubicBezTo>
                      <a:pt x="1312" y="206"/>
                      <a:pt x="1312" y="206"/>
                      <a:pt x="1312" y="206"/>
                    </a:cubicBezTo>
                    <a:lnTo>
                      <a:pt x="1336" y="206"/>
                    </a:lnTo>
                    <a:close/>
                  </a:path>
                </a:pathLst>
              </a:custGeom>
              <a:grpFill/>
              <a:ln>
                <a:noFill/>
              </a:ln>
            </p:spPr>
            <p:txBody>
              <a:bodyPr vert="horz" wrap="square" lIns="91403" tIns="45701" rIns="91403" bIns="45701" numCol="1" anchor="t" anchorCtr="0" compatLnSpc="1">
                <a:prstTxWarp prst="textNoShape">
                  <a:avLst/>
                </a:prstTxWarp>
              </a:bodyPr>
              <a:lstStyle/>
              <a:p>
                <a:pPr defTabSz="895728"/>
                <a:endParaRPr lang="en-US" sz="1665">
                  <a:solidFill>
                    <a:srgbClr val="000000"/>
                  </a:solidFill>
                </a:endParaRPr>
              </a:p>
            </p:txBody>
          </p:sp>
          <p:grpSp>
            <p:nvGrpSpPr>
              <p:cNvPr id="33" name="Group 32"/>
              <p:cNvGrpSpPr/>
              <p:nvPr/>
            </p:nvGrpSpPr>
            <p:grpSpPr>
              <a:xfrm>
                <a:off x="9517014" y="165423"/>
                <a:ext cx="142245" cy="397333"/>
                <a:chOff x="9517014" y="165423"/>
                <a:chExt cx="142245" cy="397333"/>
              </a:xfrm>
              <a:grpFill/>
            </p:grpSpPr>
            <p:sp>
              <p:nvSpPr>
                <p:cNvPr id="43" name="Freeform 745"/>
                <p:cNvSpPr>
                  <a:spLocks/>
                </p:cNvSpPr>
                <p:nvPr/>
              </p:nvSpPr>
              <p:spPr bwMode="auto">
                <a:xfrm>
                  <a:off x="9517014" y="273497"/>
                  <a:ext cx="142245" cy="289259"/>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5728"/>
                  <a:endParaRPr lang="en-US" sz="1665">
                    <a:solidFill>
                      <a:srgbClr val="000000"/>
                    </a:solidFill>
                  </a:endParaRPr>
                </a:p>
              </p:txBody>
            </p:sp>
            <p:sp>
              <p:nvSpPr>
                <p:cNvPr id="44" name="Oval 746"/>
                <p:cNvSpPr>
                  <a:spLocks noChangeArrowheads="1"/>
                </p:cNvSpPr>
                <p:nvPr/>
              </p:nvSpPr>
              <p:spPr bwMode="auto">
                <a:xfrm>
                  <a:off x="9544827" y="165423"/>
                  <a:ext cx="86619" cy="858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5728"/>
                  <a:endParaRPr lang="en-US" sz="1665">
                    <a:solidFill>
                      <a:srgbClr val="000000"/>
                    </a:solidFill>
                  </a:endParaRPr>
                </a:p>
              </p:txBody>
            </p:sp>
          </p:grpSp>
          <p:grpSp>
            <p:nvGrpSpPr>
              <p:cNvPr id="34" name="Group 33"/>
              <p:cNvGrpSpPr>
                <a:grpSpLocks noChangeAspect="1"/>
              </p:cNvGrpSpPr>
              <p:nvPr/>
            </p:nvGrpSpPr>
            <p:grpSpPr>
              <a:xfrm>
                <a:off x="10107769" y="147839"/>
                <a:ext cx="142245" cy="397333"/>
                <a:chOff x="7882374" y="1979957"/>
                <a:chExt cx="262996" cy="734626"/>
              </a:xfrm>
              <a:grpFill/>
            </p:grpSpPr>
            <p:sp>
              <p:nvSpPr>
                <p:cNvPr id="41" name="Freeform 745"/>
                <p:cNvSpPr>
                  <a:spLocks/>
                </p:cNvSpPr>
                <p:nvPr/>
              </p:nvSpPr>
              <p:spPr bwMode="auto">
                <a:xfrm>
                  <a:off x="7882374" y="2179775"/>
                  <a:ext cx="262996" cy="534808"/>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5728"/>
                  <a:endParaRPr lang="en-US" sz="1665">
                    <a:solidFill>
                      <a:srgbClr val="000000"/>
                    </a:solidFill>
                  </a:endParaRPr>
                </a:p>
              </p:txBody>
            </p:sp>
            <p:sp>
              <p:nvSpPr>
                <p:cNvPr id="42" name="Oval 746"/>
                <p:cNvSpPr>
                  <a:spLocks noChangeArrowheads="1"/>
                </p:cNvSpPr>
                <p:nvPr/>
              </p:nvSpPr>
              <p:spPr bwMode="auto">
                <a:xfrm>
                  <a:off x="7933798" y="1979957"/>
                  <a:ext cx="160149" cy="15867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5728"/>
                  <a:endParaRPr lang="en-US" sz="1665">
                    <a:solidFill>
                      <a:srgbClr val="000000"/>
                    </a:solidFill>
                  </a:endParaRPr>
                </a:p>
              </p:txBody>
            </p:sp>
          </p:grpSp>
          <p:grpSp>
            <p:nvGrpSpPr>
              <p:cNvPr id="35" name="Group 34"/>
              <p:cNvGrpSpPr>
                <a:grpSpLocks noChangeAspect="1"/>
              </p:cNvGrpSpPr>
              <p:nvPr/>
            </p:nvGrpSpPr>
            <p:grpSpPr>
              <a:xfrm>
                <a:off x="9824275" y="574024"/>
                <a:ext cx="153624" cy="429120"/>
                <a:chOff x="7882374" y="1979957"/>
                <a:chExt cx="262996" cy="734626"/>
              </a:xfrm>
              <a:grpFill/>
            </p:grpSpPr>
            <p:sp>
              <p:nvSpPr>
                <p:cNvPr id="39" name="Freeform 745"/>
                <p:cNvSpPr>
                  <a:spLocks/>
                </p:cNvSpPr>
                <p:nvPr/>
              </p:nvSpPr>
              <p:spPr bwMode="auto">
                <a:xfrm>
                  <a:off x="7882374" y="2179775"/>
                  <a:ext cx="262996" cy="534808"/>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5728"/>
                  <a:endParaRPr lang="en-US" sz="1665">
                    <a:solidFill>
                      <a:srgbClr val="000000"/>
                    </a:solidFill>
                  </a:endParaRPr>
                </a:p>
              </p:txBody>
            </p:sp>
            <p:sp>
              <p:nvSpPr>
                <p:cNvPr id="40" name="Oval 746"/>
                <p:cNvSpPr>
                  <a:spLocks noChangeArrowheads="1"/>
                </p:cNvSpPr>
                <p:nvPr/>
              </p:nvSpPr>
              <p:spPr bwMode="auto">
                <a:xfrm>
                  <a:off x="7933798" y="1979957"/>
                  <a:ext cx="160149" cy="15867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5728"/>
                  <a:endParaRPr lang="en-US" sz="1665">
                    <a:solidFill>
                      <a:srgbClr val="000000"/>
                    </a:solidFill>
                  </a:endParaRPr>
                </a:p>
              </p:txBody>
            </p:sp>
          </p:grpSp>
          <p:grpSp>
            <p:nvGrpSpPr>
              <p:cNvPr id="36" name="Group 35"/>
              <p:cNvGrpSpPr>
                <a:grpSpLocks noChangeAspect="1"/>
              </p:cNvGrpSpPr>
              <p:nvPr/>
            </p:nvGrpSpPr>
            <p:grpSpPr>
              <a:xfrm>
                <a:off x="10379862" y="538855"/>
                <a:ext cx="153624" cy="442147"/>
                <a:chOff x="7882374" y="1979957"/>
                <a:chExt cx="262996" cy="734626"/>
              </a:xfrm>
              <a:grpFill/>
            </p:grpSpPr>
            <p:sp>
              <p:nvSpPr>
                <p:cNvPr id="37" name="Freeform 745"/>
                <p:cNvSpPr>
                  <a:spLocks/>
                </p:cNvSpPr>
                <p:nvPr/>
              </p:nvSpPr>
              <p:spPr bwMode="auto">
                <a:xfrm>
                  <a:off x="7882374" y="2179775"/>
                  <a:ext cx="262996" cy="534808"/>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5728"/>
                  <a:endParaRPr lang="en-US" sz="1665">
                    <a:solidFill>
                      <a:srgbClr val="000000"/>
                    </a:solidFill>
                  </a:endParaRPr>
                </a:p>
              </p:txBody>
            </p:sp>
            <p:sp>
              <p:nvSpPr>
                <p:cNvPr id="38" name="Oval 746"/>
                <p:cNvSpPr>
                  <a:spLocks noChangeArrowheads="1"/>
                </p:cNvSpPr>
                <p:nvPr/>
              </p:nvSpPr>
              <p:spPr bwMode="auto">
                <a:xfrm>
                  <a:off x="7933798" y="1979957"/>
                  <a:ext cx="160149" cy="15867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5728"/>
                  <a:endParaRPr lang="en-US" sz="1665">
                    <a:solidFill>
                      <a:srgbClr val="000000"/>
                    </a:solidFill>
                  </a:endParaRPr>
                </a:p>
              </p:txBody>
            </p:sp>
          </p:grpSp>
        </p:grpSp>
      </p:grpSp>
      <p:grpSp>
        <p:nvGrpSpPr>
          <p:cNvPr id="52" name="Group 51"/>
          <p:cNvGrpSpPr/>
          <p:nvPr/>
        </p:nvGrpSpPr>
        <p:grpSpPr>
          <a:xfrm>
            <a:off x="8537880" y="1177630"/>
            <a:ext cx="2472121" cy="5385795"/>
            <a:chOff x="8711350" y="1200149"/>
            <a:chExt cx="2522349" cy="5495222"/>
          </a:xfrm>
        </p:grpSpPr>
        <p:sp>
          <p:nvSpPr>
            <p:cNvPr id="15" name="Freeform 14"/>
            <p:cNvSpPr/>
            <p:nvPr/>
          </p:nvSpPr>
          <p:spPr>
            <a:xfrm>
              <a:off x="8711350" y="1200149"/>
              <a:ext cx="2522349" cy="5495222"/>
            </a:xfrm>
            <a:custGeom>
              <a:avLst/>
              <a:gdLst>
                <a:gd name="connsiteX0" fmla="*/ 0 w 2574199"/>
                <a:gd name="connsiteY0" fmla="*/ 0 h 5448054"/>
                <a:gd name="connsiteX1" fmla="*/ 2574199 w 2574199"/>
                <a:gd name="connsiteY1" fmla="*/ 0 h 5448054"/>
                <a:gd name="connsiteX2" fmla="*/ 2574199 w 2574199"/>
                <a:gd name="connsiteY2" fmla="*/ 5448054 h 5448054"/>
                <a:gd name="connsiteX3" fmla="*/ 0 w 2574199"/>
                <a:gd name="connsiteY3" fmla="*/ 5448054 h 5448054"/>
                <a:gd name="connsiteX4" fmla="*/ 0 w 2574199"/>
                <a:gd name="connsiteY4" fmla="*/ 0 h 54480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4199" h="5448054">
                  <a:moveTo>
                    <a:pt x="0" y="0"/>
                  </a:moveTo>
                  <a:lnTo>
                    <a:pt x="2574199" y="0"/>
                  </a:lnTo>
                  <a:lnTo>
                    <a:pt x="2574199" y="5448054"/>
                  </a:lnTo>
                  <a:lnTo>
                    <a:pt x="0" y="5448054"/>
                  </a:lnTo>
                  <a:lnTo>
                    <a:pt x="0" y="0"/>
                  </a:lnTo>
                  <a:close/>
                </a:path>
              </a:pathLst>
            </a:custGeom>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2807" tIns="146246" rIns="182807" bIns="146246" numCol="1" spcCol="1270" anchor="t" anchorCtr="0">
              <a:noAutofit/>
            </a:bodyPr>
            <a:lstStyle/>
            <a:p>
              <a:pPr defTabSz="1480789">
                <a:lnSpc>
                  <a:spcPct val="90000"/>
                </a:lnSpc>
                <a:spcBef>
                  <a:spcPct val="0"/>
                </a:spcBef>
              </a:pPr>
              <a:r>
                <a:rPr lang="en-US" sz="2940" dirty="0">
                  <a:gradFill>
                    <a:gsLst>
                      <a:gs pos="0">
                        <a:schemeClr val="bg1"/>
                      </a:gs>
                      <a:gs pos="53000">
                        <a:schemeClr val="bg1"/>
                      </a:gs>
                    </a:gsLst>
                    <a:lin ang="5400000" scaled="0"/>
                  </a:gradFill>
                </a:rPr>
                <a:t>OneDrive</a:t>
              </a:r>
            </a:p>
          </p:txBody>
        </p:sp>
        <p:sp>
          <p:nvSpPr>
            <p:cNvPr id="16" name="Freeform 15"/>
            <p:cNvSpPr/>
            <p:nvPr/>
          </p:nvSpPr>
          <p:spPr>
            <a:xfrm>
              <a:off x="8970895" y="4094868"/>
              <a:ext cx="1987867" cy="2325743"/>
            </a:xfrm>
            <a:custGeom>
              <a:avLst/>
              <a:gdLst>
                <a:gd name="connsiteX0" fmla="*/ 0 w 2059359"/>
                <a:gd name="connsiteY0" fmla="*/ 0 h 3541235"/>
                <a:gd name="connsiteX1" fmla="*/ 2059359 w 2059359"/>
                <a:gd name="connsiteY1" fmla="*/ 0 h 3541235"/>
                <a:gd name="connsiteX2" fmla="*/ 2059359 w 2059359"/>
                <a:gd name="connsiteY2" fmla="*/ 3541235 h 3541235"/>
                <a:gd name="connsiteX3" fmla="*/ 0 w 2059359"/>
                <a:gd name="connsiteY3" fmla="*/ 3541235 h 3541235"/>
                <a:gd name="connsiteX4" fmla="*/ 0 w 2059359"/>
                <a:gd name="connsiteY4" fmla="*/ 0 h 35412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9359" h="3541235">
                  <a:moveTo>
                    <a:pt x="0" y="0"/>
                  </a:moveTo>
                  <a:lnTo>
                    <a:pt x="2059359" y="0"/>
                  </a:lnTo>
                  <a:lnTo>
                    <a:pt x="2059359" y="3541235"/>
                  </a:lnTo>
                  <a:lnTo>
                    <a:pt x="0" y="3541235"/>
                  </a:lnTo>
                  <a:lnTo>
                    <a:pt x="0"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r>
                <a:rPr lang="en-US" sz="1763" dirty="0">
                  <a:gradFill>
                    <a:gsLst>
                      <a:gs pos="1250">
                        <a:schemeClr val="tx1"/>
                      </a:gs>
                      <a:gs pos="100000">
                        <a:schemeClr val="tx1"/>
                      </a:gs>
                    </a:gsLst>
                    <a:lin ang="5400000" scaled="0"/>
                  </a:gradFill>
                </a:rPr>
                <a:t>OneDrive for Business</a:t>
              </a:r>
            </a:p>
          </p:txBody>
        </p:sp>
        <p:sp>
          <p:nvSpPr>
            <p:cNvPr id="23" name="Freeform 6"/>
            <p:cNvSpPr>
              <a:spLocks noChangeAspect="1" noEditPoints="1"/>
            </p:cNvSpPr>
            <p:nvPr/>
          </p:nvSpPr>
          <p:spPr bwMode="black">
            <a:xfrm>
              <a:off x="9512066" y="4991250"/>
              <a:ext cx="920917" cy="1178521"/>
            </a:xfrm>
            <a:custGeom>
              <a:avLst/>
              <a:gdLst>
                <a:gd name="T0" fmla="*/ 326 w 813"/>
                <a:gd name="T1" fmla="*/ 0 h 1040"/>
                <a:gd name="T2" fmla="*/ 121 w 813"/>
                <a:gd name="T3" fmla="*/ 174 h 1040"/>
                <a:gd name="T4" fmla="*/ 121 w 813"/>
                <a:gd name="T5" fmla="*/ 254 h 1040"/>
                <a:gd name="T6" fmla="*/ 0 w 813"/>
                <a:gd name="T7" fmla="*/ 357 h 1040"/>
                <a:gd name="T8" fmla="*/ 0 w 813"/>
                <a:gd name="T9" fmla="*/ 1040 h 1040"/>
                <a:gd name="T10" fmla="*/ 692 w 813"/>
                <a:gd name="T11" fmla="*/ 1040 h 1040"/>
                <a:gd name="T12" fmla="*/ 692 w 813"/>
                <a:gd name="T13" fmla="*/ 857 h 1040"/>
                <a:gd name="T14" fmla="*/ 813 w 813"/>
                <a:gd name="T15" fmla="*/ 857 h 1040"/>
                <a:gd name="T16" fmla="*/ 813 w 813"/>
                <a:gd name="T17" fmla="*/ 0 h 1040"/>
                <a:gd name="T18" fmla="*/ 326 w 813"/>
                <a:gd name="T19" fmla="*/ 0 h 1040"/>
                <a:gd name="T20" fmla="*/ 619 w 813"/>
                <a:gd name="T21" fmla="*/ 978 h 1040"/>
                <a:gd name="T22" fmla="*/ 73 w 813"/>
                <a:gd name="T23" fmla="*/ 978 h 1040"/>
                <a:gd name="T24" fmla="*/ 73 w 813"/>
                <a:gd name="T25" fmla="*/ 424 h 1040"/>
                <a:gd name="T26" fmla="*/ 121 w 813"/>
                <a:gd name="T27" fmla="*/ 424 h 1040"/>
                <a:gd name="T28" fmla="*/ 121 w 813"/>
                <a:gd name="T29" fmla="*/ 857 h 1040"/>
                <a:gd name="T30" fmla="*/ 619 w 813"/>
                <a:gd name="T31" fmla="*/ 857 h 1040"/>
                <a:gd name="T32" fmla="*/ 619 w 813"/>
                <a:gd name="T33" fmla="*/ 978 h 1040"/>
                <a:gd name="T34" fmla="*/ 740 w 813"/>
                <a:gd name="T35" fmla="*/ 796 h 1040"/>
                <a:gd name="T36" fmla="*/ 194 w 813"/>
                <a:gd name="T37" fmla="*/ 796 h 1040"/>
                <a:gd name="T38" fmla="*/ 194 w 813"/>
                <a:gd name="T39" fmla="*/ 241 h 1040"/>
                <a:gd name="T40" fmla="*/ 404 w 813"/>
                <a:gd name="T41" fmla="*/ 241 h 1040"/>
                <a:gd name="T42" fmla="*/ 404 w 813"/>
                <a:gd name="T43" fmla="*/ 62 h 1040"/>
                <a:gd name="T44" fmla="*/ 740 w 813"/>
                <a:gd name="T45" fmla="*/ 62 h 1040"/>
                <a:gd name="T46" fmla="*/ 740 w 813"/>
                <a:gd name="T47" fmla="*/ 796 h 1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13" h="1040">
                  <a:moveTo>
                    <a:pt x="326" y="0"/>
                  </a:moveTo>
                  <a:lnTo>
                    <a:pt x="121" y="174"/>
                  </a:lnTo>
                  <a:lnTo>
                    <a:pt x="121" y="254"/>
                  </a:lnTo>
                  <a:lnTo>
                    <a:pt x="0" y="357"/>
                  </a:lnTo>
                  <a:lnTo>
                    <a:pt x="0" y="1040"/>
                  </a:lnTo>
                  <a:lnTo>
                    <a:pt x="692" y="1040"/>
                  </a:lnTo>
                  <a:lnTo>
                    <a:pt x="692" y="857"/>
                  </a:lnTo>
                  <a:lnTo>
                    <a:pt x="813" y="857"/>
                  </a:lnTo>
                  <a:lnTo>
                    <a:pt x="813" y="0"/>
                  </a:lnTo>
                  <a:lnTo>
                    <a:pt x="326" y="0"/>
                  </a:lnTo>
                  <a:close/>
                  <a:moveTo>
                    <a:pt x="619" y="978"/>
                  </a:moveTo>
                  <a:lnTo>
                    <a:pt x="73" y="978"/>
                  </a:lnTo>
                  <a:lnTo>
                    <a:pt x="73" y="424"/>
                  </a:lnTo>
                  <a:lnTo>
                    <a:pt x="121" y="424"/>
                  </a:lnTo>
                  <a:lnTo>
                    <a:pt x="121" y="857"/>
                  </a:lnTo>
                  <a:lnTo>
                    <a:pt x="619" y="857"/>
                  </a:lnTo>
                  <a:lnTo>
                    <a:pt x="619" y="978"/>
                  </a:lnTo>
                  <a:close/>
                  <a:moveTo>
                    <a:pt x="740" y="796"/>
                  </a:moveTo>
                  <a:lnTo>
                    <a:pt x="194" y="796"/>
                  </a:lnTo>
                  <a:lnTo>
                    <a:pt x="194" y="241"/>
                  </a:lnTo>
                  <a:lnTo>
                    <a:pt x="404" y="241"/>
                  </a:lnTo>
                  <a:lnTo>
                    <a:pt x="404" y="62"/>
                  </a:lnTo>
                  <a:lnTo>
                    <a:pt x="740" y="62"/>
                  </a:lnTo>
                  <a:lnTo>
                    <a:pt x="740" y="796"/>
                  </a:lnTo>
                  <a:close/>
                </a:path>
              </a:pathLst>
            </a:custGeom>
            <a:solidFill>
              <a:schemeClr val="bg1"/>
            </a:solidFill>
            <a:ln w="7" cap="flat">
              <a:noFill/>
              <a:prstDash val="solid"/>
              <a:miter lim="800000"/>
              <a:headEnd/>
              <a:tailEnd/>
            </a:ln>
          </p:spPr>
          <p:txBody>
            <a:bodyPr vert="horz" wrap="square" lIns="91403" tIns="45701" rIns="91403" bIns="45701" numCol="1" anchor="t" anchorCtr="0" compatLnSpc="1">
              <a:prstTxWarp prst="textNoShape">
                <a:avLst/>
              </a:prstTxWarp>
            </a:bodyPr>
            <a:lstStyle/>
            <a:p>
              <a:pPr defTabSz="895728"/>
              <a:endParaRPr lang="en-US" sz="1665">
                <a:solidFill>
                  <a:srgbClr val="000000"/>
                </a:solidFill>
              </a:endParaRPr>
            </a:p>
          </p:txBody>
        </p:sp>
        <p:sp>
          <p:nvSpPr>
            <p:cNvPr id="55" name="Freeform 54"/>
            <p:cNvSpPr/>
            <p:nvPr/>
          </p:nvSpPr>
          <p:spPr>
            <a:xfrm>
              <a:off x="8968642" y="2200233"/>
              <a:ext cx="1990120" cy="1746636"/>
            </a:xfrm>
            <a:custGeom>
              <a:avLst/>
              <a:gdLst>
                <a:gd name="connsiteX0" fmla="*/ 0 w 2059359"/>
                <a:gd name="connsiteY0" fmla="*/ 0 h 3541235"/>
                <a:gd name="connsiteX1" fmla="*/ 2059359 w 2059359"/>
                <a:gd name="connsiteY1" fmla="*/ 0 h 3541235"/>
                <a:gd name="connsiteX2" fmla="*/ 2059359 w 2059359"/>
                <a:gd name="connsiteY2" fmla="*/ 3541235 h 3541235"/>
                <a:gd name="connsiteX3" fmla="*/ 0 w 2059359"/>
                <a:gd name="connsiteY3" fmla="*/ 3541235 h 3541235"/>
                <a:gd name="connsiteX4" fmla="*/ 0 w 2059359"/>
                <a:gd name="connsiteY4" fmla="*/ 0 h 35412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9359" h="3541235">
                  <a:moveTo>
                    <a:pt x="0" y="0"/>
                  </a:moveTo>
                  <a:lnTo>
                    <a:pt x="2059359" y="0"/>
                  </a:lnTo>
                  <a:lnTo>
                    <a:pt x="2059359" y="3541235"/>
                  </a:lnTo>
                  <a:lnTo>
                    <a:pt x="0" y="3541235"/>
                  </a:lnTo>
                  <a:lnTo>
                    <a:pt x="0"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r>
                <a:rPr lang="en-US" sz="1763" dirty="0">
                  <a:gradFill>
                    <a:gsLst>
                      <a:gs pos="1250">
                        <a:schemeClr val="tx1"/>
                      </a:gs>
                      <a:gs pos="100000">
                        <a:schemeClr val="tx1"/>
                      </a:gs>
                    </a:gsLst>
                    <a:lin ang="5400000" scaled="0"/>
                  </a:gradFill>
                </a:rPr>
                <a:t>OneDrive</a:t>
              </a:r>
            </a:p>
          </p:txBody>
        </p:sp>
        <p:sp>
          <p:nvSpPr>
            <p:cNvPr id="56" name="Freeform 6"/>
            <p:cNvSpPr>
              <a:spLocks noChangeAspect="1" noEditPoints="1"/>
            </p:cNvSpPr>
            <p:nvPr/>
          </p:nvSpPr>
          <p:spPr bwMode="black">
            <a:xfrm>
              <a:off x="9503243" y="2656695"/>
              <a:ext cx="920917" cy="1178521"/>
            </a:xfrm>
            <a:custGeom>
              <a:avLst/>
              <a:gdLst>
                <a:gd name="T0" fmla="*/ 326 w 813"/>
                <a:gd name="T1" fmla="*/ 0 h 1040"/>
                <a:gd name="T2" fmla="*/ 121 w 813"/>
                <a:gd name="T3" fmla="*/ 174 h 1040"/>
                <a:gd name="T4" fmla="*/ 121 w 813"/>
                <a:gd name="T5" fmla="*/ 254 h 1040"/>
                <a:gd name="T6" fmla="*/ 0 w 813"/>
                <a:gd name="T7" fmla="*/ 357 h 1040"/>
                <a:gd name="T8" fmla="*/ 0 w 813"/>
                <a:gd name="T9" fmla="*/ 1040 h 1040"/>
                <a:gd name="T10" fmla="*/ 692 w 813"/>
                <a:gd name="T11" fmla="*/ 1040 h 1040"/>
                <a:gd name="T12" fmla="*/ 692 w 813"/>
                <a:gd name="T13" fmla="*/ 857 h 1040"/>
                <a:gd name="T14" fmla="*/ 813 w 813"/>
                <a:gd name="T15" fmla="*/ 857 h 1040"/>
                <a:gd name="T16" fmla="*/ 813 w 813"/>
                <a:gd name="T17" fmla="*/ 0 h 1040"/>
                <a:gd name="T18" fmla="*/ 326 w 813"/>
                <a:gd name="T19" fmla="*/ 0 h 1040"/>
                <a:gd name="T20" fmla="*/ 619 w 813"/>
                <a:gd name="T21" fmla="*/ 978 h 1040"/>
                <a:gd name="T22" fmla="*/ 73 w 813"/>
                <a:gd name="T23" fmla="*/ 978 h 1040"/>
                <a:gd name="T24" fmla="*/ 73 w 813"/>
                <a:gd name="T25" fmla="*/ 424 h 1040"/>
                <a:gd name="T26" fmla="*/ 121 w 813"/>
                <a:gd name="T27" fmla="*/ 424 h 1040"/>
                <a:gd name="T28" fmla="*/ 121 w 813"/>
                <a:gd name="T29" fmla="*/ 857 h 1040"/>
                <a:gd name="T30" fmla="*/ 619 w 813"/>
                <a:gd name="T31" fmla="*/ 857 h 1040"/>
                <a:gd name="T32" fmla="*/ 619 w 813"/>
                <a:gd name="T33" fmla="*/ 978 h 1040"/>
                <a:gd name="T34" fmla="*/ 740 w 813"/>
                <a:gd name="T35" fmla="*/ 796 h 1040"/>
                <a:gd name="T36" fmla="*/ 194 w 813"/>
                <a:gd name="T37" fmla="*/ 796 h 1040"/>
                <a:gd name="T38" fmla="*/ 194 w 813"/>
                <a:gd name="T39" fmla="*/ 241 h 1040"/>
                <a:gd name="T40" fmla="*/ 404 w 813"/>
                <a:gd name="T41" fmla="*/ 241 h 1040"/>
                <a:gd name="T42" fmla="*/ 404 w 813"/>
                <a:gd name="T43" fmla="*/ 62 h 1040"/>
                <a:gd name="T44" fmla="*/ 740 w 813"/>
                <a:gd name="T45" fmla="*/ 62 h 1040"/>
                <a:gd name="T46" fmla="*/ 740 w 813"/>
                <a:gd name="T47" fmla="*/ 796 h 1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13" h="1040">
                  <a:moveTo>
                    <a:pt x="326" y="0"/>
                  </a:moveTo>
                  <a:lnTo>
                    <a:pt x="121" y="174"/>
                  </a:lnTo>
                  <a:lnTo>
                    <a:pt x="121" y="254"/>
                  </a:lnTo>
                  <a:lnTo>
                    <a:pt x="0" y="357"/>
                  </a:lnTo>
                  <a:lnTo>
                    <a:pt x="0" y="1040"/>
                  </a:lnTo>
                  <a:lnTo>
                    <a:pt x="692" y="1040"/>
                  </a:lnTo>
                  <a:lnTo>
                    <a:pt x="692" y="857"/>
                  </a:lnTo>
                  <a:lnTo>
                    <a:pt x="813" y="857"/>
                  </a:lnTo>
                  <a:lnTo>
                    <a:pt x="813" y="0"/>
                  </a:lnTo>
                  <a:lnTo>
                    <a:pt x="326" y="0"/>
                  </a:lnTo>
                  <a:close/>
                  <a:moveTo>
                    <a:pt x="619" y="978"/>
                  </a:moveTo>
                  <a:lnTo>
                    <a:pt x="73" y="978"/>
                  </a:lnTo>
                  <a:lnTo>
                    <a:pt x="73" y="424"/>
                  </a:lnTo>
                  <a:lnTo>
                    <a:pt x="121" y="424"/>
                  </a:lnTo>
                  <a:lnTo>
                    <a:pt x="121" y="857"/>
                  </a:lnTo>
                  <a:lnTo>
                    <a:pt x="619" y="857"/>
                  </a:lnTo>
                  <a:lnTo>
                    <a:pt x="619" y="978"/>
                  </a:lnTo>
                  <a:close/>
                  <a:moveTo>
                    <a:pt x="740" y="796"/>
                  </a:moveTo>
                  <a:lnTo>
                    <a:pt x="194" y="796"/>
                  </a:lnTo>
                  <a:lnTo>
                    <a:pt x="194" y="241"/>
                  </a:lnTo>
                  <a:lnTo>
                    <a:pt x="404" y="241"/>
                  </a:lnTo>
                  <a:lnTo>
                    <a:pt x="404" y="62"/>
                  </a:lnTo>
                  <a:lnTo>
                    <a:pt x="740" y="62"/>
                  </a:lnTo>
                  <a:lnTo>
                    <a:pt x="740" y="796"/>
                  </a:lnTo>
                  <a:close/>
                </a:path>
              </a:pathLst>
            </a:custGeom>
            <a:solidFill>
              <a:schemeClr val="bg1"/>
            </a:solidFill>
            <a:ln w="7" cap="flat">
              <a:noFill/>
              <a:prstDash val="solid"/>
              <a:miter lim="800000"/>
              <a:headEnd/>
              <a:tailEnd/>
            </a:ln>
          </p:spPr>
          <p:txBody>
            <a:bodyPr vert="horz" wrap="square" lIns="91403" tIns="45701" rIns="91403" bIns="45701" numCol="1" anchor="t" anchorCtr="0" compatLnSpc="1">
              <a:prstTxWarp prst="textNoShape">
                <a:avLst/>
              </a:prstTxWarp>
            </a:bodyPr>
            <a:lstStyle/>
            <a:p>
              <a:pPr defTabSz="895728"/>
              <a:endParaRPr lang="en-US" sz="1665">
                <a:solidFill>
                  <a:srgbClr val="000000"/>
                </a:solidFill>
              </a:endParaRPr>
            </a:p>
          </p:txBody>
        </p:sp>
      </p:grpSp>
      <p:grpSp>
        <p:nvGrpSpPr>
          <p:cNvPr id="51" name="Group 50"/>
          <p:cNvGrpSpPr/>
          <p:nvPr/>
        </p:nvGrpSpPr>
        <p:grpSpPr>
          <a:xfrm>
            <a:off x="5772198" y="3887319"/>
            <a:ext cx="2544584" cy="2412897"/>
            <a:chOff x="5889476" y="3964893"/>
            <a:chExt cx="2596284" cy="2461922"/>
          </a:xfrm>
        </p:grpSpPr>
        <p:sp>
          <p:nvSpPr>
            <p:cNvPr id="57" name="Freeform 56"/>
            <p:cNvSpPr/>
            <p:nvPr/>
          </p:nvSpPr>
          <p:spPr>
            <a:xfrm>
              <a:off x="5889476" y="3964893"/>
              <a:ext cx="2596284" cy="2461922"/>
            </a:xfrm>
            <a:custGeom>
              <a:avLst/>
              <a:gdLst>
                <a:gd name="connsiteX0" fmla="*/ 0 w 2059359"/>
                <a:gd name="connsiteY0" fmla="*/ 0 h 3541235"/>
                <a:gd name="connsiteX1" fmla="*/ 2059359 w 2059359"/>
                <a:gd name="connsiteY1" fmla="*/ 0 h 3541235"/>
                <a:gd name="connsiteX2" fmla="*/ 2059359 w 2059359"/>
                <a:gd name="connsiteY2" fmla="*/ 3541235 h 3541235"/>
                <a:gd name="connsiteX3" fmla="*/ 0 w 2059359"/>
                <a:gd name="connsiteY3" fmla="*/ 3541235 h 3541235"/>
                <a:gd name="connsiteX4" fmla="*/ 0 w 2059359"/>
                <a:gd name="connsiteY4" fmla="*/ 0 h 35412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9359" h="3541235">
                  <a:moveTo>
                    <a:pt x="0" y="0"/>
                  </a:moveTo>
                  <a:lnTo>
                    <a:pt x="2059359" y="0"/>
                  </a:lnTo>
                  <a:lnTo>
                    <a:pt x="2059359" y="3541235"/>
                  </a:lnTo>
                  <a:lnTo>
                    <a:pt x="0" y="3541235"/>
                  </a:lnTo>
                  <a:lnTo>
                    <a:pt x="0"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r>
                <a:rPr lang="en-US" sz="1763" dirty="0">
                  <a:gradFill>
                    <a:gsLst>
                      <a:gs pos="1250">
                        <a:schemeClr val="tx1"/>
                      </a:gs>
                      <a:gs pos="100000">
                        <a:schemeClr val="tx1"/>
                      </a:gs>
                    </a:gsLst>
                    <a:lin ang="5400000" scaled="0"/>
                  </a:gradFill>
                </a:rPr>
                <a:t>Client API</a:t>
              </a:r>
            </a:p>
          </p:txBody>
        </p:sp>
        <p:sp>
          <p:nvSpPr>
            <p:cNvPr id="60" name="Rectangle 59"/>
            <p:cNvSpPr/>
            <p:nvPr/>
          </p:nvSpPr>
          <p:spPr>
            <a:xfrm>
              <a:off x="5960181" y="5756633"/>
              <a:ext cx="1215292" cy="636844"/>
            </a:xfrm>
            <a:prstGeom prst="rect">
              <a:avLst/>
            </a:prstGeom>
            <a:solidFill>
              <a:schemeClr val="accent1"/>
            </a:solidFill>
            <a:ln w="10795" cap="flat" cmpd="sng" algn="ctr">
              <a:noFill/>
              <a:prstDash val="solid"/>
            </a:ln>
            <a:effectLst/>
          </p:spPr>
          <p:txBody>
            <a:bodyPr lIns="121823" tIns="60911" rIns="121823" bIns="60911" rtlCol="0" anchor="t" anchorCtr="0"/>
            <a:lstStyle/>
            <a:p>
              <a:pPr defTabSz="895725"/>
              <a:r>
                <a:rPr lang="en-US" sz="1567" dirty="0">
                  <a:gradFill>
                    <a:gsLst>
                      <a:gs pos="0">
                        <a:schemeClr val="bg1"/>
                      </a:gs>
                      <a:gs pos="53000">
                        <a:schemeClr val="bg1"/>
                      </a:gs>
                    </a:gsLst>
                    <a:lin ang="5400000" scaled="0"/>
                  </a:gradFill>
                  <a:ea typeface="Segoe UI" pitchFamily="34" charset="0"/>
                  <a:cs typeface="Segoe UI" pitchFamily="34" charset="0"/>
                </a:rPr>
                <a:t>Search</a:t>
              </a:r>
            </a:p>
          </p:txBody>
        </p:sp>
        <p:sp>
          <p:nvSpPr>
            <p:cNvPr id="65" name="Rectangle 64"/>
            <p:cNvSpPr/>
            <p:nvPr/>
          </p:nvSpPr>
          <p:spPr>
            <a:xfrm>
              <a:off x="5961405" y="4426088"/>
              <a:ext cx="1215292" cy="636844"/>
            </a:xfrm>
            <a:prstGeom prst="rect">
              <a:avLst/>
            </a:prstGeom>
            <a:solidFill>
              <a:schemeClr val="accent1"/>
            </a:solidFill>
            <a:ln w="10795" cap="flat" cmpd="sng" algn="ctr">
              <a:noFill/>
              <a:prstDash val="solid"/>
            </a:ln>
            <a:effectLst/>
          </p:spPr>
          <p:txBody>
            <a:bodyPr lIns="121823" tIns="60911" rIns="121823" bIns="60911" rtlCol="0" anchor="t" anchorCtr="0"/>
            <a:lstStyle/>
            <a:p>
              <a:pPr defTabSz="895725">
                <a:defRPr/>
              </a:pPr>
              <a:r>
                <a:rPr lang="en-US" sz="1567" dirty="0">
                  <a:gradFill>
                    <a:gsLst>
                      <a:gs pos="0">
                        <a:schemeClr val="bg1"/>
                      </a:gs>
                      <a:gs pos="53000">
                        <a:schemeClr val="bg1"/>
                      </a:gs>
                    </a:gsLst>
                    <a:lin ang="5400000" scaled="0"/>
                  </a:gradFill>
                  <a:ea typeface="Segoe UI" pitchFamily="34" charset="0"/>
                  <a:cs typeface="Segoe UI" pitchFamily="34" charset="0"/>
                </a:rPr>
                <a:t>Sites, Lists and Libs</a:t>
              </a:r>
            </a:p>
          </p:txBody>
        </p:sp>
        <p:sp>
          <p:nvSpPr>
            <p:cNvPr id="68" name="Rectangle 67"/>
            <p:cNvSpPr/>
            <p:nvPr/>
          </p:nvSpPr>
          <p:spPr>
            <a:xfrm>
              <a:off x="7224878" y="4426088"/>
              <a:ext cx="1215292" cy="636844"/>
            </a:xfrm>
            <a:prstGeom prst="rect">
              <a:avLst/>
            </a:prstGeom>
            <a:solidFill>
              <a:schemeClr val="accent1"/>
            </a:solidFill>
            <a:ln w="10795" cap="flat" cmpd="sng" algn="ctr">
              <a:noFill/>
              <a:prstDash val="solid"/>
            </a:ln>
            <a:effectLst/>
          </p:spPr>
          <p:txBody>
            <a:bodyPr lIns="121823" tIns="60911" rIns="121823" bIns="60911" rtlCol="0" anchor="t" anchorCtr="0"/>
            <a:lstStyle/>
            <a:p>
              <a:pPr defTabSz="895725"/>
              <a:r>
                <a:rPr lang="en-US" sz="1567" dirty="0">
                  <a:gradFill>
                    <a:gsLst>
                      <a:gs pos="0">
                        <a:schemeClr val="bg1"/>
                      </a:gs>
                      <a:gs pos="53000">
                        <a:schemeClr val="bg1"/>
                      </a:gs>
                    </a:gsLst>
                    <a:lin ang="5400000" scaled="0"/>
                  </a:gradFill>
                  <a:ea typeface="Segoe UI" pitchFamily="34" charset="0"/>
                  <a:cs typeface="Segoe UI" pitchFamily="34" charset="0"/>
                </a:rPr>
                <a:t>Taxonomy</a:t>
              </a:r>
            </a:p>
          </p:txBody>
        </p:sp>
        <p:sp>
          <p:nvSpPr>
            <p:cNvPr id="71" name="Rectangle 70"/>
            <p:cNvSpPr/>
            <p:nvPr/>
          </p:nvSpPr>
          <p:spPr>
            <a:xfrm>
              <a:off x="7220475" y="5089493"/>
              <a:ext cx="1215292" cy="636844"/>
            </a:xfrm>
            <a:prstGeom prst="rect">
              <a:avLst/>
            </a:prstGeom>
            <a:solidFill>
              <a:schemeClr val="accent1"/>
            </a:solidFill>
            <a:ln w="10795" cap="flat" cmpd="sng" algn="ctr">
              <a:noFill/>
              <a:prstDash val="solid"/>
            </a:ln>
            <a:effectLst/>
          </p:spPr>
          <p:txBody>
            <a:bodyPr lIns="121823" tIns="60911" rIns="121823" bIns="60911" rtlCol="0" anchor="t" anchorCtr="0"/>
            <a:lstStyle/>
            <a:p>
              <a:pPr defTabSz="895725"/>
              <a:r>
                <a:rPr lang="en-US" sz="1567" dirty="0">
                  <a:gradFill>
                    <a:gsLst>
                      <a:gs pos="0">
                        <a:schemeClr val="bg1"/>
                      </a:gs>
                      <a:gs pos="53000">
                        <a:schemeClr val="bg1"/>
                      </a:gs>
                    </a:gsLst>
                    <a:lin ang="5400000" scaled="0"/>
                  </a:gradFill>
                  <a:ea typeface="Segoe UI" pitchFamily="34" charset="0"/>
                  <a:cs typeface="Segoe UI" pitchFamily="34" charset="0"/>
                </a:rPr>
                <a:t>BCS</a:t>
              </a:r>
            </a:p>
          </p:txBody>
        </p:sp>
        <p:grpSp>
          <p:nvGrpSpPr>
            <p:cNvPr id="73" name="Group 72"/>
            <p:cNvGrpSpPr/>
            <p:nvPr/>
          </p:nvGrpSpPr>
          <p:grpSpPr>
            <a:xfrm>
              <a:off x="5953046" y="5091360"/>
              <a:ext cx="1215292" cy="636844"/>
              <a:chOff x="2278993" y="1212341"/>
              <a:chExt cx="1920240" cy="1005851"/>
            </a:xfrm>
          </p:grpSpPr>
          <p:sp>
            <p:nvSpPr>
              <p:cNvPr id="74" name="Rectangle 73"/>
              <p:cNvSpPr/>
              <p:nvPr/>
            </p:nvSpPr>
            <p:spPr>
              <a:xfrm>
                <a:off x="2278993" y="1212341"/>
                <a:ext cx="1920240" cy="1005851"/>
              </a:xfrm>
              <a:prstGeom prst="rect">
                <a:avLst/>
              </a:prstGeom>
              <a:solidFill>
                <a:schemeClr val="accent1"/>
              </a:solidFill>
              <a:ln w="10795" cap="flat" cmpd="sng" algn="ctr">
                <a:noFill/>
                <a:prstDash val="solid"/>
              </a:ln>
              <a:effectLst/>
            </p:spPr>
            <p:txBody>
              <a:bodyPr lIns="121823" tIns="60911" rIns="121823" bIns="60911" rtlCol="0" anchor="t" anchorCtr="0"/>
              <a:lstStyle/>
              <a:p>
                <a:pPr defTabSz="895725"/>
                <a:r>
                  <a:rPr lang="en-US" sz="1567" dirty="0">
                    <a:gradFill>
                      <a:gsLst>
                        <a:gs pos="0">
                          <a:schemeClr val="bg1"/>
                        </a:gs>
                        <a:gs pos="53000">
                          <a:schemeClr val="bg1"/>
                        </a:gs>
                      </a:gsLst>
                      <a:lin ang="5400000" scaled="0"/>
                    </a:gradFill>
                    <a:ea typeface="Segoe UI" pitchFamily="34" charset="0"/>
                    <a:cs typeface="Segoe UI" pitchFamily="34" charset="0"/>
                  </a:rPr>
                  <a:t>Workflow</a:t>
                </a:r>
              </a:p>
            </p:txBody>
          </p:sp>
          <p:grpSp>
            <p:nvGrpSpPr>
              <p:cNvPr id="75" name="Group 74"/>
              <p:cNvGrpSpPr/>
              <p:nvPr/>
            </p:nvGrpSpPr>
            <p:grpSpPr bwMode="black">
              <a:xfrm>
                <a:off x="3152237" y="1535182"/>
                <a:ext cx="167781" cy="350062"/>
                <a:chOff x="3525838" y="989012"/>
                <a:chExt cx="401638" cy="838201"/>
              </a:xfrm>
            </p:grpSpPr>
            <p:sp>
              <p:nvSpPr>
                <p:cNvPr id="77" name="Freeform 37"/>
                <p:cNvSpPr>
                  <a:spLocks/>
                </p:cNvSpPr>
                <p:nvPr/>
              </p:nvSpPr>
              <p:spPr bwMode="black">
                <a:xfrm>
                  <a:off x="3824288" y="1733550"/>
                  <a:ext cx="103188" cy="93663"/>
                </a:xfrm>
                <a:custGeom>
                  <a:avLst/>
                  <a:gdLst>
                    <a:gd name="T0" fmla="*/ 58 w 110"/>
                    <a:gd name="T1" fmla="*/ 43 h 101"/>
                    <a:gd name="T2" fmla="*/ 38 w 110"/>
                    <a:gd name="T3" fmla="*/ 59 h 101"/>
                    <a:gd name="T4" fmla="*/ 17 w 110"/>
                    <a:gd name="T5" fmla="*/ 43 h 101"/>
                    <a:gd name="T6" fmla="*/ 0 w 110"/>
                    <a:gd name="T7" fmla="*/ 29 h 101"/>
                    <a:gd name="T8" fmla="*/ 0 w 110"/>
                    <a:gd name="T9" fmla="*/ 45 h 101"/>
                    <a:gd name="T10" fmla="*/ 56 w 110"/>
                    <a:gd name="T11" fmla="*/ 101 h 101"/>
                    <a:gd name="T12" fmla="*/ 110 w 110"/>
                    <a:gd name="T13" fmla="*/ 45 h 101"/>
                    <a:gd name="T14" fmla="*/ 110 w 110"/>
                    <a:gd name="T15" fmla="*/ 0 h 101"/>
                    <a:gd name="T16" fmla="*/ 58 w 110"/>
                    <a:gd name="T17" fmla="*/ 43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01">
                      <a:moveTo>
                        <a:pt x="58" y="43"/>
                      </a:moveTo>
                      <a:cubicBezTo>
                        <a:pt x="38" y="59"/>
                        <a:pt x="38" y="59"/>
                        <a:pt x="38" y="59"/>
                      </a:cubicBezTo>
                      <a:cubicBezTo>
                        <a:pt x="17" y="43"/>
                        <a:pt x="17" y="43"/>
                        <a:pt x="17" y="43"/>
                      </a:cubicBezTo>
                      <a:cubicBezTo>
                        <a:pt x="13" y="40"/>
                        <a:pt x="7" y="35"/>
                        <a:pt x="0" y="29"/>
                      </a:cubicBezTo>
                      <a:cubicBezTo>
                        <a:pt x="0" y="45"/>
                        <a:pt x="0" y="45"/>
                        <a:pt x="0" y="45"/>
                      </a:cubicBezTo>
                      <a:cubicBezTo>
                        <a:pt x="0" y="76"/>
                        <a:pt x="25" y="101"/>
                        <a:pt x="56" y="101"/>
                      </a:cubicBezTo>
                      <a:cubicBezTo>
                        <a:pt x="85" y="101"/>
                        <a:pt x="110" y="76"/>
                        <a:pt x="110" y="45"/>
                      </a:cubicBezTo>
                      <a:cubicBezTo>
                        <a:pt x="110" y="0"/>
                        <a:pt x="110" y="0"/>
                        <a:pt x="110" y="0"/>
                      </a:cubicBezTo>
                      <a:cubicBezTo>
                        <a:pt x="86" y="20"/>
                        <a:pt x="67" y="35"/>
                        <a:pt x="58" y="4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5701" rIns="91403" bIns="45701" numCol="1" anchor="t" anchorCtr="0" compatLnSpc="1">
                  <a:prstTxWarp prst="textNoShape">
                    <a:avLst/>
                  </a:prstTxWarp>
                </a:bodyPr>
                <a:lstStyle/>
                <a:p>
                  <a:pPr algn="ctr" defTabSz="895905"/>
                  <a:endParaRPr lang="en-US" sz="1567">
                    <a:gradFill>
                      <a:gsLst>
                        <a:gs pos="0">
                          <a:srgbClr val="FFFFFF"/>
                        </a:gs>
                        <a:gs pos="100000">
                          <a:srgbClr val="FFFFFF"/>
                        </a:gs>
                      </a:gsLst>
                      <a:lin ang="5400000" scaled="0"/>
                    </a:gradFill>
                  </a:endParaRPr>
                </a:p>
              </p:txBody>
            </p:sp>
            <p:sp>
              <p:nvSpPr>
                <p:cNvPr id="78" name="Oval 38"/>
                <p:cNvSpPr>
                  <a:spLocks noChangeArrowheads="1"/>
                </p:cNvSpPr>
                <p:nvPr/>
              </p:nvSpPr>
              <p:spPr bwMode="black">
                <a:xfrm>
                  <a:off x="3525838" y="989012"/>
                  <a:ext cx="234950" cy="2381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5701" rIns="91403" bIns="45701" numCol="1" anchor="t" anchorCtr="0" compatLnSpc="1">
                  <a:prstTxWarp prst="textNoShape">
                    <a:avLst/>
                  </a:prstTxWarp>
                </a:bodyPr>
                <a:lstStyle/>
                <a:p>
                  <a:pPr algn="ctr" defTabSz="895905"/>
                  <a:endParaRPr lang="en-US" sz="1567">
                    <a:gradFill>
                      <a:gsLst>
                        <a:gs pos="0">
                          <a:srgbClr val="FFFFFF"/>
                        </a:gs>
                        <a:gs pos="100000">
                          <a:srgbClr val="FFFFFF"/>
                        </a:gs>
                      </a:gsLst>
                      <a:lin ang="5400000" scaled="0"/>
                    </a:gradFill>
                  </a:endParaRPr>
                </a:p>
              </p:txBody>
            </p:sp>
          </p:grpSp>
        </p:grpSp>
        <p:sp>
          <p:nvSpPr>
            <p:cNvPr id="80" name="Rectangle 79"/>
            <p:cNvSpPr/>
            <p:nvPr/>
          </p:nvSpPr>
          <p:spPr>
            <a:xfrm>
              <a:off x="7212650" y="5761502"/>
              <a:ext cx="1223117" cy="631975"/>
            </a:xfrm>
            <a:prstGeom prst="rect">
              <a:avLst/>
            </a:prstGeom>
            <a:solidFill>
              <a:schemeClr val="accent1"/>
            </a:solidFill>
            <a:ln w="10795" cap="flat" cmpd="sng" algn="ctr">
              <a:noFill/>
              <a:prstDash val="solid"/>
            </a:ln>
            <a:effectLst/>
          </p:spPr>
          <p:txBody>
            <a:bodyPr lIns="119411" tIns="59705" rIns="119411" bIns="59705" rtlCol="0" anchor="t" anchorCtr="0"/>
            <a:lstStyle/>
            <a:p>
              <a:pPr defTabSz="895725"/>
              <a:r>
                <a:rPr lang="en-US" sz="3199" dirty="0">
                  <a:gradFill>
                    <a:gsLst>
                      <a:gs pos="0">
                        <a:schemeClr val="bg1"/>
                      </a:gs>
                      <a:gs pos="53000">
                        <a:schemeClr val="bg1"/>
                      </a:gs>
                    </a:gsLst>
                    <a:lin ang="5400000" scaled="0"/>
                  </a:gradFill>
                  <a:ea typeface="Segoe UI" pitchFamily="34" charset="0"/>
                  <a:cs typeface="Segoe UI" pitchFamily="34" charset="0"/>
                </a:rPr>
                <a:t>…</a:t>
              </a:r>
            </a:p>
          </p:txBody>
        </p:sp>
      </p:grpSp>
    </p:spTree>
    <p:extLst>
      <p:ext uri="{BB962C8B-B14F-4D97-AF65-F5344CB8AC3E}">
        <p14:creationId xmlns:p14="http://schemas.microsoft.com/office/powerpoint/2010/main" val="3215671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8"/>
                                        </p:tgtEl>
                                        <p:attrNameLst>
                                          <p:attrName>style.visibility</p:attrName>
                                        </p:attrNameLst>
                                      </p:cBhvr>
                                      <p:to>
                                        <p:strVal val="visible"/>
                                      </p:to>
                                    </p:set>
                                    <p:anim calcmode="lin" valueType="num">
                                      <p:cBhvr additive="base">
                                        <p:cTn id="7" dur="500" fill="hold"/>
                                        <p:tgtEl>
                                          <p:spTgt spid="48"/>
                                        </p:tgtEl>
                                        <p:attrNameLst>
                                          <p:attrName>ppt_x</p:attrName>
                                        </p:attrNameLst>
                                      </p:cBhvr>
                                      <p:tavLst>
                                        <p:tav tm="0">
                                          <p:val>
                                            <p:strVal val="#ppt_x"/>
                                          </p:val>
                                        </p:tav>
                                        <p:tav tm="100000">
                                          <p:val>
                                            <p:strVal val="#ppt_x"/>
                                          </p:val>
                                        </p:tav>
                                      </p:tavLst>
                                    </p:anim>
                                    <p:anim calcmode="lin" valueType="num">
                                      <p:cBhvr additive="base">
                                        <p:cTn id="8" dur="500" fill="hold"/>
                                        <p:tgtEl>
                                          <p:spTgt spid="48"/>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49"/>
                                        </p:tgtEl>
                                        <p:attrNameLst>
                                          <p:attrName>style.visibility</p:attrName>
                                        </p:attrNameLst>
                                      </p:cBhvr>
                                      <p:to>
                                        <p:strVal val="visible"/>
                                      </p:to>
                                    </p:set>
                                    <p:anim calcmode="lin" valueType="num">
                                      <p:cBhvr additive="base">
                                        <p:cTn id="13" dur="500" fill="hold"/>
                                        <p:tgtEl>
                                          <p:spTgt spid="49"/>
                                        </p:tgtEl>
                                        <p:attrNameLst>
                                          <p:attrName>ppt_x</p:attrName>
                                        </p:attrNameLst>
                                      </p:cBhvr>
                                      <p:tavLst>
                                        <p:tav tm="0">
                                          <p:val>
                                            <p:strVal val="#ppt_x"/>
                                          </p:val>
                                        </p:tav>
                                        <p:tav tm="100000">
                                          <p:val>
                                            <p:strVal val="#ppt_x"/>
                                          </p:val>
                                        </p:tav>
                                      </p:tavLst>
                                    </p:anim>
                                    <p:anim calcmode="lin" valueType="num">
                                      <p:cBhvr additive="base">
                                        <p:cTn id="14" dur="500" fill="hold"/>
                                        <p:tgtEl>
                                          <p:spTgt spid="49"/>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50"/>
                                        </p:tgtEl>
                                        <p:attrNameLst>
                                          <p:attrName>style.visibility</p:attrName>
                                        </p:attrNameLst>
                                      </p:cBhvr>
                                      <p:to>
                                        <p:strVal val="visible"/>
                                      </p:to>
                                    </p:set>
                                    <p:anim calcmode="lin" valueType="num">
                                      <p:cBhvr additive="base">
                                        <p:cTn id="19" dur="500" fill="hold"/>
                                        <p:tgtEl>
                                          <p:spTgt spid="50"/>
                                        </p:tgtEl>
                                        <p:attrNameLst>
                                          <p:attrName>ppt_x</p:attrName>
                                        </p:attrNameLst>
                                      </p:cBhvr>
                                      <p:tavLst>
                                        <p:tav tm="0">
                                          <p:val>
                                            <p:strVal val="#ppt_x"/>
                                          </p:val>
                                        </p:tav>
                                        <p:tav tm="100000">
                                          <p:val>
                                            <p:strVal val="#ppt_x"/>
                                          </p:val>
                                        </p:tav>
                                      </p:tavLst>
                                    </p:anim>
                                    <p:anim calcmode="lin" valueType="num">
                                      <p:cBhvr additive="base">
                                        <p:cTn id="20" dur="500" fill="hold"/>
                                        <p:tgtEl>
                                          <p:spTgt spid="50"/>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51"/>
                                        </p:tgtEl>
                                        <p:attrNameLst>
                                          <p:attrName>style.visibility</p:attrName>
                                        </p:attrNameLst>
                                      </p:cBhvr>
                                      <p:to>
                                        <p:strVal val="visible"/>
                                      </p:to>
                                    </p:set>
                                    <p:anim calcmode="lin" valueType="num">
                                      <p:cBhvr additive="base">
                                        <p:cTn id="25" dur="500" fill="hold"/>
                                        <p:tgtEl>
                                          <p:spTgt spid="51"/>
                                        </p:tgtEl>
                                        <p:attrNameLst>
                                          <p:attrName>ppt_x</p:attrName>
                                        </p:attrNameLst>
                                      </p:cBhvr>
                                      <p:tavLst>
                                        <p:tav tm="0">
                                          <p:val>
                                            <p:strVal val="#ppt_x"/>
                                          </p:val>
                                        </p:tav>
                                        <p:tav tm="100000">
                                          <p:val>
                                            <p:strVal val="#ppt_x"/>
                                          </p:val>
                                        </p:tav>
                                      </p:tavLst>
                                    </p:anim>
                                    <p:anim calcmode="lin" valueType="num">
                                      <p:cBhvr additive="base">
                                        <p:cTn id="26" dur="500" fill="hold"/>
                                        <p:tgtEl>
                                          <p:spTgt spid="51"/>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52"/>
                                        </p:tgtEl>
                                        <p:attrNameLst>
                                          <p:attrName>style.visibility</p:attrName>
                                        </p:attrNameLst>
                                      </p:cBhvr>
                                      <p:to>
                                        <p:strVal val="visible"/>
                                      </p:to>
                                    </p:set>
                                    <p:anim calcmode="lin" valueType="num">
                                      <p:cBhvr additive="base">
                                        <p:cTn id="31" dur="500" fill="hold"/>
                                        <p:tgtEl>
                                          <p:spTgt spid="52"/>
                                        </p:tgtEl>
                                        <p:attrNameLst>
                                          <p:attrName>ppt_x</p:attrName>
                                        </p:attrNameLst>
                                      </p:cBhvr>
                                      <p:tavLst>
                                        <p:tav tm="0">
                                          <p:val>
                                            <p:strVal val="#ppt_x"/>
                                          </p:val>
                                        </p:tav>
                                        <p:tav tm="100000">
                                          <p:val>
                                            <p:strVal val="#ppt_x"/>
                                          </p:val>
                                        </p:tav>
                                      </p:tavLst>
                                    </p:anim>
                                    <p:anim calcmode="lin" valueType="num">
                                      <p:cBhvr additive="base">
                                        <p:cTn id="32" dur="500" fill="hold"/>
                                        <p:tgtEl>
                                          <p:spTgt spid="5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FTTT</a:t>
            </a:r>
            <a:endParaRPr lang="en-US" dirty="0"/>
          </a:p>
        </p:txBody>
      </p:sp>
      <p:sp>
        <p:nvSpPr>
          <p:cNvPr id="3" name="Text Placeholder 2"/>
          <p:cNvSpPr>
            <a:spLocks noGrp="1"/>
          </p:cNvSpPr>
          <p:nvPr>
            <p:ph type="body" sz="quarter" idx="11"/>
          </p:nvPr>
        </p:nvSpPr>
        <p:spPr>
          <a:xfrm>
            <a:off x="269170" y="1190078"/>
            <a:ext cx="11652805" cy="2714830"/>
          </a:xfrm>
        </p:spPr>
        <p:txBody>
          <a:bodyPr/>
          <a:lstStyle/>
          <a:p>
            <a:r>
              <a:rPr lang="en-US" dirty="0" smtClean="0"/>
              <a:t>18mil recipes run a day</a:t>
            </a:r>
          </a:p>
          <a:p>
            <a:r>
              <a:rPr lang="en-US" dirty="0" smtClean="0"/>
              <a:t>140 channels</a:t>
            </a:r>
          </a:p>
          <a:p>
            <a:r>
              <a:rPr lang="en-US" dirty="0" smtClean="0"/>
              <a:t>17mil personal recipes</a:t>
            </a:r>
          </a:p>
          <a:p>
            <a:r>
              <a:rPr lang="en-US" dirty="0" smtClean="0"/>
              <a:t>50mil channel activations</a:t>
            </a:r>
            <a:endParaRPr lang="en-US" dirty="0"/>
          </a:p>
        </p:txBody>
      </p:sp>
      <p:pic>
        <p:nvPicPr>
          <p:cNvPr id="6" name="Picture 5"/>
          <p:cNvPicPr>
            <a:picLocks noChangeAspect="1"/>
          </p:cNvPicPr>
          <p:nvPr/>
        </p:nvPicPr>
        <p:blipFill rotWithShape="1">
          <a:blip r:embed="rId2"/>
          <a:srcRect r="33798" b="25809"/>
          <a:stretch/>
        </p:blipFill>
        <p:spPr>
          <a:xfrm>
            <a:off x="6095572" y="740045"/>
            <a:ext cx="6139423" cy="5983171"/>
          </a:xfrm>
          <a:prstGeom prst="rect">
            <a:avLst/>
          </a:prstGeom>
        </p:spPr>
      </p:pic>
    </p:spTree>
    <p:extLst>
      <p:ext uri="{BB962C8B-B14F-4D97-AF65-F5344CB8AC3E}">
        <p14:creationId xmlns:p14="http://schemas.microsoft.com/office/powerpoint/2010/main" val="469277515"/>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EMO</a:t>
            </a:r>
            <a:endParaRPr lang="en-US" dirty="0"/>
          </a:p>
        </p:txBody>
      </p:sp>
    </p:spTree>
    <p:extLst>
      <p:ext uri="{BB962C8B-B14F-4D97-AF65-F5344CB8AC3E}">
        <p14:creationId xmlns:p14="http://schemas.microsoft.com/office/powerpoint/2010/main" val="2562850732"/>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ET SDK</a:t>
            </a:r>
          </a:p>
        </p:txBody>
      </p:sp>
      <p:sp>
        <p:nvSpPr>
          <p:cNvPr id="4" name="Rectangle 3"/>
          <p:cNvSpPr/>
          <p:nvPr/>
        </p:nvSpPr>
        <p:spPr bwMode="auto">
          <a:xfrm>
            <a:off x="269169" y="1206487"/>
            <a:ext cx="3825508" cy="5372633"/>
          </a:xfrm>
          <a:prstGeom prst="rect">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p:nvSpPr>
        <p:spPr bwMode="auto">
          <a:xfrm>
            <a:off x="269170" y="1190077"/>
            <a:ext cx="3825507" cy="894637"/>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pic>
        <p:nvPicPr>
          <p:cNvPr id="294" name="Picture 293"/>
          <p:cNvPicPr>
            <a:picLocks noChangeAspect="1"/>
          </p:cNvPicPr>
          <p:nvPr/>
        </p:nvPicPr>
        <p:blipFill rotWithShape="1">
          <a:blip r:embed="rId3">
            <a:extLst>
              <a:ext uri="{28A0092B-C50C-407E-A947-70E740481C1C}">
                <a14:useLocalDpi xmlns:a14="http://schemas.microsoft.com/office/drawing/2010/main" val="0"/>
              </a:ext>
            </a:extLst>
          </a:blip>
          <a:srcRect t="44093"/>
          <a:stretch/>
        </p:blipFill>
        <p:spPr>
          <a:xfrm>
            <a:off x="1631170" y="1246111"/>
            <a:ext cx="1240777" cy="677101"/>
          </a:xfrm>
          <a:prstGeom prst="rect">
            <a:avLst/>
          </a:prstGeom>
        </p:spPr>
      </p:pic>
      <p:sp>
        <p:nvSpPr>
          <p:cNvPr id="8" name="Rectangle 7"/>
          <p:cNvSpPr/>
          <p:nvPr/>
        </p:nvSpPr>
        <p:spPr>
          <a:xfrm>
            <a:off x="1462205" y="3224656"/>
            <a:ext cx="1383181" cy="331813"/>
          </a:xfrm>
          <a:prstGeom prst="rect">
            <a:avLst/>
          </a:prstGeom>
        </p:spPr>
        <p:txBody>
          <a:bodyPr wrap="none">
            <a:spAutoFit/>
          </a:bodyPr>
          <a:lstStyle/>
          <a:p>
            <a:pPr algn="ctr" defTabSz="913828" fontAlgn="base">
              <a:spcBef>
                <a:spcPct val="0"/>
              </a:spcBef>
              <a:spcAft>
                <a:spcPct val="0"/>
              </a:spcAft>
            </a:pPr>
            <a:r>
              <a:rPr lang="en-US" sz="1568" dirty="0">
                <a:gradFill>
                  <a:gsLst>
                    <a:gs pos="16814">
                      <a:srgbClr val="FFFFFF"/>
                    </a:gs>
                    <a:gs pos="55000">
                      <a:srgbClr val="FFFFFF"/>
                    </a:gs>
                  </a:gsLst>
                  <a:lin ang="5400000" scaled="0"/>
                </a:gradFill>
              </a:rPr>
              <a:t>ASP.NET MVC</a:t>
            </a:r>
          </a:p>
        </p:txBody>
      </p:sp>
      <p:sp>
        <p:nvSpPr>
          <p:cNvPr id="372" name="Rectangle 371"/>
          <p:cNvSpPr/>
          <p:nvPr/>
        </p:nvSpPr>
        <p:spPr>
          <a:xfrm>
            <a:off x="1583812" y="4467205"/>
            <a:ext cx="1139967" cy="577278"/>
          </a:xfrm>
          <a:prstGeom prst="rect">
            <a:avLst/>
          </a:prstGeom>
        </p:spPr>
        <p:txBody>
          <a:bodyPr wrap="none">
            <a:spAutoFit/>
          </a:bodyPr>
          <a:lstStyle/>
          <a:p>
            <a:pPr algn="ctr" defTabSz="913828" fontAlgn="base">
              <a:spcBef>
                <a:spcPct val="0"/>
              </a:spcBef>
              <a:spcAft>
                <a:spcPct val="0"/>
              </a:spcAft>
            </a:pPr>
            <a:r>
              <a:rPr lang="en-US" sz="1568" dirty="0">
                <a:gradFill>
                  <a:gsLst>
                    <a:gs pos="16814">
                      <a:srgbClr val="FFFFFF"/>
                    </a:gs>
                    <a:gs pos="55000">
                      <a:srgbClr val="FFFFFF"/>
                    </a:gs>
                  </a:gsLst>
                  <a:lin ang="5400000" scaled="0"/>
                </a:gradFill>
              </a:rPr>
              <a:t>ASP.NET </a:t>
            </a:r>
            <a:br>
              <a:rPr lang="en-US" sz="1568" dirty="0">
                <a:gradFill>
                  <a:gsLst>
                    <a:gs pos="16814">
                      <a:srgbClr val="FFFFFF"/>
                    </a:gs>
                    <a:gs pos="55000">
                      <a:srgbClr val="FFFFFF"/>
                    </a:gs>
                  </a:gsLst>
                  <a:lin ang="5400000" scaled="0"/>
                </a:gradFill>
              </a:rPr>
            </a:br>
            <a:r>
              <a:rPr lang="en-US" sz="1568" dirty="0" err="1">
                <a:gradFill>
                  <a:gsLst>
                    <a:gs pos="16814">
                      <a:srgbClr val="FFFFFF"/>
                    </a:gs>
                    <a:gs pos="55000">
                      <a:srgbClr val="FFFFFF"/>
                    </a:gs>
                  </a:gsLst>
                  <a:lin ang="5400000" scaled="0"/>
                </a:gradFill>
              </a:rPr>
              <a:t>WebForms</a:t>
            </a:r>
            <a:endParaRPr lang="en-US" sz="1568" dirty="0">
              <a:gradFill>
                <a:gsLst>
                  <a:gs pos="16814">
                    <a:srgbClr val="FFFFFF"/>
                  </a:gs>
                  <a:gs pos="55000">
                    <a:srgbClr val="FFFFFF"/>
                  </a:gs>
                </a:gsLst>
                <a:lin ang="5400000" scaled="0"/>
              </a:gradFill>
            </a:endParaRPr>
          </a:p>
        </p:txBody>
      </p:sp>
      <p:grpSp>
        <p:nvGrpSpPr>
          <p:cNvPr id="17" name="Group 16"/>
          <p:cNvGrpSpPr/>
          <p:nvPr/>
        </p:nvGrpSpPr>
        <p:grpSpPr>
          <a:xfrm>
            <a:off x="1574140" y="2292087"/>
            <a:ext cx="1159311" cy="879254"/>
            <a:chOff x="1241897" y="2251513"/>
            <a:chExt cx="1978025" cy="1500188"/>
          </a:xfrm>
        </p:grpSpPr>
        <p:sp>
          <p:nvSpPr>
            <p:cNvPr id="11" name="Rectangle 10"/>
            <p:cNvSpPr/>
            <p:nvPr/>
          </p:nvSpPr>
          <p:spPr bwMode="auto">
            <a:xfrm>
              <a:off x="1273969" y="2279400"/>
              <a:ext cx="1902619" cy="107393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0" name="Group 9"/>
            <p:cNvGrpSpPr/>
            <p:nvPr/>
          </p:nvGrpSpPr>
          <p:grpSpPr>
            <a:xfrm>
              <a:off x="1241897" y="2251513"/>
              <a:ext cx="1978025" cy="1500188"/>
              <a:chOff x="1241897" y="2251513"/>
              <a:chExt cx="1978025" cy="1500188"/>
            </a:xfrm>
          </p:grpSpPr>
          <p:sp>
            <p:nvSpPr>
              <p:cNvPr id="410" name="Rectangle 5"/>
              <p:cNvSpPr>
                <a:spLocks noChangeArrowheads="1"/>
              </p:cNvSpPr>
              <p:nvPr/>
            </p:nvSpPr>
            <p:spPr bwMode="auto">
              <a:xfrm>
                <a:off x="1737197" y="3719951"/>
                <a:ext cx="982663" cy="317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11" name="Freeform 410"/>
              <p:cNvSpPr>
                <a:spLocks/>
              </p:cNvSpPr>
              <p:nvPr/>
            </p:nvSpPr>
            <p:spPr bwMode="auto">
              <a:xfrm>
                <a:off x="1241897" y="2251513"/>
                <a:ext cx="1978025" cy="1179513"/>
              </a:xfrm>
              <a:custGeom>
                <a:avLst/>
                <a:gdLst>
                  <a:gd name="connsiteX0" fmla="*/ 82097 w 1978025"/>
                  <a:gd name="connsiteY0" fmla="*/ 50800 h 1179513"/>
                  <a:gd name="connsiteX1" fmla="*/ 50800 w 1978025"/>
                  <a:gd name="connsiteY1" fmla="*/ 82163 h 1179513"/>
                  <a:gd name="connsiteX2" fmla="*/ 50800 w 1978025"/>
                  <a:gd name="connsiteY2" fmla="*/ 1054410 h 1179513"/>
                  <a:gd name="connsiteX3" fmla="*/ 82097 w 1978025"/>
                  <a:gd name="connsiteY3" fmla="*/ 1079500 h 1179513"/>
                  <a:gd name="connsiteX4" fmla="*/ 1891075 w 1978025"/>
                  <a:gd name="connsiteY4" fmla="*/ 1079500 h 1179513"/>
                  <a:gd name="connsiteX5" fmla="*/ 1916113 w 1978025"/>
                  <a:gd name="connsiteY5" fmla="*/ 1054410 h 1179513"/>
                  <a:gd name="connsiteX6" fmla="*/ 1916113 w 1978025"/>
                  <a:gd name="connsiteY6" fmla="*/ 82163 h 1179513"/>
                  <a:gd name="connsiteX7" fmla="*/ 1891075 w 1978025"/>
                  <a:gd name="connsiteY7" fmla="*/ 50800 h 1179513"/>
                  <a:gd name="connsiteX8" fmla="*/ 82097 w 1978025"/>
                  <a:gd name="connsiteY8" fmla="*/ 50800 h 1179513"/>
                  <a:gd name="connsiteX9" fmla="*/ 62596 w 1978025"/>
                  <a:gd name="connsiteY9" fmla="*/ 0 h 1179513"/>
                  <a:gd name="connsiteX10" fmla="*/ 1915429 w 1978025"/>
                  <a:gd name="connsiteY10" fmla="*/ 0 h 1179513"/>
                  <a:gd name="connsiteX11" fmla="*/ 1978025 w 1978025"/>
                  <a:gd name="connsiteY11" fmla="*/ 62740 h 1179513"/>
                  <a:gd name="connsiteX12" fmla="*/ 1978025 w 1978025"/>
                  <a:gd name="connsiteY12" fmla="*/ 1116773 h 1179513"/>
                  <a:gd name="connsiteX13" fmla="*/ 1915429 w 1978025"/>
                  <a:gd name="connsiteY13" fmla="*/ 1179513 h 1179513"/>
                  <a:gd name="connsiteX14" fmla="*/ 62596 w 1978025"/>
                  <a:gd name="connsiteY14" fmla="*/ 1179513 h 1179513"/>
                  <a:gd name="connsiteX15" fmla="*/ 0 w 1978025"/>
                  <a:gd name="connsiteY15" fmla="*/ 1116773 h 1179513"/>
                  <a:gd name="connsiteX16" fmla="*/ 0 w 1978025"/>
                  <a:gd name="connsiteY16" fmla="*/ 62740 h 1179513"/>
                  <a:gd name="connsiteX17" fmla="*/ 62596 w 1978025"/>
                  <a:gd name="connsiteY17" fmla="*/ 0 h 1179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8025" h="1179513">
                    <a:moveTo>
                      <a:pt x="82097" y="50800"/>
                    </a:moveTo>
                    <a:cubicBezTo>
                      <a:pt x="63319" y="50800"/>
                      <a:pt x="50800" y="63345"/>
                      <a:pt x="50800" y="82163"/>
                    </a:cubicBezTo>
                    <a:cubicBezTo>
                      <a:pt x="50800" y="82163"/>
                      <a:pt x="50800" y="82163"/>
                      <a:pt x="50800" y="1054410"/>
                    </a:cubicBezTo>
                    <a:cubicBezTo>
                      <a:pt x="50800" y="1066955"/>
                      <a:pt x="63319" y="1079500"/>
                      <a:pt x="82097" y="1079500"/>
                    </a:cubicBezTo>
                    <a:cubicBezTo>
                      <a:pt x="82097" y="1079500"/>
                      <a:pt x="82097" y="1079500"/>
                      <a:pt x="1891075" y="1079500"/>
                    </a:cubicBezTo>
                    <a:cubicBezTo>
                      <a:pt x="1903594" y="1079500"/>
                      <a:pt x="1916113" y="1066955"/>
                      <a:pt x="1916113" y="1054410"/>
                    </a:cubicBezTo>
                    <a:lnTo>
                      <a:pt x="1916113" y="82163"/>
                    </a:lnTo>
                    <a:cubicBezTo>
                      <a:pt x="1916113" y="63345"/>
                      <a:pt x="1903594" y="50800"/>
                      <a:pt x="1891075" y="50800"/>
                    </a:cubicBezTo>
                    <a:cubicBezTo>
                      <a:pt x="1891075" y="50800"/>
                      <a:pt x="1891075" y="50800"/>
                      <a:pt x="82097" y="50800"/>
                    </a:cubicBezTo>
                    <a:close/>
                    <a:moveTo>
                      <a:pt x="62596" y="0"/>
                    </a:moveTo>
                    <a:cubicBezTo>
                      <a:pt x="1915429" y="0"/>
                      <a:pt x="1915429" y="0"/>
                      <a:pt x="1915429" y="0"/>
                    </a:cubicBezTo>
                    <a:cubicBezTo>
                      <a:pt x="1946727" y="0"/>
                      <a:pt x="1978025" y="25096"/>
                      <a:pt x="1978025" y="62740"/>
                    </a:cubicBezTo>
                    <a:lnTo>
                      <a:pt x="1978025" y="1116773"/>
                    </a:lnTo>
                    <a:cubicBezTo>
                      <a:pt x="1978025" y="1154417"/>
                      <a:pt x="1946727" y="1179513"/>
                      <a:pt x="1915429" y="1179513"/>
                    </a:cubicBezTo>
                    <a:cubicBezTo>
                      <a:pt x="62596" y="1179513"/>
                      <a:pt x="62596" y="1179513"/>
                      <a:pt x="62596" y="1179513"/>
                    </a:cubicBezTo>
                    <a:cubicBezTo>
                      <a:pt x="25038" y="1179513"/>
                      <a:pt x="0" y="1154417"/>
                      <a:pt x="0" y="1116773"/>
                    </a:cubicBezTo>
                    <a:cubicBezTo>
                      <a:pt x="0" y="62740"/>
                      <a:pt x="0" y="62740"/>
                      <a:pt x="0" y="62740"/>
                    </a:cubicBezTo>
                    <a:cubicBezTo>
                      <a:pt x="0" y="25096"/>
                      <a:pt x="25038" y="0"/>
                      <a:pt x="62596" y="0"/>
                    </a:cubicBezTo>
                    <a:close/>
                  </a:path>
                </a:pathLst>
              </a:custGeom>
              <a:solidFill>
                <a:srgbClr val="000000"/>
              </a:solidFill>
              <a:ln>
                <a:noFill/>
              </a:ln>
              <a:extLst/>
            </p:spPr>
            <p:txBody>
              <a:bodyPr vert="horz" wrap="square" lIns="89619" tIns="44809" rIns="89619" bIns="44809" numCol="1" anchor="t" anchorCtr="0" compatLnSpc="1">
                <a:prstTxWarp prst="textNoShape">
                  <a:avLst/>
                </a:prstTxWarp>
                <a:noAutofit/>
              </a:bodyPr>
              <a:lstStyle/>
              <a:p>
                <a:pPr defTabSz="914093"/>
                <a:endParaRPr lang="en-US" sz="1764">
                  <a:solidFill>
                    <a:srgbClr val="FFFFFF"/>
                  </a:solidFill>
                </a:endParaRPr>
              </a:p>
            </p:txBody>
          </p:sp>
          <p:sp>
            <p:nvSpPr>
              <p:cNvPr id="412" name="Rectangle 33"/>
              <p:cNvSpPr>
                <a:spLocks noChangeArrowheads="1"/>
              </p:cNvSpPr>
              <p:nvPr/>
            </p:nvSpPr>
            <p:spPr bwMode="auto">
              <a:xfrm>
                <a:off x="2188047" y="3418326"/>
                <a:ext cx="80963" cy="3206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nvGrpSpPr>
            <p:cNvPr id="13" name="Group 12"/>
            <p:cNvGrpSpPr/>
            <p:nvPr/>
          </p:nvGrpSpPr>
          <p:grpSpPr>
            <a:xfrm>
              <a:off x="1378744" y="2471949"/>
              <a:ext cx="1712670" cy="278395"/>
              <a:chOff x="1378744" y="2471949"/>
              <a:chExt cx="1848756" cy="278395"/>
            </a:xfrm>
          </p:grpSpPr>
          <p:sp>
            <p:nvSpPr>
              <p:cNvPr id="12" name="Rectangle 11"/>
              <p:cNvSpPr/>
              <p:nvPr/>
            </p:nvSpPr>
            <p:spPr bwMode="auto">
              <a:xfrm>
                <a:off x="1378744" y="2471949"/>
                <a:ext cx="604837" cy="27839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13" name="Rectangle 412"/>
              <p:cNvSpPr/>
              <p:nvPr/>
            </p:nvSpPr>
            <p:spPr bwMode="auto">
              <a:xfrm>
                <a:off x="2001725" y="2471949"/>
                <a:ext cx="604837" cy="278395"/>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14" name="Rectangle 413"/>
              <p:cNvSpPr/>
              <p:nvPr/>
            </p:nvSpPr>
            <p:spPr bwMode="auto">
              <a:xfrm>
                <a:off x="2622663" y="2471949"/>
                <a:ext cx="604837" cy="27839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4" name="Rectangle 13"/>
            <p:cNvSpPr/>
            <p:nvPr/>
          </p:nvSpPr>
          <p:spPr bwMode="auto">
            <a:xfrm>
              <a:off x="1378744" y="2797601"/>
              <a:ext cx="308322" cy="45719"/>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15" name="Rectangle 414"/>
            <p:cNvSpPr/>
            <p:nvPr/>
          </p:nvSpPr>
          <p:spPr bwMode="auto">
            <a:xfrm>
              <a:off x="1955867" y="2797601"/>
              <a:ext cx="308322" cy="45719"/>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16" name="Rectangle 415"/>
            <p:cNvSpPr/>
            <p:nvPr/>
          </p:nvSpPr>
          <p:spPr bwMode="auto">
            <a:xfrm>
              <a:off x="2530822" y="2797601"/>
              <a:ext cx="308322" cy="45719"/>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p:nvSpPr>
          <p:spPr bwMode="auto">
            <a:xfrm>
              <a:off x="1378744" y="2874169"/>
              <a:ext cx="478631" cy="321469"/>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26" name="Rectangle 425"/>
            <p:cNvSpPr/>
            <p:nvPr/>
          </p:nvSpPr>
          <p:spPr bwMode="auto">
            <a:xfrm>
              <a:off x="1955868" y="2874169"/>
              <a:ext cx="478631" cy="321469"/>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27" name="Rectangle 426"/>
            <p:cNvSpPr/>
            <p:nvPr/>
          </p:nvSpPr>
          <p:spPr bwMode="auto">
            <a:xfrm>
              <a:off x="2530822" y="2874169"/>
              <a:ext cx="478631" cy="321469"/>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432" name="Group 431"/>
          <p:cNvGrpSpPr/>
          <p:nvPr/>
        </p:nvGrpSpPr>
        <p:grpSpPr>
          <a:xfrm>
            <a:off x="1574140" y="3641122"/>
            <a:ext cx="1159311" cy="879254"/>
            <a:chOff x="1241897" y="2251513"/>
            <a:chExt cx="1978025" cy="1500188"/>
          </a:xfrm>
        </p:grpSpPr>
        <p:sp>
          <p:nvSpPr>
            <p:cNvPr id="433" name="Rectangle 432"/>
            <p:cNvSpPr/>
            <p:nvPr/>
          </p:nvSpPr>
          <p:spPr bwMode="auto">
            <a:xfrm>
              <a:off x="1273969" y="2279400"/>
              <a:ext cx="1902619" cy="107393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34" name="Group 433"/>
            <p:cNvGrpSpPr/>
            <p:nvPr/>
          </p:nvGrpSpPr>
          <p:grpSpPr>
            <a:xfrm>
              <a:off x="1241897" y="2251513"/>
              <a:ext cx="1978025" cy="1500188"/>
              <a:chOff x="1241897" y="2251513"/>
              <a:chExt cx="1978025" cy="1500188"/>
            </a:xfrm>
          </p:grpSpPr>
          <p:sp>
            <p:nvSpPr>
              <p:cNvPr id="445" name="Rectangle 5"/>
              <p:cNvSpPr>
                <a:spLocks noChangeArrowheads="1"/>
              </p:cNvSpPr>
              <p:nvPr/>
            </p:nvSpPr>
            <p:spPr bwMode="auto">
              <a:xfrm>
                <a:off x="1737197" y="3719951"/>
                <a:ext cx="982663" cy="317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6" name="Freeform 445"/>
              <p:cNvSpPr>
                <a:spLocks/>
              </p:cNvSpPr>
              <p:nvPr/>
            </p:nvSpPr>
            <p:spPr bwMode="auto">
              <a:xfrm>
                <a:off x="1241897" y="2251513"/>
                <a:ext cx="1978025" cy="1179513"/>
              </a:xfrm>
              <a:custGeom>
                <a:avLst/>
                <a:gdLst>
                  <a:gd name="connsiteX0" fmla="*/ 82097 w 1978025"/>
                  <a:gd name="connsiteY0" fmla="*/ 50800 h 1179513"/>
                  <a:gd name="connsiteX1" fmla="*/ 50800 w 1978025"/>
                  <a:gd name="connsiteY1" fmla="*/ 82163 h 1179513"/>
                  <a:gd name="connsiteX2" fmla="*/ 50800 w 1978025"/>
                  <a:gd name="connsiteY2" fmla="*/ 1054410 h 1179513"/>
                  <a:gd name="connsiteX3" fmla="*/ 82097 w 1978025"/>
                  <a:gd name="connsiteY3" fmla="*/ 1079500 h 1179513"/>
                  <a:gd name="connsiteX4" fmla="*/ 1891075 w 1978025"/>
                  <a:gd name="connsiteY4" fmla="*/ 1079500 h 1179513"/>
                  <a:gd name="connsiteX5" fmla="*/ 1916113 w 1978025"/>
                  <a:gd name="connsiteY5" fmla="*/ 1054410 h 1179513"/>
                  <a:gd name="connsiteX6" fmla="*/ 1916113 w 1978025"/>
                  <a:gd name="connsiteY6" fmla="*/ 82163 h 1179513"/>
                  <a:gd name="connsiteX7" fmla="*/ 1891075 w 1978025"/>
                  <a:gd name="connsiteY7" fmla="*/ 50800 h 1179513"/>
                  <a:gd name="connsiteX8" fmla="*/ 82097 w 1978025"/>
                  <a:gd name="connsiteY8" fmla="*/ 50800 h 1179513"/>
                  <a:gd name="connsiteX9" fmla="*/ 62596 w 1978025"/>
                  <a:gd name="connsiteY9" fmla="*/ 0 h 1179513"/>
                  <a:gd name="connsiteX10" fmla="*/ 1915429 w 1978025"/>
                  <a:gd name="connsiteY10" fmla="*/ 0 h 1179513"/>
                  <a:gd name="connsiteX11" fmla="*/ 1978025 w 1978025"/>
                  <a:gd name="connsiteY11" fmla="*/ 62740 h 1179513"/>
                  <a:gd name="connsiteX12" fmla="*/ 1978025 w 1978025"/>
                  <a:gd name="connsiteY12" fmla="*/ 1116773 h 1179513"/>
                  <a:gd name="connsiteX13" fmla="*/ 1915429 w 1978025"/>
                  <a:gd name="connsiteY13" fmla="*/ 1179513 h 1179513"/>
                  <a:gd name="connsiteX14" fmla="*/ 62596 w 1978025"/>
                  <a:gd name="connsiteY14" fmla="*/ 1179513 h 1179513"/>
                  <a:gd name="connsiteX15" fmla="*/ 0 w 1978025"/>
                  <a:gd name="connsiteY15" fmla="*/ 1116773 h 1179513"/>
                  <a:gd name="connsiteX16" fmla="*/ 0 w 1978025"/>
                  <a:gd name="connsiteY16" fmla="*/ 62740 h 1179513"/>
                  <a:gd name="connsiteX17" fmla="*/ 62596 w 1978025"/>
                  <a:gd name="connsiteY17" fmla="*/ 0 h 1179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8025" h="1179513">
                    <a:moveTo>
                      <a:pt x="82097" y="50800"/>
                    </a:moveTo>
                    <a:cubicBezTo>
                      <a:pt x="63319" y="50800"/>
                      <a:pt x="50800" y="63345"/>
                      <a:pt x="50800" y="82163"/>
                    </a:cubicBezTo>
                    <a:cubicBezTo>
                      <a:pt x="50800" y="82163"/>
                      <a:pt x="50800" y="82163"/>
                      <a:pt x="50800" y="1054410"/>
                    </a:cubicBezTo>
                    <a:cubicBezTo>
                      <a:pt x="50800" y="1066955"/>
                      <a:pt x="63319" y="1079500"/>
                      <a:pt x="82097" y="1079500"/>
                    </a:cubicBezTo>
                    <a:cubicBezTo>
                      <a:pt x="82097" y="1079500"/>
                      <a:pt x="82097" y="1079500"/>
                      <a:pt x="1891075" y="1079500"/>
                    </a:cubicBezTo>
                    <a:cubicBezTo>
                      <a:pt x="1903594" y="1079500"/>
                      <a:pt x="1916113" y="1066955"/>
                      <a:pt x="1916113" y="1054410"/>
                    </a:cubicBezTo>
                    <a:lnTo>
                      <a:pt x="1916113" y="82163"/>
                    </a:lnTo>
                    <a:cubicBezTo>
                      <a:pt x="1916113" y="63345"/>
                      <a:pt x="1903594" y="50800"/>
                      <a:pt x="1891075" y="50800"/>
                    </a:cubicBezTo>
                    <a:cubicBezTo>
                      <a:pt x="1891075" y="50800"/>
                      <a:pt x="1891075" y="50800"/>
                      <a:pt x="82097" y="50800"/>
                    </a:cubicBezTo>
                    <a:close/>
                    <a:moveTo>
                      <a:pt x="62596" y="0"/>
                    </a:moveTo>
                    <a:cubicBezTo>
                      <a:pt x="1915429" y="0"/>
                      <a:pt x="1915429" y="0"/>
                      <a:pt x="1915429" y="0"/>
                    </a:cubicBezTo>
                    <a:cubicBezTo>
                      <a:pt x="1946727" y="0"/>
                      <a:pt x="1978025" y="25096"/>
                      <a:pt x="1978025" y="62740"/>
                    </a:cubicBezTo>
                    <a:lnTo>
                      <a:pt x="1978025" y="1116773"/>
                    </a:lnTo>
                    <a:cubicBezTo>
                      <a:pt x="1978025" y="1154417"/>
                      <a:pt x="1946727" y="1179513"/>
                      <a:pt x="1915429" y="1179513"/>
                    </a:cubicBezTo>
                    <a:cubicBezTo>
                      <a:pt x="62596" y="1179513"/>
                      <a:pt x="62596" y="1179513"/>
                      <a:pt x="62596" y="1179513"/>
                    </a:cubicBezTo>
                    <a:cubicBezTo>
                      <a:pt x="25038" y="1179513"/>
                      <a:pt x="0" y="1154417"/>
                      <a:pt x="0" y="1116773"/>
                    </a:cubicBezTo>
                    <a:cubicBezTo>
                      <a:pt x="0" y="62740"/>
                      <a:pt x="0" y="62740"/>
                      <a:pt x="0" y="62740"/>
                    </a:cubicBezTo>
                    <a:cubicBezTo>
                      <a:pt x="0" y="25096"/>
                      <a:pt x="25038" y="0"/>
                      <a:pt x="62596" y="0"/>
                    </a:cubicBezTo>
                    <a:close/>
                  </a:path>
                </a:pathLst>
              </a:custGeom>
              <a:solidFill>
                <a:srgbClr val="000000"/>
              </a:solidFill>
              <a:ln>
                <a:noFill/>
              </a:ln>
              <a:extLst/>
            </p:spPr>
            <p:txBody>
              <a:bodyPr vert="horz" wrap="square" lIns="89619" tIns="44809" rIns="89619" bIns="44809" numCol="1" anchor="t" anchorCtr="0" compatLnSpc="1">
                <a:prstTxWarp prst="textNoShape">
                  <a:avLst/>
                </a:prstTxWarp>
                <a:noAutofit/>
              </a:bodyPr>
              <a:lstStyle/>
              <a:p>
                <a:pPr defTabSz="914093"/>
                <a:endParaRPr lang="en-US" sz="1764">
                  <a:solidFill>
                    <a:srgbClr val="FFFFFF"/>
                  </a:solidFill>
                </a:endParaRPr>
              </a:p>
            </p:txBody>
          </p:sp>
          <p:sp>
            <p:nvSpPr>
              <p:cNvPr id="447" name="Rectangle 33"/>
              <p:cNvSpPr>
                <a:spLocks noChangeArrowheads="1"/>
              </p:cNvSpPr>
              <p:nvPr/>
            </p:nvSpPr>
            <p:spPr bwMode="auto">
              <a:xfrm>
                <a:off x="2188047" y="3418326"/>
                <a:ext cx="80963" cy="3206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sp>
        <p:nvSpPr>
          <p:cNvPr id="448" name="Freeform 81"/>
          <p:cNvSpPr>
            <a:spLocks noEditPoints="1"/>
          </p:cNvSpPr>
          <p:nvPr/>
        </p:nvSpPr>
        <p:spPr bwMode="black">
          <a:xfrm>
            <a:off x="1876953" y="3782344"/>
            <a:ext cx="592695" cy="361797"/>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chemeClr val="accent2"/>
          </a:solidFill>
          <a:ln>
            <a:noFill/>
          </a:ln>
        </p:spPr>
        <p:txBody>
          <a:bodyPr vert="horz" wrap="square" lIns="0" tIns="40333" rIns="80666" bIns="40333" numCol="1" anchor="t" anchorCtr="0" compatLnSpc="1">
            <a:prstTxWarp prst="textNoShape">
              <a:avLst/>
            </a:prstTxWarp>
          </a:bodyPr>
          <a:lstStyle/>
          <a:p>
            <a:pPr algn="ctr" defTabSz="896081"/>
            <a:endParaRPr lang="en-US" sz="1568">
              <a:gradFill>
                <a:gsLst>
                  <a:gs pos="0">
                    <a:srgbClr val="FFFFFF"/>
                  </a:gs>
                  <a:gs pos="100000">
                    <a:srgbClr val="FFFFFF"/>
                  </a:gs>
                </a:gsLst>
                <a:lin ang="5400000" scaled="0"/>
              </a:gradFill>
            </a:endParaRPr>
          </a:p>
        </p:txBody>
      </p:sp>
      <p:grpSp>
        <p:nvGrpSpPr>
          <p:cNvPr id="451" name="Group 450"/>
          <p:cNvGrpSpPr/>
          <p:nvPr/>
        </p:nvGrpSpPr>
        <p:grpSpPr>
          <a:xfrm>
            <a:off x="1574140" y="5175409"/>
            <a:ext cx="1159311" cy="879254"/>
            <a:chOff x="1241897" y="2251513"/>
            <a:chExt cx="1978025" cy="1500188"/>
          </a:xfrm>
        </p:grpSpPr>
        <p:sp>
          <p:nvSpPr>
            <p:cNvPr id="452" name="Rectangle 451"/>
            <p:cNvSpPr/>
            <p:nvPr/>
          </p:nvSpPr>
          <p:spPr bwMode="auto">
            <a:xfrm>
              <a:off x="1273969" y="2279400"/>
              <a:ext cx="1902619" cy="107393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53" name="Group 452"/>
            <p:cNvGrpSpPr/>
            <p:nvPr/>
          </p:nvGrpSpPr>
          <p:grpSpPr>
            <a:xfrm>
              <a:off x="1241897" y="2251513"/>
              <a:ext cx="1978025" cy="1500188"/>
              <a:chOff x="1241897" y="2251513"/>
              <a:chExt cx="1978025" cy="1500188"/>
            </a:xfrm>
          </p:grpSpPr>
          <p:sp>
            <p:nvSpPr>
              <p:cNvPr id="454" name="Rectangle 5"/>
              <p:cNvSpPr>
                <a:spLocks noChangeArrowheads="1"/>
              </p:cNvSpPr>
              <p:nvPr/>
            </p:nvSpPr>
            <p:spPr bwMode="auto">
              <a:xfrm>
                <a:off x="1737197" y="3719951"/>
                <a:ext cx="982663" cy="317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5" name="Freeform 454"/>
              <p:cNvSpPr>
                <a:spLocks/>
              </p:cNvSpPr>
              <p:nvPr/>
            </p:nvSpPr>
            <p:spPr bwMode="auto">
              <a:xfrm>
                <a:off x="1241897" y="2251513"/>
                <a:ext cx="1978025" cy="1179513"/>
              </a:xfrm>
              <a:custGeom>
                <a:avLst/>
                <a:gdLst>
                  <a:gd name="connsiteX0" fmla="*/ 82097 w 1978025"/>
                  <a:gd name="connsiteY0" fmla="*/ 50800 h 1179513"/>
                  <a:gd name="connsiteX1" fmla="*/ 50800 w 1978025"/>
                  <a:gd name="connsiteY1" fmla="*/ 82163 h 1179513"/>
                  <a:gd name="connsiteX2" fmla="*/ 50800 w 1978025"/>
                  <a:gd name="connsiteY2" fmla="*/ 1054410 h 1179513"/>
                  <a:gd name="connsiteX3" fmla="*/ 82097 w 1978025"/>
                  <a:gd name="connsiteY3" fmla="*/ 1079500 h 1179513"/>
                  <a:gd name="connsiteX4" fmla="*/ 1891075 w 1978025"/>
                  <a:gd name="connsiteY4" fmla="*/ 1079500 h 1179513"/>
                  <a:gd name="connsiteX5" fmla="*/ 1916113 w 1978025"/>
                  <a:gd name="connsiteY5" fmla="*/ 1054410 h 1179513"/>
                  <a:gd name="connsiteX6" fmla="*/ 1916113 w 1978025"/>
                  <a:gd name="connsiteY6" fmla="*/ 82163 h 1179513"/>
                  <a:gd name="connsiteX7" fmla="*/ 1891075 w 1978025"/>
                  <a:gd name="connsiteY7" fmla="*/ 50800 h 1179513"/>
                  <a:gd name="connsiteX8" fmla="*/ 82097 w 1978025"/>
                  <a:gd name="connsiteY8" fmla="*/ 50800 h 1179513"/>
                  <a:gd name="connsiteX9" fmla="*/ 62596 w 1978025"/>
                  <a:gd name="connsiteY9" fmla="*/ 0 h 1179513"/>
                  <a:gd name="connsiteX10" fmla="*/ 1915429 w 1978025"/>
                  <a:gd name="connsiteY10" fmla="*/ 0 h 1179513"/>
                  <a:gd name="connsiteX11" fmla="*/ 1978025 w 1978025"/>
                  <a:gd name="connsiteY11" fmla="*/ 62740 h 1179513"/>
                  <a:gd name="connsiteX12" fmla="*/ 1978025 w 1978025"/>
                  <a:gd name="connsiteY12" fmla="*/ 1116773 h 1179513"/>
                  <a:gd name="connsiteX13" fmla="*/ 1915429 w 1978025"/>
                  <a:gd name="connsiteY13" fmla="*/ 1179513 h 1179513"/>
                  <a:gd name="connsiteX14" fmla="*/ 62596 w 1978025"/>
                  <a:gd name="connsiteY14" fmla="*/ 1179513 h 1179513"/>
                  <a:gd name="connsiteX15" fmla="*/ 0 w 1978025"/>
                  <a:gd name="connsiteY15" fmla="*/ 1116773 h 1179513"/>
                  <a:gd name="connsiteX16" fmla="*/ 0 w 1978025"/>
                  <a:gd name="connsiteY16" fmla="*/ 62740 h 1179513"/>
                  <a:gd name="connsiteX17" fmla="*/ 62596 w 1978025"/>
                  <a:gd name="connsiteY17" fmla="*/ 0 h 1179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8025" h="1179513">
                    <a:moveTo>
                      <a:pt x="82097" y="50800"/>
                    </a:moveTo>
                    <a:cubicBezTo>
                      <a:pt x="63319" y="50800"/>
                      <a:pt x="50800" y="63345"/>
                      <a:pt x="50800" y="82163"/>
                    </a:cubicBezTo>
                    <a:cubicBezTo>
                      <a:pt x="50800" y="82163"/>
                      <a:pt x="50800" y="82163"/>
                      <a:pt x="50800" y="1054410"/>
                    </a:cubicBezTo>
                    <a:cubicBezTo>
                      <a:pt x="50800" y="1066955"/>
                      <a:pt x="63319" y="1079500"/>
                      <a:pt x="82097" y="1079500"/>
                    </a:cubicBezTo>
                    <a:cubicBezTo>
                      <a:pt x="82097" y="1079500"/>
                      <a:pt x="82097" y="1079500"/>
                      <a:pt x="1891075" y="1079500"/>
                    </a:cubicBezTo>
                    <a:cubicBezTo>
                      <a:pt x="1903594" y="1079500"/>
                      <a:pt x="1916113" y="1066955"/>
                      <a:pt x="1916113" y="1054410"/>
                    </a:cubicBezTo>
                    <a:lnTo>
                      <a:pt x="1916113" y="82163"/>
                    </a:lnTo>
                    <a:cubicBezTo>
                      <a:pt x="1916113" y="63345"/>
                      <a:pt x="1903594" y="50800"/>
                      <a:pt x="1891075" y="50800"/>
                    </a:cubicBezTo>
                    <a:cubicBezTo>
                      <a:pt x="1891075" y="50800"/>
                      <a:pt x="1891075" y="50800"/>
                      <a:pt x="82097" y="50800"/>
                    </a:cubicBezTo>
                    <a:close/>
                    <a:moveTo>
                      <a:pt x="62596" y="0"/>
                    </a:moveTo>
                    <a:cubicBezTo>
                      <a:pt x="1915429" y="0"/>
                      <a:pt x="1915429" y="0"/>
                      <a:pt x="1915429" y="0"/>
                    </a:cubicBezTo>
                    <a:cubicBezTo>
                      <a:pt x="1946727" y="0"/>
                      <a:pt x="1978025" y="25096"/>
                      <a:pt x="1978025" y="62740"/>
                    </a:cubicBezTo>
                    <a:lnTo>
                      <a:pt x="1978025" y="1116773"/>
                    </a:lnTo>
                    <a:cubicBezTo>
                      <a:pt x="1978025" y="1154417"/>
                      <a:pt x="1946727" y="1179513"/>
                      <a:pt x="1915429" y="1179513"/>
                    </a:cubicBezTo>
                    <a:cubicBezTo>
                      <a:pt x="62596" y="1179513"/>
                      <a:pt x="62596" y="1179513"/>
                      <a:pt x="62596" y="1179513"/>
                    </a:cubicBezTo>
                    <a:cubicBezTo>
                      <a:pt x="25038" y="1179513"/>
                      <a:pt x="0" y="1154417"/>
                      <a:pt x="0" y="1116773"/>
                    </a:cubicBezTo>
                    <a:cubicBezTo>
                      <a:pt x="0" y="62740"/>
                      <a:pt x="0" y="62740"/>
                      <a:pt x="0" y="62740"/>
                    </a:cubicBezTo>
                    <a:cubicBezTo>
                      <a:pt x="0" y="25096"/>
                      <a:pt x="25038" y="0"/>
                      <a:pt x="62596" y="0"/>
                    </a:cubicBezTo>
                    <a:close/>
                  </a:path>
                </a:pathLst>
              </a:custGeom>
              <a:solidFill>
                <a:srgbClr val="000000"/>
              </a:solidFill>
              <a:ln>
                <a:noFill/>
              </a:ln>
              <a:extLst/>
            </p:spPr>
            <p:txBody>
              <a:bodyPr vert="horz" wrap="square" lIns="89619" tIns="44809" rIns="89619" bIns="44809" numCol="1" anchor="t" anchorCtr="0" compatLnSpc="1">
                <a:prstTxWarp prst="textNoShape">
                  <a:avLst/>
                </a:prstTxWarp>
                <a:noAutofit/>
              </a:bodyPr>
              <a:lstStyle/>
              <a:p>
                <a:pPr defTabSz="914093"/>
                <a:endParaRPr lang="en-US" sz="1764">
                  <a:solidFill>
                    <a:srgbClr val="FFFFFF"/>
                  </a:solidFill>
                </a:endParaRPr>
              </a:p>
            </p:txBody>
          </p:sp>
          <p:sp>
            <p:nvSpPr>
              <p:cNvPr id="456" name="Rectangle 33"/>
              <p:cNvSpPr>
                <a:spLocks noChangeArrowheads="1"/>
              </p:cNvSpPr>
              <p:nvPr/>
            </p:nvSpPr>
            <p:spPr bwMode="auto">
              <a:xfrm>
                <a:off x="2188047" y="3418326"/>
                <a:ext cx="80963" cy="3206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sp>
        <p:nvSpPr>
          <p:cNvPr id="457" name="Rectangle 456"/>
          <p:cNvSpPr/>
          <p:nvPr/>
        </p:nvSpPr>
        <p:spPr>
          <a:xfrm>
            <a:off x="1862987" y="6084035"/>
            <a:ext cx="581614" cy="331813"/>
          </a:xfrm>
          <a:prstGeom prst="rect">
            <a:avLst/>
          </a:prstGeom>
        </p:spPr>
        <p:txBody>
          <a:bodyPr wrap="none">
            <a:spAutoFit/>
          </a:bodyPr>
          <a:lstStyle/>
          <a:p>
            <a:pPr algn="ctr" defTabSz="913828" fontAlgn="base">
              <a:spcBef>
                <a:spcPct val="0"/>
              </a:spcBef>
              <a:spcAft>
                <a:spcPct val="0"/>
              </a:spcAft>
            </a:pPr>
            <a:r>
              <a:rPr lang="en-US" sz="1568" dirty="0">
                <a:gradFill>
                  <a:gsLst>
                    <a:gs pos="16814">
                      <a:srgbClr val="FFFFFF"/>
                    </a:gs>
                    <a:gs pos="55000">
                      <a:srgbClr val="FFFFFF"/>
                    </a:gs>
                  </a:gsLst>
                  <a:lin ang="5400000" scaled="0"/>
                </a:gradFill>
              </a:rPr>
              <a:t>WPF</a:t>
            </a:r>
          </a:p>
        </p:txBody>
      </p:sp>
      <p:sp>
        <p:nvSpPr>
          <p:cNvPr id="19" name="Rectangle 18"/>
          <p:cNvSpPr/>
          <p:nvPr/>
        </p:nvSpPr>
        <p:spPr bwMode="auto">
          <a:xfrm>
            <a:off x="1704397" y="5317539"/>
            <a:ext cx="424276" cy="27805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58" name="Rectangle 457"/>
          <p:cNvSpPr/>
          <p:nvPr/>
        </p:nvSpPr>
        <p:spPr bwMode="auto">
          <a:xfrm>
            <a:off x="2152798" y="5317539"/>
            <a:ext cx="424276" cy="27805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p:cNvSpPr/>
          <p:nvPr/>
        </p:nvSpPr>
        <p:spPr bwMode="auto">
          <a:xfrm>
            <a:off x="1704396" y="5624967"/>
            <a:ext cx="872677" cy="125487"/>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430136152"/>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ross platform</a:t>
            </a:r>
          </a:p>
        </p:txBody>
      </p:sp>
      <p:sp>
        <p:nvSpPr>
          <p:cNvPr id="4" name="Rectangle 3"/>
          <p:cNvSpPr/>
          <p:nvPr/>
        </p:nvSpPr>
        <p:spPr bwMode="auto">
          <a:xfrm>
            <a:off x="269169" y="1190077"/>
            <a:ext cx="3825508" cy="5372633"/>
          </a:xfrm>
          <a:prstGeom prst="rect">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90" name="Rectangle 289"/>
          <p:cNvSpPr/>
          <p:nvPr/>
        </p:nvSpPr>
        <p:spPr bwMode="auto">
          <a:xfrm>
            <a:off x="4181659" y="1190077"/>
            <a:ext cx="3825508" cy="5372633"/>
          </a:xfrm>
          <a:prstGeom prst="rect">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p:nvSpPr>
        <p:spPr bwMode="auto">
          <a:xfrm>
            <a:off x="269170" y="1190077"/>
            <a:ext cx="3825507" cy="894637"/>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92" name="Rectangle 291"/>
          <p:cNvSpPr/>
          <p:nvPr/>
        </p:nvSpPr>
        <p:spPr bwMode="auto">
          <a:xfrm>
            <a:off x="4181659" y="1190077"/>
            <a:ext cx="3825507" cy="894637"/>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pic>
        <p:nvPicPr>
          <p:cNvPr id="294" name="Picture 293"/>
          <p:cNvPicPr>
            <a:picLocks noChangeAspect="1"/>
          </p:cNvPicPr>
          <p:nvPr/>
        </p:nvPicPr>
        <p:blipFill rotWithShape="1">
          <a:blip r:embed="rId3">
            <a:extLst>
              <a:ext uri="{28A0092B-C50C-407E-A947-70E740481C1C}">
                <a14:useLocalDpi xmlns:a14="http://schemas.microsoft.com/office/drawing/2010/main" val="0"/>
              </a:ext>
            </a:extLst>
          </a:blip>
          <a:srcRect t="44093"/>
          <a:stretch/>
        </p:blipFill>
        <p:spPr>
          <a:xfrm>
            <a:off x="1631170" y="1246111"/>
            <a:ext cx="1240777" cy="677101"/>
          </a:xfrm>
          <a:prstGeom prst="rect">
            <a:avLst/>
          </a:prstGeom>
        </p:spPr>
      </p:pic>
      <p:pic>
        <p:nvPicPr>
          <p:cNvPr id="295" name="Picture 29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10741" y="1293574"/>
            <a:ext cx="665978" cy="738629"/>
          </a:xfrm>
          <a:prstGeom prst="rect">
            <a:avLst/>
          </a:prstGeom>
        </p:spPr>
      </p:pic>
      <p:pic>
        <p:nvPicPr>
          <p:cNvPr id="296" name="Picture 295"/>
          <p:cNvPicPr>
            <a:picLocks noChangeAspect="1"/>
          </p:cNvPicPr>
          <p:nvPr/>
        </p:nvPicPr>
        <p:blipFill rotWithShape="1">
          <a:blip r:embed="rId5">
            <a:extLst>
              <a:ext uri="{28A0092B-C50C-407E-A947-70E740481C1C}">
                <a14:useLocalDpi xmlns:a14="http://schemas.microsoft.com/office/drawing/2010/main" val="0"/>
              </a:ext>
            </a:extLst>
          </a:blip>
          <a:srcRect l="13445" t="14593" r="13162" b="12014"/>
          <a:stretch/>
        </p:blipFill>
        <p:spPr>
          <a:xfrm>
            <a:off x="4877838" y="1360145"/>
            <a:ext cx="605484" cy="605484"/>
          </a:xfrm>
          <a:prstGeom prst="rect">
            <a:avLst/>
          </a:prstGeom>
        </p:spPr>
      </p:pic>
      <p:sp>
        <p:nvSpPr>
          <p:cNvPr id="8" name="Rectangle 7"/>
          <p:cNvSpPr/>
          <p:nvPr/>
        </p:nvSpPr>
        <p:spPr>
          <a:xfrm>
            <a:off x="1462205" y="3224656"/>
            <a:ext cx="1383181" cy="331813"/>
          </a:xfrm>
          <a:prstGeom prst="rect">
            <a:avLst/>
          </a:prstGeom>
        </p:spPr>
        <p:txBody>
          <a:bodyPr wrap="none">
            <a:spAutoFit/>
          </a:bodyPr>
          <a:lstStyle/>
          <a:p>
            <a:pPr algn="ctr" defTabSz="913828" fontAlgn="base">
              <a:spcBef>
                <a:spcPct val="0"/>
              </a:spcBef>
              <a:spcAft>
                <a:spcPct val="0"/>
              </a:spcAft>
            </a:pPr>
            <a:r>
              <a:rPr lang="en-US" sz="1568" dirty="0">
                <a:gradFill>
                  <a:gsLst>
                    <a:gs pos="16814">
                      <a:srgbClr val="FFFFFF"/>
                    </a:gs>
                    <a:gs pos="55000">
                      <a:srgbClr val="FFFFFF"/>
                    </a:gs>
                  </a:gsLst>
                  <a:lin ang="5400000" scaled="0"/>
                </a:gradFill>
              </a:rPr>
              <a:t>ASP.NET MVC</a:t>
            </a:r>
          </a:p>
        </p:txBody>
      </p:sp>
      <p:sp>
        <p:nvSpPr>
          <p:cNvPr id="372" name="Rectangle 371"/>
          <p:cNvSpPr/>
          <p:nvPr/>
        </p:nvSpPr>
        <p:spPr>
          <a:xfrm>
            <a:off x="1583812" y="4467205"/>
            <a:ext cx="1139967" cy="577278"/>
          </a:xfrm>
          <a:prstGeom prst="rect">
            <a:avLst/>
          </a:prstGeom>
        </p:spPr>
        <p:txBody>
          <a:bodyPr wrap="none">
            <a:spAutoFit/>
          </a:bodyPr>
          <a:lstStyle/>
          <a:p>
            <a:pPr algn="ctr" defTabSz="913828" fontAlgn="base">
              <a:spcBef>
                <a:spcPct val="0"/>
              </a:spcBef>
              <a:spcAft>
                <a:spcPct val="0"/>
              </a:spcAft>
            </a:pPr>
            <a:r>
              <a:rPr lang="en-US" sz="1568" dirty="0">
                <a:gradFill>
                  <a:gsLst>
                    <a:gs pos="16814">
                      <a:srgbClr val="FFFFFF"/>
                    </a:gs>
                    <a:gs pos="55000">
                      <a:srgbClr val="FFFFFF"/>
                    </a:gs>
                  </a:gsLst>
                  <a:lin ang="5400000" scaled="0"/>
                </a:gradFill>
              </a:rPr>
              <a:t>ASP.NET </a:t>
            </a:r>
            <a:br>
              <a:rPr lang="en-US" sz="1568" dirty="0">
                <a:gradFill>
                  <a:gsLst>
                    <a:gs pos="16814">
                      <a:srgbClr val="FFFFFF"/>
                    </a:gs>
                    <a:gs pos="55000">
                      <a:srgbClr val="FFFFFF"/>
                    </a:gs>
                  </a:gsLst>
                  <a:lin ang="5400000" scaled="0"/>
                </a:gradFill>
              </a:rPr>
            </a:br>
            <a:r>
              <a:rPr lang="en-US" sz="1568" dirty="0" err="1">
                <a:gradFill>
                  <a:gsLst>
                    <a:gs pos="16814">
                      <a:srgbClr val="FFFFFF"/>
                    </a:gs>
                    <a:gs pos="55000">
                      <a:srgbClr val="FFFFFF"/>
                    </a:gs>
                  </a:gsLst>
                  <a:lin ang="5400000" scaled="0"/>
                </a:gradFill>
              </a:rPr>
              <a:t>WebForms</a:t>
            </a:r>
            <a:endParaRPr lang="en-US" sz="1568" dirty="0">
              <a:gradFill>
                <a:gsLst>
                  <a:gs pos="16814">
                    <a:srgbClr val="FFFFFF"/>
                  </a:gs>
                  <a:gs pos="55000">
                    <a:srgbClr val="FFFFFF"/>
                  </a:gs>
                </a:gsLst>
                <a:lin ang="5400000" scaled="0"/>
              </a:gradFill>
            </a:endParaRPr>
          </a:p>
        </p:txBody>
      </p:sp>
      <p:grpSp>
        <p:nvGrpSpPr>
          <p:cNvPr id="17" name="Group 16"/>
          <p:cNvGrpSpPr/>
          <p:nvPr/>
        </p:nvGrpSpPr>
        <p:grpSpPr>
          <a:xfrm>
            <a:off x="1574140" y="2292087"/>
            <a:ext cx="1159311" cy="879254"/>
            <a:chOff x="1241897" y="2251513"/>
            <a:chExt cx="1978025" cy="1500188"/>
          </a:xfrm>
        </p:grpSpPr>
        <p:sp>
          <p:nvSpPr>
            <p:cNvPr id="11" name="Rectangle 10"/>
            <p:cNvSpPr/>
            <p:nvPr/>
          </p:nvSpPr>
          <p:spPr bwMode="auto">
            <a:xfrm>
              <a:off x="1273969" y="2279400"/>
              <a:ext cx="1902619" cy="107393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0" name="Group 9"/>
            <p:cNvGrpSpPr/>
            <p:nvPr/>
          </p:nvGrpSpPr>
          <p:grpSpPr>
            <a:xfrm>
              <a:off x="1241897" y="2251513"/>
              <a:ext cx="1978025" cy="1500188"/>
              <a:chOff x="1241897" y="2251513"/>
              <a:chExt cx="1978025" cy="1500188"/>
            </a:xfrm>
          </p:grpSpPr>
          <p:sp>
            <p:nvSpPr>
              <p:cNvPr id="410" name="Rectangle 5"/>
              <p:cNvSpPr>
                <a:spLocks noChangeArrowheads="1"/>
              </p:cNvSpPr>
              <p:nvPr/>
            </p:nvSpPr>
            <p:spPr bwMode="auto">
              <a:xfrm>
                <a:off x="1737197" y="3719951"/>
                <a:ext cx="982663" cy="317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11" name="Freeform 410"/>
              <p:cNvSpPr>
                <a:spLocks/>
              </p:cNvSpPr>
              <p:nvPr/>
            </p:nvSpPr>
            <p:spPr bwMode="auto">
              <a:xfrm>
                <a:off x="1241897" y="2251513"/>
                <a:ext cx="1978025" cy="1179513"/>
              </a:xfrm>
              <a:custGeom>
                <a:avLst/>
                <a:gdLst>
                  <a:gd name="connsiteX0" fmla="*/ 82097 w 1978025"/>
                  <a:gd name="connsiteY0" fmla="*/ 50800 h 1179513"/>
                  <a:gd name="connsiteX1" fmla="*/ 50800 w 1978025"/>
                  <a:gd name="connsiteY1" fmla="*/ 82163 h 1179513"/>
                  <a:gd name="connsiteX2" fmla="*/ 50800 w 1978025"/>
                  <a:gd name="connsiteY2" fmla="*/ 1054410 h 1179513"/>
                  <a:gd name="connsiteX3" fmla="*/ 82097 w 1978025"/>
                  <a:gd name="connsiteY3" fmla="*/ 1079500 h 1179513"/>
                  <a:gd name="connsiteX4" fmla="*/ 1891075 w 1978025"/>
                  <a:gd name="connsiteY4" fmla="*/ 1079500 h 1179513"/>
                  <a:gd name="connsiteX5" fmla="*/ 1916113 w 1978025"/>
                  <a:gd name="connsiteY5" fmla="*/ 1054410 h 1179513"/>
                  <a:gd name="connsiteX6" fmla="*/ 1916113 w 1978025"/>
                  <a:gd name="connsiteY6" fmla="*/ 82163 h 1179513"/>
                  <a:gd name="connsiteX7" fmla="*/ 1891075 w 1978025"/>
                  <a:gd name="connsiteY7" fmla="*/ 50800 h 1179513"/>
                  <a:gd name="connsiteX8" fmla="*/ 82097 w 1978025"/>
                  <a:gd name="connsiteY8" fmla="*/ 50800 h 1179513"/>
                  <a:gd name="connsiteX9" fmla="*/ 62596 w 1978025"/>
                  <a:gd name="connsiteY9" fmla="*/ 0 h 1179513"/>
                  <a:gd name="connsiteX10" fmla="*/ 1915429 w 1978025"/>
                  <a:gd name="connsiteY10" fmla="*/ 0 h 1179513"/>
                  <a:gd name="connsiteX11" fmla="*/ 1978025 w 1978025"/>
                  <a:gd name="connsiteY11" fmla="*/ 62740 h 1179513"/>
                  <a:gd name="connsiteX12" fmla="*/ 1978025 w 1978025"/>
                  <a:gd name="connsiteY12" fmla="*/ 1116773 h 1179513"/>
                  <a:gd name="connsiteX13" fmla="*/ 1915429 w 1978025"/>
                  <a:gd name="connsiteY13" fmla="*/ 1179513 h 1179513"/>
                  <a:gd name="connsiteX14" fmla="*/ 62596 w 1978025"/>
                  <a:gd name="connsiteY14" fmla="*/ 1179513 h 1179513"/>
                  <a:gd name="connsiteX15" fmla="*/ 0 w 1978025"/>
                  <a:gd name="connsiteY15" fmla="*/ 1116773 h 1179513"/>
                  <a:gd name="connsiteX16" fmla="*/ 0 w 1978025"/>
                  <a:gd name="connsiteY16" fmla="*/ 62740 h 1179513"/>
                  <a:gd name="connsiteX17" fmla="*/ 62596 w 1978025"/>
                  <a:gd name="connsiteY17" fmla="*/ 0 h 1179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8025" h="1179513">
                    <a:moveTo>
                      <a:pt x="82097" y="50800"/>
                    </a:moveTo>
                    <a:cubicBezTo>
                      <a:pt x="63319" y="50800"/>
                      <a:pt x="50800" y="63345"/>
                      <a:pt x="50800" y="82163"/>
                    </a:cubicBezTo>
                    <a:cubicBezTo>
                      <a:pt x="50800" y="82163"/>
                      <a:pt x="50800" y="82163"/>
                      <a:pt x="50800" y="1054410"/>
                    </a:cubicBezTo>
                    <a:cubicBezTo>
                      <a:pt x="50800" y="1066955"/>
                      <a:pt x="63319" y="1079500"/>
                      <a:pt x="82097" y="1079500"/>
                    </a:cubicBezTo>
                    <a:cubicBezTo>
                      <a:pt x="82097" y="1079500"/>
                      <a:pt x="82097" y="1079500"/>
                      <a:pt x="1891075" y="1079500"/>
                    </a:cubicBezTo>
                    <a:cubicBezTo>
                      <a:pt x="1903594" y="1079500"/>
                      <a:pt x="1916113" y="1066955"/>
                      <a:pt x="1916113" y="1054410"/>
                    </a:cubicBezTo>
                    <a:lnTo>
                      <a:pt x="1916113" y="82163"/>
                    </a:lnTo>
                    <a:cubicBezTo>
                      <a:pt x="1916113" y="63345"/>
                      <a:pt x="1903594" y="50800"/>
                      <a:pt x="1891075" y="50800"/>
                    </a:cubicBezTo>
                    <a:cubicBezTo>
                      <a:pt x="1891075" y="50800"/>
                      <a:pt x="1891075" y="50800"/>
                      <a:pt x="82097" y="50800"/>
                    </a:cubicBezTo>
                    <a:close/>
                    <a:moveTo>
                      <a:pt x="62596" y="0"/>
                    </a:moveTo>
                    <a:cubicBezTo>
                      <a:pt x="1915429" y="0"/>
                      <a:pt x="1915429" y="0"/>
                      <a:pt x="1915429" y="0"/>
                    </a:cubicBezTo>
                    <a:cubicBezTo>
                      <a:pt x="1946727" y="0"/>
                      <a:pt x="1978025" y="25096"/>
                      <a:pt x="1978025" y="62740"/>
                    </a:cubicBezTo>
                    <a:lnTo>
                      <a:pt x="1978025" y="1116773"/>
                    </a:lnTo>
                    <a:cubicBezTo>
                      <a:pt x="1978025" y="1154417"/>
                      <a:pt x="1946727" y="1179513"/>
                      <a:pt x="1915429" y="1179513"/>
                    </a:cubicBezTo>
                    <a:cubicBezTo>
                      <a:pt x="62596" y="1179513"/>
                      <a:pt x="62596" y="1179513"/>
                      <a:pt x="62596" y="1179513"/>
                    </a:cubicBezTo>
                    <a:cubicBezTo>
                      <a:pt x="25038" y="1179513"/>
                      <a:pt x="0" y="1154417"/>
                      <a:pt x="0" y="1116773"/>
                    </a:cubicBezTo>
                    <a:cubicBezTo>
                      <a:pt x="0" y="62740"/>
                      <a:pt x="0" y="62740"/>
                      <a:pt x="0" y="62740"/>
                    </a:cubicBezTo>
                    <a:cubicBezTo>
                      <a:pt x="0" y="25096"/>
                      <a:pt x="25038" y="0"/>
                      <a:pt x="62596" y="0"/>
                    </a:cubicBezTo>
                    <a:close/>
                  </a:path>
                </a:pathLst>
              </a:custGeom>
              <a:solidFill>
                <a:srgbClr val="000000"/>
              </a:solidFill>
              <a:ln>
                <a:noFill/>
              </a:ln>
              <a:extLst/>
            </p:spPr>
            <p:txBody>
              <a:bodyPr vert="horz" wrap="square" lIns="89619" tIns="44809" rIns="89619" bIns="44809" numCol="1" anchor="t" anchorCtr="0" compatLnSpc="1">
                <a:prstTxWarp prst="textNoShape">
                  <a:avLst/>
                </a:prstTxWarp>
                <a:noAutofit/>
              </a:bodyPr>
              <a:lstStyle/>
              <a:p>
                <a:pPr defTabSz="914093"/>
                <a:endParaRPr lang="en-US" sz="1764">
                  <a:solidFill>
                    <a:srgbClr val="FFFFFF"/>
                  </a:solidFill>
                </a:endParaRPr>
              </a:p>
            </p:txBody>
          </p:sp>
          <p:sp>
            <p:nvSpPr>
              <p:cNvPr id="412" name="Rectangle 33"/>
              <p:cNvSpPr>
                <a:spLocks noChangeArrowheads="1"/>
              </p:cNvSpPr>
              <p:nvPr/>
            </p:nvSpPr>
            <p:spPr bwMode="auto">
              <a:xfrm>
                <a:off x="2188047" y="3418326"/>
                <a:ext cx="80963" cy="3206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nvGrpSpPr>
            <p:cNvPr id="13" name="Group 12"/>
            <p:cNvGrpSpPr/>
            <p:nvPr/>
          </p:nvGrpSpPr>
          <p:grpSpPr>
            <a:xfrm>
              <a:off x="1378744" y="2471949"/>
              <a:ext cx="1712670" cy="278395"/>
              <a:chOff x="1378744" y="2471949"/>
              <a:chExt cx="1848756" cy="278395"/>
            </a:xfrm>
          </p:grpSpPr>
          <p:sp>
            <p:nvSpPr>
              <p:cNvPr id="12" name="Rectangle 11"/>
              <p:cNvSpPr/>
              <p:nvPr/>
            </p:nvSpPr>
            <p:spPr bwMode="auto">
              <a:xfrm>
                <a:off x="1378744" y="2471949"/>
                <a:ext cx="604837" cy="27839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13" name="Rectangle 412"/>
              <p:cNvSpPr/>
              <p:nvPr/>
            </p:nvSpPr>
            <p:spPr bwMode="auto">
              <a:xfrm>
                <a:off x="2001725" y="2471949"/>
                <a:ext cx="604837" cy="278395"/>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14" name="Rectangle 413"/>
              <p:cNvSpPr/>
              <p:nvPr/>
            </p:nvSpPr>
            <p:spPr bwMode="auto">
              <a:xfrm>
                <a:off x="2622663" y="2471949"/>
                <a:ext cx="604837" cy="27839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4" name="Rectangle 13"/>
            <p:cNvSpPr/>
            <p:nvPr/>
          </p:nvSpPr>
          <p:spPr bwMode="auto">
            <a:xfrm>
              <a:off x="1378744" y="2797601"/>
              <a:ext cx="308322" cy="45719"/>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15" name="Rectangle 414"/>
            <p:cNvSpPr/>
            <p:nvPr/>
          </p:nvSpPr>
          <p:spPr bwMode="auto">
            <a:xfrm>
              <a:off x="1955867" y="2797601"/>
              <a:ext cx="308322" cy="45719"/>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16" name="Rectangle 415"/>
            <p:cNvSpPr/>
            <p:nvPr/>
          </p:nvSpPr>
          <p:spPr bwMode="auto">
            <a:xfrm>
              <a:off x="2530822" y="2797601"/>
              <a:ext cx="308322" cy="45719"/>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p:nvSpPr>
          <p:spPr bwMode="auto">
            <a:xfrm>
              <a:off x="1378744" y="2874169"/>
              <a:ext cx="478631" cy="321469"/>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26" name="Rectangle 425"/>
            <p:cNvSpPr/>
            <p:nvPr/>
          </p:nvSpPr>
          <p:spPr bwMode="auto">
            <a:xfrm>
              <a:off x="1955868" y="2874169"/>
              <a:ext cx="478631" cy="321469"/>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27" name="Rectangle 426"/>
            <p:cNvSpPr/>
            <p:nvPr/>
          </p:nvSpPr>
          <p:spPr bwMode="auto">
            <a:xfrm>
              <a:off x="2530822" y="2874169"/>
              <a:ext cx="478631" cy="321469"/>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432" name="Group 431"/>
          <p:cNvGrpSpPr/>
          <p:nvPr/>
        </p:nvGrpSpPr>
        <p:grpSpPr>
          <a:xfrm>
            <a:off x="1574140" y="3641122"/>
            <a:ext cx="1159311" cy="879254"/>
            <a:chOff x="1241897" y="2251513"/>
            <a:chExt cx="1978025" cy="1500188"/>
          </a:xfrm>
        </p:grpSpPr>
        <p:sp>
          <p:nvSpPr>
            <p:cNvPr id="433" name="Rectangle 432"/>
            <p:cNvSpPr/>
            <p:nvPr/>
          </p:nvSpPr>
          <p:spPr bwMode="auto">
            <a:xfrm>
              <a:off x="1273969" y="2279400"/>
              <a:ext cx="1902619" cy="107393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34" name="Group 433"/>
            <p:cNvGrpSpPr/>
            <p:nvPr/>
          </p:nvGrpSpPr>
          <p:grpSpPr>
            <a:xfrm>
              <a:off x="1241897" y="2251513"/>
              <a:ext cx="1978025" cy="1500188"/>
              <a:chOff x="1241897" y="2251513"/>
              <a:chExt cx="1978025" cy="1500188"/>
            </a:xfrm>
          </p:grpSpPr>
          <p:sp>
            <p:nvSpPr>
              <p:cNvPr id="445" name="Rectangle 5"/>
              <p:cNvSpPr>
                <a:spLocks noChangeArrowheads="1"/>
              </p:cNvSpPr>
              <p:nvPr/>
            </p:nvSpPr>
            <p:spPr bwMode="auto">
              <a:xfrm>
                <a:off x="1737197" y="3719951"/>
                <a:ext cx="982663" cy="317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6" name="Freeform 445"/>
              <p:cNvSpPr>
                <a:spLocks/>
              </p:cNvSpPr>
              <p:nvPr/>
            </p:nvSpPr>
            <p:spPr bwMode="auto">
              <a:xfrm>
                <a:off x="1241897" y="2251513"/>
                <a:ext cx="1978025" cy="1179513"/>
              </a:xfrm>
              <a:custGeom>
                <a:avLst/>
                <a:gdLst>
                  <a:gd name="connsiteX0" fmla="*/ 82097 w 1978025"/>
                  <a:gd name="connsiteY0" fmla="*/ 50800 h 1179513"/>
                  <a:gd name="connsiteX1" fmla="*/ 50800 w 1978025"/>
                  <a:gd name="connsiteY1" fmla="*/ 82163 h 1179513"/>
                  <a:gd name="connsiteX2" fmla="*/ 50800 w 1978025"/>
                  <a:gd name="connsiteY2" fmla="*/ 1054410 h 1179513"/>
                  <a:gd name="connsiteX3" fmla="*/ 82097 w 1978025"/>
                  <a:gd name="connsiteY3" fmla="*/ 1079500 h 1179513"/>
                  <a:gd name="connsiteX4" fmla="*/ 1891075 w 1978025"/>
                  <a:gd name="connsiteY4" fmla="*/ 1079500 h 1179513"/>
                  <a:gd name="connsiteX5" fmla="*/ 1916113 w 1978025"/>
                  <a:gd name="connsiteY5" fmla="*/ 1054410 h 1179513"/>
                  <a:gd name="connsiteX6" fmla="*/ 1916113 w 1978025"/>
                  <a:gd name="connsiteY6" fmla="*/ 82163 h 1179513"/>
                  <a:gd name="connsiteX7" fmla="*/ 1891075 w 1978025"/>
                  <a:gd name="connsiteY7" fmla="*/ 50800 h 1179513"/>
                  <a:gd name="connsiteX8" fmla="*/ 82097 w 1978025"/>
                  <a:gd name="connsiteY8" fmla="*/ 50800 h 1179513"/>
                  <a:gd name="connsiteX9" fmla="*/ 62596 w 1978025"/>
                  <a:gd name="connsiteY9" fmla="*/ 0 h 1179513"/>
                  <a:gd name="connsiteX10" fmla="*/ 1915429 w 1978025"/>
                  <a:gd name="connsiteY10" fmla="*/ 0 h 1179513"/>
                  <a:gd name="connsiteX11" fmla="*/ 1978025 w 1978025"/>
                  <a:gd name="connsiteY11" fmla="*/ 62740 h 1179513"/>
                  <a:gd name="connsiteX12" fmla="*/ 1978025 w 1978025"/>
                  <a:gd name="connsiteY12" fmla="*/ 1116773 h 1179513"/>
                  <a:gd name="connsiteX13" fmla="*/ 1915429 w 1978025"/>
                  <a:gd name="connsiteY13" fmla="*/ 1179513 h 1179513"/>
                  <a:gd name="connsiteX14" fmla="*/ 62596 w 1978025"/>
                  <a:gd name="connsiteY14" fmla="*/ 1179513 h 1179513"/>
                  <a:gd name="connsiteX15" fmla="*/ 0 w 1978025"/>
                  <a:gd name="connsiteY15" fmla="*/ 1116773 h 1179513"/>
                  <a:gd name="connsiteX16" fmla="*/ 0 w 1978025"/>
                  <a:gd name="connsiteY16" fmla="*/ 62740 h 1179513"/>
                  <a:gd name="connsiteX17" fmla="*/ 62596 w 1978025"/>
                  <a:gd name="connsiteY17" fmla="*/ 0 h 1179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8025" h="1179513">
                    <a:moveTo>
                      <a:pt x="82097" y="50800"/>
                    </a:moveTo>
                    <a:cubicBezTo>
                      <a:pt x="63319" y="50800"/>
                      <a:pt x="50800" y="63345"/>
                      <a:pt x="50800" y="82163"/>
                    </a:cubicBezTo>
                    <a:cubicBezTo>
                      <a:pt x="50800" y="82163"/>
                      <a:pt x="50800" y="82163"/>
                      <a:pt x="50800" y="1054410"/>
                    </a:cubicBezTo>
                    <a:cubicBezTo>
                      <a:pt x="50800" y="1066955"/>
                      <a:pt x="63319" y="1079500"/>
                      <a:pt x="82097" y="1079500"/>
                    </a:cubicBezTo>
                    <a:cubicBezTo>
                      <a:pt x="82097" y="1079500"/>
                      <a:pt x="82097" y="1079500"/>
                      <a:pt x="1891075" y="1079500"/>
                    </a:cubicBezTo>
                    <a:cubicBezTo>
                      <a:pt x="1903594" y="1079500"/>
                      <a:pt x="1916113" y="1066955"/>
                      <a:pt x="1916113" y="1054410"/>
                    </a:cubicBezTo>
                    <a:lnTo>
                      <a:pt x="1916113" y="82163"/>
                    </a:lnTo>
                    <a:cubicBezTo>
                      <a:pt x="1916113" y="63345"/>
                      <a:pt x="1903594" y="50800"/>
                      <a:pt x="1891075" y="50800"/>
                    </a:cubicBezTo>
                    <a:cubicBezTo>
                      <a:pt x="1891075" y="50800"/>
                      <a:pt x="1891075" y="50800"/>
                      <a:pt x="82097" y="50800"/>
                    </a:cubicBezTo>
                    <a:close/>
                    <a:moveTo>
                      <a:pt x="62596" y="0"/>
                    </a:moveTo>
                    <a:cubicBezTo>
                      <a:pt x="1915429" y="0"/>
                      <a:pt x="1915429" y="0"/>
                      <a:pt x="1915429" y="0"/>
                    </a:cubicBezTo>
                    <a:cubicBezTo>
                      <a:pt x="1946727" y="0"/>
                      <a:pt x="1978025" y="25096"/>
                      <a:pt x="1978025" y="62740"/>
                    </a:cubicBezTo>
                    <a:lnTo>
                      <a:pt x="1978025" y="1116773"/>
                    </a:lnTo>
                    <a:cubicBezTo>
                      <a:pt x="1978025" y="1154417"/>
                      <a:pt x="1946727" y="1179513"/>
                      <a:pt x="1915429" y="1179513"/>
                    </a:cubicBezTo>
                    <a:cubicBezTo>
                      <a:pt x="62596" y="1179513"/>
                      <a:pt x="62596" y="1179513"/>
                      <a:pt x="62596" y="1179513"/>
                    </a:cubicBezTo>
                    <a:cubicBezTo>
                      <a:pt x="25038" y="1179513"/>
                      <a:pt x="0" y="1154417"/>
                      <a:pt x="0" y="1116773"/>
                    </a:cubicBezTo>
                    <a:cubicBezTo>
                      <a:pt x="0" y="62740"/>
                      <a:pt x="0" y="62740"/>
                      <a:pt x="0" y="62740"/>
                    </a:cubicBezTo>
                    <a:cubicBezTo>
                      <a:pt x="0" y="25096"/>
                      <a:pt x="25038" y="0"/>
                      <a:pt x="62596" y="0"/>
                    </a:cubicBezTo>
                    <a:close/>
                  </a:path>
                </a:pathLst>
              </a:custGeom>
              <a:solidFill>
                <a:srgbClr val="000000"/>
              </a:solidFill>
              <a:ln>
                <a:noFill/>
              </a:ln>
              <a:extLst/>
            </p:spPr>
            <p:txBody>
              <a:bodyPr vert="horz" wrap="square" lIns="89619" tIns="44809" rIns="89619" bIns="44809" numCol="1" anchor="t" anchorCtr="0" compatLnSpc="1">
                <a:prstTxWarp prst="textNoShape">
                  <a:avLst/>
                </a:prstTxWarp>
                <a:noAutofit/>
              </a:bodyPr>
              <a:lstStyle/>
              <a:p>
                <a:pPr defTabSz="914093"/>
                <a:endParaRPr lang="en-US" sz="1764">
                  <a:solidFill>
                    <a:srgbClr val="FFFFFF"/>
                  </a:solidFill>
                </a:endParaRPr>
              </a:p>
            </p:txBody>
          </p:sp>
          <p:sp>
            <p:nvSpPr>
              <p:cNvPr id="447" name="Rectangle 33"/>
              <p:cNvSpPr>
                <a:spLocks noChangeArrowheads="1"/>
              </p:cNvSpPr>
              <p:nvPr/>
            </p:nvSpPr>
            <p:spPr bwMode="auto">
              <a:xfrm>
                <a:off x="2188047" y="3418326"/>
                <a:ext cx="80963" cy="3206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sp>
        <p:nvSpPr>
          <p:cNvPr id="448" name="Freeform 81"/>
          <p:cNvSpPr>
            <a:spLocks noEditPoints="1"/>
          </p:cNvSpPr>
          <p:nvPr/>
        </p:nvSpPr>
        <p:spPr bwMode="black">
          <a:xfrm>
            <a:off x="1876953" y="3782344"/>
            <a:ext cx="592695" cy="361797"/>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chemeClr val="accent2"/>
          </a:solidFill>
          <a:ln>
            <a:noFill/>
          </a:ln>
        </p:spPr>
        <p:txBody>
          <a:bodyPr vert="horz" wrap="square" lIns="0" tIns="40333" rIns="80666" bIns="40333" numCol="1" anchor="t" anchorCtr="0" compatLnSpc="1">
            <a:prstTxWarp prst="textNoShape">
              <a:avLst/>
            </a:prstTxWarp>
          </a:bodyPr>
          <a:lstStyle/>
          <a:p>
            <a:pPr algn="ctr" defTabSz="896081"/>
            <a:endParaRPr lang="en-US" sz="1568">
              <a:gradFill>
                <a:gsLst>
                  <a:gs pos="0">
                    <a:srgbClr val="FFFFFF"/>
                  </a:gs>
                  <a:gs pos="100000">
                    <a:srgbClr val="FFFFFF"/>
                  </a:gs>
                </a:gsLst>
                <a:lin ang="5400000" scaled="0"/>
              </a:gradFill>
            </a:endParaRPr>
          </a:p>
        </p:txBody>
      </p:sp>
      <p:grpSp>
        <p:nvGrpSpPr>
          <p:cNvPr id="451" name="Group 450"/>
          <p:cNvGrpSpPr/>
          <p:nvPr/>
        </p:nvGrpSpPr>
        <p:grpSpPr>
          <a:xfrm>
            <a:off x="1574140" y="5175409"/>
            <a:ext cx="1159311" cy="879254"/>
            <a:chOff x="1241897" y="2251513"/>
            <a:chExt cx="1978025" cy="1500188"/>
          </a:xfrm>
        </p:grpSpPr>
        <p:sp>
          <p:nvSpPr>
            <p:cNvPr id="452" name="Rectangle 451"/>
            <p:cNvSpPr/>
            <p:nvPr/>
          </p:nvSpPr>
          <p:spPr bwMode="auto">
            <a:xfrm>
              <a:off x="1273969" y="2279400"/>
              <a:ext cx="1902619" cy="107393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53" name="Group 452"/>
            <p:cNvGrpSpPr/>
            <p:nvPr/>
          </p:nvGrpSpPr>
          <p:grpSpPr>
            <a:xfrm>
              <a:off x="1241897" y="2251513"/>
              <a:ext cx="1978025" cy="1500188"/>
              <a:chOff x="1241897" y="2251513"/>
              <a:chExt cx="1978025" cy="1500188"/>
            </a:xfrm>
          </p:grpSpPr>
          <p:sp>
            <p:nvSpPr>
              <p:cNvPr id="454" name="Rectangle 5"/>
              <p:cNvSpPr>
                <a:spLocks noChangeArrowheads="1"/>
              </p:cNvSpPr>
              <p:nvPr/>
            </p:nvSpPr>
            <p:spPr bwMode="auto">
              <a:xfrm>
                <a:off x="1737197" y="3719951"/>
                <a:ext cx="982663" cy="317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5" name="Freeform 454"/>
              <p:cNvSpPr>
                <a:spLocks/>
              </p:cNvSpPr>
              <p:nvPr/>
            </p:nvSpPr>
            <p:spPr bwMode="auto">
              <a:xfrm>
                <a:off x="1241897" y="2251513"/>
                <a:ext cx="1978025" cy="1179513"/>
              </a:xfrm>
              <a:custGeom>
                <a:avLst/>
                <a:gdLst>
                  <a:gd name="connsiteX0" fmla="*/ 82097 w 1978025"/>
                  <a:gd name="connsiteY0" fmla="*/ 50800 h 1179513"/>
                  <a:gd name="connsiteX1" fmla="*/ 50800 w 1978025"/>
                  <a:gd name="connsiteY1" fmla="*/ 82163 h 1179513"/>
                  <a:gd name="connsiteX2" fmla="*/ 50800 w 1978025"/>
                  <a:gd name="connsiteY2" fmla="*/ 1054410 h 1179513"/>
                  <a:gd name="connsiteX3" fmla="*/ 82097 w 1978025"/>
                  <a:gd name="connsiteY3" fmla="*/ 1079500 h 1179513"/>
                  <a:gd name="connsiteX4" fmla="*/ 1891075 w 1978025"/>
                  <a:gd name="connsiteY4" fmla="*/ 1079500 h 1179513"/>
                  <a:gd name="connsiteX5" fmla="*/ 1916113 w 1978025"/>
                  <a:gd name="connsiteY5" fmla="*/ 1054410 h 1179513"/>
                  <a:gd name="connsiteX6" fmla="*/ 1916113 w 1978025"/>
                  <a:gd name="connsiteY6" fmla="*/ 82163 h 1179513"/>
                  <a:gd name="connsiteX7" fmla="*/ 1891075 w 1978025"/>
                  <a:gd name="connsiteY7" fmla="*/ 50800 h 1179513"/>
                  <a:gd name="connsiteX8" fmla="*/ 82097 w 1978025"/>
                  <a:gd name="connsiteY8" fmla="*/ 50800 h 1179513"/>
                  <a:gd name="connsiteX9" fmla="*/ 62596 w 1978025"/>
                  <a:gd name="connsiteY9" fmla="*/ 0 h 1179513"/>
                  <a:gd name="connsiteX10" fmla="*/ 1915429 w 1978025"/>
                  <a:gd name="connsiteY10" fmla="*/ 0 h 1179513"/>
                  <a:gd name="connsiteX11" fmla="*/ 1978025 w 1978025"/>
                  <a:gd name="connsiteY11" fmla="*/ 62740 h 1179513"/>
                  <a:gd name="connsiteX12" fmla="*/ 1978025 w 1978025"/>
                  <a:gd name="connsiteY12" fmla="*/ 1116773 h 1179513"/>
                  <a:gd name="connsiteX13" fmla="*/ 1915429 w 1978025"/>
                  <a:gd name="connsiteY13" fmla="*/ 1179513 h 1179513"/>
                  <a:gd name="connsiteX14" fmla="*/ 62596 w 1978025"/>
                  <a:gd name="connsiteY14" fmla="*/ 1179513 h 1179513"/>
                  <a:gd name="connsiteX15" fmla="*/ 0 w 1978025"/>
                  <a:gd name="connsiteY15" fmla="*/ 1116773 h 1179513"/>
                  <a:gd name="connsiteX16" fmla="*/ 0 w 1978025"/>
                  <a:gd name="connsiteY16" fmla="*/ 62740 h 1179513"/>
                  <a:gd name="connsiteX17" fmla="*/ 62596 w 1978025"/>
                  <a:gd name="connsiteY17" fmla="*/ 0 h 1179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8025" h="1179513">
                    <a:moveTo>
                      <a:pt x="82097" y="50800"/>
                    </a:moveTo>
                    <a:cubicBezTo>
                      <a:pt x="63319" y="50800"/>
                      <a:pt x="50800" y="63345"/>
                      <a:pt x="50800" y="82163"/>
                    </a:cubicBezTo>
                    <a:cubicBezTo>
                      <a:pt x="50800" y="82163"/>
                      <a:pt x="50800" y="82163"/>
                      <a:pt x="50800" y="1054410"/>
                    </a:cubicBezTo>
                    <a:cubicBezTo>
                      <a:pt x="50800" y="1066955"/>
                      <a:pt x="63319" y="1079500"/>
                      <a:pt x="82097" y="1079500"/>
                    </a:cubicBezTo>
                    <a:cubicBezTo>
                      <a:pt x="82097" y="1079500"/>
                      <a:pt x="82097" y="1079500"/>
                      <a:pt x="1891075" y="1079500"/>
                    </a:cubicBezTo>
                    <a:cubicBezTo>
                      <a:pt x="1903594" y="1079500"/>
                      <a:pt x="1916113" y="1066955"/>
                      <a:pt x="1916113" y="1054410"/>
                    </a:cubicBezTo>
                    <a:lnTo>
                      <a:pt x="1916113" y="82163"/>
                    </a:lnTo>
                    <a:cubicBezTo>
                      <a:pt x="1916113" y="63345"/>
                      <a:pt x="1903594" y="50800"/>
                      <a:pt x="1891075" y="50800"/>
                    </a:cubicBezTo>
                    <a:cubicBezTo>
                      <a:pt x="1891075" y="50800"/>
                      <a:pt x="1891075" y="50800"/>
                      <a:pt x="82097" y="50800"/>
                    </a:cubicBezTo>
                    <a:close/>
                    <a:moveTo>
                      <a:pt x="62596" y="0"/>
                    </a:moveTo>
                    <a:cubicBezTo>
                      <a:pt x="1915429" y="0"/>
                      <a:pt x="1915429" y="0"/>
                      <a:pt x="1915429" y="0"/>
                    </a:cubicBezTo>
                    <a:cubicBezTo>
                      <a:pt x="1946727" y="0"/>
                      <a:pt x="1978025" y="25096"/>
                      <a:pt x="1978025" y="62740"/>
                    </a:cubicBezTo>
                    <a:lnTo>
                      <a:pt x="1978025" y="1116773"/>
                    </a:lnTo>
                    <a:cubicBezTo>
                      <a:pt x="1978025" y="1154417"/>
                      <a:pt x="1946727" y="1179513"/>
                      <a:pt x="1915429" y="1179513"/>
                    </a:cubicBezTo>
                    <a:cubicBezTo>
                      <a:pt x="62596" y="1179513"/>
                      <a:pt x="62596" y="1179513"/>
                      <a:pt x="62596" y="1179513"/>
                    </a:cubicBezTo>
                    <a:cubicBezTo>
                      <a:pt x="25038" y="1179513"/>
                      <a:pt x="0" y="1154417"/>
                      <a:pt x="0" y="1116773"/>
                    </a:cubicBezTo>
                    <a:cubicBezTo>
                      <a:pt x="0" y="62740"/>
                      <a:pt x="0" y="62740"/>
                      <a:pt x="0" y="62740"/>
                    </a:cubicBezTo>
                    <a:cubicBezTo>
                      <a:pt x="0" y="25096"/>
                      <a:pt x="25038" y="0"/>
                      <a:pt x="62596" y="0"/>
                    </a:cubicBezTo>
                    <a:close/>
                  </a:path>
                </a:pathLst>
              </a:custGeom>
              <a:solidFill>
                <a:srgbClr val="000000"/>
              </a:solidFill>
              <a:ln>
                <a:noFill/>
              </a:ln>
              <a:extLst/>
            </p:spPr>
            <p:txBody>
              <a:bodyPr vert="horz" wrap="square" lIns="89619" tIns="44809" rIns="89619" bIns="44809" numCol="1" anchor="t" anchorCtr="0" compatLnSpc="1">
                <a:prstTxWarp prst="textNoShape">
                  <a:avLst/>
                </a:prstTxWarp>
                <a:noAutofit/>
              </a:bodyPr>
              <a:lstStyle/>
              <a:p>
                <a:pPr defTabSz="914093"/>
                <a:endParaRPr lang="en-US" sz="1764">
                  <a:solidFill>
                    <a:srgbClr val="FFFFFF"/>
                  </a:solidFill>
                </a:endParaRPr>
              </a:p>
            </p:txBody>
          </p:sp>
          <p:sp>
            <p:nvSpPr>
              <p:cNvPr id="456" name="Rectangle 33"/>
              <p:cNvSpPr>
                <a:spLocks noChangeArrowheads="1"/>
              </p:cNvSpPr>
              <p:nvPr/>
            </p:nvSpPr>
            <p:spPr bwMode="auto">
              <a:xfrm>
                <a:off x="2188047" y="3418326"/>
                <a:ext cx="80963" cy="3206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sp>
        <p:nvSpPr>
          <p:cNvPr id="457" name="Rectangle 456"/>
          <p:cNvSpPr/>
          <p:nvPr/>
        </p:nvSpPr>
        <p:spPr>
          <a:xfrm>
            <a:off x="1862987" y="6084035"/>
            <a:ext cx="581614" cy="331813"/>
          </a:xfrm>
          <a:prstGeom prst="rect">
            <a:avLst/>
          </a:prstGeom>
        </p:spPr>
        <p:txBody>
          <a:bodyPr wrap="none">
            <a:spAutoFit/>
          </a:bodyPr>
          <a:lstStyle/>
          <a:p>
            <a:pPr algn="ctr" defTabSz="913828" fontAlgn="base">
              <a:spcBef>
                <a:spcPct val="0"/>
              </a:spcBef>
              <a:spcAft>
                <a:spcPct val="0"/>
              </a:spcAft>
            </a:pPr>
            <a:r>
              <a:rPr lang="en-US" sz="1568" dirty="0">
                <a:gradFill>
                  <a:gsLst>
                    <a:gs pos="16814">
                      <a:srgbClr val="FFFFFF"/>
                    </a:gs>
                    <a:gs pos="55000">
                      <a:srgbClr val="FFFFFF"/>
                    </a:gs>
                  </a:gsLst>
                  <a:lin ang="5400000" scaled="0"/>
                </a:gradFill>
              </a:rPr>
              <a:t>WPF</a:t>
            </a:r>
          </a:p>
        </p:txBody>
      </p:sp>
      <p:sp>
        <p:nvSpPr>
          <p:cNvPr id="19" name="Rectangle 18"/>
          <p:cNvSpPr/>
          <p:nvPr/>
        </p:nvSpPr>
        <p:spPr bwMode="auto">
          <a:xfrm>
            <a:off x="1704397" y="5317539"/>
            <a:ext cx="424276" cy="27805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58" name="Rectangle 457"/>
          <p:cNvSpPr/>
          <p:nvPr/>
        </p:nvSpPr>
        <p:spPr bwMode="auto">
          <a:xfrm>
            <a:off x="2152798" y="5317539"/>
            <a:ext cx="424276" cy="27805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p:cNvSpPr/>
          <p:nvPr/>
        </p:nvSpPr>
        <p:spPr bwMode="auto">
          <a:xfrm>
            <a:off x="1704396" y="5624967"/>
            <a:ext cx="872677" cy="125487"/>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85" name="Group 384"/>
          <p:cNvGrpSpPr/>
          <p:nvPr/>
        </p:nvGrpSpPr>
        <p:grpSpPr>
          <a:xfrm>
            <a:off x="4333224" y="2956063"/>
            <a:ext cx="3522377" cy="2098643"/>
            <a:chOff x="8434810" y="3014716"/>
            <a:chExt cx="3593944" cy="2141283"/>
          </a:xfrm>
        </p:grpSpPr>
        <p:grpSp>
          <p:nvGrpSpPr>
            <p:cNvPr id="386" name="Group 385"/>
            <p:cNvGrpSpPr/>
            <p:nvPr/>
          </p:nvGrpSpPr>
          <p:grpSpPr>
            <a:xfrm>
              <a:off x="9680617" y="3014717"/>
              <a:ext cx="1060284" cy="2100823"/>
              <a:chOff x="5883472" y="1314690"/>
              <a:chExt cx="786530" cy="1558413"/>
            </a:xfrm>
          </p:grpSpPr>
          <p:sp>
            <p:nvSpPr>
              <p:cNvPr id="430" name="Freeform 5"/>
              <p:cNvSpPr>
                <a:spLocks/>
              </p:cNvSpPr>
              <p:nvPr/>
            </p:nvSpPr>
            <p:spPr bwMode="auto">
              <a:xfrm>
                <a:off x="5883472" y="1314690"/>
                <a:ext cx="786530" cy="1558413"/>
              </a:xfrm>
              <a:custGeom>
                <a:avLst/>
                <a:gdLst>
                  <a:gd name="T0" fmla="*/ 98 w 98"/>
                  <a:gd name="T1" fmla="*/ 193 h 197"/>
                  <a:gd name="T2" fmla="*/ 94 w 98"/>
                  <a:gd name="T3" fmla="*/ 197 h 197"/>
                  <a:gd name="T4" fmla="*/ 4 w 98"/>
                  <a:gd name="T5" fmla="*/ 197 h 197"/>
                  <a:gd name="T6" fmla="*/ 0 w 98"/>
                  <a:gd name="T7" fmla="*/ 193 h 197"/>
                  <a:gd name="T8" fmla="*/ 0 w 98"/>
                  <a:gd name="T9" fmla="*/ 4 h 197"/>
                  <a:gd name="T10" fmla="*/ 4 w 98"/>
                  <a:gd name="T11" fmla="*/ 0 h 197"/>
                  <a:gd name="T12" fmla="*/ 94 w 98"/>
                  <a:gd name="T13" fmla="*/ 0 h 197"/>
                  <a:gd name="T14" fmla="*/ 98 w 98"/>
                  <a:gd name="T15" fmla="*/ 4 h 197"/>
                  <a:gd name="T16" fmla="*/ 98 w 98"/>
                  <a:gd name="T17" fmla="*/ 193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197">
                    <a:moveTo>
                      <a:pt x="98" y="193"/>
                    </a:moveTo>
                    <a:cubicBezTo>
                      <a:pt x="98" y="195"/>
                      <a:pt x="96" y="197"/>
                      <a:pt x="94" y="197"/>
                    </a:cubicBezTo>
                    <a:cubicBezTo>
                      <a:pt x="4" y="197"/>
                      <a:pt x="4" y="197"/>
                      <a:pt x="4" y="197"/>
                    </a:cubicBezTo>
                    <a:cubicBezTo>
                      <a:pt x="2" y="197"/>
                      <a:pt x="0" y="195"/>
                      <a:pt x="0" y="193"/>
                    </a:cubicBezTo>
                    <a:cubicBezTo>
                      <a:pt x="0" y="4"/>
                      <a:pt x="0" y="4"/>
                      <a:pt x="0" y="4"/>
                    </a:cubicBezTo>
                    <a:cubicBezTo>
                      <a:pt x="0" y="2"/>
                      <a:pt x="2" y="0"/>
                      <a:pt x="4" y="0"/>
                    </a:cubicBezTo>
                    <a:cubicBezTo>
                      <a:pt x="94" y="0"/>
                      <a:pt x="94" y="0"/>
                      <a:pt x="94" y="0"/>
                    </a:cubicBezTo>
                    <a:cubicBezTo>
                      <a:pt x="96" y="0"/>
                      <a:pt x="98" y="2"/>
                      <a:pt x="98" y="4"/>
                    </a:cubicBezTo>
                    <a:lnTo>
                      <a:pt x="98" y="19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31" name="Freeform 22"/>
              <p:cNvSpPr>
                <a:spLocks/>
              </p:cNvSpPr>
              <p:nvPr/>
            </p:nvSpPr>
            <p:spPr bwMode="auto">
              <a:xfrm>
                <a:off x="6005041" y="2770576"/>
                <a:ext cx="23435" cy="39547"/>
              </a:xfrm>
              <a:custGeom>
                <a:avLst/>
                <a:gdLst>
                  <a:gd name="T0" fmla="*/ 16 w 16"/>
                  <a:gd name="T1" fmla="*/ 27 h 27"/>
                  <a:gd name="T2" fmla="*/ 0 w 16"/>
                  <a:gd name="T3" fmla="*/ 10 h 27"/>
                  <a:gd name="T4" fmla="*/ 16 w 16"/>
                  <a:gd name="T5" fmla="*/ 0 h 27"/>
                </a:gdLst>
                <a:ahLst/>
                <a:cxnLst>
                  <a:cxn ang="0">
                    <a:pos x="T0" y="T1"/>
                  </a:cxn>
                  <a:cxn ang="0">
                    <a:pos x="T2" y="T3"/>
                  </a:cxn>
                  <a:cxn ang="0">
                    <a:pos x="T4" y="T5"/>
                  </a:cxn>
                </a:cxnLst>
                <a:rect l="0" t="0" r="r" b="b"/>
                <a:pathLst>
                  <a:path w="16" h="27">
                    <a:moveTo>
                      <a:pt x="16" y="27"/>
                    </a:moveTo>
                    <a:lnTo>
                      <a:pt x="0" y="10"/>
                    </a:lnTo>
                    <a:lnTo>
                      <a:pt x="16" y="0"/>
                    </a:lnTo>
                  </a:path>
                </a:pathLst>
              </a:custGeom>
              <a:solidFill>
                <a:schemeClr val="tx1"/>
              </a:solidFill>
              <a:ln w="7938" cap="rnd">
                <a:solidFill>
                  <a:srgbClr val="969696"/>
                </a:solidFill>
                <a:prstDash val="solid"/>
                <a:miter lim="800000"/>
                <a:headEnd/>
                <a:tailEnd/>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35" name="Line 23"/>
              <p:cNvSpPr>
                <a:spLocks noChangeShapeType="1"/>
              </p:cNvSpPr>
              <p:nvPr/>
            </p:nvSpPr>
            <p:spPr bwMode="auto">
              <a:xfrm>
                <a:off x="6005041" y="2785223"/>
                <a:ext cx="39547" cy="0"/>
              </a:xfrm>
              <a:prstGeom prst="line">
                <a:avLst/>
              </a:prstGeom>
              <a:noFill/>
              <a:ln w="7938"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36" name="Oval 24"/>
              <p:cNvSpPr>
                <a:spLocks noChangeArrowheads="1"/>
              </p:cNvSpPr>
              <p:nvPr/>
            </p:nvSpPr>
            <p:spPr bwMode="auto">
              <a:xfrm>
                <a:off x="6517676" y="2770576"/>
                <a:ext cx="32223" cy="30759"/>
              </a:xfrm>
              <a:prstGeom prst="ellipse">
                <a:avLst/>
              </a:prstGeom>
              <a:solidFill>
                <a:srgbClr val="000000"/>
              </a:solidFill>
              <a:ln w="7938" cap="rnd">
                <a:solidFill>
                  <a:srgbClr val="969696"/>
                </a:solidFill>
                <a:prstDash val="solid"/>
                <a:miter lim="800000"/>
                <a:headEnd/>
                <a:tailEnd/>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37" name="Line 25"/>
              <p:cNvSpPr>
                <a:spLocks noChangeShapeType="1"/>
              </p:cNvSpPr>
              <p:nvPr/>
            </p:nvSpPr>
            <p:spPr bwMode="auto">
              <a:xfrm flipH="1">
                <a:off x="6508888" y="2794011"/>
                <a:ext cx="8788" cy="16112"/>
              </a:xfrm>
              <a:prstGeom prst="line">
                <a:avLst/>
              </a:prstGeom>
              <a:noFill/>
              <a:ln w="7938"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38" name="Freeform 26"/>
              <p:cNvSpPr>
                <a:spLocks/>
              </p:cNvSpPr>
              <p:nvPr/>
            </p:nvSpPr>
            <p:spPr bwMode="auto">
              <a:xfrm>
                <a:off x="6277470" y="2761788"/>
                <a:ext cx="23435" cy="23435"/>
              </a:xfrm>
              <a:custGeom>
                <a:avLst/>
                <a:gdLst>
                  <a:gd name="T0" fmla="*/ 0 w 16"/>
                  <a:gd name="T1" fmla="*/ 16 h 16"/>
                  <a:gd name="T2" fmla="*/ 16 w 16"/>
                  <a:gd name="T3" fmla="*/ 16 h 16"/>
                  <a:gd name="T4" fmla="*/ 16 w 16"/>
                  <a:gd name="T5" fmla="*/ 0 h 16"/>
                  <a:gd name="T6" fmla="*/ 0 w 16"/>
                  <a:gd name="T7" fmla="*/ 6 h 16"/>
                  <a:gd name="T8" fmla="*/ 0 w 16"/>
                  <a:gd name="T9" fmla="*/ 16 h 16"/>
                </a:gdLst>
                <a:ahLst/>
                <a:cxnLst>
                  <a:cxn ang="0">
                    <a:pos x="T0" y="T1"/>
                  </a:cxn>
                  <a:cxn ang="0">
                    <a:pos x="T2" y="T3"/>
                  </a:cxn>
                  <a:cxn ang="0">
                    <a:pos x="T4" y="T5"/>
                  </a:cxn>
                  <a:cxn ang="0">
                    <a:pos x="T6" y="T7"/>
                  </a:cxn>
                  <a:cxn ang="0">
                    <a:pos x="T8" y="T9"/>
                  </a:cxn>
                </a:cxnLst>
                <a:rect l="0" t="0" r="r" b="b"/>
                <a:pathLst>
                  <a:path w="16" h="16">
                    <a:moveTo>
                      <a:pt x="0" y="16"/>
                    </a:moveTo>
                    <a:lnTo>
                      <a:pt x="16" y="16"/>
                    </a:lnTo>
                    <a:lnTo>
                      <a:pt x="16" y="0"/>
                    </a:lnTo>
                    <a:lnTo>
                      <a:pt x="0" y="6"/>
                    </a:lnTo>
                    <a:lnTo>
                      <a:pt x="0" y="16"/>
                    </a:lnTo>
                    <a:close/>
                  </a:path>
                </a:pathLst>
              </a:cu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39" name="Rectangle 27"/>
              <p:cNvSpPr>
                <a:spLocks noChangeArrowheads="1"/>
              </p:cNvSpPr>
              <p:nvPr/>
            </p:nvSpPr>
            <p:spPr bwMode="auto">
              <a:xfrm>
                <a:off x="6252570" y="2770576"/>
                <a:ext cx="16112" cy="14647"/>
              </a:xfrm>
              <a:prstGeom prst="rect">
                <a:avLst/>
              </a:pr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0" name="Rectangle 28"/>
              <p:cNvSpPr>
                <a:spLocks noChangeArrowheads="1"/>
              </p:cNvSpPr>
              <p:nvPr/>
            </p:nvSpPr>
            <p:spPr bwMode="auto">
              <a:xfrm>
                <a:off x="6277470" y="2785223"/>
                <a:ext cx="23435" cy="24900"/>
              </a:xfrm>
              <a:prstGeom prst="rect">
                <a:avLst/>
              </a:pr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1" name="Rectangle 29"/>
              <p:cNvSpPr>
                <a:spLocks noChangeArrowheads="1"/>
              </p:cNvSpPr>
              <p:nvPr/>
            </p:nvSpPr>
            <p:spPr bwMode="auto">
              <a:xfrm>
                <a:off x="6252570" y="2785223"/>
                <a:ext cx="16112" cy="24900"/>
              </a:xfrm>
              <a:prstGeom prst="rect">
                <a:avLst/>
              </a:pr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2" name="Freeform 31"/>
              <p:cNvSpPr>
                <a:spLocks/>
              </p:cNvSpPr>
              <p:nvPr/>
            </p:nvSpPr>
            <p:spPr bwMode="auto">
              <a:xfrm>
                <a:off x="6196912" y="1393782"/>
                <a:ext cx="184549" cy="24900"/>
              </a:xfrm>
              <a:custGeom>
                <a:avLst/>
                <a:gdLst>
                  <a:gd name="T0" fmla="*/ 23 w 23"/>
                  <a:gd name="T1" fmla="*/ 2 h 3"/>
                  <a:gd name="T2" fmla="*/ 21 w 23"/>
                  <a:gd name="T3" fmla="*/ 3 h 3"/>
                  <a:gd name="T4" fmla="*/ 1 w 23"/>
                  <a:gd name="T5" fmla="*/ 3 h 3"/>
                  <a:gd name="T6" fmla="*/ 0 w 23"/>
                  <a:gd name="T7" fmla="*/ 2 h 3"/>
                  <a:gd name="T8" fmla="*/ 0 w 23"/>
                  <a:gd name="T9" fmla="*/ 2 h 3"/>
                  <a:gd name="T10" fmla="*/ 1 w 23"/>
                  <a:gd name="T11" fmla="*/ 0 h 3"/>
                  <a:gd name="T12" fmla="*/ 21 w 23"/>
                  <a:gd name="T13" fmla="*/ 0 h 3"/>
                  <a:gd name="T14" fmla="*/ 23 w 23"/>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
                    <a:moveTo>
                      <a:pt x="23" y="2"/>
                    </a:moveTo>
                    <a:cubicBezTo>
                      <a:pt x="23" y="3"/>
                      <a:pt x="22" y="3"/>
                      <a:pt x="21" y="3"/>
                    </a:cubicBezTo>
                    <a:cubicBezTo>
                      <a:pt x="1" y="3"/>
                      <a:pt x="1" y="3"/>
                      <a:pt x="1" y="3"/>
                    </a:cubicBezTo>
                    <a:cubicBezTo>
                      <a:pt x="0" y="3"/>
                      <a:pt x="0" y="3"/>
                      <a:pt x="0" y="2"/>
                    </a:cubicBezTo>
                    <a:cubicBezTo>
                      <a:pt x="0" y="2"/>
                      <a:pt x="0" y="2"/>
                      <a:pt x="0" y="2"/>
                    </a:cubicBezTo>
                    <a:cubicBezTo>
                      <a:pt x="0" y="1"/>
                      <a:pt x="0" y="0"/>
                      <a:pt x="1" y="0"/>
                    </a:cubicBezTo>
                    <a:cubicBezTo>
                      <a:pt x="21" y="0"/>
                      <a:pt x="21" y="0"/>
                      <a:pt x="21" y="0"/>
                    </a:cubicBezTo>
                    <a:cubicBezTo>
                      <a:pt x="22" y="0"/>
                      <a:pt x="23" y="1"/>
                      <a:pt x="23" y="2"/>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3" name="Rectangle 32"/>
              <p:cNvSpPr>
                <a:spLocks noChangeArrowheads="1"/>
              </p:cNvSpPr>
              <p:nvPr/>
            </p:nvSpPr>
            <p:spPr bwMode="auto">
              <a:xfrm>
                <a:off x="5964030" y="1512421"/>
                <a:ext cx="8788" cy="322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4" name="Rectangle 33"/>
              <p:cNvSpPr>
                <a:spLocks noChangeArrowheads="1"/>
              </p:cNvSpPr>
              <p:nvPr/>
            </p:nvSpPr>
            <p:spPr bwMode="auto">
              <a:xfrm>
                <a:off x="5956706" y="1521209"/>
                <a:ext cx="7324" cy="2343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9" name="Rectangle 34"/>
              <p:cNvSpPr>
                <a:spLocks noChangeArrowheads="1"/>
              </p:cNvSpPr>
              <p:nvPr/>
            </p:nvSpPr>
            <p:spPr bwMode="auto">
              <a:xfrm>
                <a:off x="5947918" y="1528532"/>
                <a:ext cx="8788"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0" name="Rectangle 35"/>
              <p:cNvSpPr>
                <a:spLocks noChangeArrowheads="1"/>
              </p:cNvSpPr>
              <p:nvPr/>
            </p:nvSpPr>
            <p:spPr bwMode="auto">
              <a:xfrm>
                <a:off x="5940595" y="1528532"/>
                <a:ext cx="7324"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9" name="Rectangle 36"/>
              <p:cNvSpPr>
                <a:spLocks noChangeArrowheads="1"/>
              </p:cNvSpPr>
              <p:nvPr/>
            </p:nvSpPr>
            <p:spPr bwMode="auto">
              <a:xfrm>
                <a:off x="5931807" y="1537320"/>
                <a:ext cx="8788" cy="732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60" name="Rectangle 37"/>
              <p:cNvSpPr>
                <a:spLocks noChangeArrowheads="1"/>
              </p:cNvSpPr>
              <p:nvPr/>
            </p:nvSpPr>
            <p:spPr bwMode="auto">
              <a:xfrm>
                <a:off x="6492776" y="1512421"/>
                <a:ext cx="32223" cy="322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61" name="Rectangle 38"/>
              <p:cNvSpPr>
                <a:spLocks noChangeArrowheads="1"/>
              </p:cNvSpPr>
              <p:nvPr/>
            </p:nvSpPr>
            <p:spPr bwMode="auto">
              <a:xfrm>
                <a:off x="6469342" y="1521209"/>
                <a:ext cx="7324"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nvGrpSpPr>
            <p:cNvPr id="387" name="Group 386"/>
            <p:cNvGrpSpPr/>
            <p:nvPr/>
          </p:nvGrpSpPr>
          <p:grpSpPr>
            <a:xfrm>
              <a:off x="10859213" y="3014717"/>
              <a:ext cx="1169541" cy="2100901"/>
              <a:chOff x="9635198" y="5349787"/>
              <a:chExt cx="748731" cy="1344979"/>
            </a:xfrm>
          </p:grpSpPr>
          <p:grpSp>
            <p:nvGrpSpPr>
              <p:cNvPr id="405" name="Group 404"/>
              <p:cNvGrpSpPr/>
              <p:nvPr/>
            </p:nvGrpSpPr>
            <p:grpSpPr>
              <a:xfrm>
                <a:off x="9635198" y="5349787"/>
                <a:ext cx="748731" cy="1344979"/>
                <a:chOff x="5028131" y="1531713"/>
                <a:chExt cx="693495" cy="1245756"/>
              </a:xfrm>
            </p:grpSpPr>
            <p:grpSp>
              <p:nvGrpSpPr>
                <p:cNvPr id="419" name="Group 418"/>
                <p:cNvGrpSpPr/>
                <p:nvPr/>
              </p:nvGrpSpPr>
              <p:grpSpPr>
                <a:xfrm>
                  <a:off x="5028131" y="1531713"/>
                  <a:ext cx="693495" cy="1245756"/>
                  <a:chOff x="6639402" y="-1425066"/>
                  <a:chExt cx="675798" cy="1213966"/>
                </a:xfrm>
              </p:grpSpPr>
              <p:sp>
                <p:nvSpPr>
                  <p:cNvPr id="428" name="Freeform 10"/>
                  <p:cNvSpPr>
                    <a:spLocks noChangeAspect="1" noEditPoints="1"/>
                  </p:cNvSpPr>
                  <p:nvPr/>
                </p:nvSpPr>
                <p:spPr bwMode="auto">
                  <a:xfrm>
                    <a:off x="6639402" y="-1425066"/>
                    <a:ext cx="675798" cy="1213966"/>
                  </a:xfrm>
                  <a:custGeom>
                    <a:avLst/>
                    <a:gdLst>
                      <a:gd name="T0" fmla="*/ 148 w 159"/>
                      <a:gd name="T1" fmla="*/ 0 h 288"/>
                      <a:gd name="T2" fmla="*/ 11 w 159"/>
                      <a:gd name="T3" fmla="*/ 0 h 288"/>
                      <a:gd name="T4" fmla="*/ 0 w 159"/>
                      <a:gd name="T5" fmla="*/ 10 h 288"/>
                      <a:gd name="T6" fmla="*/ 0 w 159"/>
                      <a:gd name="T7" fmla="*/ 278 h 288"/>
                      <a:gd name="T8" fmla="*/ 11 w 159"/>
                      <a:gd name="T9" fmla="*/ 288 h 288"/>
                      <a:gd name="T10" fmla="*/ 148 w 159"/>
                      <a:gd name="T11" fmla="*/ 288 h 288"/>
                      <a:gd name="T12" fmla="*/ 159 w 159"/>
                      <a:gd name="T13" fmla="*/ 278 h 288"/>
                      <a:gd name="T14" fmla="*/ 159 w 159"/>
                      <a:gd name="T15" fmla="*/ 10 h 288"/>
                      <a:gd name="T16" fmla="*/ 148 w 159"/>
                      <a:gd name="T17" fmla="*/ 0 h 288"/>
                      <a:gd name="T18" fmla="*/ 36 w 159"/>
                      <a:gd name="T19" fmla="*/ 262 h 288"/>
                      <a:gd name="T20" fmla="*/ 30 w 159"/>
                      <a:gd name="T21" fmla="*/ 262 h 288"/>
                      <a:gd name="T22" fmla="*/ 33 w 159"/>
                      <a:gd name="T23" fmla="*/ 266 h 288"/>
                      <a:gd name="T24" fmla="*/ 32 w 159"/>
                      <a:gd name="T25" fmla="*/ 266 h 288"/>
                      <a:gd name="T26" fmla="*/ 27 w 159"/>
                      <a:gd name="T27" fmla="*/ 262 h 288"/>
                      <a:gd name="T28" fmla="*/ 32 w 159"/>
                      <a:gd name="T29" fmla="*/ 258 h 288"/>
                      <a:gd name="T30" fmla="*/ 33 w 159"/>
                      <a:gd name="T31" fmla="*/ 258 h 288"/>
                      <a:gd name="T32" fmla="*/ 30 w 159"/>
                      <a:gd name="T33" fmla="*/ 261 h 288"/>
                      <a:gd name="T34" fmla="*/ 36 w 159"/>
                      <a:gd name="T35" fmla="*/ 261 h 288"/>
                      <a:gd name="T36" fmla="*/ 36 w 159"/>
                      <a:gd name="T37" fmla="*/ 262 h 288"/>
                      <a:gd name="T38" fmla="*/ 77 w 159"/>
                      <a:gd name="T39" fmla="*/ 268 h 288"/>
                      <a:gd name="T40" fmla="*/ 72 w 159"/>
                      <a:gd name="T41" fmla="*/ 267 h 288"/>
                      <a:gd name="T42" fmla="*/ 72 w 159"/>
                      <a:gd name="T43" fmla="*/ 263 h 288"/>
                      <a:gd name="T44" fmla="*/ 77 w 159"/>
                      <a:gd name="T45" fmla="*/ 263 h 288"/>
                      <a:gd name="T46" fmla="*/ 77 w 159"/>
                      <a:gd name="T47" fmla="*/ 268 h 288"/>
                      <a:gd name="T48" fmla="*/ 77 w 159"/>
                      <a:gd name="T49" fmla="*/ 262 h 288"/>
                      <a:gd name="T50" fmla="*/ 72 w 159"/>
                      <a:gd name="T51" fmla="*/ 262 h 288"/>
                      <a:gd name="T52" fmla="*/ 72 w 159"/>
                      <a:gd name="T53" fmla="*/ 258 h 288"/>
                      <a:gd name="T54" fmla="*/ 77 w 159"/>
                      <a:gd name="T55" fmla="*/ 257 h 288"/>
                      <a:gd name="T56" fmla="*/ 77 w 159"/>
                      <a:gd name="T57" fmla="*/ 262 h 288"/>
                      <a:gd name="T58" fmla="*/ 85 w 159"/>
                      <a:gd name="T59" fmla="*/ 269 h 288"/>
                      <a:gd name="T60" fmla="*/ 78 w 159"/>
                      <a:gd name="T61" fmla="*/ 268 h 288"/>
                      <a:gd name="T62" fmla="*/ 78 w 159"/>
                      <a:gd name="T63" fmla="*/ 263 h 288"/>
                      <a:gd name="T64" fmla="*/ 85 w 159"/>
                      <a:gd name="T65" fmla="*/ 263 h 288"/>
                      <a:gd name="T66" fmla="*/ 85 w 159"/>
                      <a:gd name="T67" fmla="*/ 269 h 288"/>
                      <a:gd name="T68" fmla="*/ 85 w 159"/>
                      <a:gd name="T69" fmla="*/ 262 h 288"/>
                      <a:gd name="T70" fmla="*/ 78 w 159"/>
                      <a:gd name="T71" fmla="*/ 262 h 288"/>
                      <a:gd name="T72" fmla="*/ 78 w 159"/>
                      <a:gd name="T73" fmla="*/ 257 h 288"/>
                      <a:gd name="T74" fmla="*/ 85 w 159"/>
                      <a:gd name="T75" fmla="*/ 256 h 288"/>
                      <a:gd name="T76" fmla="*/ 85 w 159"/>
                      <a:gd name="T77" fmla="*/ 262 h 288"/>
                      <a:gd name="T78" fmla="*/ 126 w 159"/>
                      <a:gd name="T79" fmla="*/ 265 h 288"/>
                      <a:gd name="T80" fmla="*/ 124 w 159"/>
                      <a:gd name="T81" fmla="*/ 264 h 288"/>
                      <a:gd name="T82" fmla="*/ 122 w 159"/>
                      <a:gd name="T83" fmla="*/ 267 h 288"/>
                      <a:gd name="T84" fmla="*/ 121 w 159"/>
                      <a:gd name="T85" fmla="*/ 266 h 288"/>
                      <a:gd name="T86" fmla="*/ 123 w 159"/>
                      <a:gd name="T87" fmla="*/ 264 h 288"/>
                      <a:gd name="T88" fmla="*/ 122 w 159"/>
                      <a:gd name="T89" fmla="*/ 261 h 288"/>
                      <a:gd name="T90" fmla="*/ 126 w 159"/>
                      <a:gd name="T91" fmla="*/ 257 h 288"/>
                      <a:gd name="T92" fmla="*/ 130 w 159"/>
                      <a:gd name="T93" fmla="*/ 261 h 288"/>
                      <a:gd name="T94" fmla="*/ 126 w 159"/>
                      <a:gd name="T95" fmla="*/ 265 h 288"/>
                      <a:gd name="T96" fmla="*/ 143 w 159"/>
                      <a:gd name="T97" fmla="*/ 227 h 288"/>
                      <a:gd name="T98" fmla="*/ 14 w 159"/>
                      <a:gd name="T99" fmla="*/ 227 h 288"/>
                      <a:gd name="T100" fmla="*/ 14 w 159"/>
                      <a:gd name="T101" fmla="*/ 24 h 288"/>
                      <a:gd name="T102" fmla="*/ 143 w 159"/>
                      <a:gd name="T103" fmla="*/ 24 h 288"/>
                      <a:gd name="T104" fmla="*/ 143 w 159"/>
                      <a:gd name="T105" fmla="*/ 227 h 288"/>
                      <a:gd name="T106" fmla="*/ 129 w 159"/>
                      <a:gd name="T107" fmla="*/ 261 h 288"/>
                      <a:gd name="T108" fmla="*/ 126 w 159"/>
                      <a:gd name="T109" fmla="*/ 264 h 288"/>
                      <a:gd name="T110" fmla="*/ 123 w 159"/>
                      <a:gd name="T111" fmla="*/ 261 h 288"/>
                      <a:gd name="T112" fmla="*/ 126 w 159"/>
                      <a:gd name="T113" fmla="*/ 258 h 288"/>
                      <a:gd name="T114" fmla="*/ 129 w 159"/>
                      <a:gd name="T115" fmla="*/ 261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9" h="288">
                        <a:moveTo>
                          <a:pt x="148" y="0"/>
                        </a:moveTo>
                        <a:cubicBezTo>
                          <a:pt x="148" y="0"/>
                          <a:pt x="148" y="0"/>
                          <a:pt x="11" y="0"/>
                        </a:cubicBezTo>
                        <a:cubicBezTo>
                          <a:pt x="5" y="0"/>
                          <a:pt x="0" y="4"/>
                          <a:pt x="0" y="10"/>
                        </a:cubicBezTo>
                        <a:cubicBezTo>
                          <a:pt x="0" y="10"/>
                          <a:pt x="0" y="10"/>
                          <a:pt x="0" y="278"/>
                        </a:cubicBezTo>
                        <a:cubicBezTo>
                          <a:pt x="0" y="284"/>
                          <a:pt x="5" y="288"/>
                          <a:pt x="11" y="288"/>
                        </a:cubicBezTo>
                        <a:cubicBezTo>
                          <a:pt x="11" y="288"/>
                          <a:pt x="11" y="288"/>
                          <a:pt x="148" y="288"/>
                        </a:cubicBezTo>
                        <a:cubicBezTo>
                          <a:pt x="154" y="288"/>
                          <a:pt x="159" y="284"/>
                          <a:pt x="159" y="278"/>
                        </a:cubicBezTo>
                        <a:cubicBezTo>
                          <a:pt x="159" y="10"/>
                          <a:pt x="159" y="10"/>
                          <a:pt x="159" y="10"/>
                        </a:cubicBezTo>
                        <a:cubicBezTo>
                          <a:pt x="159" y="4"/>
                          <a:pt x="154" y="0"/>
                          <a:pt x="148" y="0"/>
                        </a:cubicBezTo>
                        <a:close/>
                        <a:moveTo>
                          <a:pt x="36" y="262"/>
                        </a:moveTo>
                        <a:cubicBezTo>
                          <a:pt x="30" y="262"/>
                          <a:pt x="30" y="262"/>
                          <a:pt x="30" y="262"/>
                        </a:cubicBezTo>
                        <a:cubicBezTo>
                          <a:pt x="33" y="266"/>
                          <a:pt x="33" y="266"/>
                          <a:pt x="33" y="266"/>
                        </a:cubicBezTo>
                        <a:cubicBezTo>
                          <a:pt x="32" y="266"/>
                          <a:pt x="32" y="266"/>
                          <a:pt x="32" y="266"/>
                        </a:cubicBezTo>
                        <a:cubicBezTo>
                          <a:pt x="27" y="262"/>
                          <a:pt x="27" y="262"/>
                          <a:pt x="27" y="262"/>
                        </a:cubicBezTo>
                        <a:cubicBezTo>
                          <a:pt x="32" y="258"/>
                          <a:pt x="32" y="258"/>
                          <a:pt x="32" y="258"/>
                        </a:cubicBezTo>
                        <a:cubicBezTo>
                          <a:pt x="33" y="258"/>
                          <a:pt x="33" y="258"/>
                          <a:pt x="33" y="258"/>
                        </a:cubicBezTo>
                        <a:cubicBezTo>
                          <a:pt x="30" y="261"/>
                          <a:pt x="30" y="261"/>
                          <a:pt x="30" y="261"/>
                        </a:cubicBezTo>
                        <a:cubicBezTo>
                          <a:pt x="36" y="261"/>
                          <a:pt x="36" y="261"/>
                          <a:pt x="36" y="261"/>
                        </a:cubicBezTo>
                        <a:cubicBezTo>
                          <a:pt x="36" y="262"/>
                          <a:pt x="36" y="262"/>
                          <a:pt x="36" y="262"/>
                        </a:cubicBezTo>
                        <a:close/>
                        <a:moveTo>
                          <a:pt x="77" y="268"/>
                        </a:moveTo>
                        <a:cubicBezTo>
                          <a:pt x="72" y="267"/>
                          <a:pt x="72" y="267"/>
                          <a:pt x="72" y="267"/>
                        </a:cubicBezTo>
                        <a:cubicBezTo>
                          <a:pt x="72" y="263"/>
                          <a:pt x="72" y="263"/>
                          <a:pt x="72" y="263"/>
                        </a:cubicBezTo>
                        <a:cubicBezTo>
                          <a:pt x="77" y="263"/>
                          <a:pt x="77" y="263"/>
                          <a:pt x="77" y="263"/>
                        </a:cubicBezTo>
                        <a:lnTo>
                          <a:pt x="77" y="268"/>
                        </a:lnTo>
                        <a:close/>
                        <a:moveTo>
                          <a:pt x="77" y="262"/>
                        </a:moveTo>
                        <a:cubicBezTo>
                          <a:pt x="72" y="262"/>
                          <a:pt x="72" y="262"/>
                          <a:pt x="72" y="262"/>
                        </a:cubicBezTo>
                        <a:cubicBezTo>
                          <a:pt x="72" y="258"/>
                          <a:pt x="72" y="258"/>
                          <a:pt x="72" y="258"/>
                        </a:cubicBezTo>
                        <a:cubicBezTo>
                          <a:pt x="77" y="257"/>
                          <a:pt x="77" y="257"/>
                          <a:pt x="77" y="257"/>
                        </a:cubicBezTo>
                        <a:lnTo>
                          <a:pt x="77" y="262"/>
                        </a:lnTo>
                        <a:close/>
                        <a:moveTo>
                          <a:pt x="85" y="269"/>
                        </a:moveTo>
                        <a:cubicBezTo>
                          <a:pt x="78" y="268"/>
                          <a:pt x="78" y="268"/>
                          <a:pt x="78" y="268"/>
                        </a:cubicBezTo>
                        <a:cubicBezTo>
                          <a:pt x="78" y="263"/>
                          <a:pt x="78" y="263"/>
                          <a:pt x="78" y="263"/>
                        </a:cubicBezTo>
                        <a:cubicBezTo>
                          <a:pt x="85" y="263"/>
                          <a:pt x="85" y="263"/>
                          <a:pt x="85" y="263"/>
                        </a:cubicBezTo>
                        <a:lnTo>
                          <a:pt x="85" y="269"/>
                        </a:lnTo>
                        <a:close/>
                        <a:moveTo>
                          <a:pt x="85" y="262"/>
                        </a:moveTo>
                        <a:cubicBezTo>
                          <a:pt x="78" y="262"/>
                          <a:pt x="78" y="262"/>
                          <a:pt x="78" y="262"/>
                        </a:cubicBezTo>
                        <a:cubicBezTo>
                          <a:pt x="78" y="257"/>
                          <a:pt x="78" y="257"/>
                          <a:pt x="78" y="257"/>
                        </a:cubicBezTo>
                        <a:cubicBezTo>
                          <a:pt x="85" y="256"/>
                          <a:pt x="85" y="256"/>
                          <a:pt x="85" y="256"/>
                        </a:cubicBezTo>
                        <a:lnTo>
                          <a:pt x="85" y="262"/>
                        </a:lnTo>
                        <a:close/>
                        <a:moveTo>
                          <a:pt x="126" y="265"/>
                        </a:moveTo>
                        <a:cubicBezTo>
                          <a:pt x="125" y="265"/>
                          <a:pt x="124" y="265"/>
                          <a:pt x="124" y="264"/>
                        </a:cubicBezTo>
                        <a:cubicBezTo>
                          <a:pt x="124" y="264"/>
                          <a:pt x="124" y="264"/>
                          <a:pt x="122" y="267"/>
                        </a:cubicBezTo>
                        <a:cubicBezTo>
                          <a:pt x="122" y="267"/>
                          <a:pt x="122" y="267"/>
                          <a:pt x="121" y="266"/>
                        </a:cubicBezTo>
                        <a:cubicBezTo>
                          <a:pt x="121" y="266"/>
                          <a:pt x="121" y="266"/>
                          <a:pt x="123" y="264"/>
                        </a:cubicBezTo>
                        <a:cubicBezTo>
                          <a:pt x="122" y="263"/>
                          <a:pt x="122" y="262"/>
                          <a:pt x="122" y="261"/>
                        </a:cubicBezTo>
                        <a:cubicBezTo>
                          <a:pt x="122" y="259"/>
                          <a:pt x="124" y="257"/>
                          <a:pt x="126" y="257"/>
                        </a:cubicBezTo>
                        <a:cubicBezTo>
                          <a:pt x="128" y="257"/>
                          <a:pt x="130" y="259"/>
                          <a:pt x="130" y="261"/>
                        </a:cubicBezTo>
                        <a:cubicBezTo>
                          <a:pt x="130" y="263"/>
                          <a:pt x="128" y="265"/>
                          <a:pt x="126" y="265"/>
                        </a:cubicBezTo>
                        <a:close/>
                        <a:moveTo>
                          <a:pt x="143" y="227"/>
                        </a:moveTo>
                        <a:cubicBezTo>
                          <a:pt x="101" y="227"/>
                          <a:pt x="57" y="227"/>
                          <a:pt x="14" y="227"/>
                        </a:cubicBezTo>
                        <a:cubicBezTo>
                          <a:pt x="14" y="159"/>
                          <a:pt x="14" y="91"/>
                          <a:pt x="14" y="24"/>
                        </a:cubicBezTo>
                        <a:cubicBezTo>
                          <a:pt x="57" y="24"/>
                          <a:pt x="101" y="24"/>
                          <a:pt x="143" y="24"/>
                        </a:cubicBezTo>
                        <a:cubicBezTo>
                          <a:pt x="143" y="91"/>
                          <a:pt x="143" y="159"/>
                          <a:pt x="143" y="227"/>
                        </a:cubicBezTo>
                        <a:close/>
                        <a:moveTo>
                          <a:pt x="129" y="261"/>
                        </a:moveTo>
                        <a:cubicBezTo>
                          <a:pt x="129" y="263"/>
                          <a:pt x="128" y="264"/>
                          <a:pt x="126" y="264"/>
                        </a:cubicBezTo>
                        <a:cubicBezTo>
                          <a:pt x="124" y="264"/>
                          <a:pt x="123" y="263"/>
                          <a:pt x="123" y="261"/>
                        </a:cubicBezTo>
                        <a:cubicBezTo>
                          <a:pt x="123" y="260"/>
                          <a:pt x="124" y="258"/>
                          <a:pt x="126" y="258"/>
                        </a:cubicBezTo>
                        <a:cubicBezTo>
                          <a:pt x="128" y="258"/>
                          <a:pt x="129" y="260"/>
                          <a:pt x="129" y="261"/>
                        </a:cubicBezTo>
                        <a:close/>
                      </a:path>
                    </a:pathLst>
                  </a:custGeom>
                  <a:solidFill>
                    <a:schemeClr val="tx1"/>
                  </a:solidFill>
                  <a:ln>
                    <a:noFill/>
                  </a:ln>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29" name="Rectangle 428"/>
                  <p:cNvSpPr/>
                  <p:nvPr/>
                </p:nvSpPr>
                <p:spPr bwMode="auto">
                  <a:xfrm>
                    <a:off x="6657420" y="-401045"/>
                    <a:ext cx="639762" cy="14861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420" name="Group 419"/>
                <p:cNvGrpSpPr/>
                <p:nvPr/>
              </p:nvGrpSpPr>
              <p:grpSpPr>
                <a:xfrm>
                  <a:off x="5292866" y="1551064"/>
                  <a:ext cx="157076" cy="1181434"/>
                  <a:chOff x="6779777" y="1563052"/>
                  <a:chExt cx="157076" cy="1181434"/>
                </a:xfrm>
              </p:grpSpPr>
              <p:sp>
                <p:nvSpPr>
                  <p:cNvPr id="421" name="Oval 420"/>
                  <p:cNvSpPr/>
                  <p:nvPr/>
                </p:nvSpPr>
                <p:spPr bwMode="auto">
                  <a:xfrm>
                    <a:off x="6808756" y="2638418"/>
                    <a:ext cx="106068" cy="106068"/>
                  </a:xfrm>
                  <a:prstGeom prst="ellipse">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22" name="Group 421"/>
                  <p:cNvGrpSpPr/>
                  <p:nvPr/>
                </p:nvGrpSpPr>
                <p:grpSpPr>
                  <a:xfrm>
                    <a:off x="6779777" y="1563052"/>
                    <a:ext cx="157076" cy="52818"/>
                    <a:chOff x="6857569" y="1553528"/>
                    <a:chExt cx="157076" cy="52818"/>
                  </a:xfrm>
                </p:grpSpPr>
                <p:sp>
                  <p:nvSpPr>
                    <p:cNvPr id="423" name="Rounded Rectangle 422"/>
                    <p:cNvSpPr/>
                    <p:nvPr/>
                  </p:nvSpPr>
                  <p:spPr bwMode="auto">
                    <a:xfrm>
                      <a:off x="6904917" y="1588058"/>
                      <a:ext cx="109728" cy="18288"/>
                    </a:xfrm>
                    <a:prstGeom prst="roundRect">
                      <a:avLst>
                        <a:gd name="adj" fmla="val 50000"/>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24" name="Oval 423"/>
                    <p:cNvSpPr/>
                    <p:nvPr/>
                  </p:nvSpPr>
                  <p:spPr bwMode="auto">
                    <a:xfrm>
                      <a:off x="6857569" y="1588058"/>
                      <a:ext cx="18288" cy="18288"/>
                    </a:xfrm>
                    <a:prstGeom prst="ellipse">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25" name="Oval 424"/>
                    <p:cNvSpPr/>
                    <p:nvPr/>
                  </p:nvSpPr>
                  <p:spPr bwMode="auto">
                    <a:xfrm>
                      <a:off x="6930437" y="1553528"/>
                      <a:ext cx="18288" cy="1828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grpSp>
          <p:sp>
            <p:nvSpPr>
              <p:cNvPr id="406" name="Rectangle 405"/>
              <p:cNvSpPr/>
              <p:nvPr/>
            </p:nvSpPr>
            <p:spPr bwMode="auto">
              <a:xfrm>
                <a:off x="9694861" y="5459840"/>
                <a:ext cx="629406" cy="1024482"/>
              </a:xfrm>
              <a:prstGeom prst="rect">
                <a:avLst/>
              </a:prstGeom>
              <a:solidFill>
                <a:srgbClr val="FFFFFF"/>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07" name="Group 406"/>
              <p:cNvGrpSpPr/>
              <p:nvPr/>
            </p:nvGrpSpPr>
            <p:grpSpPr>
              <a:xfrm>
                <a:off x="9730613" y="5511557"/>
                <a:ext cx="551019" cy="752748"/>
                <a:chOff x="5019134" y="4300625"/>
                <a:chExt cx="602113" cy="752748"/>
              </a:xfrm>
            </p:grpSpPr>
            <p:sp>
              <p:nvSpPr>
                <p:cNvPr id="408" name="Rectangle 407"/>
                <p:cNvSpPr/>
                <p:nvPr/>
              </p:nvSpPr>
              <p:spPr bwMode="auto">
                <a:xfrm>
                  <a:off x="5019134" y="4300625"/>
                  <a:ext cx="185050" cy="165324"/>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09" name="Rectangle 408"/>
                <p:cNvSpPr/>
                <p:nvPr/>
              </p:nvSpPr>
              <p:spPr bwMode="auto">
                <a:xfrm>
                  <a:off x="5019135" y="4488881"/>
                  <a:ext cx="602112" cy="564492"/>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17" name="Rectangle 416"/>
                <p:cNvSpPr/>
                <p:nvPr/>
              </p:nvSpPr>
              <p:spPr bwMode="auto">
                <a:xfrm>
                  <a:off x="5227456" y="4300626"/>
                  <a:ext cx="185050" cy="165324"/>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18" name="Rectangle 417"/>
                <p:cNvSpPr/>
                <p:nvPr/>
              </p:nvSpPr>
              <p:spPr bwMode="auto">
                <a:xfrm>
                  <a:off x="5436197" y="4300626"/>
                  <a:ext cx="185050" cy="165324"/>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388" name="Group 387"/>
            <p:cNvGrpSpPr/>
            <p:nvPr/>
          </p:nvGrpSpPr>
          <p:grpSpPr>
            <a:xfrm>
              <a:off x="8434810" y="3014716"/>
              <a:ext cx="2207532" cy="2141283"/>
              <a:chOff x="10973657" y="3014716"/>
              <a:chExt cx="2207532" cy="2141283"/>
            </a:xfrm>
          </p:grpSpPr>
          <p:grpSp>
            <p:nvGrpSpPr>
              <p:cNvPr id="389" name="Group 388"/>
              <p:cNvGrpSpPr/>
              <p:nvPr/>
            </p:nvGrpSpPr>
            <p:grpSpPr>
              <a:xfrm>
                <a:off x="10973657" y="3014716"/>
                <a:ext cx="1127495" cy="2141283"/>
                <a:chOff x="5651685" y="-476444"/>
                <a:chExt cx="1669255" cy="2809977"/>
              </a:xfrm>
            </p:grpSpPr>
            <p:sp>
              <p:nvSpPr>
                <p:cNvPr id="398" name="Rectangle 397"/>
                <p:cNvSpPr/>
                <p:nvPr/>
              </p:nvSpPr>
              <p:spPr bwMode="auto">
                <a:xfrm>
                  <a:off x="6203006" y="-476444"/>
                  <a:ext cx="566612" cy="17145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99" name="Freeform 398"/>
                <p:cNvSpPr/>
                <p:nvPr/>
              </p:nvSpPr>
              <p:spPr bwMode="auto">
                <a:xfrm>
                  <a:off x="5651685" y="-476444"/>
                  <a:ext cx="1669255" cy="2809977"/>
                </a:xfrm>
                <a:custGeom>
                  <a:avLst/>
                  <a:gdLst>
                    <a:gd name="connsiteX0" fmla="*/ 239948 w 1715629"/>
                    <a:gd name="connsiteY0" fmla="*/ 0 h 2809977"/>
                    <a:gd name="connsiteX1" fmla="*/ 622279 w 1715629"/>
                    <a:gd name="connsiteY1" fmla="*/ 0 h 2809977"/>
                    <a:gd name="connsiteX2" fmla="*/ 626704 w 1715629"/>
                    <a:gd name="connsiteY2" fmla="*/ 21916 h 2809977"/>
                    <a:gd name="connsiteX3" fmla="*/ 705692 w 1715629"/>
                    <a:gd name="connsiteY3" fmla="*/ 74273 h 2809977"/>
                    <a:gd name="connsiteX4" fmla="*/ 1009937 w 1715629"/>
                    <a:gd name="connsiteY4" fmla="*/ 74273 h 2809977"/>
                    <a:gd name="connsiteX5" fmla="*/ 1088926 w 1715629"/>
                    <a:gd name="connsiteY5" fmla="*/ 21916 h 2809977"/>
                    <a:gd name="connsiteX6" fmla="*/ 1093350 w 1715629"/>
                    <a:gd name="connsiteY6" fmla="*/ 0 h 2809977"/>
                    <a:gd name="connsiteX7" fmla="*/ 1475681 w 1715629"/>
                    <a:gd name="connsiteY7" fmla="*/ 0 h 2809977"/>
                    <a:gd name="connsiteX8" fmla="*/ 1715629 w 1715629"/>
                    <a:gd name="connsiteY8" fmla="*/ 239948 h 2809977"/>
                    <a:gd name="connsiteX9" fmla="*/ 1715629 w 1715629"/>
                    <a:gd name="connsiteY9" fmla="*/ 2570029 h 2809977"/>
                    <a:gd name="connsiteX10" fmla="*/ 1475681 w 1715629"/>
                    <a:gd name="connsiteY10" fmla="*/ 2809977 h 2809977"/>
                    <a:gd name="connsiteX11" fmla="*/ 239948 w 1715629"/>
                    <a:gd name="connsiteY11" fmla="*/ 2809977 h 2809977"/>
                    <a:gd name="connsiteX12" fmla="*/ 0 w 1715629"/>
                    <a:gd name="connsiteY12" fmla="*/ 2570029 h 2809977"/>
                    <a:gd name="connsiteX13" fmla="*/ 0 w 1715629"/>
                    <a:gd name="connsiteY13" fmla="*/ 239948 h 2809977"/>
                    <a:gd name="connsiteX14" fmla="*/ 239948 w 1715629"/>
                    <a:gd name="connsiteY14" fmla="*/ 0 h 2809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15629" h="2809977">
                      <a:moveTo>
                        <a:pt x="239948" y="0"/>
                      </a:moveTo>
                      <a:lnTo>
                        <a:pt x="622279" y="0"/>
                      </a:lnTo>
                      <a:lnTo>
                        <a:pt x="626704" y="21916"/>
                      </a:lnTo>
                      <a:cubicBezTo>
                        <a:pt x="639718" y="52684"/>
                        <a:pt x="670184" y="74273"/>
                        <a:pt x="705692" y="74273"/>
                      </a:cubicBezTo>
                      <a:lnTo>
                        <a:pt x="1009937" y="74273"/>
                      </a:lnTo>
                      <a:cubicBezTo>
                        <a:pt x="1045446" y="74273"/>
                        <a:pt x="1075912" y="52684"/>
                        <a:pt x="1088926" y="21916"/>
                      </a:cubicBezTo>
                      <a:lnTo>
                        <a:pt x="1093350" y="0"/>
                      </a:lnTo>
                      <a:lnTo>
                        <a:pt x="1475681" y="0"/>
                      </a:lnTo>
                      <a:cubicBezTo>
                        <a:pt x="1608201" y="0"/>
                        <a:pt x="1715629" y="107428"/>
                        <a:pt x="1715629" y="239948"/>
                      </a:cubicBezTo>
                      <a:lnTo>
                        <a:pt x="1715629" y="2570029"/>
                      </a:lnTo>
                      <a:cubicBezTo>
                        <a:pt x="1715629" y="2702549"/>
                        <a:pt x="1608201" y="2809977"/>
                        <a:pt x="1475681" y="2809977"/>
                      </a:cubicBezTo>
                      <a:lnTo>
                        <a:pt x="239948" y="2809977"/>
                      </a:lnTo>
                      <a:cubicBezTo>
                        <a:pt x="107428" y="2809977"/>
                        <a:pt x="0" y="2702549"/>
                        <a:pt x="0" y="2570029"/>
                      </a:cubicBezTo>
                      <a:lnTo>
                        <a:pt x="0" y="239948"/>
                      </a:lnTo>
                      <a:cubicBezTo>
                        <a:pt x="0" y="107428"/>
                        <a:pt x="107428" y="0"/>
                        <a:pt x="239948" y="0"/>
                      </a:cubicBezTo>
                      <a:close/>
                    </a:path>
                  </a:pathLst>
                </a:cu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00" name="Rectangle 399"/>
                <p:cNvSpPr/>
                <p:nvPr/>
              </p:nvSpPr>
              <p:spPr bwMode="auto">
                <a:xfrm>
                  <a:off x="5724555" y="-242769"/>
                  <a:ext cx="1523513" cy="227830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01" name="Group 400"/>
                <p:cNvGrpSpPr/>
                <p:nvPr/>
              </p:nvGrpSpPr>
              <p:grpSpPr>
                <a:xfrm>
                  <a:off x="6124436" y="2123612"/>
                  <a:ext cx="723752" cy="98117"/>
                  <a:chOff x="6147223" y="2123612"/>
                  <a:chExt cx="723752" cy="98117"/>
                </a:xfrm>
              </p:grpSpPr>
              <p:sp>
                <p:nvSpPr>
                  <p:cNvPr id="402" name="Rounded Rectangle 401"/>
                  <p:cNvSpPr/>
                  <p:nvPr/>
                </p:nvSpPr>
                <p:spPr bwMode="auto">
                  <a:xfrm>
                    <a:off x="6366215" y="2123612"/>
                    <a:ext cx="285769" cy="98117"/>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03" name="Oval 402"/>
                  <p:cNvSpPr/>
                  <p:nvPr/>
                </p:nvSpPr>
                <p:spPr bwMode="auto">
                  <a:xfrm>
                    <a:off x="6147223" y="2137745"/>
                    <a:ext cx="69850" cy="6985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04" name="Oval 403"/>
                  <p:cNvSpPr/>
                  <p:nvPr/>
                </p:nvSpPr>
                <p:spPr bwMode="auto">
                  <a:xfrm>
                    <a:off x="6801125" y="2137745"/>
                    <a:ext cx="69850" cy="6985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390" name="Rectangle 389"/>
              <p:cNvSpPr/>
              <p:nvPr/>
            </p:nvSpPr>
            <p:spPr bwMode="auto">
              <a:xfrm>
                <a:off x="11104922" y="3267464"/>
                <a:ext cx="264525" cy="25824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91" name="Rectangle 390"/>
              <p:cNvSpPr/>
              <p:nvPr/>
            </p:nvSpPr>
            <p:spPr bwMode="auto">
              <a:xfrm>
                <a:off x="11104921" y="3561526"/>
                <a:ext cx="860709" cy="85752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92" name="Rectangle 391"/>
              <p:cNvSpPr/>
              <p:nvPr/>
            </p:nvSpPr>
            <p:spPr bwMode="auto">
              <a:xfrm>
                <a:off x="11402714" y="3267466"/>
                <a:ext cx="264525" cy="25824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93" name="Rectangle 392"/>
              <p:cNvSpPr/>
              <p:nvPr/>
            </p:nvSpPr>
            <p:spPr bwMode="auto">
              <a:xfrm>
                <a:off x="11701106" y="3267466"/>
                <a:ext cx="264525" cy="25824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94" name="Rectangle 393"/>
              <p:cNvSpPr/>
              <p:nvPr/>
            </p:nvSpPr>
            <p:spPr bwMode="auto">
              <a:xfrm>
                <a:off x="12320480" y="3451635"/>
                <a:ext cx="264525" cy="25824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95" name="Rectangle 394"/>
              <p:cNvSpPr/>
              <p:nvPr/>
            </p:nvSpPr>
            <p:spPr bwMode="auto">
              <a:xfrm>
                <a:off x="12320479" y="3745697"/>
                <a:ext cx="860709" cy="85752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96" name="Rectangle 395"/>
              <p:cNvSpPr/>
              <p:nvPr/>
            </p:nvSpPr>
            <p:spPr bwMode="auto">
              <a:xfrm>
                <a:off x="12618272" y="3451637"/>
                <a:ext cx="264525" cy="25824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97" name="Rectangle 396"/>
              <p:cNvSpPr/>
              <p:nvPr/>
            </p:nvSpPr>
            <p:spPr bwMode="auto">
              <a:xfrm>
                <a:off x="12916664" y="3451637"/>
                <a:ext cx="264525" cy="25824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spTree>
    <p:extLst>
      <p:ext uri="{BB962C8B-B14F-4D97-AF65-F5344CB8AC3E}">
        <p14:creationId xmlns:p14="http://schemas.microsoft.com/office/powerpoint/2010/main" val="4221913291"/>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ative</a:t>
            </a:r>
          </a:p>
        </p:txBody>
      </p:sp>
      <p:sp>
        <p:nvSpPr>
          <p:cNvPr id="4" name="Rectangle 3"/>
          <p:cNvSpPr/>
          <p:nvPr/>
        </p:nvSpPr>
        <p:spPr bwMode="auto">
          <a:xfrm>
            <a:off x="269169" y="1190077"/>
            <a:ext cx="3825508" cy="5372633"/>
          </a:xfrm>
          <a:prstGeom prst="rect">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90" name="Rectangle 289"/>
          <p:cNvSpPr/>
          <p:nvPr/>
        </p:nvSpPr>
        <p:spPr bwMode="auto">
          <a:xfrm>
            <a:off x="4181659" y="1190077"/>
            <a:ext cx="3825508" cy="5372633"/>
          </a:xfrm>
          <a:prstGeom prst="rect">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p:nvSpPr>
        <p:spPr bwMode="auto">
          <a:xfrm>
            <a:off x="269170" y="1190077"/>
            <a:ext cx="3825507" cy="894637"/>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92" name="Rectangle 291"/>
          <p:cNvSpPr/>
          <p:nvPr/>
        </p:nvSpPr>
        <p:spPr bwMode="auto">
          <a:xfrm>
            <a:off x="4181659" y="1190077"/>
            <a:ext cx="3825507" cy="894637"/>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pic>
        <p:nvPicPr>
          <p:cNvPr id="294" name="Picture 293"/>
          <p:cNvPicPr>
            <a:picLocks noChangeAspect="1"/>
          </p:cNvPicPr>
          <p:nvPr/>
        </p:nvPicPr>
        <p:blipFill rotWithShape="1">
          <a:blip r:embed="rId3">
            <a:extLst>
              <a:ext uri="{28A0092B-C50C-407E-A947-70E740481C1C}">
                <a14:useLocalDpi xmlns:a14="http://schemas.microsoft.com/office/drawing/2010/main" val="0"/>
              </a:ext>
            </a:extLst>
          </a:blip>
          <a:srcRect t="44093"/>
          <a:stretch/>
        </p:blipFill>
        <p:spPr>
          <a:xfrm>
            <a:off x="1631170" y="1246111"/>
            <a:ext cx="1240777" cy="677101"/>
          </a:xfrm>
          <a:prstGeom prst="rect">
            <a:avLst/>
          </a:prstGeom>
        </p:spPr>
      </p:pic>
      <p:pic>
        <p:nvPicPr>
          <p:cNvPr id="295" name="Picture 29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10741" y="1293574"/>
            <a:ext cx="665978" cy="738629"/>
          </a:xfrm>
          <a:prstGeom prst="rect">
            <a:avLst/>
          </a:prstGeom>
        </p:spPr>
      </p:pic>
      <p:pic>
        <p:nvPicPr>
          <p:cNvPr id="296" name="Picture 295"/>
          <p:cNvPicPr>
            <a:picLocks noChangeAspect="1"/>
          </p:cNvPicPr>
          <p:nvPr/>
        </p:nvPicPr>
        <p:blipFill rotWithShape="1">
          <a:blip r:embed="rId5">
            <a:extLst>
              <a:ext uri="{28A0092B-C50C-407E-A947-70E740481C1C}">
                <a14:useLocalDpi xmlns:a14="http://schemas.microsoft.com/office/drawing/2010/main" val="0"/>
              </a:ext>
            </a:extLst>
          </a:blip>
          <a:srcRect l="13445" t="14593" r="13162" b="12014"/>
          <a:stretch/>
        </p:blipFill>
        <p:spPr>
          <a:xfrm>
            <a:off x="4877838" y="1360145"/>
            <a:ext cx="605484" cy="605484"/>
          </a:xfrm>
          <a:prstGeom prst="rect">
            <a:avLst/>
          </a:prstGeom>
        </p:spPr>
      </p:pic>
      <p:sp>
        <p:nvSpPr>
          <p:cNvPr id="8" name="Rectangle 7"/>
          <p:cNvSpPr/>
          <p:nvPr/>
        </p:nvSpPr>
        <p:spPr>
          <a:xfrm>
            <a:off x="1462205" y="3224656"/>
            <a:ext cx="1383181" cy="331813"/>
          </a:xfrm>
          <a:prstGeom prst="rect">
            <a:avLst/>
          </a:prstGeom>
        </p:spPr>
        <p:txBody>
          <a:bodyPr wrap="none">
            <a:spAutoFit/>
          </a:bodyPr>
          <a:lstStyle/>
          <a:p>
            <a:pPr algn="ctr" defTabSz="913828" fontAlgn="base">
              <a:spcBef>
                <a:spcPct val="0"/>
              </a:spcBef>
              <a:spcAft>
                <a:spcPct val="0"/>
              </a:spcAft>
            </a:pPr>
            <a:r>
              <a:rPr lang="en-US" sz="1568" dirty="0">
                <a:gradFill>
                  <a:gsLst>
                    <a:gs pos="16814">
                      <a:srgbClr val="FFFFFF"/>
                    </a:gs>
                    <a:gs pos="55000">
                      <a:srgbClr val="FFFFFF"/>
                    </a:gs>
                  </a:gsLst>
                  <a:lin ang="5400000" scaled="0"/>
                </a:gradFill>
              </a:rPr>
              <a:t>ASP.NET MVC</a:t>
            </a:r>
          </a:p>
        </p:txBody>
      </p:sp>
      <p:sp>
        <p:nvSpPr>
          <p:cNvPr id="372" name="Rectangle 371"/>
          <p:cNvSpPr/>
          <p:nvPr/>
        </p:nvSpPr>
        <p:spPr>
          <a:xfrm>
            <a:off x="1583812" y="4467205"/>
            <a:ext cx="1139967" cy="577278"/>
          </a:xfrm>
          <a:prstGeom prst="rect">
            <a:avLst/>
          </a:prstGeom>
        </p:spPr>
        <p:txBody>
          <a:bodyPr wrap="none">
            <a:spAutoFit/>
          </a:bodyPr>
          <a:lstStyle/>
          <a:p>
            <a:pPr algn="ctr" defTabSz="913828" fontAlgn="base">
              <a:spcBef>
                <a:spcPct val="0"/>
              </a:spcBef>
              <a:spcAft>
                <a:spcPct val="0"/>
              </a:spcAft>
            </a:pPr>
            <a:r>
              <a:rPr lang="en-US" sz="1568" dirty="0">
                <a:gradFill>
                  <a:gsLst>
                    <a:gs pos="16814">
                      <a:srgbClr val="FFFFFF"/>
                    </a:gs>
                    <a:gs pos="55000">
                      <a:srgbClr val="FFFFFF"/>
                    </a:gs>
                  </a:gsLst>
                  <a:lin ang="5400000" scaled="0"/>
                </a:gradFill>
              </a:rPr>
              <a:t>ASP.NET </a:t>
            </a:r>
            <a:br>
              <a:rPr lang="en-US" sz="1568" dirty="0">
                <a:gradFill>
                  <a:gsLst>
                    <a:gs pos="16814">
                      <a:srgbClr val="FFFFFF"/>
                    </a:gs>
                    <a:gs pos="55000">
                      <a:srgbClr val="FFFFFF"/>
                    </a:gs>
                  </a:gsLst>
                  <a:lin ang="5400000" scaled="0"/>
                </a:gradFill>
              </a:rPr>
            </a:br>
            <a:r>
              <a:rPr lang="en-US" sz="1568" dirty="0" err="1">
                <a:gradFill>
                  <a:gsLst>
                    <a:gs pos="16814">
                      <a:srgbClr val="FFFFFF"/>
                    </a:gs>
                    <a:gs pos="55000">
                      <a:srgbClr val="FFFFFF"/>
                    </a:gs>
                  </a:gsLst>
                  <a:lin ang="5400000" scaled="0"/>
                </a:gradFill>
              </a:rPr>
              <a:t>WebForms</a:t>
            </a:r>
            <a:endParaRPr lang="en-US" sz="1568" dirty="0">
              <a:gradFill>
                <a:gsLst>
                  <a:gs pos="16814">
                    <a:srgbClr val="FFFFFF"/>
                  </a:gs>
                  <a:gs pos="55000">
                    <a:srgbClr val="FFFFFF"/>
                  </a:gs>
                </a:gsLst>
                <a:lin ang="5400000" scaled="0"/>
              </a:gradFill>
            </a:endParaRPr>
          </a:p>
        </p:txBody>
      </p:sp>
      <p:grpSp>
        <p:nvGrpSpPr>
          <p:cNvPr id="17" name="Group 16"/>
          <p:cNvGrpSpPr/>
          <p:nvPr/>
        </p:nvGrpSpPr>
        <p:grpSpPr>
          <a:xfrm>
            <a:off x="1574140" y="2292087"/>
            <a:ext cx="1159311" cy="879254"/>
            <a:chOff x="1241897" y="2251513"/>
            <a:chExt cx="1978025" cy="1500188"/>
          </a:xfrm>
        </p:grpSpPr>
        <p:sp>
          <p:nvSpPr>
            <p:cNvPr id="11" name="Rectangle 10"/>
            <p:cNvSpPr/>
            <p:nvPr/>
          </p:nvSpPr>
          <p:spPr bwMode="auto">
            <a:xfrm>
              <a:off x="1273969" y="2279400"/>
              <a:ext cx="1902619" cy="107393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0" name="Group 9"/>
            <p:cNvGrpSpPr/>
            <p:nvPr/>
          </p:nvGrpSpPr>
          <p:grpSpPr>
            <a:xfrm>
              <a:off x="1241897" y="2251513"/>
              <a:ext cx="1978025" cy="1500188"/>
              <a:chOff x="1241897" y="2251513"/>
              <a:chExt cx="1978025" cy="1500188"/>
            </a:xfrm>
          </p:grpSpPr>
          <p:sp>
            <p:nvSpPr>
              <p:cNvPr id="410" name="Rectangle 5"/>
              <p:cNvSpPr>
                <a:spLocks noChangeArrowheads="1"/>
              </p:cNvSpPr>
              <p:nvPr/>
            </p:nvSpPr>
            <p:spPr bwMode="auto">
              <a:xfrm>
                <a:off x="1737197" y="3719951"/>
                <a:ext cx="982663" cy="317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11" name="Freeform 410"/>
              <p:cNvSpPr>
                <a:spLocks/>
              </p:cNvSpPr>
              <p:nvPr/>
            </p:nvSpPr>
            <p:spPr bwMode="auto">
              <a:xfrm>
                <a:off x="1241897" y="2251513"/>
                <a:ext cx="1978025" cy="1179513"/>
              </a:xfrm>
              <a:custGeom>
                <a:avLst/>
                <a:gdLst>
                  <a:gd name="connsiteX0" fmla="*/ 82097 w 1978025"/>
                  <a:gd name="connsiteY0" fmla="*/ 50800 h 1179513"/>
                  <a:gd name="connsiteX1" fmla="*/ 50800 w 1978025"/>
                  <a:gd name="connsiteY1" fmla="*/ 82163 h 1179513"/>
                  <a:gd name="connsiteX2" fmla="*/ 50800 w 1978025"/>
                  <a:gd name="connsiteY2" fmla="*/ 1054410 h 1179513"/>
                  <a:gd name="connsiteX3" fmla="*/ 82097 w 1978025"/>
                  <a:gd name="connsiteY3" fmla="*/ 1079500 h 1179513"/>
                  <a:gd name="connsiteX4" fmla="*/ 1891075 w 1978025"/>
                  <a:gd name="connsiteY4" fmla="*/ 1079500 h 1179513"/>
                  <a:gd name="connsiteX5" fmla="*/ 1916113 w 1978025"/>
                  <a:gd name="connsiteY5" fmla="*/ 1054410 h 1179513"/>
                  <a:gd name="connsiteX6" fmla="*/ 1916113 w 1978025"/>
                  <a:gd name="connsiteY6" fmla="*/ 82163 h 1179513"/>
                  <a:gd name="connsiteX7" fmla="*/ 1891075 w 1978025"/>
                  <a:gd name="connsiteY7" fmla="*/ 50800 h 1179513"/>
                  <a:gd name="connsiteX8" fmla="*/ 82097 w 1978025"/>
                  <a:gd name="connsiteY8" fmla="*/ 50800 h 1179513"/>
                  <a:gd name="connsiteX9" fmla="*/ 62596 w 1978025"/>
                  <a:gd name="connsiteY9" fmla="*/ 0 h 1179513"/>
                  <a:gd name="connsiteX10" fmla="*/ 1915429 w 1978025"/>
                  <a:gd name="connsiteY10" fmla="*/ 0 h 1179513"/>
                  <a:gd name="connsiteX11" fmla="*/ 1978025 w 1978025"/>
                  <a:gd name="connsiteY11" fmla="*/ 62740 h 1179513"/>
                  <a:gd name="connsiteX12" fmla="*/ 1978025 w 1978025"/>
                  <a:gd name="connsiteY12" fmla="*/ 1116773 h 1179513"/>
                  <a:gd name="connsiteX13" fmla="*/ 1915429 w 1978025"/>
                  <a:gd name="connsiteY13" fmla="*/ 1179513 h 1179513"/>
                  <a:gd name="connsiteX14" fmla="*/ 62596 w 1978025"/>
                  <a:gd name="connsiteY14" fmla="*/ 1179513 h 1179513"/>
                  <a:gd name="connsiteX15" fmla="*/ 0 w 1978025"/>
                  <a:gd name="connsiteY15" fmla="*/ 1116773 h 1179513"/>
                  <a:gd name="connsiteX16" fmla="*/ 0 w 1978025"/>
                  <a:gd name="connsiteY16" fmla="*/ 62740 h 1179513"/>
                  <a:gd name="connsiteX17" fmla="*/ 62596 w 1978025"/>
                  <a:gd name="connsiteY17" fmla="*/ 0 h 1179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8025" h="1179513">
                    <a:moveTo>
                      <a:pt x="82097" y="50800"/>
                    </a:moveTo>
                    <a:cubicBezTo>
                      <a:pt x="63319" y="50800"/>
                      <a:pt x="50800" y="63345"/>
                      <a:pt x="50800" y="82163"/>
                    </a:cubicBezTo>
                    <a:cubicBezTo>
                      <a:pt x="50800" y="82163"/>
                      <a:pt x="50800" y="82163"/>
                      <a:pt x="50800" y="1054410"/>
                    </a:cubicBezTo>
                    <a:cubicBezTo>
                      <a:pt x="50800" y="1066955"/>
                      <a:pt x="63319" y="1079500"/>
                      <a:pt x="82097" y="1079500"/>
                    </a:cubicBezTo>
                    <a:cubicBezTo>
                      <a:pt x="82097" y="1079500"/>
                      <a:pt x="82097" y="1079500"/>
                      <a:pt x="1891075" y="1079500"/>
                    </a:cubicBezTo>
                    <a:cubicBezTo>
                      <a:pt x="1903594" y="1079500"/>
                      <a:pt x="1916113" y="1066955"/>
                      <a:pt x="1916113" y="1054410"/>
                    </a:cubicBezTo>
                    <a:lnTo>
                      <a:pt x="1916113" y="82163"/>
                    </a:lnTo>
                    <a:cubicBezTo>
                      <a:pt x="1916113" y="63345"/>
                      <a:pt x="1903594" y="50800"/>
                      <a:pt x="1891075" y="50800"/>
                    </a:cubicBezTo>
                    <a:cubicBezTo>
                      <a:pt x="1891075" y="50800"/>
                      <a:pt x="1891075" y="50800"/>
                      <a:pt x="82097" y="50800"/>
                    </a:cubicBezTo>
                    <a:close/>
                    <a:moveTo>
                      <a:pt x="62596" y="0"/>
                    </a:moveTo>
                    <a:cubicBezTo>
                      <a:pt x="1915429" y="0"/>
                      <a:pt x="1915429" y="0"/>
                      <a:pt x="1915429" y="0"/>
                    </a:cubicBezTo>
                    <a:cubicBezTo>
                      <a:pt x="1946727" y="0"/>
                      <a:pt x="1978025" y="25096"/>
                      <a:pt x="1978025" y="62740"/>
                    </a:cubicBezTo>
                    <a:lnTo>
                      <a:pt x="1978025" y="1116773"/>
                    </a:lnTo>
                    <a:cubicBezTo>
                      <a:pt x="1978025" y="1154417"/>
                      <a:pt x="1946727" y="1179513"/>
                      <a:pt x="1915429" y="1179513"/>
                    </a:cubicBezTo>
                    <a:cubicBezTo>
                      <a:pt x="62596" y="1179513"/>
                      <a:pt x="62596" y="1179513"/>
                      <a:pt x="62596" y="1179513"/>
                    </a:cubicBezTo>
                    <a:cubicBezTo>
                      <a:pt x="25038" y="1179513"/>
                      <a:pt x="0" y="1154417"/>
                      <a:pt x="0" y="1116773"/>
                    </a:cubicBezTo>
                    <a:cubicBezTo>
                      <a:pt x="0" y="62740"/>
                      <a:pt x="0" y="62740"/>
                      <a:pt x="0" y="62740"/>
                    </a:cubicBezTo>
                    <a:cubicBezTo>
                      <a:pt x="0" y="25096"/>
                      <a:pt x="25038" y="0"/>
                      <a:pt x="62596" y="0"/>
                    </a:cubicBezTo>
                    <a:close/>
                  </a:path>
                </a:pathLst>
              </a:custGeom>
              <a:solidFill>
                <a:srgbClr val="000000"/>
              </a:solidFill>
              <a:ln>
                <a:noFill/>
              </a:ln>
              <a:extLst/>
            </p:spPr>
            <p:txBody>
              <a:bodyPr vert="horz" wrap="square" lIns="89619" tIns="44809" rIns="89619" bIns="44809" numCol="1" anchor="t" anchorCtr="0" compatLnSpc="1">
                <a:prstTxWarp prst="textNoShape">
                  <a:avLst/>
                </a:prstTxWarp>
                <a:noAutofit/>
              </a:bodyPr>
              <a:lstStyle/>
              <a:p>
                <a:pPr defTabSz="914093"/>
                <a:endParaRPr lang="en-US" sz="1764">
                  <a:solidFill>
                    <a:srgbClr val="FFFFFF"/>
                  </a:solidFill>
                </a:endParaRPr>
              </a:p>
            </p:txBody>
          </p:sp>
          <p:sp>
            <p:nvSpPr>
              <p:cNvPr id="412" name="Rectangle 33"/>
              <p:cNvSpPr>
                <a:spLocks noChangeArrowheads="1"/>
              </p:cNvSpPr>
              <p:nvPr/>
            </p:nvSpPr>
            <p:spPr bwMode="auto">
              <a:xfrm>
                <a:off x="2188047" y="3418326"/>
                <a:ext cx="80963" cy="3206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nvGrpSpPr>
            <p:cNvPr id="13" name="Group 12"/>
            <p:cNvGrpSpPr/>
            <p:nvPr/>
          </p:nvGrpSpPr>
          <p:grpSpPr>
            <a:xfrm>
              <a:off x="1378744" y="2471949"/>
              <a:ext cx="1712670" cy="278395"/>
              <a:chOff x="1378744" y="2471949"/>
              <a:chExt cx="1848756" cy="278395"/>
            </a:xfrm>
          </p:grpSpPr>
          <p:sp>
            <p:nvSpPr>
              <p:cNvPr id="12" name="Rectangle 11"/>
              <p:cNvSpPr/>
              <p:nvPr/>
            </p:nvSpPr>
            <p:spPr bwMode="auto">
              <a:xfrm>
                <a:off x="1378744" y="2471949"/>
                <a:ext cx="604837" cy="27839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13" name="Rectangle 412"/>
              <p:cNvSpPr/>
              <p:nvPr/>
            </p:nvSpPr>
            <p:spPr bwMode="auto">
              <a:xfrm>
                <a:off x="2001725" y="2471949"/>
                <a:ext cx="604837" cy="278395"/>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14" name="Rectangle 413"/>
              <p:cNvSpPr/>
              <p:nvPr/>
            </p:nvSpPr>
            <p:spPr bwMode="auto">
              <a:xfrm>
                <a:off x="2622663" y="2471949"/>
                <a:ext cx="604837" cy="27839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4" name="Rectangle 13"/>
            <p:cNvSpPr/>
            <p:nvPr/>
          </p:nvSpPr>
          <p:spPr bwMode="auto">
            <a:xfrm>
              <a:off x="1378744" y="2797601"/>
              <a:ext cx="308322" cy="45719"/>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15" name="Rectangle 414"/>
            <p:cNvSpPr/>
            <p:nvPr/>
          </p:nvSpPr>
          <p:spPr bwMode="auto">
            <a:xfrm>
              <a:off x="1955867" y="2797601"/>
              <a:ext cx="308322" cy="45719"/>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16" name="Rectangle 415"/>
            <p:cNvSpPr/>
            <p:nvPr/>
          </p:nvSpPr>
          <p:spPr bwMode="auto">
            <a:xfrm>
              <a:off x="2530822" y="2797601"/>
              <a:ext cx="308322" cy="45719"/>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p:nvSpPr>
          <p:spPr bwMode="auto">
            <a:xfrm>
              <a:off x="1378744" y="2874169"/>
              <a:ext cx="478631" cy="321469"/>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26" name="Rectangle 425"/>
            <p:cNvSpPr/>
            <p:nvPr/>
          </p:nvSpPr>
          <p:spPr bwMode="auto">
            <a:xfrm>
              <a:off x="1955868" y="2874169"/>
              <a:ext cx="478631" cy="321469"/>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27" name="Rectangle 426"/>
            <p:cNvSpPr/>
            <p:nvPr/>
          </p:nvSpPr>
          <p:spPr bwMode="auto">
            <a:xfrm>
              <a:off x="2530822" y="2874169"/>
              <a:ext cx="478631" cy="321469"/>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432" name="Group 431"/>
          <p:cNvGrpSpPr/>
          <p:nvPr/>
        </p:nvGrpSpPr>
        <p:grpSpPr>
          <a:xfrm>
            <a:off x="1574140" y="3641122"/>
            <a:ext cx="1159311" cy="879254"/>
            <a:chOff x="1241897" y="2251513"/>
            <a:chExt cx="1978025" cy="1500188"/>
          </a:xfrm>
        </p:grpSpPr>
        <p:sp>
          <p:nvSpPr>
            <p:cNvPr id="433" name="Rectangle 432"/>
            <p:cNvSpPr/>
            <p:nvPr/>
          </p:nvSpPr>
          <p:spPr bwMode="auto">
            <a:xfrm>
              <a:off x="1273969" y="2279400"/>
              <a:ext cx="1902619" cy="107393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34" name="Group 433"/>
            <p:cNvGrpSpPr/>
            <p:nvPr/>
          </p:nvGrpSpPr>
          <p:grpSpPr>
            <a:xfrm>
              <a:off x="1241897" y="2251513"/>
              <a:ext cx="1978025" cy="1500188"/>
              <a:chOff x="1241897" y="2251513"/>
              <a:chExt cx="1978025" cy="1500188"/>
            </a:xfrm>
          </p:grpSpPr>
          <p:sp>
            <p:nvSpPr>
              <p:cNvPr id="445" name="Rectangle 5"/>
              <p:cNvSpPr>
                <a:spLocks noChangeArrowheads="1"/>
              </p:cNvSpPr>
              <p:nvPr/>
            </p:nvSpPr>
            <p:spPr bwMode="auto">
              <a:xfrm>
                <a:off x="1737197" y="3719951"/>
                <a:ext cx="982663" cy="317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6" name="Freeform 445"/>
              <p:cNvSpPr>
                <a:spLocks/>
              </p:cNvSpPr>
              <p:nvPr/>
            </p:nvSpPr>
            <p:spPr bwMode="auto">
              <a:xfrm>
                <a:off x="1241897" y="2251513"/>
                <a:ext cx="1978025" cy="1179513"/>
              </a:xfrm>
              <a:custGeom>
                <a:avLst/>
                <a:gdLst>
                  <a:gd name="connsiteX0" fmla="*/ 82097 w 1978025"/>
                  <a:gd name="connsiteY0" fmla="*/ 50800 h 1179513"/>
                  <a:gd name="connsiteX1" fmla="*/ 50800 w 1978025"/>
                  <a:gd name="connsiteY1" fmla="*/ 82163 h 1179513"/>
                  <a:gd name="connsiteX2" fmla="*/ 50800 w 1978025"/>
                  <a:gd name="connsiteY2" fmla="*/ 1054410 h 1179513"/>
                  <a:gd name="connsiteX3" fmla="*/ 82097 w 1978025"/>
                  <a:gd name="connsiteY3" fmla="*/ 1079500 h 1179513"/>
                  <a:gd name="connsiteX4" fmla="*/ 1891075 w 1978025"/>
                  <a:gd name="connsiteY4" fmla="*/ 1079500 h 1179513"/>
                  <a:gd name="connsiteX5" fmla="*/ 1916113 w 1978025"/>
                  <a:gd name="connsiteY5" fmla="*/ 1054410 h 1179513"/>
                  <a:gd name="connsiteX6" fmla="*/ 1916113 w 1978025"/>
                  <a:gd name="connsiteY6" fmla="*/ 82163 h 1179513"/>
                  <a:gd name="connsiteX7" fmla="*/ 1891075 w 1978025"/>
                  <a:gd name="connsiteY7" fmla="*/ 50800 h 1179513"/>
                  <a:gd name="connsiteX8" fmla="*/ 82097 w 1978025"/>
                  <a:gd name="connsiteY8" fmla="*/ 50800 h 1179513"/>
                  <a:gd name="connsiteX9" fmla="*/ 62596 w 1978025"/>
                  <a:gd name="connsiteY9" fmla="*/ 0 h 1179513"/>
                  <a:gd name="connsiteX10" fmla="*/ 1915429 w 1978025"/>
                  <a:gd name="connsiteY10" fmla="*/ 0 h 1179513"/>
                  <a:gd name="connsiteX11" fmla="*/ 1978025 w 1978025"/>
                  <a:gd name="connsiteY11" fmla="*/ 62740 h 1179513"/>
                  <a:gd name="connsiteX12" fmla="*/ 1978025 w 1978025"/>
                  <a:gd name="connsiteY12" fmla="*/ 1116773 h 1179513"/>
                  <a:gd name="connsiteX13" fmla="*/ 1915429 w 1978025"/>
                  <a:gd name="connsiteY13" fmla="*/ 1179513 h 1179513"/>
                  <a:gd name="connsiteX14" fmla="*/ 62596 w 1978025"/>
                  <a:gd name="connsiteY14" fmla="*/ 1179513 h 1179513"/>
                  <a:gd name="connsiteX15" fmla="*/ 0 w 1978025"/>
                  <a:gd name="connsiteY15" fmla="*/ 1116773 h 1179513"/>
                  <a:gd name="connsiteX16" fmla="*/ 0 w 1978025"/>
                  <a:gd name="connsiteY16" fmla="*/ 62740 h 1179513"/>
                  <a:gd name="connsiteX17" fmla="*/ 62596 w 1978025"/>
                  <a:gd name="connsiteY17" fmla="*/ 0 h 1179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8025" h="1179513">
                    <a:moveTo>
                      <a:pt x="82097" y="50800"/>
                    </a:moveTo>
                    <a:cubicBezTo>
                      <a:pt x="63319" y="50800"/>
                      <a:pt x="50800" y="63345"/>
                      <a:pt x="50800" y="82163"/>
                    </a:cubicBezTo>
                    <a:cubicBezTo>
                      <a:pt x="50800" y="82163"/>
                      <a:pt x="50800" y="82163"/>
                      <a:pt x="50800" y="1054410"/>
                    </a:cubicBezTo>
                    <a:cubicBezTo>
                      <a:pt x="50800" y="1066955"/>
                      <a:pt x="63319" y="1079500"/>
                      <a:pt x="82097" y="1079500"/>
                    </a:cubicBezTo>
                    <a:cubicBezTo>
                      <a:pt x="82097" y="1079500"/>
                      <a:pt x="82097" y="1079500"/>
                      <a:pt x="1891075" y="1079500"/>
                    </a:cubicBezTo>
                    <a:cubicBezTo>
                      <a:pt x="1903594" y="1079500"/>
                      <a:pt x="1916113" y="1066955"/>
                      <a:pt x="1916113" y="1054410"/>
                    </a:cubicBezTo>
                    <a:lnTo>
                      <a:pt x="1916113" y="82163"/>
                    </a:lnTo>
                    <a:cubicBezTo>
                      <a:pt x="1916113" y="63345"/>
                      <a:pt x="1903594" y="50800"/>
                      <a:pt x="1891075" y="50800"/>
                    </a:cubicBezTo>
                    <a:cubicBezTo>
                      <a:pt x="1891075" y="50800"/>
                      <a:pt x="1891075" y="50800"/>
                      <a:pt x="82097" y="50800"/>
                    </a:cubicBezTo>
                    <a:close/>
                    <a:moveTo>
                      <a:pt x="62596" y="0"/>
                    </a:moveTo>
                    <a:cubicBezTo>
                      <a:pt x="1915429" y="0"/>
                      <a:pt x="1915429" y="0"/>
                      <a:pt x="1915429" y="0"/>
                    </a:cubicBezTo>
                    <a:cubicBezTo>
                      <a:pt x="1946727" y="0"/>
                      <a:pt x="1978025" y="25096"/>
                      <a:pt x="1978025" y="62740"/>
                    </a:cubicBezTo>
                    <a:lnTo>
                      <a:pt x="1978025" y="1116773"/>
                    </a:lnTo>
                    <a:cubicBezTo>
                      <a:pt x="1978025" y="1154417"/>
                      <a:pt x="1946727" y="1179513"/>
                      <a:pt x="1915429" y="1179513"/>
                    </a:cubicBezTo>
                    <a:cubicBezTo>
                      <a:pt x="62596" y="1179513"/>
                      <a:pt x="62596" y="1179513"/>
                      <a:pt x="62596" y="1179513"/>
                    </a:cubicBezTo>
                    <a:cubicBezTo>
                      <a:pt x="25038" y="1179513"/>
                      <a:pt x="0" y="1154417"/>
                      <a:pt x="0" y="1116773"/>
                    </a:cubicBezTo>
                    <a:cubicBezTo>
                      <a:pt x="0" y="62740"/>
                      <a:pt x="0" y="62740"/>
                      <a:pt x="0" y="62740"/>
                    </a:cubicBezTo>
                    <a:cubicBezTo>
                      <a:pt x="0" y="25096"/>
                      <a:pt x="25038" y="0"/>
                      <a:pt x="62596" y="0"/>
                    </a:cubicBezTo>
                    <a:close/>
                  </a:path>
                </a:pathLst>
              </a:custGeom>
              <a:solidFill>
                <a:srgbClr val="000000"/>
              </a:solidFill>
              <a:ln>
                <a:noFill/>
              </a:ln>
              <a:extLst/>
            </p:spPr>
            <p:txBody>
              <a:bodyPr vert="horz" wrap="square" lIns="89619" tIns="44809" rIns="89619" bIns="44809" numCol="1" anchor="t" anchorCtr="0" compatLnSpc="1">
                <a:prstTxWarp prst="textNoShape">
                  <a:avLst/>
                </a:prstTxWarp>
                <a:noAutofit/>
              </a:bodyPr>
              <a:lstStyle/>
              <a:p>
                <a:pPr defTabSz="914093"/>
                <a:endParaRPr lang="en-US" sz="1764">
                  <a:solidFill>
                    <a:srgbClr val="FFFFFF"/>
                  </a:solidFill>
                </a:endParaRPr>
              </a:p>
            </p:txBody>
          </p:sp>
          <p:sp>
            <p:nvSpPr>
              <p:cNvPr id="447" name="Rectangle 33"/>
              <p:cNvSpPr>
                <a:spLocks noChangeArrowheads="1"/>
              </p:cNvSpPr>
              <p:nvPr/>
            </p:nvSpPr>
            <p:spPr bwMode="auto">
              <a:xfrm>
                <a:off x="2188047" y="3418326"/>
                <a:ext cx="80963" cy="3206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sp>
        <p:nvSpPr>
          <p:cNvPr id="448" name="Freeform 81"/>
          <p:cNvSpPr>
            <a:spLocks noEditPoints="1"/>
          </p:cNvSpPr>
          <p:nvPr/>
        </p:nvSpPr>
        <p:spPr bwMode="black">
          <a:xfrm>
            <a:off x="1876953" y="3782344"/>
            <a:ext cx="592695" cy="361797"/>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chemeClr val="accent2"/>
          </a:solidFill>
          <a:ln>
            <a:noFill/>
          </a:ln>
        </p:spPr>
        <p:txBody>
          <a:bodyPr vert="horz" wrap="square" lIns="0" tIns="40333" rIns="80666" bIns="40333" numCol="1" anchor="t" anchorCtr="0" compatLnSpc="1">
            <a:prstTxWarp prst="textNoShape">
              <a:avLst/>
            </a:prstTxWarp>
          </a:bodyPr>
          <a:lstStyle/>
          <a:p>
            <a:pPr algn="ctr" defTabSz="896081"/>
            <a:endParaRPr lang="en-US" sz="1568">
              <a:gradFill>
                <a:gsLst>
                  <a:gs pos="0">
                    <a:srgbClr val="FFFFFF"/>
                  </a:gs>
                  <a:gs pos="100000">
                    <a:srgbClr val="FFFFFF"/>
                  </a:gs>
                </a:gsLst>
                <a:lin ang="5400000" scaled="0"/>
              </a:gradFill>
            </a:endParaRPr>
          </a:p>
        </p:txBody>
      </p:sp>
      <p:grpSp>
        <p:nvGrpSpPr>
          <p:cNvPr id="451" name="Group 450"/>
          <p:cNvGrpSpPr/>
          <p:nvPr/>
        </p:nvGrpSpPr>
        <p:grpSpPr>
          <a:xfrm>
            <a:off x="1574140" y="5175409"/>
            <a:ext cx="1159311" cy="879254"/>
            <a:chOff x="1241897" y="2251513"/>
            <a:chExt cx="1978025" cy="1500188"/>
          </a:xfrm>
        </p:grpSpPr>
        <p:sp>
          <p:nvSpPr>
            <p:cNvPr id="452" name="Rectangle 451"/>
            <p:cNvSpPr/>
            <p:nvPr/>
          </p:nvSpPr>
          <p:spPr bwMode="auto">
            <a:xfrm>
              <a:off x="1273969" y="2279400"/>
              <a:ext cx="1902619" cy="107393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53" name="Group 452"/>
            <p:cNvGrpSpPr/>
            <p:nvPr/>
          </p:nvGrpSpPr>
          <p:grpSpPr>
            <a:xfrm>
              <a:off x="1241897" y="2251513"/>
              <a:ext cx="1978025" cy="1500188"/>
              <a:chOff x="1241897" y="2251513"/>
              <a:chExt cx="1978025" cy="1500188"/>
            </a:xfrm>
          </p:grpSpPr>
          <p:sp>
            <p:nvSpPr>
              <p:cNvPr id="454" name="Rectangle 5"/>
              <p:cNvSpPr>
                <a:spLocks noChangeArrowheads="1"/>
              </p:cNvSpPr>
              <p:nvPr/>
            </p:nvSpPr>
            <p:spPr bwMode="auto">
              <a:xfrm>
                <a:off x="1737197" y="3719951"/>
                <a:ext cx="982663" cy="317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5" name="Freeform 454"/>
              <p:cNvSpPr>
                <a:spLocks/>
              </p:cNvSpPr>
              <p:nvPr/>
            </p:nvSpPr>
            <p:spPr bwMode="auto">
              <a:xfrm>
                <a:off x="1241897" y="2251513"/>
                <a:ext cx="1978025" cy="1179513"/>
              </a:xfrm>
              <a:custGeom>
                <a:avLst/>
                <a:gdLst>
                  <a:gd name="connsiteX0" fmla="*/ 82097 w 1978025"/>
                  <a:gd name="connsiteY0" fmla="*/ 50800 h 1179513"/>
                  <a:gd name="connsiteX1" fmla="*/ 50800 w 1978025"/>
                  <a:gd name="connsiteY1" fmla="*/ 82163 h 1179513"/>
                  <a:gd name="connsiteX2" fmla="*/ 50800 w 1978025"/>
                  <a:gd name="connsiteY2" fmla="*/ 1054410 h 1179513"/>
                  <a:gd name="connsiteX3" fmla="*/ 82097 w 1978025"/>
                  <a:gd name="connsiteY3" fmla="*/ 1079500 h 1179513"/>
                  <a:gd name="connsiteX4" fmla="*/ 1891075 w 1978025"/>
                  <a:gd name="connsiteY4" fmla="*/ 1079500 h 1179513"/>
                  <a:gd name="connsiteX5" fmla="*/ 1916113 w 1978025"/>
                  <a:gd name="connsiteY5" fmla="*/ 1054410 h 1179513"/>
                  <a:gd name="connsiteX6" fmla="*/ 1916113 w 1978025"/>
                  <a:gd name="connsiteY6" fmla="*/ 82163 h 1179513"/>
                  <a:gd name="connsiteX7" fmla="*/ 1891075 w 1978025"/>
                  <a:gd name="connsiteY7" fmla="*/ 50800 h 1179513"/>
                  <a:gd name="connsiteX8" fmla="*/ 82097 w 1978025"/>
                  <a:gd name="connsiteY8" fmla="*/ 50800 h 1179513"/>
                  <a:gd name="connsiteX9" fmla="*/ 62596 w 1978025"/>
                  <a:gd name="connsiteY9" fmla="*/ 0 h 1179513"/>
                  <a:gd name="connsiteX10" fmla="*/ 1915429 w 1978025"/>
                  <a:gd name="connsiteY10" fmla="*/ 0 h 1179513"/>
                  <a:gd name="connsiteX11" fmla="*/ 1978025 w 1978025"/>
                  <a:gd name="connsiteY11" fmla="*/ 62740 h 1179513"/>
                  <a:gd name="connsiteX12" fmla="*/ 1978025 w 1978025"/>
                  <a:gd name="connsiteY12" fmla="*/ 1116773 h 1179513"/>
                  <a:gd name="connsiteX13" fmla="*/ 1915429 w 1978025"/>
                  <a:gd name="connsiteY13" fmla="*/ 1179513 h 1179513"/>
                  <a:gd name="connsiteX14" fmla="*/ 62596 w 1978025"/>
                  <a:gd name="connsiteY14" fmla="*/ 1179513 h 1179513"/>
                  <a:gd name="connsiteX15" fmla="*/ 0 w 1978025"/>
                  <a:gd name="connsiteY15" fmla="*/ 1116773 h 1179513"/>
                  <a:gd name="connsiteX16" fmla="*/ 0 w 1978025"/>
                  <a:gd name="connsiteY16" fmla="*/ 62740 h 1179513"/>
                  <a:gd name="connsiteX17" fmla="*/ 62596 w 1978025"/>
                  <a:gd name="connsiteY17" fmla="*/ 0 h 1179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8025" h="1179513">
                    <a:moveTo>
                      <a:pt x="82097" y="50800"/>
                    </a:moveTo>
                    <a:cubicBezTo>
                      <a:pt x="63319" y="50800"/>
                      <a:pt x="50800" y="63345"/>
                      <a:pt x="50800" y="82163"/>
                    </a:cubicBezTo>
                    <a:cubicBezTo>
                      <a:pt x="50800" y="82163"/>
                      <a:pt x="50800" y="82163"/>
                      <a:pt x="50800" y="1054410"/>
                    </a:cubicBezTo>
                    <a:cubicBezTo>
                      <a:pt x="50800" y="1066955"/>
                      <a:pt x="63319" y="1079500"/>
                      <a:pt x="82097" y="1079500"/>
                    </a:cubicBezTo>
                    <a:cubicBezTo>
                      <a:pt x="82097" y="1079500"/>
                      <a:pt x="82097" y="1079500"/>
                      <a:pt x="1891075" y="1079500"/>
                    </a:cubicBezTo>
                    <a:cubicBezTo>
                      <a:pt x="1903594" y="1079500"/>
                      <a:pt x="1916113" y="1066955"/>
                      <a:pt x="1916113" y="1054410"/>
                    </a:cubicBezTo>
                    <a:lnTo>
                      <a:pt x="1916113" y="82163"/>
                    </a:lnTo>
                    <a:cubicBezTo>
                      <a:pt x="1916113" y="63345"/>
                      <a:pt x="1903594" y="50800"/>
                      <a:pt x="1891075" y="50800"/>
                    </a:cubicBezTo>
                    <a:cubicBezTo>
                      <a:pt x="1891075" y="50800"/>
                      <a:pt x="1891075" y="50800"/>
                      <a:pt x="82097" y="50800"/>
                    </a:cubicBezTo>
                    <a:close/>
                    <a:moveTo>
                      <a:pt x="62596" y="0"/>
                    </a:moveTo>
                    <a:cubicBezTo>
                      <a:pt x="1915429" y="0"/>
                      <a:pt x="1915429" y="0"/>
                      <a:pt x="1915429" y="0"/>
                    </a:cubicBezTo>
                    <a:cubicBezTo>
                      <a:pt x="1946727" y="0"/>
                      <a:pt x="1978025" y="25096"/>
                      <a:pt x="1978025" y="62740"/>
                    </a:cubicBezTo>
                    <a:lnTo>
                      <a:pt x="1978025" y="1116773"/>
                    </a:lnTo>
                    <a:cubicBezTo>
                      <a:pt x="1978025" y="1154417"/>
                      <a:pt x="1946727" y="1179513"/>
                      <a:pt x="1915429" y="1179513"/>
                    </a:cubicBezTo>
                    <a:cubicBezTo>
                      <a:pt x="62596" y="1179513"/>
                      <a:pt x="62596" y="1179513"/>
                      <a:pt x="62596" y="1179513"/>
                    </a:cubicBezTo>
                    <a:cubicBezTo>
                      <a:pt x="25038" y="1179513"/>
                      <a:pt x="0" y="1154417"/>
                      <a:pt x="0" y="1116773"/>
                    </a:cubicBezTo>
                    <a:cubicBezTo>
                      <a:pt x="0" y="62740"/>
                      <a:pt x="0" y="62740"/>
                      <a:pt x="0" y="62740"/>
                    </a:cubicBezTo>
                    <a:cubicBezTo>
                      <a:pt x="0" y="25096"/>
                      <a:pt x="25038" y="0"/>
                      <a:pt x="62596" y="0"/>
                    </a:cubicBezTo>
                    <a:close/>
                  </a:path>
                </a:pathLst>
              </a:custGeom>
              <a:solidFill>
                <a:srgbClr val="000000"/>
              </a:solidFill>
              <a:ln>
                <a:noFill/>
              </a:ln>
              <a:extLst/>
            </p:spPr>
            <p:txBody>
              <a:bodyPr vert="horz" wrap="square" lIns="89619" tIns="44809" rIns="89619" bIns="44809" numCol="1" anchor="t" anchorCtr="0" compatLnSpc="1">
                <a:prstTxWarp prst="textNoShape">
                  <a:avLst/>
                </a:prstTxWarp>
                <a:noAutofit/>
              </a:bodyPr>
              <a:lstStyle/>
              <a:p>
                <a:pPr defTabSz="914093"/>
                <a:endParaRPr lang="en-US" sz="1764">
                  <a:solidFill>
                    <a:srgbClr val="FFFFFF"/>
                  </a:solidFill>
                </a:endParaRPr>
              </a:p>
            </p:txBody>
          </p:sp>
          <p:sp>
            <p:nvSpPr>
              <p:cNvPr id="456" name="Rectangle 33"/>
              <p:cNvSpPr>
                <a:spLocks noChangeArrowheads="1"/>
              </p:cNvSpPr>
              <p:nvPr/>
            </p:nvSpPr>
            <p:spPr bwMode="auto">
              <a:xfrm>
                <a:off x="2188047" y="3418326"/>
                <a:ext cx="80963" cy="3206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sp>
        <p:nvSpPr>
          <p:cNvPr id="457" name="Rectangle 456"/>
          <p:cNvSpPr/>
          <p:nvPr/>
        </p:nvSpPr>
        <p:spPr>
          <a:xfrm>
            <a:off x="1862987" y="6084035"/>
            <a:ext cx="581614" cy="331813"/>
          </a:xfrm>
          <a:prstGeom prst="rect">
            <a:avLst/>
          </a:prstGeom>
        </p:spPr>
        <p:txBody>
          <a:bodyPr wrap="none">
            <a:spAutoFit/>
          </a:bodyPr>
          <a:lstStyle/>
          <a:p>
            <a:pPr algn="ctr" defTabSz="913828" fontAlgn="base">
              <a:spcBef>
                <a:spcPct val="0"/>
              </a:spcBef>
              <a:spcAft>
                <a:spcPct val="0"/>
              </a:spcAft>
            </a:pPr>
            <a:r>
              <a:rPr lang="en-US" sz="1568" dirty="0">
                <a:gradFill>
                  <a:gsLst>
                    <a:gs pos="16814">
                      <a:srgbClr val="FFFFFF"/>
                    </a:gs>
                    <a:gs pos="55000">
                      <a:srgbClr val="FFFFFF"/>
                    </a:gs>
                  </a:gsLst>
                  <a:lin ang="5400000" scaled="0"/>
                </a:gradFill>
              </a:rPr>
              <a:t>WPF</a:t>
            </a:r>
          </a:p>
        </p:txBody>
      </p:sp>
      <p:sp>
        <p:nvSpPr>
          <p:cNvPr id="19" name="Rectangle 18"/>
          <p:cNvSpPr/>
          <p:nvPr/>
        </p:nvSpPr>
        <p:spPr bwMode="auto">
          <a:xfrm>
            <a:off x="1704397" y="5317539"/>
            <a:ext cx="424276" cy="27805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58" name="Rectangle 457"/>
          <p:cNvSpPr/>
          <p:nvPr/>
        </p:nvSpPr>
        <p:spPr bwMode="auto">
          <a:xfrm>
            <a:off x="2152798" y="5317539"/>
            <a:ext cx="424276" cy="27805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p:cNvSpPr/>
          <p:nvPr/>
        </p:nvSpPr>
        <p:spPr bwMode="auto">
          <a:xfrm>
            <a:off x="1704396" y="5624967"/>
            <a:ext cx="872677" cy="125487"/>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635" name="Group 634"/>
          <p:cNvGrpSpPr/>
          <p:nvPr/>
        </p:nvGrpSpPr>
        <p:grpSpPr>
          <a:xfrm>
            <a:off x="4333224" y="2956063"/>
            <a:ext cx="3522377" cy="2098643"/>
            <a:chOff x="8434810" y="3014716"/>
            <a:chExt cx="3593944" cy="2141283"/>
          </a:xfrm>
        </p:grpSpPr>
        <p:grpSp>
          <p:nvGrpSpPr>
            <p:cNvPr id="636" name="Group 635"/>
            <p:cNvGrpSpPr/>
            <p:nvPr/>
          </p:nvGrpSpPr>
          <p:grpSpPr>
            <a:xfrm>
              <a:off x="9680617" y="3014717"/>
              <a:ext cx="1060284" cy="2100823"/>
              <a:chOff x="5883472" y="1314690"/>
              <a:chExt cx="786530" cy="1558413"/>
            </a:xfrm>
          </p:grpSpPr>
          <p:sp>
            <p:nvSpPr>
              <p:cNvPr id="680" name="Freeform 5"/>
              <p:cNvSpPr>
                <a:spLocks/>
              </p:cNvSpPr>
              <p:nvPr/>
            </p:nvSpPr>
            <p:spPr bwMode="auto">
              <a:xfrm>
                <a:off x="5883472" y="1314690"/>
                <a:ext cx="786530" cy="1558413"/>
              </a:xfrm>
              <a:custGeom>
                <a:avLst/>
                <a:gdLst>
                  <a:gd name="T0" fmla="*/ 98 w 98"/>
                  <a:gd name="T1" fmla="*/ 193 h 197"/>
                  <a:gd name="T2" fmla="*/ 94 w 98"/>
                  <a:gd name="T3" fmla="*/ 197 h 197"/>
                  <a:gd name="T4" fmla="*/ 4 w 98"/>
                  <a:gd name="T5" fmla="*/ 197 h 197"/>
                  <a:gd name="T6" fmla="*/ 0 w 98"/>
                  <a:gd name="T7" fmla="*/ 193 h 197"/>
                  <a:gd name="T8" fmla="*/ 0 w 98"/>
                  <a:gd name="T9" fmla="*/ 4 h 197"/>
                  <a:gd name="T10" fmla="*/ 4 w 98"/>
                  <a:gd name="T11" fmla="*/ 0 h 197"/>
                  <a:gd name="T12" fmla="*/ 94 w 98"/>
                  <a:gd name="T13" fmla="*/ 0 h 197"/>
                  <a:gd name="T14" fmla="*/ 98 w 98"/>
                  <a:gd name="T15" fmla="*/ 4 h 197"/>
                  <a:gd name="T16" fmla="*/ 98 w 98"/>
                  <a:gd name="T17" fmla="*/ 193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197">
                    <a:moveTo>
                      <a:pt x="98" y="193"/>
                    </a:moveTo>
                    <a:cubicBezTo>
                      <a:pt x="98" y="195"/>
                      <a:pt x="96" y="197"/>
                      <a:pt x="94" y="197"/>
                    </a:cubicBezTo>
                    <a:cubicBezTo>
                      <a:pt x="4" y="197"/>
                      <a:pt x="4" y="197"/>
                      <a:pt x="4" y="197"/>
                    </a:cubicBezTo>
                    <a:cubicBezTo>
                      <a:pt x="2" y="197"/>
                      <a:pt x="0" y="195"/>
                      <a:pt x="0" y="193"/>
                    </a:cubicBezTo>
                    <a:cubicBezTo>
                      <a:pt x="0" y="4"/>
                      <a:pt x="0" y="4"/>
                      <a:pt x="0" y="4"/>
                    </a:cubicBezTo>
                    <a:cubicBezTo>
                      <a:pt x="0" y="2"/>
                      <a:pt x="2" y="0"/>
                      <a:pt x="4" y="0"/>
                    </a:cubicBezTo>
                    <a:cubicBezTo>
                      <a:pt x="94" y="0"/>
                      <a:pt x="94" y="0"/>
                      <a:pt x="94" y="0"/>
                    </a:cubicBezTo>
                    <a:cubicBezTo>
                      <a:pt x="96" y="0"/>
                      <a:pt x="98" y="2"/>
                      <a:pt x="98" y="4"/>
                    </a:cubicBezTo>
                    <a:lnTo>
                      <a:pt x="98" y="19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98" name="Freeform 22"/>
              <p:cNvSpPr>
                <a:spLocks/>
              </p:cNvSpPr>
              <p:nvPr/>
            </p:nvSpPr>
            <p:spPr bwMode="auto">
              <a:xfrm>
                <a:off x="6005041" y="2770576"/>
                <a:ext cx="23435" cy="39547"/>
              </a:xfrm>
              <a:custGeom>
                <a:avLst/>
                <a:gdLst>
                  <a:gd name="T0" fmla="*/ 16 w 16"/>
                  <a:gd name="T1" fmla="*/ 27 h 27"/>
                  <a:gd name="T2" fmla="*/ 0 w 16"/>
                  <a:gd name="T3" fmla="*/ 10 h 27"/>
                  <a:gd name="T4" fmla="*/ 16 w 16"/>
                  <a:gd name="T5" fmla="*/ 0 h 27"/>
                </a:gdLst>
                <a:ahLst/>
                <a:cxnLst>
                  <a:cxn ang="0">
                    <a:pos x="T0" y="T1"/>
                  </a:cxn>
                  <a:cxn ang="0">
                    <a:pos x="T2" y="T3"/>
                  </a:cxn>
                  <a:cxn ang="0">
                    <a:pos x="T4" y="T5"/>
                  </a:cxn>
                </a:cxnLst>
                <a:rect l="0" t="0" r="r" b="b"/>
                <a:pathLst>
                  <a:path w="16" h="27">
                    <a:moveTo>
                      <a:pt x="16" y="27"/>
                    </a:moveTo>
                    <a:lnTo>
                      <a:pt x="0" y="10"/>
                    </a:lnTo>
                    <a:lnTo>
                      <a:pt x="16" y="0"/>
                    </a:lnTo>
                  </a:path>
                </a:pathLst>
              </a:custGeom>
              <a:solidFill>
                <a:schemeClr val="tx1"/>
              </a:solidFill>
              <a:ln w="7938" cap="rnd">
                <a:solidFill>
                  <a:srgbClr val="969696"/>
                </a:solidFill>
                <a:prstDash val="solid"/>
                <a:miter lim="800000"/>
                <a:headEnd/>
                <a:tailEnd/>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99" name="Line 23"/>
              <p:cNvSpPr>
                <a:spLocks noChangeShapeType="1"/>
              </p:cNvSpPr>
              <p:nvPr/>
            </p:nvSpPr>
            <p:spPr bwMode="auto">
              <a:xfrm>
                <a:off x="6005041" y="2785223"/>
                <a:ext cx="39547" cy="0"/>
              </a:xfrm>
              <a:prstGeom prst="line">
                <a:avLst/>
              </a:prstGeom>
              <a:noFill/>
              <a:ln w="7938"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00" name="Oval 24"/>
              <p:cNvSpPr>
                <a:spLocks noChangeArrowheads="1"/>
              </p:cNvSpPr>
              <p:nvPr/>
            </p:nvSpPr>
            <p:spPr bwMode="auto">
              <a:xfrm>
                <a:off x="6517676" y="2770576"/>
                <a:ext cx="32223" cy="30759"/>
              </a:xfrm>
              <a:prstGeom prst="ellipse">
                <a:avLst/>
              </a:prstGeom>
              <a:solidFill>
                <a:srgbClr val="000000"/>
              </a:solidFill>
              <a:ln w="7938" cap="rnd">
                <a:solidFill>
                  <a:srgbClr val="969696"/>
                </a:solidFill>
                <a:prstDash val="solid"/>
                <a:miter lim="800000"/>
                <a:headEnd/>
                <a:tailEnd/>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10" name="Line 25"/>
              <p:cNvSpPr>
                <a:spLocks noChangeShapeType="1"/>
              </p:cNvSpPr>
              <p:nvPr/>
            </p:nvSpPr>
            <p:spPr bwMode="auto">
              <a:xfrm flipH="1">
                <a:off x="6508888" y="2794011"/>
                <a:ext cx="8788" cy="16112"/>
              </a:xfrm>
              <a:prstGeom prst="line">
                <a:avLst/>
              </a:prstGeom>
              <a:noFill/>
              <a:ln w="7938"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11" name="Freeform 26"/>
              <p:cNvSpPr>
                <a:spLocks/>
              </p:cNvSpPr>
              <p:nvPr/>
            </p:nvSpPr>
            <p:spPr bwMode="auto">
              <a:xfrm>
                <a:off x="6277470" y="2761788"/>
                <a:ext cx="23435" cy="23435"/>
              </a:xfrm>
              <a:custGeom>
                <a:avLst/>
                <a:gdLst>
                  <a:gd name="T0" fmla="*/ 0 w 16"/>
                  <a:gd name="T1" fmla="*/ 16 h 16"/>
                  <a:gd name="T2" fmla="*/ 16 w 16"/>
                  <a:gd name="T3" fmla="*/ 16 h 16"/>
                  <a:gd name="T4" fmla="*/ 16 w 16"/>
                  <a:gd name="T5" fmla="*/ 0 h 16"/>
                  <a:gd name="T6" fmla="*/ 0 w 16"/>
                  <a:gd name="T7" fmla="*/ 6 h 16"/>
                  <a:gd name="T8" fmla="*/ 0 w 16"/>
                  <a:gd name="T9" fmla="*/ 16 h 16"/>
                </a:gdLst>
                <a:ahLst/>
                <a:cxnLst>
                  <a:cxn ang="0">
                    <a:pos x="T0" y="T1"/>
                  </a:cxn>
                  <a:cxn ang="0">
                    <a:pos x="T2" y="T3"/>
                  </a:cxn>
                  <a:cxn ang="0">
                    <a:pos x="T4" y="T5"/>
                  </a:cxn>
                  <a:cxn ang="0">
                    <a:pos x="T6" y="T7"/>
                  </a:cxn>
                  <a:cxn ang="0">
                    <a:pos x="T8" y="T9"/>
                  </a:cxn>
                </a:cxnLst>
                <a:rect l="0" t="0" r="r" b="b"/>
                <a:pathLst>
                  <a:path w="16" h="16">
                    <a:moveTo>
                      <a:pt x="0" y="16"/>
                    </a:moveTo>
                    <a:lnTo>
                      <a:pt x="16" y="16"/>
                    </a:lnTo>
                    <a:lnTo>
                      <a:pt x="16" y="0"/>
                    </a:lnTo>
                    <a:lnTo>
                      <a:pt x="0" y="6"/>
                    </a:lnTo>
                    <a:lnTo>
                      <a:pt x="0" y="16"/>
                    </a:lnTo>
                    <a:close/>
                  </a:path>
                </a:pathLst>
              </a:cu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12" name="Rectangle 27"/>
              <p:cNvSpPr>
                <a:spLocks noChangeArrowheads="1"/>
              </p:cNvSpPr>
              <p:nvPr/>
            </p:nvSpPr>
            <p:spPr bwMode="auto">
              <a:xfrm>
                <a:off x="6252570" y="2770576"/>
                <a:ext cx="16112" cy="14647"/>
              </a:xfrm>
              <a:prstGeom prst="rect">
                <a:avLst/>
              </a:pr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13" name="Rectangle 28"/>
              <p:cNvSpPr>
                <a:spLocks noChangeArrowheads="1"/>
              </p:cNvSpPr>
              <p:nvPr/>
            </p:nvSpPr>
            <p:spPr bwMode="auto">
              <a:xfrm>
                <a:off x="6277470" y="2785223"/>
                <a:ext cx="23435" cy="24900"/>
              </a:xfrm>
              <a:prstGeom prst="rect">
                <a:avLst/>
              </a:pr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14" name="Rectangle 29"/>
              <p:cNvSpPr>
                <a:spLocks noChangeArrowheads="1"/>
              </p:cNvSpPr>
              <p:nvPr/>
            </p:nvSpPr>
            <p:spPr bwMode="auto">
              <a:xfrm>
                <a:off x="6252570" y="2785223"/>
                <a:ext cx="16112" cy="24900"/>
              </a:xfrm>
              <a:prstGeom prst="rect">
                <a:avLst/>
              </a:pr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15" name="Freeform 31"/>
              <p:cNvSpPr>
                <a:spLocks/>
              </p:cNvSpPr>
              <p:nvPr/>
            </p:nvSpPr>
            <p:spPr bwMode="auto">
              <a:xfrm>
                <a:off x="6196912" y="1393782"/>
                <a:ext cx="184549" cy="24900"/>
              </a:xfrm>
              <a:custGeom>
                <a:avLst/>
                <a:gdLst>
                  <a:gd name="T0" fmla="*/ 23 w 23"/>
                  <a:gd name="T1" fmla="*/ 2 h 3"/>
                  <a:gd name="T2" fmla="*/ 21 w 23"/>
                  <a:gd name="T3" fmla="*/ 3 h 3"/>
                  <a:gd name="T4" fmla="*/ 1 w 23"/>
                  <a:gd name="T5" fmla="*/ 3 h 3"/>
                  <a:gd name="T6" fmla="*/ 0 w 23"/>
                  <a:gd name="T7" fmla="*/ 2 h 3"/>
                  <a:gd name="T8" fmla="*/ 0 w 23"/>
                  <a:gd name="T9" fmla="*/ 2 h 3"/>
                  <a:gd name="T10" fmla="*/ 1 w 23"/>
                  <a:gd name="T11" fmla="*/ 0 h 3"/>
                  <a:gd name="T12" fmla="*/ 21 w 23"/>
                  <a:gd name="T13" fmla="*/ 0 h 3"/>
                  <a:gd name="T14" fmla="*/ 23 w 23"/>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
                    <a:moveTo>
                      <a:pt x="23" y="2"/>
                    </a:moveTo>
                    <a:cubicBezTo>
                      <a:pt x="23" y="3"/>
                      <a:pt x="22" y="3"/>
                      <a:pt x="21" y="3"/>
                    </a:cubicBezTo>
                    <a:cubicBezTo>
                      <a:pt x="1" y="3"/>
                      <a:pt x="1" y="3"/>
                      <a:pt x="1" y="3"/>
                    </a:cubicBezTo>
                    <a:cubicBezTo>
                      <a:pt x="0" y="3"/>
                      <a:pt x="0" y="3"/>
                      <a:pt x="0" y="2"/>
                    </a:cubicBezTo>
                    <a:cubicBezTo>
                      <a:pt x="0" y="2"/>
                      <a:pt x="0" y="2"/>
                      <a:pt x="0" y="2"/>
                    </a:cubicBezTo>
                    <a:cubicBezTo>
                      <a:pt x="0" y="1"/>
                      <a:pt x="0" y="0"/>
                      <a:pt x="1" y="0"/>
                    </a:cubicBezTo>
                    <a:cubicBezTo>
                      <a:pt x="21" y="0"/>
                      <a:pt x="21" y="0"/>
                      <a:pt x="21" y="0"/>
                    </a:cubicBezTo>
                    <a:cubicBezTo>
                      <a:pt x="22" y="0"/>
                      <a:pt x="23" y="1"/>
                      <a:pt x="23" y="2"/>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16" name="Rectangle 32"/>
              <p:cNvSpPr>
                <a:spLocks noChangeArrowheads="1"/>
              </p:cNvSpPr>
              <p:nvPr/>
            </p:nvSpPr>
            <p:spPr bwMode="auto">
              <a:xfrm>
                <a:off x="5964030" y="1512421"/>
                <a:ext cx="8788" cy="322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17" name="Rectangle 33"/>
              <p:cNvSpPr>
                <a:spLocks noChangeArrowheads="1"/>
              </p:cNvSpPr>
              <p:nvPr/>
            </p:nvSpPr>
            <p:spPr bwMode="auto">
              <a:xfrm>
                <a:off x="5956706" y="1521209"/>
                <a:ext cx="7324" cy="2343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18" name="Rectangle 34"/>
              <p:cNvSpPr>
                <a:spLocks noChangeArrowheads="1"/>
              </p:cNvSpPr>
              <p:nvPr/>
            </p:nvSpPr>
            <p:spPr bwMode="auto">
              <a:xfrm>
                <a:off x="5947918" y="1528532"/>
                <a:ext cx="8788"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19" name="Rectangle 35"/>
              <p:cNvSpPr>
                <a:spLocks noChangeArrowheads="1"/>
              </p:cNvSpPr>
              <p:nvPr/>
            </p:nvSpPr>
            <p:spPr bwMode="auto">
              <a:xfrm>
                <a:off x="5940595" y="1528532"/>
                <a:ext cx="7324"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20" name="Rectangle 36"/>
              <p:cNvSpPr>
                <a:spLocks noChangeArrowheads="1"/>
              </p:cNvSpPr>
              <p:nvPr/>
            </p:nvSpPr>
            <p:spPr bwMode="auto">
              <a:xfrm>
                <a:off x="5931807" y="1537320"/>
                <a:ext cx="8788" cy="732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21" name="Rectangle 37"/>
              <p:cNvSpPr>
                <a:spLocks noChangeArrowheads="1"/>
              </p:cNvSpPr>
              <p:nvPr/>
            </p:nvSpPr>
            <p:spPr bwMode="auto">
              <a:xfrm>
                <a:off x="6492776" y="1512421"/>
                <a:ext cx="32223" cy="322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22" name="Rectangle 38"/>
              <p:cNvSpPr>
                <a:spLocks noChangeArrowheads="1"/>
              </p:cNvSpPr>
              <p:nvPr/>
            </p:nvSpPr>
            <p:spPr bwMode="auto">
              <a:xfrm>
                <a:off x="6469342" y="1521209"/>
                <a:ext cx="7324"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nvGrpSpPr>
            <p:cNvPr id="637" name="Group 636"/>
            <p:cNvGrpSpPr/>
            <p:nvPr/>
          </p:nvGrpSpPr>
          <p:grpSpPr>
            <a:xfrm>
              <a:off x="10859213" y="3014717"/>
              <a:ext cx="1169541" cy="2100901"/>
              <a:chOff x="9635198" y="5349787"/>
              <a:chExt cx="748731" cy="1344979"/>
            </a:xfrm>
          </p:grpSpPr>
          <p:grpSp>
            <p:nvGrpSpPr>
              <p:cNvPr id="664" name="Group 663"/>
              <p:cNvGrpSpPr/>
              <p:nvPr/>
            </p:nvGrpSpPr>
            <p:grpSpPr>
              <a:xfrm>
                <a:off x="9635198" y="5349787"/>
                <a:ext cx="748731" cy="1344979"/>
                <a:chOff x="5028131" y="1531713"/>
                <a:chExt cx="693495" cy="1245756"/>
              </a:xfrm>
            </p:grpSpPr>
            <p:grpSp>
              <p:nvGrpSpPr>
                <p:cNvPr id="671" name="Group 670"/>
                <p:cNvGrpSpPr/>
                <p:nvPr/>
              </p:nvGrpSpPr>
              <p:grpSpPr>
                <a:xfrm>
                  <a:off x="5028131" y="1531713"/>
                  <a:ext cx="693495" cy="1245756"/>
                  <a:chOff x="6639402" y="-1425066"/>
                  <a:chExt cx="675798" cy="1213966"/>
                </a:xfrm>
              </p:grpSpPr>
              <p:sp>
                <p:nvSpPr>
                  <p:cNvPr id="678" name="Freeform 10"/>
                  <p:cNvSpPr>
                    <a:spLocks noChangeAspect="1" noEditPoints="1"/>
                  </p:cNvSpPr>
                  <p:nvPr/>
                </p:nvSpPr>
                <p:spPr bwMode="auto">
                  <a:xfrm>
                    <a:off x="6639402" y="-1425066"/>
                    <a:ext cx="675798" cy="1213966"/>
                  </a:xfrm>
                  <a:custGeom>
                    <a:avLst/>
                    <a:gdLst>
                      <a:gd name="T0" fmla="*/ 148 w 159"/>
                      <a:gd name="T1" fmla="*/ 0 h 288"/>
                      <a:gd name="T2" fmla="*/ 11 w 159"/>
                      <a:gd name="T3" fmla="*/ 0 h 288"/>
                      <a:gd name="T4" fmla="*/ 0 w 159"/>
                      <a:gd name="T5" fmla="*/ 10 h 288"/>
                      <a:gd name="T6" fmla="*/ 0 w 159"/>
                      <a:gd name="T7" fmla="*/ 278 h 288"/>
                      <a:gd name="T8" fmla="*/ 11 w 159"/>
                      <a:gd name="T9" fmla="*/ 288 h 288"/>
                      <a:gd name="T10" fmla="*/ 148 w 159"/>
                      <a:gd name="T11" fmla="*/ 288 h 288"/>
                      <a:gd name="T12" fmla="*/ 159 w 159"/>
                      <a:gd name="T13" fmla="*/ 278 h 288"/>
                      <a:gd name="T14" fmla="*/ 159 w 159"/>
                      <a:gd name="T15" fmla="*/ 10 h 288"/>
                      <a:gd name="T16" fmla="*/ 148 w 159"/>
                      <a:gd name="T17" fmla="*/ 0 h 288"/>
                      <a:gd name="T18" fmla="*/ 36 w 159"/>
                      <a:gd name="T19" fmla="*/ 262 h 288"/>
                      <a:gd name="T20" fmla="*/ 30 w 159"/>
                      <a:gd name="T21" fmla="*/ 262 h 288"/>
                      <a:gd name="T22" fmla="*/ 33 w 159"/>
                      <a:gd name="T23" fmla="*/ 266 h 288"/>
                      <a:gd name="T24" fmla="*/ 32 w 159"/>
                      <a:gd name="T25" fmla="*/ 266 h 288"/>
                      <a:gd name="T26" fmla="*/ 27 w 159"/>
                      <a:gd name="T27" fmla="*/ 262 h 288"/>
                      <a:gd name="T28" fmla="*/ 32 w 159"/>
                      <a:gd name="T29" fmla="*/ 258 h 288"/>
                      <a:gd name="T30" fmla="*/ 33 w 159"/>
                      <a:gd name="T31" fmla="*/ 258 h 288"/>
                      <a:gd name="T32" fmla="*/ 30 w 159"/>
                      <a:gd name="T33" fmla="*/ 261 h 288"/>
                      <a:gd name="T34" fmla="*/ 36 w 159"/>
                      <a:gd name="T35" fmla="*/ 261 h 288"/>
                      <a:gd name="T36" fmla="*/ 36 w 159"/>
                      <a:gd name="T37" fmla="*/ 262 h 288"/>
                      <a:gd name="T38" fmla="*/ 77 w 159"/>
                      <a:gd name="T39" fmla="*/ 268 h 288"/>
                      <a:gd name="T40" fmla="*/ 72 w 159"/>
                      <a:gd name="T41" fmla="*/ 267 h 288"/>
                      <a:gd name="T42" fmla="*/ 72 w 159"/>
                      <a:gd name="T43" fmla="*/ 263 h 288"/>
                      <a:gd name="T44" fmla="*/ 77 w 159"/>
                      <a:gd name="T45" fmla="*/ 263 h 288"/>
                      <a:gd name="T46" fmla="*/ 77 w 159"/>
                      <a:gd name="T47" fmla="*/ 268 h 288"/>
                      <a:gd name="T48" fmla="*/ 77 w 159"/>
                      <a:gd name="T49" fmla="*/ 262 h 288"/>
                      <a:gd name="T50" fmla="*/ 72 w 159"/>
                      <a:gd name="T51" fmla="*/ 262 h 288"/>
                      <a:gd name="T52" fmla="*/ 72 w 159"/>
                      <a:gd name="T53" fmla="*/ 258 h 288"/>
                      <a:gd name="T54" fmla="*/ 77 w 159"/>
                      <a:gd name="T55" fmla="*/ 257 h 288"/>
                      <a:gd name="T56" fmla="*/ 77 w 159"/>
                      <a:gd name="T57" fmla="*/ 262 h 288"/>
                      <a:gd name="T58" fmla="*/ 85 w 159"/>
                      <a:gd name="T59" fmla="*/ 269 h 288"/>
                      <a:gd name="T60" fmla="*/ 78 w 159"/>
                      <a:gd name="T61" fmla="*/ 268 h 288"/>
                      <a:gd name="T62" fmla="*/ 78 w 159"/>
                      <a:gd name="T63" fmla="*/ 263 h 288"/>
                      <a:gd name="T64" fmla="*/ 85 w 159"/>
                      <a:gd name="T65" fmla="*/ 263 h 288"/>
                      <a:gd name="T66" fmla="*/ 85 w 159"/>
                      <a:gd name="T67" fmla="*/ 269 h 288"/>
                      <a:gd name="T68" fmla="*/ 85 w 159"/>
                      <a:gd name="T69" fmla="*/ 262 h 288"/>
                      <a:gd name="T70" fmla="*/ 78 w 159"/>
                      <a:gd name="T71" fmla="*/ 262 h 288"/>
                      <a:gd name="T72" fmla="*/ 78 w 159"/>
                      <a:gd name="T73" fmla="*/ 257 h 288"/>
                      <a:gd name="T74" fmla="*/ 85 w 159"/>
                      <a:gd name="T75" fmla="*/ 256 h 288"/>
                      <a:gd name="T76" fmla="*/ 85 w 159"/>
                      <a:gd name="T77" fmla="*/ 262 h 288"/>
                      <a:gd name="T78" fmla="*/ 126 w 159"/>
                      <a:gd name="T79" fmla="*/ 265 h 288"/>
                      <a:gd name="T80" fmla="*/ 124 w 159"/>
                      <a:gd name="T81" fmla="*/ 264 h 288"/>
                      <a:gd name="T82" fmla="*/ 122 w 159"/>
                      <a:gd name="T83" fmla="*/ 267 h 288"/>
                      <a:gd name="T84" fmla="*/ 121 w 159"/>
                      <a:gd name="T85" fmla="*/ 266 h 288"/>
                      <a:gd name="T86" fmla="*/ 123 w 159"/>
                      <a:gd name="T87" fmla="*/ 264 h 288"/>
                      <a:gd name="T88" fmla="*/ 122 w 159"/>
                      <a:gd name="T89" fmla="*/ 261 h 288"/>
                      <a:gd name="T90" fmla="*/ 126 w 159"/>
                      <a:gd name="T91" fmla="*/ 257 h 288"/>
                      <a:gd name="T92" fmla="*/ 130 w 159"/>
                      <a:gd name="T93" fmla="*/ 261 h 288"/>
                      <a:gd name="T94" fmla="*/ 126 w 159"/>
                      <a:gd name="T95" fmla="*/ 265 h 288"/>
                      <a:gd name="T96" fmla="*/ 143 w 159"/>
                      <a:gd name="T97" fmla="*/ 227 h 288"/>
                      <a:gd name="T98" fmla="*/ 14 w 159"/>
                      <a:gd name="T99" fmla="*/ 227 h 288"/>
                      <a:gd name="T100" fmla="*/ 14 w 159"/>
                      <a:gd name="T101" fmla="*/ 24 h 288"/>
                      <a:gd name="T102" fmla="*/ 143 w 159"/>
                      <a:gd name="T103" fmla="*/ 24 h 288"/>
                      <a:gd name="T104" fmla="*/ 143 w 159"/>
                      <a:gd name="T105" fmla="*/ 227 h 288"/>
                      <a:gd name="T106" fmla="*/ 129 w 159"/>
                      <a:gd name="T107" fmla="*/ 261 h 288"/>
                      <a:gd name="T108" fmla="*/ 126 w 159"/>
                      <a:gd name="T109" fmla="*/ 264 h 288"/>
                      <a:gd name="T110" fmla="*/ 123 w 159"/>
                      <a:gd name="T111" fmla="*/ 261 h 288"/>
                      <a:gd name="T112" fmla="*/ 126 w 159"/>
                      <a:gd name="T113" fmla="*/ 258 h 288"/>
                      <a:gd name="T114" fmla="*/ 129 w 159"/>
                      <a:gd name="T115" fmla="*/ 261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9" h="288">
                        <a:moveTo>
                          <a:pt x="148" y="0"/>
                        </a:moveTo>
                        <a:cubicBezTo>
                          <a:pt x="148" y="0"/>
                          <a:pt x="148" y="0"/>
                          <a:pt x="11" y="0"/>
                        </a:cubicBezTo>
                        <a:cubicBezTo>
                          <a:pt x="5" y="0"/>
                          <a:pt x="0" y="4"/>
                          <a:pt x="0" y="10"/>
                        </a:cubicBezTo>
                        <a:cubicBezTo>
                          <a:pt x="0" y="10"/>
                          <a:pt x="0" y="10"/>
                          <a:pt x="0" y="278"/>
                        </a:cubicBezTo>
                        <a:cubicBezTo>
                          <a:pt x="0" y="284"/>
                          <a:pt x="5" y="288"/>
                          <a:pt x="11" y="288"/>
                        </a:cubicBezTo>
                        <a:cubicBezTo>
                          <a:pt x="11" y="288"/>
                          <a:pt x="11" y="288"/>
                          <a:pt x="148" y="288"/>
                        </a:cubicBezTo>
                        <a:cubicBezTo>
                          <a:pt x="154" y="288"/>
                          <a:pt x="159" y="284"/>
                          <a:pt x="159" y="278"/>
                        </a:cubicBezTo>
                        <a:cubicBezTo>
                          <a:pt x="159" y="10"/>
                          <a:pt x="159" y="10"/>
                          <a:pt x="159" y="10"/>
                        </a:cubicBezTo>
                        <a:cubicBezTo>
                          <a:pt x="159" y="4"/>
                          <a:pt x="154" y="0"/>
                          <a:pt x="148" y="0"/>
                        </a:cubicBezTo>
                        <a:close/>
                        <a:moveTo>
                          <a:pt x="36" y="262"/>
                        </a:moveTo>
                        <a:cubicBezTo>
                          <a:pt x="30" y="262"/>
                          <a:pt x="30" y="262"/>
                          <a:pt x="30" y="262"/>
                        </a:cubicBezTo>
                        <a:cubicBezTo>
                          <a:pt x="33" y="266"/>
                          <a:pt x="33" y="266"/>
                          <a:pt x="33" y="266"/>
                        </a:cubicBezTo>
                        <a:cubicBezTo>
                          <a:pt x="32" y="266"/>
                          <a:pt x="32" y="266"/>
                          <a:pt x="32" y="266"/>
                        </a:cubicBezTo>
                        <a:cubicBezTo>
                          <a:pt x="27" y="262"/>
                          <a:pt x="27" y="262"/>
                          <a:pt x="27" y="262"/>
                        </a:cubicBezTo>
                        <a:cubicBezTo>
                          <a:pt x="32" y="258"/>
                          <a:pt x="32" y="258"/>
                          <a:pt x="32" y="258"/>
                        </a:cubicBezTo>
                        <a:cubicBezTo>
                          <a:pt x="33" y="258"/>
                          <a:pt x="33" y="258"/>
                          <a:pt x="33" y="258"/>
                        </a:cubicBezTo>
                        <a:cubicBezTo>
                          <a:pt x="30" y="261"/>
                          <a:pt x="30" y="261"/>
                          <a:pt x="30" y="261"/>
                        </a:cubicBezTo>
                        <a:cubicBezTo>
                          <a:pt x="36" y="261"/>
                          <a:pt x="36" y="261"/>
                          <a:pt x="36" y="261"/>
                        </a:cubicBezTo>
                        <a:cubicBezTo>
                          <a:pt x="36" y="262"/>
                          <a:pt x="36" y="262"/>
                          <a:pt x="36" y="262"/>
                        </a:cubicBezTo>
                        <a:close/>
                        <a:moveTo>
                          <a:pt x="77" y="268"/>
                        </a:moveTo>
                        <a:cubicBezTo>
                          <a:pt x="72" y="267"/>
                          <a:pt x="72" y="267"/>
                          <a:pt x="72" y="267"/>
                        </a:cubicBezTo>
                        <a:cubicBezTo>
                          <a:pt x="72" y="263"/>
                          <a:pt x="72" y="263"/>
                          <a:pt x="72" y="263"/>
                        </a:cubicBezTo>
                        <a:cubicBezTo>
                          <a:pt x="77" y="263"/>
                          <a:pt x="77" y="263"/>
                          <a:pt x="77" y="263"/>
                        </a:cubicBezTo>
                        <a:lnTo>
                          <a:pt x="77" y="268"/>
                        </a:lnTo>
                        <a:close/>
                        <a:moveTo>
                          <a:pt x="77" y="262"/>
                        </a:moveTo>
                        <a:cubicBezTo>
                          <a:pt x="72" y="262"/>
                          <a:pt x="72" y="262"/>
                          <a:pt x="72" y="262"/>
                        </a:cubicBezTo>
                        <a:cubicBezTo>
                          <a:pt x="72" y="258"/>
                          <a:pt x="72" y="258"/>
                          <a:pt x="72" y="258"/>
                        </a:cubicBezTo>
                        <a:cubicBezTo>
                          <a:pt x="77" y="257"/>
                          <a:pt x="77" y="257"/>
                          <a:pt x="77" y="257"/>
                        </a:cubicBezTo>
                        <a:lnTo>
                          <a:pt x="77" y="262"/>
                        </a:lnTo>
                        <a:close/>
                        <a:moveTo>
                          <a:pt x="85" y="269"/>
                        </a:moveTo>
                        <a:cubicBezTo>
                          <a:pt x="78" y="268"/>
                          <a:pt x="78" y="268"/>
                          <a:pt x="78" y="268"/>
                        </a:cubicBezTo>
                        <a:cubicBezTo>
                          <a:pt x="78" y="263"/>
                          <a:pt x="78" y="263"/>
                          <a:pt x="78" y="263"/>
                        </a:cubicBezTo>
                        <a:cubicBezTo>
                          <a:pt x="85" y="263"/>
                          <a:pt x="85" y="263"/>
                          <a:pt x="85" y="263"/>
                        </a:cubicBezTo>
                        <a:lnTo>
                          <a:pt x="85" y="269"/>
                        </a:lnTo>
                        <a:close/>
                        <a:moveTo>
                          <a:pt x="85" y="262"/>
                        </a:moveTo>
                        <a:cubicBezTo>
                          <a:pt x="78" y="262"/>
                          <a:pt x="78" y="262"/>
                          <a:pt x="78" y="262"/>
                        </a:cubicBezTo>
                        <a:cubicBezTo>
                          <a:pt x="78" y="257"/>
                          <a:pt x="78" y="257"/>
                          <a:pt x="78" y="257"/>
                        </a:cubicBezTo>
                        <a:cubicBezTo>
                          <a:pt x="85" y="256"/>
                          <a:pt x="85" y="256"/>
                          <a:pt x="85" y="256"/>
                        </a:cubicBezTo>
                        <a:lnTo>
                          <a:pt x="85" y="262"/>
                        </a:lnTo>
                        <a:close/>
                        <a:moveTo>
                          <a:pt x="126" y="265"/>
                        </a:moveTo>
                        <a:cubicBezTo>
                          <a:pt x="125" y="265"/>
                          <a:pt x="124" y="265"/>
                          <a:pt x="124" y="264"/>
                        </a:cubicBezTo>
                        <a:cubicBezTo>
                          <a:pt x="124" y="264"/>
                          <a:pt x="124" y="264"/>
                          <a:pt x="122" y="267"/>
                        </a:cubicBezTo>
                        <a:cubicBezTo>
                          <a:pt x="122" y="267"/>
                          <a:pt x="122" y="267"/>
                          <a:pt x="121" y="266"/>
                        </a:cubicBezTo>
                        <a:cubicBezTo>
                          <a:pt x="121" y="266"/>
                          <a:pt x="121" y="266"/>
                          <a:pt x="123" y="264"/>
                        </a:cubicBezTo>
                        <a:cubicBezTo>
                          <a:pt x="122" y="263"/>
                          <a:pt x="122" y="262"/>
                          <a:pt x="122" y="261"/>
                        </a:cubicBezTo>
                        <a:cubicBezTo>
                          <a:pt x="122" y="259"/>
                          <a:pt x="124" y="257"/>
                          <a:pt x="126" y="257"/>
                        </a:cubicBezTo>
                        <a:cubicBezTo>
                          <a:pt x="128" y="257"/>
                          <a:pt x="130" y="259"/>
                          <a:pt x="130" y="261"/>
                        </a:cubicBezTo>
                        <a:cubicBezTo>
                          <a:pt x="130" y="263"/>
                          <a:pt x="128" y="265"/>
                          <a:pt x="126" y="265"/>
                        </a:cubicBezTo>
                        <a:close/>
                        <a:moveTo>
                          <a:pt x="143" y="227"/>
                        </a:moveTo>
                        <a:cubicBezTo>
                          <a:pt x="101" y="227"/>
                          <a:pt x="57" y="227"/>
                          <a:pt x="14" y="227"/>
                        </a:cubicBezTo>
                        <a:cubicBezTo>
                          <a:pt x="14" y="159"/>
                          <a:pt x="14" y="91"/>
                          <a:pt x="14" y="24"/>
                        </a:cubicBezTo>
                        <a:cubicBezTo>
                          <a:pt x="57" y="24"/>
                          <a:pt x="101" y="24"/>
                          <a:pt x="143" y="24"/>
                        </a:cubicBezTo>
                        <a:cubicBezTo>
                          <a:pt x="143" y="91"/>
                          <a:pt x="143" y="159"/>
                          <a:pt x="143" y="227"/>
                        </a:cubicBezTo>
                        <a:close/>
                        <a:moveTo>
                          <a:pt x="129" y="261"/>
                        </a:moveTo>
                        <a:cubicBezTo>
                          <a:pt x="129" y="263"/>
                          <a:pt x="128" y="264"/>
                          <a:pt x="126" y="264"/>
                        </a:cubicBezTo>
                        <a:cubicBezTo>
                          <a:pt x="124" y="264"/>
                          <a:pt x="123" y="263"/>
                          <a:pt x="123" y="261"/>
                        </a:cubicBezTo>
                        <a:cubicBezTo>
                          <a:pt x="123" y="260"/>
                          <a:pt x="124" y="258"/>
                          <a:pt x="126" y="258"/>
                        </a:cubicBezTo>
                        <a:cubicBezTo>
                          <a:pt x="128" y="258"/>
                          <a:pt x="129" y="260"/>
                          <a:pt x="129" y="261"/>
                        </a:cubicBezTo>
                        <a:close/>
                      </a:path>
                    </a:pathLst>
                  </a:custGeom>
                  <a:solidFill>
                    <a:schemeClr val="tx1"/>
                  </a:solidFill>
                  <a:ln>
                    <a:noFill/>
                  </a:ln>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79" name="Rectangle 678"/>
                  <p:cNvSpPr/>
                  <p:nvPr/>
                </p:nvSpPr>
                <p:spPr bwMode="auto">
                  <a:xfrm>
                    <a:off x="6657420" y="-401045"/>
                    <a:ext cx="639762" cy="14861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672" name="Group 671"/>
                <p:cNvGrpSpPr/>
                <p:nvPr/>
              </p:nvGrpSpPr>
              <p:grpSpPr>
                <a:xfrm>
                  <a:off x="5292866" y="1551064"/>
                  <a:ext cx="157076" cy="1181434"/>
                  <a:chOff x="6779777" y="1563052"/>
                  <a:chExt cx="157076" cy="1181434"/>
                </a:xfrm>
              </p:grpSpPr>
              <p:sp>
                <p:nvSpPr>
                  <p:cNvPr id="673" name="Oval 672"/>
                  <p:cNvSpPr/>
                  <p:nvPr/>
                </p:nvSpPr>
                <p:spPr bwMode="auto">
                  <a:xfrm>
                    <a:off x="6808756" y="2638418"/>
                    <a:ext cx="106068" cy="106068"/>
                  </a:xfrm>
                  <a:prstGeom prst="ellipse">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674" name="Group 673"/>
                  <p:cNvGrpSpPr/>
                  <p:nvPr/>
                </p:nvGrpSpPr>
                <p:grpSpPr>
                  <a:xfrm>
                    <a:off x="6779777" y="1563052"/>
                    <a:ext cx="157076" cy="52818"/>
                    <a:chOff x="6857569" y="1553528"/>
                    <a:chExt cx="157076" cy="52818"/>
                  </a:xfrm>
                </p:grpSpPr>
                <p:sp>
                  <p:nvSpPr>
                    <p:cNvPr id="675" name="Rounded Rectangle 674"/>
                    <p:cNvSpPr/>
                    <p:nvPr/>
                  </p:nvSpPr>
                  <p:spPr bwMode="auto">
                    <a:xfrm>
                      <a:off x="6904917" y="1588058"/>
                      <a:ext cx="109728" cy="18288"/>
                    </a:xfrm>
                    <a:prstGeom prst="roundRect">
                      <a:avLst>
                        <a:gd name="adj" fmla="val 50000"/>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76" name="Oval 675"/>
                    <p:cNvSpPr/>
                    <p:nvPr/>
                  </p:nvSpPr>
                  <p:spPr bwMode="auto">
                    <a:xfrm>
                      <a:off x="6857569" y="1588058"/>
                      <a:ext cx="18288" cy="18288"/>
                    </a:xfrm>
                    <a:prstGeom prst="ellipse">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77" name="Oval 676"/>
                    <p:cNvSpPr/>
                    <p:nvPr/>
                  </p:nvSpPr>
                  <p:spPr bwMode="auto">
                    <a:xfrm>
                      <a:off x="6930437" y="1553528"/>
                      <a:ext cx="18288" cy="1828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grpSp>
          <p:sp>
            <p:nvSpPr>
              <p:cNvPr id="665" name="Rectangle 664"/>
              <p:cNvSpPr/>
              <p:nvPr/>
            </p:nvSpPr>
            <p:spPr bwMode="auto">
              <a:xfrm>
                <a:off x="9694861" y="5459840"/>
                <a:ext cx="629406" cy="1024482"/>
              </a:xfrm>
              <a:prstGeom prst="rect">
                <a:avLst/>
              </a:prstGeom>
              <a:solidFill>
                <a:srgbClr val="FFFFFF"/>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666" name="Group 665"/>
              <p:cNvGrpSpPr/>
              <p:nvPr/>
            </p:nvGrpSpPr>
            <p:grpSpPr>
              <a:xfrm>
                <a:off x="9730613" y="5511557"/>
                <a:ext cx="551019" cy="752748"/>
                <a:chOff x="5019134" y="4300625"/>
                <a:chExt cx="602113" cy="752748"/>
              </a:xfrm>
            </p:grpSpPr>
            <p:sp>
              <p:nvSpPr>
                <p:cNvPr id="667" name="Rectangle 666"/>
                <p:cNvSpPr/>
                <p:nvPr/>
              </p:nvSpPr>
              <p:spPr bwMode="auto">
                <a:xfrm>
                  <a:off x="5019134" y="4300625"/>
                  <a:ext cx="185050" cy="165324"/>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68" name="Rectangle 667"/>
                <p:cNvSpPr/>
                <p:nvPr/>
              </p:nvSpPr>
              <p:spPr bwMode="auto">
                <a:xfrm>
                  <a:off x="5019135" y="4488881"/>
                  <a:ext cx="602112" cy="564492"/>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69" name="Rectangle 668"/>
                <p:cNvSpPr/>
                <p:nvPr/>
              </p:nvSpPr>
              <p:spPr bwMode="auto">
                <a:xfrm>
                  <a:off x="5227456" y="4300626"/>
                  <a:ext cx="185050" cy="165324"/>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70" name="Rectangle 669"/>
                <p:cNvSpPr/>
                <p:nvPr/>
              </p:nvSpPr>
              <p:spPr bwMode="auto">
                <a:xfrm>
                  <a:off x="5436197" y="4300626"/>
                  <a:ext cx="185050" cy="165324"/>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638" name="Group 637"/>
            <p:cNvGrpSpPr/>
            <p:nvPr/>
          </p:nvGrpSpPr>
          <p:grpSpPr>
            <a:xfrm>
              <a:off x="8434810" y="3014716"/>
              <a:ext cx="2207532" cy="2141283"/>
              <a:chOff x="10973657" y="3014716"/>
              <a:chExt cx="2207532" cy="2141283"/>
            </a:xfrm>
          </p:grpSpPr>
          <p:grpSp>
            <p:nvGrpSpPr>
              <p:cNvPr id="639" name="Group 638"/>
              <p:cNvGrpSpPr/>
              <p:nvPr/>
            </p:nvGrpSpPr>
            <p:grpSpPr>
              <a:xfrm>
                <a:off x="10973657" y="3014716"/>
                <a:ext cx="1127495" cy="2141283"/>
                <a:chOff x="5651685" y="-476444"/>
                <a:chExt cx="1669255" cy="2809977"/>
              </a:xfrm>
            </p:grpSpPr>
            <p:sp>
              <p:nvSpPr>
                <p:cNvPr id="648" name="Rectangle 647"/>
                <p:cNvSpPr/>
                <p:nvPr/>
              </p:nvSpPr>
              <p:spPr bwMode="auto">
                <a:xfrm>
                  <a:off x="6203006" y="-476444"/>
                  <a:ext cx="566612" cy="17145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49" name="Freeform 648"/>
                <p:cNvSpPr/>
                <p:nvPr/>
              </p:nvSpPr>
              <p:spPr bwMode="auto">
                <a:xfrm>
                  <a:off x="5651685" y="-476444"/>
                  <a:ext cx="1669255" cy="2809977"/>
                </a:xfrm>
                <a:custGeom>
                  <a:avLst/>
                  <a:gdLst>
                    <a:gd name="connsiteX0" fmla="*/ 239948 w 1715629"/>
                    <a:gd name="connsiteY0" fmla="*/ 0 h 2809977"/>
                    <a:gd name="connsiteX1" fmla="*/ 622279 w 1715629"/>
                    <a:gd name="connsiteY1" fmla="*/ 0 h 2809977"/>
                    <a:gd name="connsiteX2" fmla="*/ 626704 w 1715629"/>
                    <a:gd name="connsiteY2" fmla="*/ 21916 h 2809977"/>
                    <a:gd name="connsiteX3" fmla="*/ 705692 w 1715629"/>
                    <a:gd name="connsiteY3" fmla="*/ 74273 h 2809977"/>
                    <a:gd name="connsiteX4" fmla="*/ 1009937 w 1715629"/>
                    <a:gd name="connsiteY4" fmla="*/ 74273 h 2809977"/>
                    <a:gd name="connsiteX5" fmla="*/ 1088926 w 1715629"/>
                    <a:gd name="connsiteY5" fmla="*/ 21916 h 2809977"/>
                    <a:gd name="connsiteX6" fmla="*/ 1093350 w 1715629"/>
                    <a:gd name="connsiteY6" fmla="*/ 0 h 2809977"/>
                    <a:gd name="connsiteX7" fmla="*/ 1475681 w 1715629"/>
                    <a:gd name="connsiteY7" fmla="*/ 0 h 2809977"/>
                    <a:gd name="connsiteX8" fmla="*/ 1715629 w 1715629"/>
                    <a:gd name="connsiteY8" fmla="*/ 239948 h 2809977"/>
                    <a:gd name="connsiteX9" fmla="*/ 1715629 w 1715629"/>
                    <a:gd name="connsiteY9" fmla="*/ 2570029 h 2809977"/>
                    <a:gd name="connsiteX10" fmla="*/ 1475681 w 1715629"/>
                    <a:gd name="connsiteY10" fmla="*/ 2809977 h 2809977"/>
                    <a:gd name="connsiteX11" fmla="*/ 239948 w 1715629"/>
                    <a:gd name="connsiteY11" fmla="*/ 2809977 h 2809977"/>
                    <a:gd name="connsiteX12" fmla="*/ 0 w 1715629"/>
                    <a:gd name="connsiteY12" fmla="*/ 2570029 h 2809977"/>
                    <a:gd name="connsiteX13" fmla="*/ 0 w 1715629"/>
                    <a:gd name="connsiteY13" fmla="*/ 239948 h 2809977"/>
                    <a:gd name="connsiteX14" fmla="*/ 239948 w 1715629"/>
                    <a:gd name="connsiteY14" fmla="*/ 0 h 2809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15629" h="2809977">
                      <a:moveTo>
                        <a:pt x="239948" y="0"/>
                      </a:moveTo>
                      <a:lnTo>
                        <a:pt x="622279" y="0"/>
                      </a:lnTo>
                      <a:lnTo>
                        <a:pt x="626704" y="21916"/>
                      </a:lnTo>
                      <a:cubicBezTo>
                        <a:pt x="639718" y="52684"/>
                        <a:pt x="670184" y="74273"/>
                        <a:pt x="705692" y="74273"/>
                      </a:cubicBezTo>
                      <a:lnTo>
                        <a:pt x="1009937" y="74273"/>
                      </a:lnTo>
                      <a:cubicBezTo>
                        <a:pt x="1045446" y="74273"/>
                        <a:pt x="1075912" y="52684"/>
                        <a:pt x="1088926" y="21916"/>
                      </a:cubicBezTo>
                      <a:lnTo>
                        <a:pt x="1093350" y="0"/>
                      </a:lnTo>
                      <a:lnTo>
                        <a:pt x="1475681" y="0"/>
                      </a:lnTo>
                      <a:cubicBezTo>
                        <a:pt x="1608201" y="0"/>
                        <a:pt x="1715629" y="107428"/>
                        <a:pt x="1715629" y="239948"/>
                      </a:cubicBezTo>
                      <a:lnTo>
                        <a:pt x="1715629" y="2570029"/>
                      </a:lnTo>
                      <a:cubicBezTo>
                        <a:pt x="1715629" y="2702549"/>
                        <a:pt x="1608201" y="2809977"/>
                        <a:pt x="1475681" y="2809977"/>
                      </a:cubicBezTo>
                      <a:lnTo>
                        <a:pt x="239948" y="2809977"/>
                      </a:lnTo>
                      <a:cubicBezTo>
                        <a:pt x="107428" y="2809977"/>
                        <a:pt x="0" y="2702549"/>
                        <a:pt x="0" y="2570029"/>
                      </a:cubicBezTo>
                      <a:lnTo>
                        <a:pt x="0" y="239948"/>
                      </a:lnTo>
                      <a:cubicBezTo>
                        <a:pt x="0" y="107428"/>
                        <a:pt x="107428" y="0"/>
                        <a:pt x="239948" y="0"/>
                      </a:cubicBezTo>
                      <a:close/>
                    </a:path>
                  </a:pathLst>
                </a:cu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50" name="Rectangle 649"/>
                <p:cNvSpPr/>
                <p:nvPr/>
              </p:nvSpPr>
              <p:spPr bwMode="auto">
                <a:xfrm>
                  <a:off x="5724555" y="-242769"/>
                  <a:ext cx="1523513" cy="227830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660" name="Group 659"/>
                <p:cNvGrpSpPr/>
                <p:nvPr/>
              </p:nvGrpSpPr>
              <p:grpSpPr>
                <a:xfrm>
                  <a:off x="6124436" y="2123612"/>
                  <a:ext cx="723752" cy="98117"/>
                  <a:chOff x="6147223" y="2123612"/>
                  <a:chExt cx="723752" cy="98117"/>
                </a:xfrm>
              </p:grpSpPr>
              <p:sp>
                <p:nvSpPr>
                  <p:cNvPr id="661" name="Rounded Rectangle 660"/>
                  <p:cNvSpPr/>
                  <p:nvPr/>
                </p:nvSpPr>
                <p:spPr bwMode="auto">
                  <a:xfrm>
                    <a:off x="6366215" y="2123612"/>
                    <a:ext cx="285769" cy="98117"/>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62" name="Oval 661"/>
                  <p:cNvSpPr/>
                  <p:nvPr/>
                </p:nvSpPr>
                <p:spPr bwMode="auto">
                  <a:xfrm>
                    <a:off x="6147223" y="2137745"/>
                    <a:ext cx="69850" cy="6985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63" name="Oval 662"/>
                  <p:cNvSpPr/>
                  <p:nvPr/>
                </p:nvSpPr>
                <p:spPr bwMode="auto">
                  <a:xfrm>
                    <a:off x="6801125" y="2137745"/>
                    <a:ext cx="69850" cy="6985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640" name="Rectangle 639"/>
              <p:cNvSpPr/>
              <p:nvPr/>
            </p:nvSpPr>
            <p:spPr bwMode="auto">
              <a:xfrm>
                <a:off x="11104922" y="3267464"/>
                <a:ext cx="264525" cy="25824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41" name="Rectangle 640"/>
              <p:cNvSpPr/>
              <p:nvPr/>
            </p:nvSpPr>
            <p:spPr bwMode="auto">
              <a:xfrm>
                <a:off x="11104921" y="3561526"/>
                <a:ext cx="860709" cy="85752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42" name="Rectangle 641"/>
              <p:cNvSpPr/>
              <p:nvPr/>
            </p:nvSpPr>
            <p:spPr bwMode="auto">
              <a:xfrm>
                <a:off x="11402714" y="3267466"/>
                <a:ext cx="264525" cy="25824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43" name="Rectangle 642"/>
              <p:cNvSpPr/>
              <p:nvPr/>
            </p:nvSpPr>
            <p:spPr bwMode="auto">
              <a:xfrm>
                <a:off x="11701106" y="3267466"/>
                <a:ext cx="264525" cy="25824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44" name="Rectangle 643"/>
              <p:cNvSpPr/>
              <p:nvPr/>
            </p:nvSpPr>
            <p:spPr bwMode="auto">
              <a:xfrm>
                <a:off x="12320480" y="3451635"/>
                <a:ext cx="264525" cy="25824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45" name="Rectangle 644"/>
              <p:cNvSpPr/>
              <p:nvPr/>
            </p:nvSpPr>
            <p:spPr bwMode="auto">
              <a:xfrm>
                <a:off x="12320479" y="3745697"/>
                <a:ext cx="860709" cy="85752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46" name="Rectangle 645"/>
              <p:cNvSpPr/>
              <p:nvPr/>
            </p:nvSpPr>
            <p:spPr bwMode="auto">
              <a:xfrm>
                <a:off x="12618272" y="3451637"/>
                <a:ext cx="264525" cy="25824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47" name="Rectangle 646"/>
              <p:cNvSpPr/>
              <p:nvPr/>
            </p:nvSpPr>
            <p:spPr bwMode="auto">
              <a:xfrm>
                <a:off x="12916664" y="3451637"/>
                <a:ext cx="264525" cy="25824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723" name="Rectangle 722"/>
          <p:cNvSpPr/>
          <p:nvPr/>
        </p:nvSpPr>
        <p:spPr bwMode="auto">
          <a:xfrm>
            <a:off x="8094149" y="1190077"/>
            <a:ext cx="3825507" cy="894637"/>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744" name="Rectangle 743"/>
          <p:cNvSpPr/>
          <p:nvPr/>
        </p:nvSpPr>
        <p:spPr bwMode="auto">
          <a:xfrm>
            <a:off x="8094151" y="2084714"/>
            <a:ext cx="1254668" cy="447799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747" name="Rectangle 746"/>
          <p:cNvSpPr/>
          <p:nvPr/>
        </p:nvSpPr>
        <p:spPr bwMode="auto">
          <a:xfrm>
            <a:off x="8094150" y="1190077"/>
            <a:ext cx="3825506" cy="5372633"/>
          </a:xfrm>
          <a:prstGeom prst="rect">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49" name="Group 748"/>
          <p:cNvGrpSpPr/>
          <p:nvPr/>
        </p:nvGrpSpPr>
        <p:grpSpPr>
          <a:xfrm>
            <a:off x="9487318" y="2956065"/>
            <a:ext cx="1039170" cy="2058989"/>
            <a:chOff x="6993720" y="1970371"/>
            <a:chExt cx="786530" cy="1558413"/>
          </a:xfrm>
        </p:grpSpPr>
        <p:grpSp>
          <p:nvGrpSpPr>
            <p:cNvPr id="750" name="Group 749"/>
            <p:cNvGrpSpPr/>
            <p:nvPr/>
          </p:nvGrpSpPr>
          <p:grpSpPr>
            <a:xfrm>
              <a:off x="6993720" y="1970371"/>
              <a:ext cx="786530" cy="1558413"/>
              <a:chOff x="5883472" y="1314690"/>
              <a:chExt cx="786530" cy="1558413"/>
            </a:xfrm>
          </p:grpSpPr>
          <p:sp>
            <p:nvSpPr>
              <p:cNvPr id="755" name="Freeform 5"/>
              <p:cNvSpPr>
                <a:spLocks/>
              </p:cNvSpPr>
              <p:nvPr/>
            </p:nvSpPr>
            <p:spPr bwMode="auto">
              <a:xfrm>
                <a:off x="5883472" y="1314690"/>
                <a:ext cx="786530" cy="1558413"/>
              </a:xfrm>
              <a:custGeom>
                <a:avLst/>
                <a:gdLst>
                  <a:gd name="T0" fmla="*/ 98 w 98"/>
                  <a:gd name="T1" fmla="*/ 193 h 197"/>
                  <a:gd name="T2" fmla="*/ 94 w 98"/>
                  <a:gd name="T3" fmla="*/ 197 h 197"/>
                  <a:gd name="T4" fmla="*/ 4 w 98"/>
                  <a:gd name="T5" fmla="*/ 197 h 197"/>
                  <a:gd name="T6" fmla="*/ 0 w 98"/>
                  <a:gd name="T7" fmla="*/ 193 h 197"/>
                  <a:gd name="T8" fmla="*/ 0 w 98"/>
                  <a:gd name="T9" fmla="*/ 4 h 197"/>
                  <a:gd name="T10" fmla="*/ 4 w 98"/>
                  <a:gd name="T11" fmla="*/ 0 h 197"/>
                  <a:gd name="T12" fmla="*/ 94 w 98"/>
                  <a:gd name="T13" fmla="*/ 0 h 197"/>
                  <a:gd name="T14" fmla="*/ 98 w 98"/>
                  <a:gd name="T15" fmla="*/ 4 h 197"/>
                  <a:gd name="T16" fmla="*/ 98 w 98"/>
                  <a:gd name="T17" fmla="*/ 193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197">
                    <a:moveTo>
                      <a:pt x="98" y="193"/>
                    </a:moveTo>
                    <a:cubicBezTo>
                      <a:pt x="98" y="195"/>
                      <a:pt x="96" y="197"/>
                      <a:pt x="94" y="197"/>
                    </a:cubicBezTo>
                    <a:cubicBezTo>
                      <a:pt x="4" y="197"/>
                      <a:pt x="4" y="197"/>
                      <a:pt x="4" y="197"/>
                    </a:cubicBezTo>
                    <a:cubicBezTo>
                      <a:pt x="2" y="197"/>
                      <a:pt x="0" y="195"/>
                      <a:pt x="0" y="193"/>
                    </a:cubicBezTo>
                    <a:cubicBezTo>
                      <a:pt x="0" y="4"/>
                      <a:pt x="0" y="4"/>
                      <a:pt x="0" y="4"/>
                    </a:cubicBezTo>
                    <a:cubicBezTo>
                      <a:pt x="0" y="2"/>
                      <a:pt x="2" y="0"/>
                      <a:pt x="4" y="0"/>
                    </a:cubicBezTo>
                    <a:cubicBezTo>
                      <a:pt x="94" y="0"/>
                      <a:pt x="94" y="0"/>
                      <a:pt x="94" y="0"/>
                    </a:cubicBezTo>
                    <a:cubicBezTo>
                      <a:pt x="96" y="0"/>
                      <a:pt x="98" y="2"/>
                      <a:pt x="98" y="4"/>
                    </a:cubicBezTo>
                    <a:lnTo>
                      <a:pt x="98" y="19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56" name="Freeform 22"/>
              <p:cNvSpPr>
                <a:spLocks/>
              </p:cNvSpPr>
              <p:nvPr/>
            </p:nvSpPr>
            <p:spPr bwMode="auto">
              <a:xfrm>
                <a:off x="6005041" y="2770576"/>
                <a:ext cx="23435" cy="39547"/>
              </a:xfrm>
              <a:custGeom>
                <a:avLst/>
                <a:gdLst>
                  <a:gd name="T0" fmla="*/ 16 w 16"/>
                  <a:gd name="T1" fmla="*/ 27 h 27"/>
                  <a:gd name="T2" fmla="*/ 0 w 16"/>
                  <a:gd name="T3" fmla="*/ 10 h 27"/>
                  <a:gd name="T4" fmla="*/ 16 w 16"/>
                  <a:gd name="T5" fmla="*/ 0 h 27"/>
                </a:gdLst>
                <a:ahLst/>
                <a:cxnLst>
                  <a:cxn ang="0">
                    <a:pos x="T0" y="T1"/>
                  </a:cxn>
                  <a:cxn ang="0">
                    <a:pos x="T2" y="T3"/>
                  </a:cxn>
                  <a:cxn ang="0">
                    <a:pos x="T4" y="T5"/>
                  </a:cxn>
                </a:cxnLst>
                <a:rect l="0" t="0" r="r" b="b"/>
                <a:pathLst>
                  <a:path w="16" h="27">
                    <a:moveTo>
                      <a:pt x="16" y="27"/>
                    </a:moveTo>
                    <a:lnTo>
                      <a:pt x="0" y="10"/>
                    </a:lnTo>
                    <a:lnTo>
                      <a:pt x="16" y="0"/>
                    </a:lnTo>
                  </a:path>
                </a:pathLst>
              </a:custGeom>
              <a:solidFill>
                <a:schemeClr val="tx1"/>
              </a:solidFill>
              <a:ln w="7938" cap="rnd">
                <a:solidFill>
                  <a:srgbClr val="969696"/>
                </a:solidFill>
                <a:prstDash val="solid"/>
                <a:miter lim="800000"/>
                <a:headEnd/>
                <a:tailEnd/>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57" name="Line 23"/>
              <p:cNvSpPr>
                <a:spLocks noChangeShapeType="1"/>
              </p:cNvSpPr>
              <p:nvPr/>
            </p:nvSpPr>
            <p:spPr bwMode="auto">
              <a:xfrm>
                <a:off x="6005041" y="2785223"/>
                <a:ext cx="39547" cy="0"/>
              </a:xfrm>
              <a:prstGeom prst="line">
                <a:avLst/>
              </a:prstGeom>
              <a:noFill/>
              <a:ln w="7938"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58" name="Oval 24"/>
              <p:cNvSpPr>
                <a:spLocks noChangeArrowheads="1"/>
              </p:cNvSpPr>
              <p:nvPr/>
            </p:nvSpPr>
            <p:spPr bwMode="auto">
              <a:xfrm>
                <a:off x="6517676" y="2770576"/>
                <a:ext cx="32223" cy="30759"/>
              </a:xfrm>
              <a:prstGeom prst="ellipse">
                <a:avLst/>
              </a:prstGeom>
              <a:solidFill>
                <a:srgbClr val="000000"/>
              </a:solidFill>
              <a:ln w="7938" cap="rnd">
                <a:solidFill>
                  <a:srgbClr val="969696"/>
                </a:solidFill>
                <a:prstDash val="solid"/>
                <a:miter lim="800000"/>
                <a:headEnd/>
                <a:tailEnd/>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59" name="Line 25"/>
              <p:cNvSpPr>
                <a:spLocks noChangeShapeType="1"/>
              </p:cNvSpPr>
              <p:nvPr/>
            </p:nvSpPr>
            <p:spPr bwMode="auto">
              <a:xfrm flipH="1">
                <a:off x="6508888" y="2794011"/>
                <a:ext cx="8788" cy="16112"/>
              </a:xfrm>
              <a:prstGeom prst="line">
                <a:avLst/>
              </a:prstGeom>
              <a:noFill/>
              <a:ln w="7938"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60" name="Freeform 26"/>
              <p:cNvSpPr>
                <a:spLocks/>
              </p:cNvSpPr>
              <p:nvPr/>
            </p:nvSpPr>
            <p:spPr bwMode="auto">
              <a:xfrm>
                <a:off x="6277470" y="2761788"/>
                <a:ext cx="23435" cy="23435"/>
              </a:xfrm>
              <a:custGeom>
                <a:avLst/>
                <a:gdLst>
                  <a:gd name="T0" fmla="*/ 0 w 16"/>
                  <a:gd name="T1" fmla="*/ 16 h 16"/>
                  <a:gd name="T2" fmla="*/ 16 w 16"/>
                  <a:gd name="T3" fmla="*/ 16 h 16"/>
                  <a:gd name="T4" fmla="*/ 16 w 16"/>
                  <a:gd name="T5" fmla="*/ 0 h 16"/>
                  <a:gd name="T6" fmla="*/ 0 w 16"/>
                  <a:gd name="T7" fmla="*/ 6 h 16"/>
                  <a:gd name="T8" fmla="*/ 0 w 16"/>
                  <a:gd name="T9" fmla="*/ 16 h 16"/>
                </a:gdLst>
                <a:ahLst/>
                <a:cxnLst>
                  <a:cxn ang="0">
                    <a:pos x="T0" y="T1"/>
                  </a:cxn>
                  <a:cxn ang="0">
                    <a:pos x="T2" y="T3"/>
                  </a:cxn>
                  <a:cxn ang="0">
                    <a:pos x="T4" y="T5"/>
                  </a:cxn>
                  <a:cxn ang="0">
                    <a:pos x="T6" y="T7"/>
                  </a:cxn>
                  <a:cxn ang="0">
                    <a:pos x="T8" y="T9"/>
                  </a:cxn>
                </a:cxnLst>
                <a:rect l="0" t="0" r="r" b="b"/>
                <a:pathLst>
                  <a:path w="16" h="16">
                    <a:moveTo>
                      <a:pt x="0" y="16"/>
                    </a:moveTo>
                    <a:lnTo>
                      <a:pt x="16" y="16"/>
                    </a:lnTo>
                    <a:lnTo>
                      <a:pt x="16" y="0"/>
                    </a:lnTo>
                    <a:lnTo>
                      <a:pt x="0" y="6"/>
                    </a:lnTo>
                    <a:lnTo>
                      <a:pt x="0" y="16"/>
                    </a:lnTo>
                    <a:close/>
                  </a:path>
                </a:pathLst>
              </a:cu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61" name="Rectangle 27"/>
              <p:cNvSpPr>
                <a:spLocks noChangeArrowheads="1"/>
              </p:cNvSpPr>
              <p:nvPr/>
            </p:nvSpPr>
            <p:spPr bwMode="auto">
              <a:xfrm>
                <a:off x="6252570" y="2770576"/>
                <a:ext cx="16112" cy="14647"/>
              </a:xfrm>
              <a:prstGeom prst="rect">
                <a:avLst/>
              </a:pr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62" name="Rectangle 28"/>
              <p:cNvSpPr>
                <a:spLocks noChangeArrowheads="1"/>
              </p:cNvSpPr>
              <p:nvPr/>
            </p:nvSpPr>
            <p:spPr bwMode="auto">
              <a:xfrm>
                <a:off x="6277470" y="2785223"/>
                <a:ext cx="23435" cy="24900"/>
              </a:xfrm>
              <a:prstGeom prst="rect">
                <a:avLst/>
              </a:pr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63" name="Rectangle 29"/>
              <p:cNvSpPr>
                <a:spLocks noChangeArrowheads="1"/>
              </p:cNvSpPr>
              <p:nvPr/>
            </p:nvSpPr>
            <p:spPr bwMode="auto">
              <a:xfrm>
                <a:off x="6252570" y="2785223"/>
                <a:ext cx="16112" cy="24900"/>
              </a:xfrm>
              <a:prstGeom prst="rect">
                <a:avLst/>
              </a:pr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64" name="Freeform 31"/>
              <p:cNvSpPr>
                <a:spLocks/>
              </p:cNvSpPr>
              <p:nvPr/>
            </p:nvSpPr>
            <p:spPr bwMode="auto">
              <a:xfrm>
                <a:off x="6196912" y="1393782"/>
                <a:ext cx="184549" cy="24900"/>
              </a:xfrm>
              <a:custGeom>
                <a:avLst/>
                <a:gdLst>
                  <a:gd name="T0" fmla="*/ 23 w 23"/>
                  <a:gd name="T1" fmla="*/ 2 h 3"/>
                  <a:gd name="T2" fmla="*/ 21 w 23"/>
                  <a:gd name="T3" fmla="*/ 3 h 3"/>
                  <a:gd name="T4" fmla="*/ 1 w 23"/>
                  <a:gd name="T5" fmla="*/ 3 h 3"/>
                  <a:gd name="T6" fmla="*/ 0 w 23"/>
                  <a:gd name="T7" fmla="*/ 2 h 3"/>
                  <a:gd name="T8" fmla="*/ 0 w 23"/>
                  <a:gd name="T9" fmla="*/ 2 h 3"/>
                  <a:gd name="T10" fmla="*/ 1 w 23"/>
                  <a:gd name="T11" fmla="*/ 0 h 3"/>
                  <a:gd name="T12" fmla="*/ 21 w 23"/>
                  <a:gd name="T13" fmla="*/ 0 h 3"/>
                  <a:gd name="T14" fmla="*/ 23 w 23"/>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
                    <a:moveTo>
                      <a:pt x="23" y="2"/>
                    </a:moveTo>
                    <a:cubicBezTo>
                      <a:pt x="23" y="3"/>
                      <a:pt x="22" y="3"/>
                      <a:pt x="21" y="3"/>
                    </a:cubicBezTo>
                    <a:cubicBezTo>
                      <a:pt x="1" y="3"/>
                      <a:pt x="1" y="3"/>
                      <a:pt x="1" y="3"/>
                    </a:cubicBezTo>
                    <a:cubicBezTo>
                      <a:pt x="0" y="3"/>
                      <a:pt x="0" y="3"/>
                      <a:pt x="0" y="2"/>
                    </a:cubicBezTo>
                    <a:cubicBezTo>
                      <a:pt x="0" y="2"/>
                      <a:pt x="0" y="2"/>
                      <a:pt x="0" y="2"/>
                    </a:cubicBezTo>
                    <a:cubicBezTo>
                      <a:pt x="0" y="1"/>
                      <a:pt x="0" y="0"/>
                      <a:pt x="1" y="0"/>
                    </a:cubicBezTo>
                    <a:cubicBezTo>
                      <a:pt x="21" y="0"/>
                      <a:pt x="21" y="0"/>
                      <a:pt x="21" y="0"/>
                    </a:cubicBezTo>
                    <a:cubicBezTo>
                      <a:pt x="22" y="0"/>
                      <a:pt x="23" y="1"/>
                      <a:pt x="23" y="2"/>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65" name="Rectangle 32"/>
              <p:cNvSpPr>
                <a:spLocks noChangeArrowheads="1"/>
              </p:cNvSpPr>
              <p:nvPr/>
            </p:nvSpPr>
            <p:spPr bwMode="auto">
              <a:xfrm>
                <a:off x="5964030" y="1512421"/>
                <a:ext cx="8788" cy="322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66" name="Rectangle 33"/>
              <p:cNvSpPr>
                <a:spLocks noChangeArrowheads="1"/>
              </p:cNvSpPr>
              <p:nvPr/>
            </p:nvSpPr>
            <p:spPr bwMode="auto">
              <a:xfrm>
                <a:off x="5956706" y="1521209"/>
                <a:ext cx="7324" cy="2343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67" name="Rectangle 34"/>
              <p:cNvSpPr>
                <a:spLocks noChangeArrowheads="1"/>
              </p:cNvSpPr>
              <p:nvPr/>
            </p:nvSpPr>
            <p:spPr bwMode="auto">
              <a:xfrm>
                <a:off x="5947918" y="1528532"/>
                <a:ext cx="8788"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68" name="Rectangle 35"/>
              <p:cNvSpPr>
                <a:spLocks noChangeArrowheads="1"/>
              </p:cNvSpPr>
              <p:nvPr/>
            </p:nvSpPr>
            <p:spPr bwMode="auto">
              <a:xfrm>
                <a:off x="5940595" y="1528532"/>
                <a:ext cx="7324"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69" name="Rectangle 36"/>
              <p:cNvSpPr>
                <a:spLocks noChangeArrowheads="1"/>
              </p:cNvSpPr>
              <p:nvPr/>
            </p:nvSpPr>
            <p:spPr bwMode="auto">
              <a:xfrm>
                <a:off x="5931807" y="1537320"/>
                <a:ext cx="8788" cy="732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70" name="Rectangle 37"/>
              <p:cNvSpPr>
                <a:spLocks noChangeArrowheads="1"/>
              </p:cNvSpPr>
              <p:nvPr/>
            </p:nvSpPr>
            <p:spPr bwMode="auto">
              <a:xfrm>
                <a:off x="6492776" y="1512421"/>
                <a:ext cx="32223" cy="322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71" name="Rectangle 38"/>
              <p:cNvSpPr>
                <a:spLocks noChangeArrowheads="1"/>
              </p:cNvSpPr>
              <p:nvPr/>
            </p:nvSpPr>
            <p:spPr bwMode="auto">
              <a:xfrm>
                <a:off x="6469342" y="1521209"/>
                <a:ext cx="7324"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sp>
          <p:nvSpPr>
            <p:cNvPr id="751" name="Rectangle 750"/>
            <p:cNvSpPr/>
            <p:nvPr/>
          </p:nvSpPr>
          <p:spPr bwMode="auto">
            <a:xfrm>
              <a:off x="7083066" y="2301776"/>
              <a:ext cx="609617" cy="2675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52" name="Group 751"/>
            <p:cNvGrpSpPr/>
            <p:nvPr/>
          </p:nvGrpSpPr>
          <p:grpSpPr>
            <a:xfrm>
              <a:off x="7083066" y="2586726"/>
              <a:ext cx="609617" cy="267540"/>
              <a:chOff x="8626694" y="-52440"/>
              <a:chExt cx="667891" cy="267540"/>
            </a:xfrm>
          </p:grpSpPr>
          <p:sp>
            <p:nvSpPr>
              <p:cNvPr id="753" name="Rectangle 752"/>
              <p:cNvSpPr/>
              <p:nvPr/>
            </p:nvSpPr>
            <p:spPr bwMode="auto">
              <a:xfrm>
                <a:off x="8626694" y="-52440"/>
                <a:ext cx="328087" cy="267540"/>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754" name="Rectangle 753"/>
              <p:cNvSpPr/>
              <p:nvPr/>
            </p:nvSpPr>
            <p:spPr bwMode="auto">
              <a:xfrm>
                <a:off x="8966498" y="-52440"/>
                <a:ext cx="328087" cy="267540"/>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772" name="Group 771"/>
          <p:cNvGrpSpPr/>
          <p:nvPr/>
        </p:nvGrpSpPr>
        <p:grpSpPr>
          <a:xfrm>
            <a:off x="10719198" y="2956064"/>
            <a:ext cx="1146251" cy="2059066"/>
            <a:chOff x="9635198" y="5349787"/>
            <a:chExt cx="748731" cy="1344979"/>
          </a:xfrm>
        </p:grpSpPr>
        <p:grpSp>
          <p:nvGrpSpPr>
            <p:cNvPr id="773" name="Group 772"/>
            <p:cNvGrpSpPr/>
            <p:nvPr/>
          </p:nvGrpSpPr>
          <p:grpSpPr>
            <a:xfrm>
              <a:off x="9635198" y="5349787"/>
              <a:ext cx="748731" cy="1344979"/>
              <a:chOff x="5028131" y="1531713"/>
              <a:chExt cx="693495" cy="1245756"/>
            </a:xfrm>
          </p:grpSpPr>
          <p:grpSp>
            <p:nvGrpSpPr>
              <p:cNvPr id="788" name="Group 787"/>
              <p:cNvGrpSpPr/>
              <p:nvPr/>
            </p:nvGrpSpPr>
            <p:grpSpPr>
              <a:xfrm>
                <a:off x="5028131" y="1531713"/>
                <a:ext cx="693495" cy="1245756"/>
                <a:chOff x="6639402" y="-1425066"/>
                <a:chExt cx="675798" cy="1213966"/>
              </a:xfrm>
            </p:grpSpPr>
            <p:sp>
              <p:nvSpPr>
                <p:cNvPr id="800" name="Freeform 10"/>
                <p:cNvSpPr>
                  <a:spLocks noChangeAspect="1" noEditPoints="1"/>
                </p:cNvSpPr>
                <p:nvPr/>
              </p:nvSpPr>
              <p:spPr bwMode="auto">
                <a:xfrm>
                  <a:off x="6639402" y="-1425066"/>
                  <a:ext cx="675798" cy="1213966"/>
                </a:xfrm>
                <a:custGeom>
                  <a:avLst/>
                  <a:gdLst>
                    <a:gd name="T0" fmla="*/ 148 w 159"/>
                    <a:gd name="T1" fmla="*/ 0 h 288"/>
                    <a:gd name="T2" fmla="*/ 11 w 159"/>
                    <a:gd name="T3" fmla="*/ 0 h 288"/>
                    <a:gd name="T4" fmla="*/ 0 w 159"/>
                    <a:gd name="T5" fmla="*/ 10 h 288"/>
                    <a:gd name="T6" fmla="*/ 0 w 159"/>
                    <a:gd name="T7" fmla="*/ 278 h 288"/>
                    <a:gd name="T8" fmla="*/ 11 w 159"/>
                    <a:gd name="T9" fmla="*/ 288 h 288"/>
                    <a:gd name="T10" fmla="*/ 148 w 159"/>
                    <a:gd name="T11" fmla="*/ 288 h 288"/>
                    <a:gd name="T12" fmla="*/ 159 w 159"/>
                    <a:gd name="T13" fmla="*/ 278 h 288"/>
                    <a:gd name="T14" fmla="*/ 159 w 159"/>
                    <a:gd name="T15" fmla="*/ 10 h 288"/>
                    <a:gd name="T16" fmla="*/ 148 w 159"/>
                    <a:gd name="T17" fmla="*/ 0 h 288"/>
                    <a:gd name="T18" fmla="*/ 36 w 159"/>
                    <a:gd name="T19" fmla="*/ 262 h 288"/>
                    <a:gd name="T20" fmla="*/ 30 w 159"/>
                    <a:gd name="T21" fmla="*/ 262 h 288"/>
                    <a:gd name="T22" fmla="*/ 33 w 159"/>
                    <a:gd name="T23" fmla="*/ 266 h 288"/>
                    <a:gd name="T24" fmla="*/ 32 w 159"/>
                    <a:gd name="T25" fmla="*/ 266 h 288"/>
                    <a:gd name="T26" fmla="*/ 27 w 159"/>
                    <a:gd name="T27" fmla="*/ 262 h 288"/>
                    <a:gd name="T28" fmla="*/ 32 w 159"/>
                    <a:gd name="T29" fmla="*/ 258 h 288"/>
                    <a:gd name="T30" fmla="*/ 33 w 159"/>
                    <a:gd name="T31" fmla="*/ 258 h 288"/>
                    <a:gd name="T32" fmla="*/ 30 w 159"/>
                    <a:gd name="T33" fmla="*/ 261 h 288"/>
                    <a:gd name="T34" fmla="*/ 36 w 159"/>
                    <a:gd name="T35" fmla="*/ 261 h 288"/>
                    <a:gd name="T36" fmla="*/ 36 w 159"/>
                    <a:gd name="T37" fmla="*/ 262 h 288"/>
                    <a:gd name="T38" fmla="*/ 77 w 159"/>
                    <a:gd name="T39" fmla="*/ 268 h 288"/>
                    <a:gd name="T40" fmla="*/ 72 w 159"/>
                    <a:gd name="T41" fmla="*/ 267 h 288"/>
                    <a:gd name="T42" fmla="*/ 72 w 159"/>
                    <a:gd name="T43" fmla="*/ 263 h 288"/>
                    <a:gd name="T44" fmla="*/ 77 w 159"/>
                    <a:gd name="T45" fmla="*/ 263 h 288"/>
                    <a:gd name="T46" fmla="*/ 77 w 159"/>
                    <a:gd name="T47" fmla="*/ 268 h 288"/>
                    <a:gd name="T48" fmla="*/ 77 w 159"/>
                    <a:gd name="T49" fmla="*/ 262 h 288"/>
                    <a:gd name="T50" fmla="*/ 72 w 159"/>
                    <a:gd name="T51" fmla="*/ 262 h 288"/>
                    <a:gd name="T52" fmla="*/ 72 w 159"/>
                    <a:gd name="T53" fmla="*/ 258 h 288"/>
                    <a:gd name="T54" fmla="*/ 77 w 159"/>
                    <a:gd name="T55" fmla="*/ 257 h 288"/>
                    <a:gd name="T56" fmla="*/ 77 w 159"/>
                    <a:gd name="T57" fmla="*/ 262 h 288"/>
                    <a:gd name="T58" fmla="*/ 85 w 159"/>
                    <a:gd name="T59" fmla="*/ 269 h 288"/>
                    <a:gd name="T60" fmla="*/ 78 w 159"/>
                    <a:gd name="T61" fmla="*/ 268 h 288"/>
                    <a:gd name="T62" fmla="*/ 78 w 159"/>
                    <a:gd name="T63" fmla="*/ 263 h 288"/>
                    <a:gd name="T64" fmla="*/ 85 w 159"/>
                    <a:gd name="T65" fmla="*/ 263 h 288"/>
                    <a:gd name="T66" fmla="*/ 85 w 159"/>
                    <a:gd name="T67" fmla="*/ 269 h 288"/>
                    <a:gd name="T68" fmla="*/ 85 w 159"/>
                    <a:gd name="T69" fmla="*/ 262 h 288"/>
                    <a:gd name="T70" fmla="*/ 78 w 159"/>
                    <a:gd name="T71" fmla="*/ 262 h 288"/>
                    <a:gd name="T72" fmla="*/ 78 w 159"/>
                    <a:gd name="T73" fmla="*/ 257 h 288"/>
                    <a:gd name="T74" fmla="*/ 85 w 159"/>
                    <a:gd name="T75" fmla="*/ 256 h 288"/>
                    <a:gd name="T76" fmla="*/ 85 w 159"/>
                    <a:gd name="T77" fmla="*/ 262 h 288"/>
                    <a:gd name="T78" fmla="*/ 126 w 159"/>
                    <a:gd name="T79" fmla="*/ 265 h 288"/>
                    <a:gd name="T80" fmla="*/ 124 w 159"/>
                    <a:gd name="T81" fmla="*/ 264 h 288"/>
                    <a:gd name="T82" fmla="*/ 122 w 159"/>
                    <a:gd name="T83" fmla="*/ 267 h 288"/>
                    <a:gd name="T84" fmla="*/ 121 w 159"/>
                    <a:gd name="T85" fmla="*/ 266 h 288"/>
                    <a:gd name="T86" fmla="*/ 123 w 159"/>
                    <a:gd name="T87" fmla="*/ 264 h 288"/>
                    <a:gd name="T88" fmla="*/ 122 w 159"/>
                    <a:gd name="T89" fmla="*/ 261 h 288"/>
                    <a:gd name="T90" fmla="*/ 126 w 159"/>
                    <a:gd name="T91" fmla="*/ 257 h 288"/>
                    <a:gd name="T92" fmla="*/ 130 w 159"/>
                    <a:gd name="T93" fmla="*/ 261 h 288"/>
                    <a:gd name="T94" fmla="*/ 126 w 159"/>
                    <a:gd name="T95" fmla="*/ 265 h 288"/>
                    <a:gd name="T96" fmla="*/ 143 w 159"/>
                    <a:gd name="T97" fmla="*/ 227 h 288"/>
                    <a:gd name="T98" fmla="*/ 14 w 159"/>
                    <a:gd name="T99" fmla="*/ 227 h 288"/>
                    <a:gd name="T100" fmla="*/ 14 w 159"/>
                    <a:gd name="T101" fmla="*/ 24 h 288"/>
                    <a:gd name="T102" fmla="*/ 143 w 159"/>
                    <a:gd name="T103" fmla="*/ 24 h 288"/>
                    <a:gd name="T104" fmla="*/ 143 w 159"/>
                    <a:gd name="T105" fmla="*/ 227 h 288"/>
                    <a:gd name="T106" fmla="*/ 129 w 159"/>
                    <a:gd name="T107" fmla="*/ 261 h 288"/>
                    <a:gd name="T108" fmla="*/ 126 w 159"/>
                    <a:gd name="T109" fmla="*/ 264 h 288"/>
                    <a:gd name="T110" fmla="*/ 123 w 159"/>
                    <a:gd name="T111" fmla="*/ 261 h 288"/>
                    <a:gd name="T112" fmla="*/ 126 w 159"/>
                    <a:gd name="T113" fmla="*/ 258 h 288"/>
                    <a:gd name="T114" fmla="*/ 129 w 159"/>
                    <a:gd name="T115" fmla="*/ 261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9" h="288">
                      <a:moveTo>
                        <a:pt x="148" y="0"/>
                      </a:moveTo>
                      <a:cubicBezTo>
                        <a:pt x="148" y="0"/>
                        <a:pt x="148" y="0"/>
                        <a:pt x="11" y="0"/>
                      </a:cubicBezTo>
                      <a:cubicBezTo>
                        <a:pt x="5" y="0"/>
                        <a:pt x="0" y="4"/>
                        <a:pt x="0" y="10"/>
                      </a:cubicBezTo>
                      <a:cubicBezTo>
                        <a:pt x="0" y="10"/>
                        <a:pt x="0" y="10"/>
                        <a:pt x="0" y="278"/>
                      </a:cubicBezTo>
                      <a:cubicBezTo>
                        <a:pt x="0" y="284"/>
                        <a:pt x="5" y="288"/>
                        <a:pt x="11" y="288"/>
                      </a:cubicBezTo>
                      <a:cubicBezTo>
                        <a:pt x="11" y="288"/>
                        <a:pt x="11" y="288"/>
                        <a:pt x="148" y="288"/>
                      </a:cubicBezTo>
                      <a:cubicBezTo>
                        <a:pt x="154" y="288"/>
                        <a:pt x="159" y="284"/>
                        <a:pt x="159" y="278"/>
                      </a:cubicBezTo>
                      <a:cubicBezTo>
                        <a:pt x="159" y="10"/>
                        <a:pt x="159" y="10"/>
                        <a:pt x="159" y="10"/>
                      </a:cubicBezTo>
                      <a:cubicBezTo>
                        <a:pt x="159" y="4"/>
                        <a:pt x="154" y="0"/>
                        <a:pt x="148" y="0"/>
                      </a:cubicBezTo>
                      <a:close/>
                      <a:moveTo>
                        <a:pt x="36" y="262"/>
                      </a:moveTo>
                      <a:cubicBezTo>
                        <a:pt x="30" y="262"/>
                        <a:pt x="30" y="262"/>
                        <a:pt x="30" y="262"/>
                      </a:cubicBezTo>
                      <a:cubicBezTo>
                        <a:pt x="33" y="266"/>
                        <a:pt x="33" y="266"/>
                        <a:pt x="33" y="266"/>
                      </a:cubicBezTo>
                      <a:cubicBezTo>
                        <a:pt x="32" y="266"/>
                        <a:pt x="32" y="266"/>
                        <a:pt x="32" y="266"/>
                      </a:cubicBezTo>
                      <a:cubicBezTo>
                        <a:pt x="27" y="262"/>
                        <a:pt x="27" y="262"/>
                        <a:pt x="27" y="262"/>
                      </a:cubicBezTo>
                      <a:cubicBezTo>
                        <a:pt x="32" y="258"/>
                        <a:pt x="32" y="258"/>
                        <a:pt x="32" y="258"/>
                      </a:cubicBezTo>
                      <a:cubicBezTo>
                        <a:pt x="33" y="258"/>
                        <a:pt x="33" y="258"/>
                        <a:pt x="33" y="258"/>
                      </a:cubicBezTo>
                      <a:cubicBezTo>
                        <a:pt x="30" y="261"/>
                        <a:pt x="30" y="261"/>
                        <a:pt x="30" y="261"/>
                      </a:cubicBezTo>
                      <a:cubicBezTo>
                        <a:pt x="36" y="261"/>
                        <a:pt x="36" y="261"/>
                        <a:pt x="36" y="261"/>
                      </a:cubicBezTo>
                      <a:cubicBezTo>
                        <a:pt x="36" y="262"/>
                        <a:pt x="36" y="262"/>
                        <a:pt x="36" y="262"/>
                      </a:cubicBezTo>
                      <a:close/>
                      <a:moveTo>
                        <a:pt x="77" y="268"/>
                      </a:moveTo>
                      <a:cubicBezTo>
                        <a:pt x="72" y="267"/>
                        <a:pt x="72" y="267"/>
                        <a:pt x="72" y="267"/>
                      </a:cubicBezTo>
                      <a:cubicBezTo>
                        <a:pt x="72" y="263"/>
                        <a:pt x="72" y="263"/>
                        <a:pt x="72" y="263"/>
                      </a:cubicBezTo>
                      <a:cubicBezTo>
                        <a:pt x="77" y="263"/>
                        <a:pt x="77" y="263"/>
                        <a:pt x="77" y="263"/>
                      </a:cubicBezTo>
                      <a:lnTo>
                        <a:pt x="77" y="268"/>
                      </a:lnTo>
                      <a:close/>
                      <a:moveTo>
                        <a:pt x="77" y="262"/>
                      </a:moveTo>
                      <a:cubicBezTo>
                        <a:pt x="72" y="262"/>
                        <a:pt x="72" y="262"/>
                        <a:pt x="72" y="262"/>
                      </a:cubicBezTo>
                      <a:cubicBezTo>
                        <a:pt x="72" y="258"/>
                        <a:pt x="72" y="258"/>
                        <a:pt x="72" y="258"/>
                      </a:cubicBezTo>
                      <a:cubicBezTo>
                        <a:pt x="77" y="257"/>
                        <a:pt x="77" y="257"/>
                        <a:pt x="77" y="257"/>
                      </a:cubicBezTo>
                      <a:lnTo>
                        <a:pt x="77" y="262"/>
                      </a:lnTo>
                      <a:close/>
                      <a:moveTo>
                        <a:pt x="85" y="269"/>
                      </a:moveTo>
                      <a:cubicBezTo>
                        <a:pt x="78" y="268"/>
                        <a:pt x="78" y="268"/>
                        <a:pt x="78" y="268"/>
                      </a:cubicBezTo>
                      <a:cubicBezTo>
                        <a:pt x="78" y="263"/>
                        <a:pt x="78" y="263"/>
                        <a:pt x="78" y="263"/>
                      </a:cubicBezTo>
                      <a:cubicBezTo>
                        <a:pt x="85" y="263"/>
                        <a:pt x="85" y="263"/>
                        <a:pt x="85" y="263"/>
                      </a:cubicBezTo>
                      <a:lnTo>
                        <a:pt x="85" y="269"/>
                      </a:lnTo>
                      <a:close/>
                      <a:moveTo>
                        <a:pt x="85" y="262"/>
                      </a:moveTo>
                      <a:cubicBezTo>
                        <a:pt x="78" y="262"/>
                        <a:pt x="78" y="262"/>
                        <a:pt x="78" y="262"/>
                      </a:cubicBezTo>
                      <a:cubicBezTo>
                        <a:pt x="78" y="257"/>
                        <a:pt x="78" y="257"/>
                        <a:pt x="78" y="257"/>
                      </a:cubicBezTo>
                      <a:cubicBezTo>
                        <a:pt x="85" y="256"/>
                        <a:pt x="85" y="256"/>
                        <a:pt x="85" y="256"/>
                      </a:cubicBezTo>
                      <a:lnTo>
                        <a:pt x="85" y="262"/>
                      </a:lnTo>
                      <a:close/>
                      <a:moveTo>
                        <a:pt x="126" y="265"/>
                      </a:moveTo>
                      <a:cubicBezTo>
                        <a:pt x="125" y="265"/>
                        <a:pt x="124" y="265"/>
                        <a:pt x="124" y="264"/>
                      </a:cubicBezTo>
                      <a:cubicBezTo>
                        <a:pt x="124" y="264"/>
                        <a:pt x="124" y="264"/>
                        <a:pt x="122" y="267"/>
                      </a:cubicBezTo>
                      <a:cubicBezTo>
                        <a:pt x="122" y="267"/>
                        <a:pt x="122" y="267"/>
                        <a:pt x="121" y="266"/>
                      </a:cubicBezTo>
                      <a:cubicBezTo>
                        <a:pt x="121" y="266"/>
                        <a:pt x="121" y="266"/>
                        <a:pt x="123" y="264"/>
                      </a:cubicBezTo>
                      <a:cubicBezTo>
                        <a:pt x="122" y="263"/>
                        <a:pt x="122" y="262"/>
                        <a:pt x="122" y="261"/>
                      </a:cubicBezTo>
                      <a:cubicBezTo>
                        <a:pt x="122" y="259"/>
                        <a:pt x="124" y="257"/>
                        <a:pt x="126" y="257"/>
                      </a:cubicBezTo>
                      <a:cubicBezTo>
                        <a:pt x="128" y="257"/>
                        <a:pt x="130" y="259"/>
                        <a:pt x="130" y="261"/>
                      </a:cubicBezTo>
                      <a:cubicBezTo>
                        <a:pt x="130" y="263"/>
                        <a:pt x="128" y="265"/>
                        <a:pt x="126" y="265"/>
                      </a:cubicBezTo>
                      <a:close/>
                      <a:moveTo>
                        <a:pt x="143" y="227"/>
                      </a:moveTo>
                      <a:cubicBezTo>
                        <a:pt x="101" y="227"/>
                        <a:pt x="57" y="227"/>
                        <a:pt x="14" y="227"/>
                      </a:cubicBezTo>
                      <a:cubicBezTo>
                        <a:pt x="14" y="159"/>
                        <a:pt x="14" y="91"/>
                        <a:pt x="14" y="24"/>
                      </a:cubicBezTo>
                      <a:cubicBezTo>
                        <a:pt x="57" y="24"/>
                        <a:pt x="101" y="24"/>
                        <a:pt x="143" y="24"/>
                      </a:cubicBezTo>
                      <a:cubicBezTo>
                        <a:pt x="143" y="91"/>
                        <a:pt x="143" y="159"/>
                        <a:pt x="143" y="227"/>
                      </a:cubicBezTo>
                      <a:close/>
                      <a:moveTo>
                        <a:pt x="129" y="261"/>
                      </a:moveTo>
                      <a:cubicBezTo>
                        <a:pt x="129" y="263"/>
                        <a:pt x="128" y="264"/>
                        <a:pt x="126" y="264"/>
                      </a:cubicBezTo>
                      <a:cubicBezTo>
                        <a:pt x="124" y="264"/>
                        <a:pt x="123" y="263"/>
                        <a:pt x="123" y="261"/>
                      </a:cubicBezTo>
                      <a:cubicBezTo>
                        <a:pt x="123" y="260"/>
                        <a:pt x="124" y="258"/>
                        <a:pt x="126" y="258"/>
                      </a:cubicBezTo>
                      <a:cubicBezTo>
                        <a:pt x="128" y="258"/>
                        <a:pt x="129" y="260"/>
                        <a:pt x="129" y="261"/>
                      </a:cubicBezTo>
                      <a:close/>
                    </a:path>
                  </a:pathLst>
                </a:custGeom>
                <a:solidFill>
                  <a:schemeClr val="tx1"/>
                </a:solidFill>
                <a:ln>
                  <a:noFill/>
                </a:ln>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01" name="Rectangle 800"/>
                <p:cNvSpPr/>
                <p:nvPr/>
              </p:nvSpPr>
              <p:spPr bwMode="auto">
                <a:xfrm>
                  <a:off x="6657420" y="-401045"/>
                  <a:ext cx="639762" cy="14861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789" name="Group 788"/>
              <p:cNvGrpSpPr/>
              <p:nvPr/>
            </p:nvGrpSpPr>
            <p:grpSpPr>
              <a:xfrm>
                <a:off x="5292866" y="1551064"/>
                <a:ext cx="157076" cy="1181434"/>
                <a:chOff x="6779777" y="1563052"/>
                <a:chExt cx="157076" cy="1181434"/>
              </a:xfrm>
            </p:grpSpPr>
            <p:sp>
              <p:nvSpPr>
                <p:cNvPr id="790" name="Oval 789"/>
                <p:cNvSpPr/>
                <p:nvPr/>
              </p:nvSpPr>
              <p:spPr bwMode="auto">
                <a:xfrm>
                  <a:off x="6808756" y="2638418"/>
                  <a:ext cx="106068" cy="106068"/>
                </a:xfrm>
                <a:prstGeom prst="ellipse">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91" name="Group 790"/>
                <p:cNvGrpSpPr/>
                <p:nvPr/>
              </p:nvGrpSpPr>
              <p:grpSpPr>
                <a:xfrm>
                  <a:off x="6779777" y="1563052"/>
                  <a:ext cx="157076" cy="52818"/>
                  <a:chOff x="6857569" y="1553528"/>
                  <a:chExt cx="157076" cy="52818"/>
                </a:xfrm>
              </p:grpSpPr>
              <p:sp>
                <p:nvSpPr>
                  <p:cNvPr id="797" name="Rounded Rectangle 796"/>
                  <p:cNvSpPr/>
                  <p:nvPr/>
                </p:nvSpPr>
                <p:spPr bwMode="auto">
                  <a:xfrm>
                    <a:off x="6904917" y="1588058"/>
                    <a:ext cx="109728" cy="18288"/>
                  </a:xfrm>
                  <a:prstGeom prst="roundRect">
                    <a:avLst>
                      <a:gd name="adj" fmla="val 50000"/>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798" name="Oval 797"/>
                  <p:cNvSpPr/>
                  <p:nvPr/>
                </p:nvSpPr>
                <p:spPr bwMode="auto">
                  <a:xfrm>
                    <a:off x="6857569" y="1588058"/>
                    <a:ext cx="18288" cy="18288"/>
                  </a:xfrm>
                  <a:prstGeom prst="ellipse">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799" name="Oval 798"/>
                  <p:cNvSpPr/>
                  <p:nvPr/>
                </p:nvSpPr>
                <p:spPr bwMode="auto">
                  <a:xfrm>
                    <a:off x="6930437" y="1553528"/>
                    <a:ext cx="18288" cy="1828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grpSp>
        <p:sp>
          <p:nvSpPr>
            <p:cNvPr id="774" name="Rectangle 773"/>
            <p:cNvSpPr/>
            <p:nvPr/>
          </p:nvSpPr>
          <p:spPr bwMode="auto">
            <a:xfrm>
              <a:off x="9694861" y="5459840"/>
              <a:ext cx="629406" cy="1024482"/>
            </a:xfrm>
            <a:prstGeom prst="rect">
              <a:avLst/>
            </a:prstGeom>
            <a:solidFill>
              <a:srgbClr val="FFFFFF"/>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75" name="Group 774"/>
            <p:cNvGrpSpPr/>
            <p:nvPr/>
          </p:nvGrpSpPr>
          <p:grpSpPr>
            <a:xfrm>
              <a:off x="9730613" y="5511557"/>
              <a:ext cx="551019" cy="730622"/>
              <a:chOff x="5019134" y="4300625"/>
              <a:chExt cx="602113" cy="730622"/>
            </a:xfrm>
          </p:grpSpPr>
          <p:sp>
            <p:nvSpPr>
              <p:cNvPr id="776" name="Rectangle 775"/>
              <p:cNvSpPr/>
              <p:nvPr/>
            </p:nvSpPr>
            <p:spPr bwMode="auto">
              <a:xfrm>
                <a:off x="5019134" y="4300625"/>
                <a:ext cx="185050" cy="16532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777" name="Rectangle 776"/>
              <p:cNvSpPr/>
              <p:nvPr/>
            </p:nvSpPr>
            <p:spPr bwMode="auto">
              <a:xfrm>
                <a:off x="5019135" y="4488881"/>
                <a:ext cx="185050" cy="165324"/>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778" name="Rectangle 777"/>
              <p:cNvSpPr/>
              <p:nvPr/>
            </p:nvSpPr>
            <p:spPr bwMode="auto">
              <a:xfrm>
                <a:off x="5227456" y="4488881"/>
                <a:ext cx="185050" cy="165324"/>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779" name="Rectangle 778"/>
              <p:cNvSpPr/>
              <p:nvPr/>
            </p:nvSpPr>
            <p:spPr bwMode="auto">
              <a:xfrm>
                <a:off x="5227456" y="4300626"/>
                <a:ext cx="185050" cy="165324"/>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780" name="Rectangle 779"/>
              <p:cNvSpPr/>
              <p:nvPr/>
            </p:nvSpPr>
            <p:spPr bwMode="auto">
              <a:xfrm>
                <a:off x="5436197" y="4488881"/>
                <a:ext cx="185050" cy="165324"/>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781" name="Rectangle 780"/>
              <p:cNvSpPr/>
              <p:nvPr/>
            </p:nvSpPr>
            <p:spPr bwMode="auto">
              <a:xfrm>
                <a:off x="5436197" y="4300626"/>
                <a:ext cx="185050" cy="165324"/>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782" name="Rectangle 781"/>
              <p:cNvSpPr/>
              <p:nvPr/>
            </p:nvSpPr>
            <p:spPr bwMode="auto">
              <a:xfrm>
                <a:off x="5019135" y="4677491"/>
                <a:ext cx="185050" cy="165324"/>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783" name="Rectangle 782"/>
              <p:cNvSpPr/>
              <p:nvPr/>
            </p:nvSpPr>
            <p:spPr bwMode="auto">
              <a:xfrm>
                <a:off x="5227456" y="4677491"/>
                <a:ext cx="185050" cy="165324"/>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784" name="Rectangle 783"/>
              <p:cNvSpPr/>
              <p:nvPr/>
            </p:nvSpPr>
            <p:spPr bwMode="auto">
              <a:xfrm>
                <a:off x="5436197" y="4677491"/>
                <a:ext cx="185050" cy="165324"/>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785" name="Rectangle 784"/>
              <p:cNvSpPr/>
              <p:nvPr/>
            </p:nvSpPr>
            <p:spPr bwMode="auto">
              <a:xfrm>
                <a:off x="5019135" y="4865923"/>
                <a:ext cx="185050" cy="165324"/>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786" name="Rectangle 785"/>
              <p:cNvSpPr/>
              <p:nvPr/>
            </p:nvSpPr>
            <p:spPr bwMode="auto">
              <a:xfrm>
                <a:off x="5227456" y="4865923"/>
                <a:ext cx="185050" cy="165324"/>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787" name="Rectangle 786"/>
              <p:cNvSpPr/>
              <p:nvPr/>
            </p:nvSpPr>
            <p:spPr bwMode="auto">
              <a:xfrm>
                <a:off x="5436197" y="4865923"/>
                <a:ext cx="185050" cy="165324"/>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802" name="Group 801"/>
          <p:cNvGrpSpPr/>
          <p:nvPr/>
        </p:nvGrpSpPr>
        <p:grpSpPr>
          <a:xfrm>
            <a:off x="8168963" y="2956063"/>
            <a:ext cx="1105043" cy="2098643"/>
            <a:chOff x="10973657" y="3014716"/>
            <a:chExt cx="1127495" cy="2141283"/>
          </a:xfrm>
        </p:grpSpPr>
        <p:grpSp>
          <p:nvGrpSpPr>
            <p:cNvPr id="803" name="Group 802"/>
            <p:cNvGrpSpPr/>
            <p:nvPr/>
          </p:nvGrpSpPr>
          <p:grpSpPr>
            <a:xfrm>
              <a:off x="10973657" y="3014716"/>
              <a:ext cx="1127495" cy="2141283"/>
              <a:chOff x="5651685" y="-476444"/>
              <a:chExt cx="1669255" cy="2809977"/>
            </a:xfrm>
          </p:grpSpPr>
          <p:sp>
            <p:nvSpPr>
              <p:cNvPr id="837" name="Rectangle 836"/>
              <p:cNvSpPr/>
              <p:nvPr/>
            </p:nvSpPr>
            <p:spPr bwMode="auto">
              <a:xfrm>
                <a:off x="6203006" y="-476444"/>
                <a:ext cx="566612" cy="17145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838" name="Freeform 837"/>
              <p:cNvSpPr/>
              <p:nvPr/>
            </p:nvSpPr>
            <p:spPr bwMode="auto">
              <a:xfrm>
                <a:off x="5651685" y="-476444"/>
                <a:ext cx="1669255" cy="2809977"/>
              </a:xfrm>
              <a:custGeom>
                <a:avLst/>
                <a:gdLst>
                  <a:gd name="connsiteX0" fmla="*/ 239948 w 1715629"/>
                  <a:gd name="connsiteY0" fmla="*/ 0 h 2809977"/>
                  <a:gd name="connsiteX1" fmla="*/ 622279 w 1715629"/>
                  <a:gd name="connsiteY1" fmla="*/ 0 h 2809977"/>
                  <a:gd name="connsiteX2" fmla="*/ 626704 w 1715629"/>
                  <a:gd name="connsiteY2" fmla="*/ 21916 h 2809977"/>
                  <a:gd name="connsiteX3" fmla="*/ 705692 w 1715629"/>
                  <a:gd name="connsiteY3" fmla="*/ 74273 h 2809977"/>
                  <a:gd name="connsiteX4" fmla="*/ 1009937 w 1715629"/>
                  <a:gd name="connsiteY4" fmla="*/ 74273 h 2809977"/>
                  <a:gd name="connsiteX5" fmla="*/ 1088926 w 1715629"/>
                  <a:gd name="connsiteY5" fmla="*/ 21916 h 2809977"/>
                  <a:gd name="connsiteX6" fmla="*/ 1093350 w 1715629"/>
                  <a:gd name="connsiteY6" fmla="*/ 0 h 2809977"/>
                  <a:gd name="connsiteX7" fmla="*/ 1475681 w 1715629"/>
                  <a:gd name="connsiteY7" fmla="*/ 0 h 2809977"/>
                  <a:gd name="connsiteX8" fmla="*/ 1715629 w 1715629"/>
                  <a:gd name="connsiteY8" fmla="*/ 239948 h 2809977"/>
                  <a:gd name="connsiteX9" fmla="*/ 1715629 w 1715629"/>
                  <a:gd name="connsiteY9" fmla="*/ 2570029 h 2809977"/>
                  <a:gd name="connsiteX10" fmla="*/ 1475681 w 1715629"/>
                  <a:gd name="connsiteY10" fmla="*/ 2809977 h 2809977"/>
                  <a:gd name="connsiteX11" fmla="*/ 239948 w 1715629"/>
                  <a:gd name="connsiteY11" fmla="*/ 2809977 h 2809977"/>
                  <a:gd name="connsiteX12" fmla="*/ 0 w 1715629"/>
                  <a:gd name="connsiteY12" fmla="*/ 2570029 h 2809977"/>
                  <a:gd name="connsiteX13" fmla="*/ 0 w 1715629"/>
                  <a:gd name="connsiteY13" fmla="*/ 239948 h 2809977"/>
                  <a:gd name="connsiteX14" fmla="*/ 239948 w 1715629"/>
                  <a:gd name="connsiteY14" fmla="*/ 0 h 2809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15629" h="2809977">
                    <a:moveTo>
                      <a:pt x="239948" y="0"/>
                    </a:moveTo>
                    <a:lnTo>
                      <a:pt x="622279" y="0"/>
                    </a:lnTo>
                    <a:lnTo>
                      <a:pt x="626704" y="21916"/>
                    </a:lnTo>
                    <a:cubicBezTo>
                      <a:pt x="639718" y="52684"/>
                      <a:pt x="670184" y="74273"/>
                      <a:pt x="705692" y="74273"/>
                    </a:cubicBezTo>
                    <a:lnTo>
                      <a:pt x="1009937" y="74273"/>
                    </a:lnTo>
                    <a:cubicBezTo>
                      <a:pt x="1045446" y="74273"/>
                      <a:pt x="1075912" y="52684"/>
                      <a:pt x="1088926" y="21916"/>
                    </a:cubicBezTo>
                    <a:lnTo>
                      <a:pt x="1093350" y="0"/>
                    </a:lnTo>
                    <a:lnTo>
                      <a:pt x="1475681" y="0"/>
                    </a:lnTo>
                    <a:cubicBezTo>
                      <a:pt x="1608201" y="0"/>
                      <a:pt x="1715629" y="107428"/>
                      <a:pt x="1715629" y="239948"/>
                    </a:cubicBezTo>
                    <a:lnTo>
                      <a:pt x="1715629" y="2570029"/>
                    </a:lnTo>
                    <a:cubicBezTo>
                      <a:pt x="1715629" y="2702549"/>
                      <a:pt x="1608201" y="2809977"/>
                      <a:pt x="1475681" y="2809977"/>
                    </a:cubicBezTo>
                    <a:lnTo>
                      <a:pt x="239948" y="2809977"/>
                    </a:lnTo>
                    <a:cubicBezTo>
                      <a:pt x="107428" y="2809977"/>
                      <a:pt x="0" y="2702549"/>
                      <a:pt x="0" y="2570029"/>
                    </a:cubicBezTo>
                    <a:lnTo>
                      <a:pt x="0" y="239948"/>
                    </a:lnTo>
                    <a:cubicBezTo>
                      <a:pt x="0" y="107428"/>
                      <a:pt x="107428" y="0"/>
                      <a:pt x="239948" y="0"/>
                    </a:cubicBezTo>
                    <a:close/>
                  </a:path>
                </a:pathLst>
              </a:cu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839" name="Rectangle 838"/>
              <p:cNvSpPr/>
              <p:nvPr/>
            </p:nvSpPr>
            <p:spPr bwMode="auto">
              <a:xfrm>
                <a:off x="5724555" y="-242769"/>
                <a:ext cx="1523513" cy="227830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840" name="Group 839"/>
              <p:cNvGrpSpPr/>
              <p:nvPr/>
            </p:nvGrpSpPr>
            <p:grpSpPr>
              <a:xfrm>
                <a:off x="6124436" y="2123612"/>
                <a:ext cx="723752" cy="98117"/>
                <a:chOff x="6147223" y="2123612"/>
                <a:chExt cx="723752" cy="98117"/>
              </a:xfrm>
            </p:grpSpPr>
            <p:sp>
              <p:nvSpPr>
                <p:cNvPr id="841" name="Rounded Rectangle 840"/>
                <p:cNvSpPr/>
                <p:nvPr/>
              </p:nvSpPr>
              <p:spPr bwMode="auto">
                <a:xfrm>
                  <a:off x="6366215" y="2123612"/>
                  <a:ext cx="285769" cy="98117"/>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842" name="Oval 841"/>
                <p:cNvSpPr/>
                <p:nvPr/>
              </p:nvSpPr>
              <p:spPr bwMode="auto">
                <a:xfrm>
                  <a:off x="6147223" y="2137745"/>
                  <a:ext cx="69850" cy="6985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843" name="Oval 842"/>
                <p:cNvSpPr/>
                <p:nvPr/>
              </p:nvSpPr>
              <p:spPr bwMode="auto">
                <a:xfrm>
                  <a:off x="6801125" y="2137745"/>
                  <a:ext cx="69850" cy="6985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804" name="Rectangle 803"/>
            <p:cNvSpPr/>
            <p:nvPr/>
          </p:nvSpPr>
          <p:spPr bwMode="auto">
            <a:xfrm>
              <a:off x="11104922" y="3267464"/>
              <a:ext cx="264525" cy="25824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805" name="Rectangle 804"/>
            <p:cNvSpPr/>
            <p:nvPr/>
          </p:nvSpPr>
          <p:spPr bwMode="auto">
            <a:xfrm>
              <a:off x="11104922" y="3561526"/>
              <a:ext cx="264525" cy="25824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806" name="Rectangle 805"/>
            <p:cNvSpPr/>
            <p:nvPr/>
          </p:nvSpPr>
          <p:spPr bwMode="auto">
            <a:xfrm>
              <a:off x="11402713" y="3561526"/>
              <a:ext cx="264525" cy="25824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807" name="Rectangle 806"/>
            <p:cNvSpPr/>
            <p:nvPr/>
          </p:nvSpPr>
          <p:spPr bwMode="auto">
            <a:xfrm>
              <a:off x="11402714" y="3267466"/>
              <a:ext cx="264525" cy="25824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809" name="Rectangle 808"/>
            <p:cNvSpPr/>
            <p:nvPr/>
          </p:nvSpPr>
          <p:spPr bwMode="auto">
            <a:xfrm>
              <a:off x="11701106" y="3561526"/>
              <a:ext cx="264525" cy="25824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810" name="Rectangle 809"/>
            <p:cNvSpPr/>
            <p:nvPr/>
          </p:nvSpPr>
          <p:spPr bwMode="auto">
            <a:xfrm>
              <a:off x="11701106" y="3267466"/>
              <a:ext cx="264525" cy="25824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811" name="Rectangle 810"/>
            <p:cNvSpPr/>
            <p:nvPr/>
          </p:nvSpPr>
          <p:spPr bwMode="auto">
            <a:xfrm>
              <a:off x="11104924" y="3856141"/>
              <a:ext cx="264525" cy="25824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813" name="Rectangle 812"/>
            <p:cNvSpPr/>
            <p:nvPr/>
          </p:nvSpPr>
          <p:spPr bwMode="auto">
            <a:xfrm>
              <a:off x="11402714" y="3856141"/>
              <a:ext cx="264525" cy="25824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815" name="Rectangle 814"/>
            <p:cNvSpPr/>
            <p:nvPr/>
          </p:nvSpPr>
          <p:spPr bwMode="auto">
            <a:xfrm>
              <a:off x="11701106" y="3856141"/>
              <a:ext cx="264525" cy="25824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833" name="Rectangle 832"/>
            <p:cNvSpPr/>
            <p:nvPr/>
          </p:nvSpPr>
          <p:spPr bwMode="auto">
            <a:xfrm>
              <a:off x="11104924" y="4150478"/>
              <a:ext cx="264525" cy="25824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835" name="Rectangle 834"/>
            <p:cNvSpPr/>
            <p:nvPr/>
          </p:nvSpPr>
          <p:spPr bwMode="auto">
            <a:xfrm>
              <a:off x="11402714" y="4150478"/>
              <a:ext cx="264525" cy="25824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836" name="Rectangle 835"/>
            <p:cNvSpPr/>
            <p:nvPr/>
          </p:nvSpPr>
          <p:spPr bwMode="auto">
            <a:xfrm>
              <a:off x="11701106" y="4150478"/>
              <a:ext cx="264525" cy="25824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844" name="Rectangle 843"/>
          <p:cNvSpPr/>
          <p:nvPr/>
        </p:nvSpPr>
        <p:spPr bwMode="auto">
          <a:xfrm>
            <a:off x="8094149" y="1190077"/>
            <a:ext cx="3825507" cy="894637"/>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845" name="Freeform 844"/>
          <p:cNvSpPr>
            <a:spLocks noEditPoints="1"/>
          </p:cNvSpPr>
          <p:nvPr/>
        </p:nvSpPr>
        <p:spPr bwMode="auto">
          <a:xfrm>
            <a:off x="9751566" y="1355661"/>
            <a:ext cx="510674" cy="518567"/>
          </a:xfrm>
          <a:custGeom>
            <a:avLst/>
            <a:gdLst>
              <a:gd name="T0" fmla="*/ 288 w 647"/>
              <a:gd name="T1" fmla="*/ 314 h 657"/>
              <a:gd name="T2" fmla="*/ 288 w 647"/>
              <a:gd name="T3" fmla="*/ 52 h 657"/>
              <a:gd name="T4" fmla="*/ 647 w 647"/>
              <a:gd name="T5" fmla="*/ 0 h 657"/>
              <a:gd name="T6" fmla="*/ 647 w 647"/>
              <a:gd name="T7" fmla="*/ 314 h 657"/>
              <a:gd name="T8" fmla="*/ 288 w 647"/>
              <a:gd name="T9" fmla="*/ 314 h 657"/>
              <a:gd name="T10" fmla="*/ 262 w 647"/>
              <a:gd name="T11" fmla="*/ 57 h 657"/>
              <a:gd name="T12" fmla="*/ 0 w 647"/>
              <a:gd name="T13" fmla="*/ 95 h 657"/>
              <a:gd name="T14" fmla="*/ 0 w 647"/>
              <a:gd name="T15" fmla="*/ 314 h 657"/>
              <a:gd name="T16" fmla="*/ 262 w 647"/>
              <a:gd name="T17" fmla="*/ 314 h 657"/>
              <a:gd name="T18" fmla="*/ 262 w 647"/>
              <a:gd name="T19" fmla="*/ 57 h 657"/>
              <a:gd name="T20" fmla="*/ 0 w 647"/>
              <a:gd name="T21" fmla="*/ 338 h 657"/>
              <a:gd name="T22" fmla="*/ 0 w 647"/>
              <a:gd name="T23" fmla="*/ 560 h 657"/>
              <a:gd name="T24" fmla="*/ 262 w 647"/>
              <a:gd name="T25" fmla="*/ 600 h 657"/>
              <a:gd name="T26" fmla="*/ 262 w 647"/>
              <a:gd name="T27" fmla="*/ 338 h 657"/>
              <a:gd name="T28" fmla="*/ 0 w 647"/>
              <a:gd name="T29" fmla="*/ 338 h 657"/>
              <a:gd name="T30" fmla="*/ 288 w 647"/>
              <a:gd name="T31" fmla="*/ 602 h 657"/>
              <a:gd name="T32" fmla="*/ 647 w 647"/>
              <a:gd name="T33" fmla="*/ 657 h 657"/>
              <a:gd name="T34" fmla="*/ 647 w 647"/>
              <a:gd name="T35" fmla="*/ 338 h 657"/>
              <a:gd name="T36" fmla="*/ 288 w 647"/>
              <a:gd name="T37" fmla="*/ 338 h 657"/>
              <a:gd name="T38" fmla="*/ 288 w 647"/>
              <a:gd name="T39" fmla="*/ 602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47" h="657">
                <a:moveTo>
                  <a:pt x="288" y="314"/>
                </a:moveTo>
                <a:lnTo>
                  <a:pt x="288" y="52"/>
                </a:lnTo>
                <a:lnTo>
                  <a:pt x="647" y="0"/>
                </a:lnTo>
                <a:lnTo>
                  <a:pt x="647" y="314"/>
                </a:lnTo>
                <a:lnTo>
                  <a:pt x="288" y="314"/>
                </a:lnTo>
                <a:close/>
                <a:moveTo>
                  <a:pt x="262" y="57"/>
                </a:moveTo>
                <a:lnTo>
                  <a:pt x="0" y="95"/>
                </a:lnTo>
                <a:lnTo>
                  <a:pt x="0" y="314"/>
                </a:lnTo>
                <a:lnTo>
                  <a:pt x="262" y="314"/>
                </a:lnTo>
                <a:lnTo>
                  <a:pt x="262" y="57"/>
                </a:lnTo>
                <a:close/>
                <a:moveTo>
                  <a:pt x="0" y="338"/>
                </a:moveTo>
                <a:lnTo>
                  <a:pt x="0" y="560"/>
                </a:lnTo>
                <a:lnTo>
                  <a:pt x="262" y="600"/>
                </a:lnTo>
                <a:lnTo>
                  <a:pt x="262" y="338"/>
                </a:lnTo>
                <a:lnTo>
                  <a:pt x="0" y="338"/>
                </a:lnTo>
                <a:close/>
                <a:moveTo>
                  <a:pt x="288" y="602"/>
                </a:moveTo>
                <a:lnTo>
                  <a:pt x="647" y="657"/>
                </a:lnTo>
                <a:lnTo>
                  <a:pt x="647" y="338"/>
                </a:lnTo>
                <a:lnTo>
                  <a:pt x="288" y="338"/>
                </a:lnTo>
                <a:lnTo>
                  <a:pt x="288" y="602"/>
                </a:lnTo>
                <a:close/>
              </a:path>
            </a:pathLst>
          </a:custGeom>
          <a:solidFill>
            <a:schemeClr val="tx1"/>
          </a:solidFill>
          <a:ln>
            <a:noFill/>
          </a:ln>
          <a:extLst/>
        </p:spPr>
        <p:txBody>
          <a:bodyPr vert="horz" wrap="square" lIns="89583" tIns="44792" rIns="89583" bIns="44792" numCol="1" anchor="t" anchorCtr="0" compatLnSpc="1">
            <a:prstTxWarp prst="textNoShape">
              <a:avLst/>
            </a:prstTxWarp>
          </a:bodyPr>
          <a:lstStyle/>
          <a:p>
            <a:pPr defTabSz="913914"/>
            <a:endParaRPr lang="en-US" sz="1763" dirty="0">
              <a:solidFill>
                <a:srgbClr val="505050"/>
              </a:solidFill>
            </a:endParaRPr>
          </a:p>
        </p:txBody>
      </p:sp>
      <p:grpSp>
        <p:nvGrpSpPr>
          <p:cNvPr id="846" name="Group 845"/>
          <p:cNvGrpSpPr/>
          <p:nvPr/>
        </p:nvGrpSpPr>
        <p:grpSpPr>
          <a:xfrm>
            <a:off x="11051772" y="1343422"/>
            <a:ext cx="481102" cy="543048"/>
            <a:chOff x="11191633" y="1369308"/>
            <a:chExt cx="490877" cy="554081"/>
          </a:xfrm>
        </p:grpSpPr>
        <p:sp>
          <p:nvSpPr>
            <p:cNvPr id="847" name="Freeform 24"/>
            <p:cNvSpPr>
              <a:spLocks/>
            </p:cNvSpPr>
            <p:nvPr/>
          </p:nvSpPr>
          <p:spPr bwMode="auto">
            <a:xfrm>
              <a:off x="11191633" y="1498523"/>
              <a:ext cx="490877" cy="424866"/>
            </a:xfrm>
            <a:custGeom>
              <a:avLst/>
              <a:gdLst>
                <a:gd name="T0" fmla="*/ 296 w 296"/>
                <a:gd name="T1" fmla="*/ 167 h 256"/>
                <a:gd name="T2" fmla="*/ 274 w 296"/>
                <a:gd name="T3" fmla="*/ 207 h 256"/>
                <a:gd name="T4" fmla="*/ 216 w 296"/>
                <a:gd name="T5" fmla="*/ 256 h 256"/>
                <a:gd name="T6" fmla="*/ 159 w 296"/>
                <a:gd name="T7" fmla="*/ 242 h 256"/>
                <a:gd name="T8" fmla="*/ 101 w 296"/>
                <a:gd name="T9" fmla="*/ 256 h 256"/>
                <a:gd name="T10" fmla="*/ 44 w 296"/>
                <a:gd name="T11" fmla="*/ 210 h 256"/>
                <a:gd name="T12" fmla="*/ 24 w 296"/>
                <a:gd name="T13" fmla="*/ 42 h 256"/>
                <a:gd name="T14" fmla="*/ 94 w 296"/>
                <a:gd name="T15" fmla="*/ 0 h 256"/>
                <a:gd name="T16" fmla="*/ 158 w 296"/>
                <a:gd name="T17" fmla="*/ 15 h 256"/>
                <a:gd name="T18" fmla="*/ 222 w 296"/>
                <a:gd name="T19" fmla="*/ 0 h 256"/>
                <a:gd name="T20" fmla="*/ 286 w 296"/>
                <a:gd name="T21" fmla="*/ 34 h 256"/>
                <a:gd name="T22" fmla="*/ 296 w 296"/>
                <a:gd name="T23" fmla="*/ 16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6" h="256">
                  <a:moveTo>
                    <a:pt x="296" y="167"/>
                  </a:moveTo>
                  <a:cubicBezTo>
                    <a:pt x="288" y="184"/>
                    <a:pt x="284" y="192"/>
                    <a:pt x="274" y="207"/>
                  </a:cubicBezTo>
                  <a:cubicBezTo>
                    <a:pt x="260" y="229"/>
                    <a:pt x="240" y="255"/>
                    <a:pt x="216" y="256"/>
                  </a:cubicBezTo>
                  <a:cubicBezTo>
                    <a:pt x="194" y="256"/>
                    <a:pt x="188" y="241"/>
                    <a:pt x="159" y="242"/>
                  </a:cubicBezTo>
                  <a:cubicBezTo>
                    <a:pt x="129" y="242"/>
                    <a:pt x="123" y="256"/>
                    <a:pt x="101" y="256"/>
                  </a:cubicBezTo>
                  <a:cubicBezTo>
                    <a:pt x="76" y="255"/>
                    <a:pt x="58" y="231"/>
                    <a:pt x="44" y="210"/>
                  </a:cubicBezTo>
                  <a:cubicBezTo>
                    <a:pt x="4" y="150"/>
                    <a:pt x="0" y="80"/>
                    <a:pt x="24" y="42"/>
                  </a:cubicBezTo>
                  <a:cubicBezTo>
                    <a:pt x="42" y="16"/>
                    <a:pt x="69" y="0"/>
                    <a:pt x="94" y="0"/>
                  </a:cubicBezTo>
                  <a:cubicBezTo>
                    <a:pt x="120" y="0"/>
                    <a:pt x="137" y="15"/>
                    <a:pt x="158" y="15"/>
                  </a:cubicBezTo>
                  <a:cubicBezTo>
                    <a:pt x="179" y="15"/>
                    <a:pt x="192" y="0"/>
                    <a:pt x="222" y="0"/>
                  </a:cubicBezTo>
                  <a:cubicBezTo>
                    <a:pt x="245" y="0"/>
                    <a:pt x="269" y="13"/>
                    <a:pt x="286" y="34"/>
                  </a:cubicBezTo>
                  <a:cubicBezTo>
                    <a:pt x="230" y="65"/>
                    <a:pt x="239" y="145"/>
                    <a:pt x="296" y="16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48" name="Freeform 25"/>
            <p:cNvSpPr>
              <a:spLocks/>
            </p:cNvSpPr>
            <p:nvPr/>
          </p:nvSpPr>
          <p:spPr bwMode="auto">
            <a:xfrm>
              <a:off x="11430400" y="1369308"/>
              <a:ext cx="122895" cy="134131"/>
            </a:xfrm>
            <a:custGeom>
              <a:avLst/>
              <a:gdLst>
                <a:gd name="T0" fmla="*/ 55 w 74"/>
                <a:gd name="T1" fmla="*/ 54 h 81"/>
                <a:gd name="T2" fmla="*/ 71 w 74"/>
                <a:gd name="T3" fmla="*/ 0 h 81"/>
                <a:gd name="T4" fmla="*/ 20 w 74"/>
                <a:gd name="T5" fmla="*/ 28 h 81"/>
                <a:gd name="T6" fmla="*/ 4 w 74"/>
                <a:gd name="T7" fmla="*/ 81 h 81"/>
                <a:gd name="T8" fmla="*/ 55 w 74"/>
                <a:gd name="T9" fmla="*/ 54 h 81"/>
              </a:gdLst>
              <a:ahLst/>
              <a:cxnLst>
                <a:cxn ang="0">
                  <a:pos x="T0" y="T1"/>
                </a:cxn>
                <a:cxn ang="0">
                  <a:pos x="T2" y="T3"/>
                </a:cxn>
                <a:cxn ang="0">
                  <a:pos x="T4" y="T5"/>
                </a:cxn>
                <a:cxn ang="0">
                  <a:pos x="T6" y="T7"/>
                </a:cxn>
                <a:cxn ang="0">
                  <a:pos x="T8" y="T9"/>
                </a:cxn>
              </a:cxnLst>
              <a:rect l="0" t="0" r="r" b="b"/>
              <a:pathLst>
                <a:path w="74" h="81">
                  <a:moveTo>
                    <a:pt x="55" y="54"/>
                  </a:moveTo>
                  <a:cubicBezTo>
                    <a:pt x="66" y="40"/>
                    <a:pt x="74" y="21"/>
                    <a:pt x="71" y="0"/>
                  </a:cubicBezTo>
                  <a:cubicBezTo>
                    <a:pt x="54" y="2"/>
                    <a:pt x="33" y="13"/>
                    <a:pt x="20" y="28"/>
                  </a:cubicBezTo>
                  <a:cubicBezTo>
                    <a:pt x="9" y="41"/>
                    <a:pt x="0" y="61"/>
                    <a:pt x="4" y="81"/>
                  </a:cubicBezTo>
                  <a:cubicBezTo>
                    <a:pt x="23" y="81"/>
                    <a:pt x="44" y="70"/>
                    <a:pt x="55" y="5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pic>
        <p:nvPicPr>
          <p:cNvPr id="849" name="Picture 14"/>
          <p:cNvPicPr>
            <a:picLocks noChangeAspect="1" noChangeArrowheads="1"/>
          </p:cNvPicPr>
          <p:nvPr/>
        </p:nvPicPr>
        <p:blipFill>
          <a:blip r:embed="rId6" cstate="print">
            <a:lum bright="100000"/>
            <a:extLst>
              <a:ext uri="{28A0092B-C50C-407E-A947-70E740481C1C}">
                <a14:useLocalDpi xmlns:a14="http://schemas.microsoft.com/office/drawing/2010/main" val="0"/>
              </a:ext>
            </a:extLst>
          </a:blip>
          <a:srcRect/>
          <a:stretch>
            <a:fillRect/>
          </a:stretch>
        </p:blipFill>
        <p:spPr bwMode="auto">
          <a:xfrm>
            <a:off x="8471266" y="1322224"/>
            <a:ext cx="500438" cy="585443"/>
          </a:xfrm>
          <a:prstGeom prst="rect">
            <a:avLst/>
          </a:prstGeom>
          <a:noFill/>
          <a:ln>
            <a:noFill/>
          </a:ln>
          <a:effectLst/>
          <a:extLst/>
        </p:spPr>
      </p:pic>
      <p:sp>
        <p:nvSpPr>
          <p:cNvPr id="850" name="Rectangle 849"/>
          <p:cNvSpPr/>
          <p:nvPr/>
        </p:nvSpPr>
        <p:spPr bwMode="auto">
          <a:xfrm>
            <a:off x="9350750" y="1190077"/>
            <a:ext cx="26886" cy="896192"/>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856" name="Rectangle 855"/>
          <p:cNvSpPr/>
          <p:nvPr/>
        </p:nvSpPr>
        <p:spPr bwMode="auto">
          <a:xfrm>
            <a:off x="10636169" y="1190077"/>
            <a:ext cx="26886" cy="896192"/>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281378203"/>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p:txBody>
          <a:bodyPr/>
          <a:lstStyle/>
          <a:p>
            <a:r>
              <a:rPr lang="en-US" b="0" dirty="0" smtClean="0"/>
              <a:t>Windows 8.1 </a:t>
            </a:r>
            <a:endParaRPr lang="en-US" b="0" dirty="0"/>
          </a:p>
        </p:txBody>
      </p:sp>
      <p:sp>
        <p:nvSpPr>
          <p:cNvPr id="2" name="Text Placeholder 1"/>
          <p:cNvSpPr>
            <a:spLocks noGrp="1"/>
          </p:cNvSpPr>
          <p:nvPr>
            <p:ph type="body" sz="quarter" idx="10"/>
          </p:nvPr>
        </p:nvSpPr>
        <p:spPr/>
        <p:txBody>
          <a:bodyPr/>
          <a:lstStyle/>
          <a:p>
            <a:pPr marL="0" indent="0">
              <a:buNone/>
            </a:pPr>
            <a:r>
              <a:rPr lang="en-US" dirty="0" smtClean="0"/>
              <a:t>demo</a:t>
            </a:r>
            <a:endParaRPr lang="en-US" dirty="0"/>
          </a:p>
        </p:txBody>
      </p:sp>
    </p:spTree>
    <p:extLst>
      <p:ext uri="{BB962C8B-B14F-4D97-AF65-F5344CB8AC3E}">
        <p14:creationId xmlns:p14="http://schemas.microsoft.com/office/powerpoint/2010/main" val="3523209369"/>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3104" y="1581234"/>
            <a:ext cx="7474282" cy="4284463"/>
          </a:xfrm>
        </p:spPr>
        <p:txBody>
          <a:bodyPr/>
          <a:lstStyle/>
          <a:p>
            <a:r>
              <a:rPr lang="en-US" dirty="0"/>
              <a:t>"The most strategic developer surface area for us is Office </a:t>
            </a:r>
            <a:r>
              <a:rPr lang="en-US" dirty="0" smtClean="0"/>
              <a:t>365“ </a:t>
            </a:r>
            <a:br>
              <a:rPr lang="en-US" dirty="0" smtClean="0"/>
            </a:br>
            <a:r>
              <a:rPr lang="en-US" sz="3136" dirty="0"/>
              <a:t>- Satya Nadella</a:t>
            </a:r>
            <a:r>
              <a:rPr lang="en-US" dirty="0" smtClean="0"/>
              <a:t/>
            </a:r>
            <a:br>
              <a:rPr lang="en-US" dirty="0" smtClean="0"/>
            </a:br>
            <a:endParaRPr lang="en-US" dirty="0"/>
          </a:p>
        </p:txBody>
      </p:sp>
      <p:pic>
        <p:nvPicPr>
          <p:cNvPr id="1028" name="Picture 4" descr="http://www.microsoft.com/global/en-us/news/PublishingImages/exec/Nadella2_print.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641456" y="589825"/>
            <a:ext cx="4178188" cy="62672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6658224"/>
      </p:ext>
    </p:extLst>
  </p:cSld>
  <p:clrMapOvr>
    <a:masterClrMapping/>
  </p:clrMapOvr>
  <p:transition>
    <p:fad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269169" y="2374109"/>
            <a:ext cx="3495146" cy="239918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t" anchorCtr="0" compatLnSpc="1">
            <a:prstTxWarp prst="textNoShape">
              <a:avLst/>
            </a:prstTxWarp>
          </a:bodyPr>
          <a:lstStyle/>
          <a:p>
            <a:pPr marL="0" lvl="1">
              <a:lnSpc>
                <a:spcPct val="90000"/>
              </a:lnSpc>
              <a:spcBef>
                <a:spcPts val="882"/>
              </a:spcBef>
            </a:pPr>
            <a:r>
              <a:rPr lang="en-US" sz="1764" dirty="0" smtClean="0">
                <a:gradFill>
                  <a:gsLst>
                    <a:gs pos="6838">
                      <a:schemeClr val="bg1"/>
                    </a:gs>
                    <a:gs pos="47009">
                      <a:schemeClr val="bg1"/>
                    </a:gs>
                  </a:gsLst>
                  <a:lin ang="5400000" scaled="0"/>
                </a:gradFill>
                <a:cs typeface="Segoe UI Semilight" panose="020B0402040204020203" pitchFamily="34" charset="0"/>
              </a:rPr>
              <a:t>Apps for SharePoint</a:t>
            </a:r>
          </a:p>
          <a:p>
            <a:pPr marL="0" lvl="1">
              <a:lnSpc>
                <a:spcPct val="90000"/>
              </a:lnSpc>
              <a:spcBef>
                <a:spcPts val="882"/>
              </a:spcBef>
            </a:pPr>
            <a:r>
              <a:rPr lang="en-US" sz="1764" dirty="0" smtClean="0">
                <a:gradFill>
                  <a:gsLst>
                    <a:gs pos="6838">
                      <a:schemeClr val="bg1"/>
                    </a:gs>
                    <a:gs pos="47009">
                      <a:schemeClr val="bg1"/>
                    </a:gs>
                  </a:gsLst>
                  <a:lin ang="5400000" scaled="0"/>
                </a:gradFill>
                <a:cs typeface="Segoe UI Semilight" panose="020B0402040204020203" pitchFamily="34" charset="0"/>
              </a:rPr>
              <a:t>Apps for Office</a:t>
            </a:r>
          </a:p>
          <a:p>
            <a:pPr marL="0" lvl="1">
              <a:lnSpc>
                <a:spcPct val="90000"/>
              </a:lnSpc>
              <a:spcBef>
                <a:spcPts val="882"/>
              </a:spcBef>
            </a:pPr>
            <a:r>
              <a:rPr lang="en-US" sz="1764" dirty="0" smtClean="0">
                <a:gradFill>
                  <a:gsLst>
                    <a:gs pos="6838">
                      <a:schemeClr val="bg1"/>
                    </a:gs>
                    <a:gs pos="47009">
                      <a:schemeClr val="bg1"/>
                    </a:gs>
                  </a:gsLst>
                  <a:lin ang="5400000" scaled="0"/>
                </a:gradFill>
                <a:cs typeface="Segoe UI Semilight" panose="020B0402040204020203" pitchFamily="34" charset="0"/>
              </a:rPr>
              <a:t>VS tooling</a:t>
            </a:r>
          </a:p>
          <a:p>
            <a:pPr marL="0" lvl="1">
              <a:lnSpc>
                <a:spcPct val="90000"/>
              </a:lnSpc>
              <a:spcBef>
                <a:spcPts val="882"/>
              </a:spcBef>
            </a:pPr>
            <a:r>
              <a:rPr lang="en-US" sz="1764" dirty="0" smtClean="0">
                <a:gradFill>
                  <a:gsLst>
                    <a:gs pos="6838">
                      <a:schemeClr val="bg1"/>
                    </a:gs>
                    <a:gs pos="47009">
                      <a:schemeClr val="bg1"/>
                    </a:gs>
                  </a:gsLst>
                  <a:lin ang="5400000" scaled="0"/>
                </a:gradFill>
                <a:cs typeface="Segoe UI Semilight" panose="020B0402040204020203" pitchFamily="34" charset="0"/>
              </a:rPr>
              <a:t>Store and lifecycle</a:t>
            </a:r>
          </a:p>
          <a:p>
            <a:pPr marL="0" lvl="1">
              <a:lnSpc>
                <a:spcPct val="90000"/>
              </a:lnSpc>
              <a:spcBef>
                <a:spcPts val="882"/>
              </a:spcBef>
            </a:pPr>
            <a:endParaRPr lang="en-US" sz="1764" dirty="0">
              <a:gradFill>
                <a:gsLst>
                  <a:gs pos="6838">
                    <a:schemeClr val="bg1"/>
                  </a:gs>
                  <a:gs pos="47009">
                    <a:schemeClr val="bg1"/>
                  </a:gs>
                </a:gsLst>
                <a:lin ang="5400000" scaled="0"/>
              </a:gradFill>
              <a:cs typeface="Segoe UI Semilight" panose="020B0402040204020203" pitchFamily="34" charset="0"/>
            </a:endParaRPr>
          </a:p>
        </p:txBody>
      </p:sp>
      <p:sp>
        <p:nvSpPr>
          <p:cNvPr id="9" name="Rectangle 8"/>
          <p:cNvSpPr/>
          <p:nvPr/>
        </p:nvSpPr>
        <p:spPr bwMode="auto">
          <a:xfrm>
            <a:off x="3805524" y="2374109"/>
            <a:ext cx="3495146" cy="2399180"/>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t" anchorCtr="0" compatLnSpc="1">
            <a:prstTxWarp prst="textNoShape">
              <a:avLst/>
            </a:prstTxWarp>
          </a:bodyPr>
          <a:lstStyle/>
          <a:p>
            <a:pPr marL="0" lvl="1">
              <a:lnSpc>
                <a:spcPct val="90000"/>
              </a:lnSpc>
              <a:spcBef>
                <a:spcPts val="882"/>
              </a:spcBef>
            </a:pPr>
            <a:r>
              <a:rPr lang="en-US" sz="1764" dirty="0" smtClean="0">
                <a:gradFill>
                  <a:gsLst>
                    <a:gs pos="6838">
                      <a:schemeClr val="bg1"/>
                    </a:gs>
                    <a:gs pos="47009">
                      <a:schemeClr val="bg1"/>
                    </a:gs>
                  </a:gsLst>
                  <a:lin ang="5400000" scaled="0"/>
                </a:gradFill>
                <a:cs typeface="Segoe UI Semilight" panose="020B0402040204020203" pitchFamily="34" charset="0"/>
              </a:rPr>
              <a:t>Contextual apps</a:t>
            </a:r>
          </a:p>
          <a:p>
            <a:pPr marL="0" lvl="1">
              <a:lnSpc>
                <a:spcPct val="90000"/>
              </a:lnSpc>
              <a:spcBef>
                <a:spcPts val="882"/>
              </a:spcBef>
            </a:pPr>
            <a:r>
              <a:rPr lang="en-US" sz="1764" dirty="0" smtClean="0">
                <a:gradFill>
                  <a:gsLst>
                    <a:gs pos="6838">
                      <a:schemeClr val="bg1"/>
                    </a:gs>
                    <a:gs pos="47009">
                      <a:schemeClr val="bg1"/>
                    </a:gs>
                  </a:gsLst>
                  <a:lin ang="5400000" scaled="0"/>
                </a:gradFill>
                <a:cs typeface="Segoe UI Semilight" panose="020B0402040204020203" pitchFamily="34" charset="0"/>
              </a:rPr>
              <a:t>Compose time apps</a:t>
            </a:r>
          </a:p>
          <a:p>
            <a:pPr marL="0" lvl="1">
              <a:lnSpc>
                <a:spcPct val="90000"/>
              </a:lnSpc>
              <a:spcBef>
                <a:spcPts val="882"/>
              </a:spcBef>
            </a:pPr>
            <a:r>
              <a:rPr lang="en-US" sz="1764" dirty="0" smtClean="0">
                <a:gradFill>
                  <a:gsLst>
                    <a:gs pos="6838">
                      <a:schemeClr val="bg1"/>
                    </a:gs>
                    <a:gs pos="47009">
                      <a:schemeClr val="bg1"/>
                    </a:gs>
                  </a:gsLst>
                  <a:lin ang="5400000" scaled="0"/>
                </a:gradFill>
                <a:cs typeface="Segoe UI Semilight" panose="020B0402040204020203" pitchFamily="34" charset="0"/>
              </a:rPr>
              <a:t>Robust Office 365 APIs</a:t>
            </a:r>
          </a:p>
          <a:p>
            <a:pPr marL="0" lvl="1">
              <a:lnSpc>
                <a:spcPct val="90000"/>
              </a:lnSpc>
              <a:spcBef>
                <a:spcPts val="882"/>
              </a:spcBef>
            </a:pPr>
            <a:r>
              <a:rPr lang="en-US" sz="1764" dirty="0" smtClean="0">
                <a:gradFill>
                  <a:gsLst>
                    <a:gs pos="6838">
                      <a:schemeClr val="bg1"/>
                    </a:gs>
                    <a:gs pos="47009">
                      <a:schemeClr val="bg1"/>
                    </a:gs>
                  </a:gsLst>
                  <a:lin ang="5400000" scaled="0"/>
                </a:gradFill>
                <a:cs typeface="Segoe UI Semilight" panose="020B0402040204020203" pitchFamily="34" charset="0"/>
              </a:rPr>
              <a:t>Tools and platform</a:t>
            </a:r>
          </a:p>
          <a:p>
            <a:pPr marL="0" lvl="1">
              <a:lnSpc>
                <a:spcPct val="90000"/>
              </a:lnSpc>
              <a:spcBef>
                <a:spcPts val="882"/>
              </a:spcBef>
            </a:pPr>
            <a:r>
              <a:rPr lang="en-US" sz="1764" dirty="0" smtClean="0">
                <a:gradFill>
                  <a:gsLst>
                    <a:gs pos="6838">
                      <a:schemeClr val="bg1"/>
                    </a:gs>
                    <a:gs pos="47009">
                      <a:schemeClr val="bg1"/>
                    </a:gs>
                  </a:gsLst>
                  <a:lin ang="5400000" scaled="0"/>
                </a:gradFill>
                <a:cs typeface="Segoe UI Semilight" panose="020B0402040204020203" pitchFamily="34" charset="0"/>
              </a:rPr>
              <a:t>Android and iOS SDK</a:t>
            </a:r>
          </a:p>
          <a:p>
            <a:pPr marL="0" lvl="1">
              <a:lnSpc>
                <a:spcPct val="90000"/>
              </a:lnSpc>
              <a:spcBef>
                <a:spcPts val="882"/>
              </a:spcBef>
            </a:pPr>
            <a:endParaRPr lang="en-US" sz="1764" dirty="0" smtClean="0">
              <a:gradFill>
                <a:gsLst>
                  <a:gs pos="6838">
                    <a:schemeClr val="bg1"/>
                  </a:gs>
                  <a:gs pos="47009">
                    <a:schemeClr val="bg1"/>
                  </a:gs>
                </a:gsLst>
                <a:lin ang="5400000" scaled="0"/>
              </a:gradFill>
              <a:cs typeface="Segoe UI Semilight" panose="020B0402040204020203" pitchFamily="34" charset="0"/>
            </a:endParaRPr>
          </a:p>
          <a:p>
            <a:pPr marL="0" lvl="1">
              <a:lnSpc>
                <a:spcPct val="90000"/>
              </a:lnSpc>
              <a:spcBef>
                <a:spcPts val="882"/>
              </a:spcBef>
            </a:pPr>
            <a:endParaRPr lang="en-US" sz="1764" dirty="0">
              <a:gradFill>
                <a:gsLst>
                  <a:gs pos="6838">
                    <a:schemeClr val="bg1"/>
                  </a:gs>
                  <a:gs pos="47009">
                    <a:schemeClr val="bg1"/>
                  </a:gs>
                </a:gsLst>
                <a:lin ang="5400000" scaled="0"/>
              </a:gradFill>
              <a:cs typeface="Segoe UI Semilight" panose="020B0402040204020203" pitchFamily="34" charset="0"/>
            </a:endParaRPr>
          </a:p>
        </p:txBody>
      </p:sp>
      <p:sp>
        <p:nvSpPr>
          <p:cNvPr id="10" name="Rectangle 9"/>
          <p:cNvSpPr/>
          <p:nvPr/>
        </p:nvSpPr>
        <p:spPr bwMode="auto">
          <a:xfrm>
            <a:off x="7341880" y="2374109"/>
            <a:ext cx="3495146" cy="2399180"/>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t" anchorCtr="0" compatLnSpc="1">
            <a:prstTxWarp prst="textNoShape">
              <a:avLst/>
            </a:prstTxWarp>
          </a:bodyPr>
          <a:lstStyle/>
          <a:p>
            <a:pPr marL="0" lvl="1">
              <a:lnSpc>
                <a:spcPct val="90000"/>
              </a:lnSpc>
              <a:spcBef>
                <a:spcPts val="882"/>
              </a:spcBef>
            </a:pPr>
            <a:r>
              <a:rPr lang="en-US" sz="1764" dirty="0">
                <a:gradFill>
                  <a:gsLst>
                    <a:gs pos="6838">
                      <a:schemeClr val="bg1"/>
                    </a:gs>
                    <a:gs pos="47009">
                      <a:schemeClr val="bg1"/>
                    </a:gs>
                  </a:gsLst>
                  <a:lin ang="5400000" scaled="0"/>
                </a:gradFill>
                <a:cs typeface="Segoe UI Semilight" panose="020B0402040204020203" pitchFamily="34" charset="0"/>
              </a:rPr>
              <a:t>Adding new endpoints</a:t>
            </a:r>
          </a:p>
          <a:p>
            <a:pPr marL="0" lvl="1">
              <a:lnSpc>
                <a:spcPct val="90000"/>
              </a:lnSpc>
              <a:spcBef>
                <a:spcPts val="882"/>
              </a:spcBef>
            </a:pPr>
            <a:r>
              <a:rPr lang="en-US" sz="1764" dirty="0">
                <a:gradFill>
                  <a:gsLst>
                    <a:gs pos="6838">
                      <a:schemeClr val="bg1"/>
                    </a:gs>
                    <a:gs pos="47009">
                      <a:schemeClr val="bg1"/>
                    </a:gs>
                  </a:gsLst>
                  <a:lin ang="5400000" scaled="0"/>
                </a:gradFill>
                <a:cs typeface="Segoe UI Semilight" panose="020B0402040204020203" pitchFamily="34" charset="0"/>
              </a:rPr>
              <a:t>More APIs (Tasks, Office Graph)</a:t>
            </a:r>
          </a:p>
          <a:p>
            <a:pPr marL="0" lvl="1">
              <a:lnSpc>
                <a:spcPct val="90000"/>
              </a:lnSpc>
              <a:spcBef>
                <a:spcPts val="882"/>
              </a:spcBef>
            </a:pPr>
            <a:r>
              <a:rPr lang="en-US" sz="1764" dirty="0" smtClean="0">
                <a:gradFill>
                  <a:gsLst>
                    <a:gs pos="6838">
                      <a:schemeClr val="bg1"/>
                    </a:gs>
                    <a:gs pos="47009">
                      <a:schemeClr val="bg1"/>
                    </a:gs>
                  </a:gsLst>
                  <a:lin ang="5400000" scaled="0"/>
                </a:gradFill>
                <a:cs typeface="Segoe UI Semilight" panose="020B0402040204020203" pitchFamily="34" charset="0"/>
              </a:rPr>
              <a:t>More </a:t>
            </a:r>
            <a:r>
              <a:rPr lang="en-US" sz="1764" dirty="0" smtClean="0">
                <a:gradFill>
                  <a:gsLst>
                    <a:gs pos="6838">
                      <a:schemeClr val="bg1"/>
                    </a:gs>
                    <a:gs pos="47009">
                      <a:schemeClr val="bg1"/>
                    </a:gs>
                  </a:gsLst>
                  <a:lin ang="5400000" scaled="0"/>
                </a:gradFill>
                <a:cs typeface="Segoe UI Semilight" panose="020B0402040204020203" pitchFamily="34" charset="0"/>
              </a:rPr>
              <a:t>SDKs (PHP)</a:t>
            </a:r>
            <a:endParaRPr lang="en-US" sz="1764" dirty="0">
              <a:gradFill>
                <a:gsLst>
                  <a:gs pos="6838">
                    <a:schemeClr val="bg1"/>
                  </a:gs>
                  <a:gs pos="47009">
                    <a:schemeClr val="bg1"/>
                  </a:gs>
                </a:gsLst>
                <a:lin ang="5400000" scaled="0"/>
              </a:gradFill>
              <a:cs typeface="Segoe UI Semilight" panose="020B0402040204020203" pitchFamily="34" charset="0"/>
            </a:endParaRPr>
          </a:p>
          <a:p>
            <a:pPr marL="0" lvl="1">
              <a:lnSpc>
                <a:spcPct val="90000"/>
              </a:lnSpc>
              <a:spcBef>
                <a:spcPts val="882"/>
              </a:spcBef>
            </a:pPr>
            <a:r>
              <a:rPr lang="en-US" sz="1764" dirty="0">
                <a:gradFill>
                  <a:gsLst>
                    <a:gs pos="6838">
                      <a:schemeClr val="bg1"/>
                    </a:gs>
                    <a:gs pos="47009">
                      <a:schemeClr val="bg1"/>
                    </a:gs>
                  </a:gsLst>
                  <a:lin ang="5400000" scaled="0"/>
                </a:gradFill>
                <a:cs typeface="Segoe UI Semilight" panose="020B0402040204020203" pitchFamily="34" charset="0"/>
              </a:rPr>
              <a:t>Embracing Open</a:t>
            </a:r>
          </a:p>
          <a:p>
            <a:pPr marL="0" lvl="1">
              <a:lnSpc>
                <a:spcPct val="90000"/>
              </a:lnSpc>
              <a:spcBef>
                <a:spcPts val="882"/>
              </a:spcBef>
            </a:pPr>
            <a:r>
              <a:rPr lang="en-US" sz="1764" dirty="0">
                <a:gradFill>
                  <a:gsLst>
                    <a:gs pos="6838">
                      <a:schemeClr val="bg1"/>
                    </a:gs>
                    <a:gs pos="47009">
                      <a:schemeClr val="bg1"/>
                    </a:gs>
                  </a:gsLst>
                  <a:lin ang="5400000" scaled="0"/>
                </a:gradFill>
                <a:cs typeface="Segoe UI Semilight" panose="020B0402040204020203" pitchFamily="34" charset="0"/>
              </a:rPr>
              <a:t>Integrating platform + Tools</a:t>
            </a:r>
          </a:p>
          <a:p>
            <a:pPr marL="0" lvl="1">
              <a:lnSpc>
                <a:spcPct val="90000"/>
              </a:lnSpc>
              <a:spcBef>
                <a:spcPts val="882"/>
              </a:spcBef>
            </a:pPr>
            <a:r>
              <a:rPr lang="en-US" sz="1764" dirty="0">
                <a:gradFill>
                  <a:gsLst>
                    <a:gs pos="6838">
                      <a:schemeClr val="bg1"/>
                    </a:gs>
                    <a:gs pos="47009">
                      <a:schemeClr val="bg1"/>
                    </a:gs>
                  </a:gsLst>
                  <a:lin ang="5400000" scaled="0"/>
                </a:gradFill>
                <a:cs typeface="Segoe UI Semilight" panose="020B0402040204020203" pitchFamily="34" charset="0"/>
              </a:rPr>
              <a:t>Empowering users</a:t>
            </a:r>
          </a:p>
        </p:txBody>
      </p:sp>
      <p:sp>
        <p:nvSpPr>
          <p:cNvPr id="16" name="Rectangle 15"/>
          <p:cNvSpPr/>
          <p:nvPr/>
        </p:nvSpPr>
        <p:spPr bwMode="auto">
          <a:xfrm>
            <a:off x="-1" y="1378"/>
            <a:ext cx="12188826" cy="237562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smtClean="0"/>
              <a:t>Continuous innovation</a:t>
            </a:r>
            <a:endParaRPr lang="en-US" dirty="0"/>
          </a:p>
        </p:txBody>
      </p:sp>
      <p:sp>
        <p:nvSpPr>
          <p:cNvPr id="12" name="TextBox 11"/>
          <p:cNvSpPr txBox="1"/>
          <p:nvPr/>
        </p:nvSpPr>
        <p:spPr>
          <a:xfrm>
            <a:off x="269170" y="1504979"/>
            <a:ext cx="2121336" cy="561064"/>
          </a:xfrm>
          <a:prstGeom prst="rect">
            <a:avLst/>
          </a:prstGeom>
          <a:noFill/>
        </p:spPr>
        <p:txBody>
          <a:bodyPr wrap="square" lIns="179238" tIns="143391" rIns="179238" bIns="143391" rtlCol="0">
            <a:spAutoFit/>
          </a:bodyPr>
          <a:lstStyle/>
          <a:p>
            <a:pPr>
              <a:lnSpc>
                <a:spcPct val="90000"/>
              </a:lnSpc>
              <a:spcAft>
                <a:spcPts val="588"/>
              </a:spcAft>
            </a:pPr>
            <a:r>
              <a:rPr lang="en-US" sz="1960" b="1" dirty="0" smtClean="0">
                <a:gradFill>
                  <a:gsLst>
                    <a:gs pos="75214">
                      <a:schemeClr val="accent2"/>
                    </a:gs>
                    <a:gs pos="54000">
                      <a:schemeClr val="accent2"/>
                    </a:gs>
                  </a:gsLst>
                  <a:lin ang="5400000" scaled="0"/>
                </a:gradFill>
              </a:rPr>
              <a:t>2013</a:t>
            </a:r>
            <a:endParaRPr lang="en-US" sz="1960" b="1" dirty="0">
              <a:gradFill>
                <a:gsLst>
                  <a:gs pos="75214">
                    <a:schemeClr val="accent2"/>
                  </a:gs>
                  <a:gs pos="54000">
                    <a:schemeClr val="accent2"/>
                  </a:gs>
                </a:gsLst>
                <a:lin ang="5400000" scaled="0"/>
              </a:gradFill>
            </a:endParaRPr>
          </a:p>
        </p:txBody>
      </p:sp>
      <p:sp>
        <p:nvSpPr>
          <p:cNvPr id="13" name="TextBox 12"/>
          <p:cNvSpPr txBox="1"/>
          <p:nvPr/>
        </p:nvSpPr>
        <p:spPr>
          <a:xfrm>
            <a:off x="3805525" y="1504979"/>
            <a:ext cx="2121336" cy="561064"/>
          </a:xfrm>
          <a:prstGeom prst="rect">
            <a:avLst/>
          </a:prstGeom>
          <a:noFill/>
        </p:spPr>
        <p:txBody>
          <a:bodyPr wrap="square" lIns="179238" tIns="143391" rIns="179238" bIns="143391" rtlCol="0">
            <a:spAutoFit/>
          </a:bodyPr>
          <a:lstStyle/>
          <a:p>
            <a:pPr>
              <a:lnSpc>
                <a:spcPct val="90000"/>
              </a:lnSpc>
              <a:spcAft>
                <a:spcPts val="588"/>
              </a:spcAft>
            </a:pPr>
            <a:r>
              <a:rPr lang="en-US" sz="1960" b="1" dirty="0" smtClean="0">
                <a:gradFill>
                  <a:gsLst>
                    <a:gs pos="63248">
                      <a:schemeClr val="tx2"/>
                    </a:gs>
                    <a:gs pos="30000">
                      <a:schemeClr val="tx2"/>
                    </a:gs>
                  </a:gsLst>
                  <a:lin ang="5400000" scaled="0"/>
                </a:gradFill>
              </a:rPr>
              <a:t>2014</a:t>
            </a:r>
            <a:endParaRPr lang="en-US" sz="1960" b="1" dirty="0">
              <a:gradFill>
                <a:gsLst>
                  <a:gs pos="63248">
                    <a:schemeClr val="tx2"/>
                  </a:gs>
                  <a:gs pos="30000">
                    <a:schemeClr val="tx2"/>
                  </a:gs>
                </a:gsLst>
                <a:lin ang="5400000" scaled="0"/>
              </a:gradFill>
            </a:endParaRPr>
          </a:p>
        </p:txBody>
      </p:sp>
      <p:sp>
        <p:nvSpPr>
          <p:cNvPr id="14" name="TextBox 13"/>
          <p:cNvSpPr txBox="1"/>
          <p:nvPr/>
        </p:nvSpPr>
        <p:spPr>
          <a:xfrm>
            <a:off x="7341881" y="1504979"/>
            <a:ext cx="2121336" cy="561067"/>
          </a:xfrm>
          <a:prstGeom prst="rect">
            <a:avLst/>
          </a:prstGeom>
          <a:noFill/>
        </p:spPr>
        <p:txBody>
          <a:bodyPr wrap="square" lIns="179238" tIns="143391" rIns="179238" bIns="143391" rtlCol="0">
            <a:spAutoFit/>
          </a:bodyPr>
          <a:lstStyle/>
          <a:p>
            <a:pPr>
              <a:lnSpc>
                <a:spcPct val="90000"/>
              </a:lnSpc>
              <a:spcAft>
                <a:spcPts val="588"/>
              </a:spcAft>
            </a:pPr>
            <a:r>
              <a:rPr lang="en-US" sz="1960" b="1" dirty="0" smtClean="0">
                <a:gradFill>
                  <a:gsLst>
                    <a:gs pos="70940">
                      <a:schemeClr val="accent1"/>
                    </a:gs>
                    <a:gs pos="50000">
                      <a:schemeClr val="accent1"/>
                    </a:gs>
                  </a:gsLst>
                  <a:lin ang="5400000" scaled="0"/>
                </a:gradFill>
              </a:rPr>
              <a:t>2015 onwards</a:t>
            </a:r>
            <a:endParaRPr lang="en-US" sz="1960" b="1" dirty="0">
              <a:gradFill>
                <a:gsLst>
                  <a:gs pos="70940">
                    <a:schemeClr val="accent1"/>
                  </a:gs>
                  <a:gs pos="50000">
                    <a:schemeClr val="accent1"/>
                  </a:gs>
                </a:gsLst>
                <a:lin ang="5400000" scaled="0"/>
              </a:gradFill>
            </a:endParaRPr>
          </a:p>
        </p:txBody>
      </p:sp>
      <p:sp>
        <p:nvSpPr>
          <p:cNvPr id="6" name="Right Arrow 5"/>
          <p:cNvSpPr/>
          <p:nvPr/>
        </p:nvSpPr>
        <p:spPr bwMode="auto">
          <a:xfrm>
            <a:off x="269169" y="1925606"/>
            <a:ext cx="10877211" cy="569646"/>
          </a:xfrm>
          <a:prstGeom prst="rightArrow">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p:cNvPicPr>
            <a:picLocks noChangeAspect="1"/>
          </p:cNvPicPr>
          <p:nvPr/>
        </p:nvPicPr>
        <p:blipFill>
          <a:blip r:embed="rId3"/>
          <a:stretch>
            <a:fillRect/>
          </a:stretch>
        </p:blipFill>
        <p:spPr>
          <a:xfrm>
            <a:off x="3639052" y="4288041"/>
            <a:ext cx="3981096" cy="2756590"/>
          </a:xfrm>
          <a:prstGeom prst="rect">
            <a:avLst/>
          </a:prstGeom>
        </p:spPr>
      </p:pic>
      <p:sp>
        <p:nvSpPr>
          <p:cNvPr id="15" name="Rectangle 14"/>
          <p:cNvSpPr/>
          <p:nvPr/>
        </p:nvSpPr>
        <p:spPr bwMode="auto">
          <a:xfrm>
            <a:off x="0" y="1925606"/>
            <a:ext cx="269171" cy="3519824"/>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5026074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800" fill="hold"/>
                                        <p:tgtEl>
                                          <p:spTgt spid="6"/>
                                        </p:tgtEl>
                                        <p:attrNameLst>
                                          <p:attrName>ppt_x</p:attrName>
                                        </p:attrNameLst>
                                      </p:cBhvr>
                                      <p:tavLst>
                                        <p:tav tm="0">
                                          <p:val>
                                            <p:strVal val="0-#ppt_w/2"/>
                                          </p:val>
                                        </p:tav>
                                        <p:tav tm="100000">
                                          <p:val>
                                            <p:strVal val="#ppt_x"/>
                                          </p:val>
                                        </p:tav>
                                      </p:tavLst>
                                    </p:anim>
                                    <p:anim calcmode="lin" valueType="num">
                                      <p:cBhvr additive="base">
                                        <p:cTn id="8" dur="800" fill="hold"/>
                                        <p:tgtEl>
                                          <p:spTgt spid="6"/>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300"/>
                                  </p:stCondLst>
                                  <p:childTnLst>
                                    <p:set>
                                      <p:cBhvr>
                                        <p:cTn id="10" dur="1" fill="hold">
                                          <p:stCondLst>
                                            <p:cond delay="0"/>
                                          </p:stCondLst>
                                        </p:cTn>
                                        <p:tgtEl>
                                          <p:spTgt spid="12"/>
                                        </p:tgtEl>
                                        <p:attrNameLst>
                                          <p:attrName>style.visibility</p:attrName>
                                        </p:attrNameLst>
                                      </p:cBhvr>
                                      <p:to>
                                        <p:strVal val="visible"/>
                                      </p:to>
                                    </p:set>
                                    <p:animEffect transition="in" filter="fade">
                                      <p:cBhvr>
                                        <p:cTn id="11" dur="500"/>
                                        <p:tgtEl>
                                          <p:spTgt spid="12"/>
                                        </p:tgtEl>
                                      </p:cBhvr>
                                    </p:animEffect>
                                  </p:childTnLst>
                                </p:cTn>
                              </p:par>
                              <p:par>
                                <p:cTn id="12" presetID="64" presetClass="path" presetSubtype="0" decel="100000" fill="hold" grpId="1" nodeType="withEffect">
                                  <p:stCondLst>
                                    <p:cond delay="300"/>
                                  </p:stCondLst>
                                  <p:childTnLst>
                                    <p:animMotion origin="layout" path="M -3.00599E-6 4.81481E-6 L -3.00599E-6 -0.06135 " pathEditMode="relative" rAng="0" ptsTypes="AA">
                                      <p:cBhvr>
                                        <p:cTn id="13" dur="500" spd="-100000" fill="hold"/>
                                        <p:tgtEl>
                                          <p:spTgt spid="12"/>
                                        </p:tgtEl>
                                        <p:attrNameLst>
                                          <p:attrName>ppt_x</p:attrName>
                                          <p:attrName>ppt_y</p:attrName>
                                        </p:attrNameLst>
                                      </p:cBhvr>
                                      <p:rCtr x="0" y="-3079"/>
                                    </p:animMotion>
                                  </p:childTnLst>
                                </p:cTn>
                              </p:par>
                              <p:par>
                                <p:cTn id="14" presetID="2" presetClass="entr" presetSubtype="1" decel="100000" fill="hold" grpId="0" nodeType="withEffect">
                                  <p:stCondLst>
                                    <p:cond delay="500"/>
                                  </p:stCondLst>
                                  <p:childTnLst>
                                    <p:set>
                                      <p:cBhvr>
                                        <p:cTn id="15" dur="1" fill="hold">
                                          <p:stCondLst>
                                            <p:cond delay="0"/>
                                          </p:stCondLst>
                                        </p:cTn>
                                        <p:tgtEl>
                                          <p:spTgt spid="7"/>
                                        </p:tgtEl>
                                        <p:attrNameLst>
                                          <p:attrName>style.visibility</p:attrName>
                                        </p:attrNameLst>
                                      </p:cBhvr>
                                      <p:to>
                                        <p:strVal val="visible"/>
                                      </p:to>
                                    </p:set>
                                    <p:anim calcmode="lin" valueType="num">
                                      <p:cBhvr additive="base">
                                        <p:cTn id="16" dur="800" fill="hold"/>
                                        <p:tgtEl>
                                          <p:spTgt spid="7"/>
                                        </p:tgtEl>
                                        <p:attrNameLst>
                                          <p:attrName>ppt_x</p:attrName>
                                        </p:attrNameLst>
                                      </p:cBhvr>
                                      <p:tavLst>
                                        <p:tav tm="0">
                                          <p:val>
                                            <p:strVal val="#ppt_x"/>
                                          </p:val>
                                        </p:tav>
                                        <p:tav tm="100000">
                                          <p:val>
                                            <p:strVal val="#ppt_x"/>
                                          </p:val>
                                        </p:tav>
                                      </p:tavLst>
                                    </p:anim>
                                    <p:anim calcmode="lin" valueType="num">
                                      <p:cBhvr additive="base">
                                        <p:cTn id="17" dur="800" fill="hold"/>
                                        <p:tgtEl>
                                          <p:spTgt spid="7"/>
                                        </p:tgtEl>
                                        <p:attrNameLst>
                                          <p:attrName>ppt_y</p:attrName>
                                        </p:attrNameLst>
                                      </p:cBhvr>
                                      <p:tavLst>
                                        <p:tav tm="0">
                                          <p:val>
                                            <p:strVal val="0-#ppt_h/2"/>
                                          </p:val>
                                        </p:tav>
                                        <p:tav tm="100000">
                                          <p:val>
                                            <p:strVal val="#ppt_y"/>
                                          </p:val>
                                        </p:tav>
                                      </p:tavLst>
                                    </p:anim>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par>
                                <p:cTn id="23" presetID="64" presetClass="path" presetSubtype="0" decel="100000" fill="hold" grpId="1" nodeType="withEffect">
                                  <p:stCondLst>
                                    <p:cond delay="0"/>
                                  </p:stCondLst>
                                  <p:childTnLst>
                                    <p:animMotion origin="layout" path="M 2.48149E-6 1.36178E-7 L 2.48149E-6 -0.06128 " pathEditMode="relative" rAng="0" ptsTypes="AA">
                                      <p:cBhvr>
                                        <p:cTn id="24" dur="500" spd="-100000" fill="hold"/>
                                        <p:tgtEl>
                                          <p:spTgt spid="13"/>
                                        </p:tgtEl>
                                        <p:attrNameLst>
                                          <p:attrName>ppt_x</p:attrName>
                                          <p:attrName>ppt_y</p:attrName>
                                        </p:attrNameLst>
                                      </p:cBhvr>
                                      <p:rCtr x="0" y="-3064"/>
                                    </p:animMotion>
                                  </p:childTnLst>
                                </p:cTn>
                              </p:par>
                              <p:par>
                                <p:cTn id="25" presetID="2" presetClass="entr" presetSubtype="1" decel="100000" fill="hold" grpId="0" nodeType="withEffect">
                                  <p:stCondLst>
                                    <p:cond delay="200"/>
                                  </p:stCondLst>
                                  <p:childTnLst>
                                    <p:set>
                                      <p:cBhvr>
                                        <p:cTn id="26" dur="1" fill="hold">
                                          <p:stCondLst>
                                            <p:cond delay="0"/>
                                          </p:stCondLst>
                                        </p:cTn>
                                        <p:tgtEl>
                                          <p:spTgt spid="9"/>
                                        </p:tgtEl>
                                        <p:attrNameLst>
                                          <p:attrName>style.visibility</p:attrName>
                                        </p:attrNameLst>
                                      </p:cBhvr>
                                      <p:to>
                                        <p:strVal val="visible"/>
                                      </p:to>
                                    </p:set>
                                    <p:anim calcmode="lin" valueType="num">
                                      <p:cBhvr additive="base">
                                        <p:cTn id="27" dur="800" fill="hold"/>
                                        <p:tgtEl>
                                          <p:spTgt spid="9"/>
                                        </p:tgtEl>
                                        <p:attrNameLst>
                                          <p:attrName>ppt_x</p:attrName>
                                        </p:attrNameLst>
                                      </p:cBhvr>
                                      <p:tavLst>
                                        <p:tav tm="0">
                                          <p:val>
                                            <p:strVal val="#ppt_x"/>
                                          </p:val>
                                        </p:tav>
                                        <p:tav tm="100000">
                                          <p:val>
                                            <p:strVal val="#ppt_x"/>
                                          </p:val>
                                        </p:tav>
                                      </p:tavLst>
                                    </p:anim>
                                    <p:anim calcmode="lin" valueType="num">
                                      <p:cBhvr additive="base">
                                        <p:cTn id="28" dur="800" fill="hold"/>
                                        <p:tgtEl>
                                          <p:spTgt spid="9"/>
                                        </p:tgtEl>
                                        <p:attrNameLst>
                                          <p:attrName>ppt_y</p:attrName>
                                        </p:attrNameLst>
                                      </p:cBhvr>
                                      <p:tavLst>
                                        <p:tav tm="0">
                                          <p:val>
                                            <p:strVal val="0-#ppt_h/2"/>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14"/>
                                        </p:tgtEl>
                                        <p:attrNameLst>
                                          <p:attrName>style.visibility</p:attrName>
                                        </p:attrNameLst>
                                      </p:cBhvr>
                                      <p:to>
                                        <p:strVal val="visible"/>
                                      </p:to>
                                    </p:set>
                                    <p:animEffect transition="in" filter="fade">
                                      <p:cBhvr>
                                        <p:cTn id="33" dur="500"/>
                                        <p:tgtEl>
                                          <p:spTgt spid="14"/>
                                        </p:tgtEl>
                                      </p:cBhvr>
                                    </p:animEffect>
                                  </p:childTnLst>
                                </p:cTn>
                              </p:par>
                              <p:par>
                                <p:cTn id="34" presetID="64" presetClass="path" presetSubtype="0" decel="100000" fill="hold" grpId="1" nodeType="withEffect">
                                  <p:stCondLst>
                                    <p:cond delay="0"/>
                                  </p:stCondLst>
                                  <p:childTnLst>
                                    <p:animMotion origin="layout" path="M -2.23235E-6 4.81481E-6 L -2.23235E-6 -0.06135 " pathEditMode="relative" rAng="0" ptsTypes="AA">
                                      <p:cBhvr>
                                        <p:cTn id="35" dur="500" spd="-100000" fill="hold"/>
                                        <p:tgtEl>
                                          <p:spTgt spid="14"/>
                                        </p:tgtEl>
                                        <p:attrNameLst>
                                          <p:attrName>ppt_x</p:attrName>
                                          <p:attrName>ppt_y</p:attrName>
                                        </p:attrNameLst>
                                      </p:cBhvr>
                                      <p:rCtr x="0" y="-3079"/>
                                    </p:animMotion>
                                  </p:childTnLst>
                                </p:cTn>
                              </p:par>
                              <p:par>
                                <p:cTn id="36" presetID="2" presetClass="entr" presetSubtype="1" decel="100000" fill="hold" grpId="0" nodeType="withEffect">
                                  <p:stCondLst>
                                    <p:cond delay="200"/>
                                  </p:stCondLst>
                                  <p:childTnLst>
                                    <p:set>
                                      <p:cBhvr>
                                        <p:cTn id="37" dur="1" fill="hold">
                                          <p:stCondLst>
                                            <p:cond delay="0"/>
                                          </p:stCondLst>
                                        </p:cTn>
                                        <p:tgtEl>
                                          <p:spTgt spid="10"/>
                                        </p:tgtEl>
                                        <p:attrNameLst>
                                          <p:attrName>style.visibility</p:attrName>
                                        </p:attrNameLst>
                                      </p:cBhvr>
                                      <p:to>
                                        <p:strVal val="visible"/>
                                      </p:to>
                                    </p:set>
                                    <p:anim calcmode="lin" valueType="num">
                                      <p:cBhvr additive="base">
                                        <p:cTn id="38" dur="800" fill="hold"/>
                                        <p:tgtEl>
                                          <p:spTgt spid="10"/>
                                        </p:tgtEl>
                                        <p:attrNameLst>
                                          <p:attrName>ppt_x</p:attrName>
                                        </p:attrNameLst>
                                      </p:cBhvr>
                                      <p:tavLst>
                                        <p:tav tm="0">
                                          <p:val>
                                            <p:strVal val="#ppt_x"/>
                                          </p:val>
                                        </p:tav>
                                        <p:tav tm="100000">
                                          <p:val>
                                            <p:strVal val="#ppt_x"/>
                                          </p:val>
                                        </p:tav>
                                      </p:tavLst>
                                    </p:anim>
                                    <p:anim calcmode="lin" valueType="num">
                                      <p:cBhvr additive="base">
                                        <p:cTn id="39" dur="800" fill="hold"/>
                                        <p:tgtEl>
                                          <p:spTgt spid="10"/>
                                        </p:tgtEl>
                                        <p:attrNameLst>
                                          <p:attrName>ppt_y</p:attrName>
                                        </p:attrNameLst>
                                      </p:cBhvr>
                                      <p:tavLst>
                                        <p:tav tm="0">
                                          <p:val>
                                            <p:strVal val="0-#ppt_h/2"/>
                                          </p:val>
                                        </p:tav>
                                        <p:tav tm="100000">
                                          <p:val>
                                            <p:strVal val="#ppt_y"/>
                                          </p:val>
                                        </p:tav>
                                      </p:tavLst>
                                    </p:anim>
                                  </p:childTnLst>
                                </p:cTn>
                              </p:par>
                              <p:par>
                                <p:cTn id="40" presetID="10" presetClass="entr" presetSubtype="0" fill="hold" nodeType="withEffect">
                                  <p:stCondLst>
                                    <p:cond delay="200"/>
                                  </p:stCondLst>
                                  <p:childTnLst>
                                    <p:set>
                                      <p:cBhvr>
                                        <p:cTn id="41" dur="1" fill="hold">
                                          <p:stCondLst>
                                            <p:cond delay="0"/>
                                          </p:stCondLst>
                                        </p:cTn>
                                        <p:tgtEl>
                                          <p:spTgt spid="3"/>
                                        </p:tgtEl>
                                        <p:attrNameLst>
                                          <p:attrName>style.visibility</p:attrName>
                                        </p:attrNameLst>
                                      </p:cBhvr>
                                      <p:to>
                                        <p:strVal val="visible"/>
                                      </p:to>
                                    </p:set>
                                    <p:animEffect transition="in" filter="fade">
                                      <p:cBhvr>
                                        <p:cTn id="42"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animBg="1"/>
      <p:bldP spid="10" grpId="0" animBg="1"/>
      <p:bldP spid="12" grpId="0"/>
      <p:bldP spid="12" grpId="1"/>
      <p:bldP spid="13" grpId="0"/>
      <p:bldP spid="13" grpId="1"/>
      <p:bldP spid="14" grpId="0"/>
      <p:bldP spid="14" grpId="1"/>
      <p:bldP spid="6"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Resources</a:t>
            </a:r>
            <a:endParaRPr lang="en-US" dirty="0"/>
          </a:p>
        </p:txBody>
      </p:sp>
      <p:sp>
        <p:nvSpPr>
          <p:cNvPr id="9" name="Subtitle 4"/>
          <p:cNvSpPr>
            <a:spLocks noGrp="1"/>
          </p:cNvSpPr>
          <p:nvPr>
            <p:ph type="subTitle" idx="1"/>
          </p:nvPr>
        </p:nvSpPr>
        <p:spPr/>
        <p:txBody>
          <a:bodyPr/>
          <a:lstStyle/>
          <a:p>
            <a:pPr lvl="0"/>
            <a:r>
              <a:rPr lang="en-US" sz="2744" dirty="0" smtClean="0"/>
              <a:t>Office 365 Development Overview</a:t>
            </a:r>
            <a:endParaRPr lang="en-US" dirty="0"/>
          </a:p>
        </p:txBody>
      </p:sp>
    </p:spTree>
    <p:extLst>
      <p:ext uri="{BB962C8B-B14F-4D97-AF65-F5344CB8AC3E}">
        <p14:creationId xmlns:p14="http://schemas.microsoft.com/office/powerpoint/2010/main" val="1079878577"/>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452" y="151642"/>
            <a:ext cx="12183923" cy="981514"/>
          </a:xfrm>
          <a:prstGeom prst="rect">
            <a:avLst/>
          </a:prstGeom>
          <a:noFill/>
        </p:spPr>
        <p:txBody>
          <a:bodyPr wrap="square" lIns="179141" tIns="143312" rIns="179141" bIns="143312" rtlCol="0">
            <a:spAutoFit/>
          </a:bodyPr>
          <a:lstStyle/>
          <a:p>
            <a:pPr algn="ctr" defTabSz="913643">
              <a:lnSpc>
                <a:spcPct val="90000"/>
              </a:lnSpc>
              <a:spcAft>
                <a:spcPts val="588"/>
              </a:spcAft>
            </a:pPr>
            <a:r>
              <a:rPr lang="en-US" sz="4900" dirty="0">
                <a:gradFill>
                  <a:gsLst>
                    <a:gs pos="2917">
                      <a:srgbClr val="FFFFFF"/>
                    </a:gs>
                    <a:gs pos="30000">
                      <a:srgbClr val="FFFFFF"/>
                    </a:gs>
                  </a:gsLst>
                  <a:lin ang="5400000" scaled="0"/>
                </a:gradFill>
              </a:rPr>
              <a:t>dev.Office.com</a:t>
            </a:r>
          </a:p>
        </p:txBody>
      </p:sp>
      <p:sp>
        <p:nvSpPr>
          <p:cNvPr id="9" name="Text Placeholder 8"/>
          <p:cNvSpPr>
            <a:spLocks noGrp="1"/>
          </p:cNvSpPr>
          <p:nvPr>
            <p:ph type="body" sz="quarter" idx="10"/>
          </p:nvPr>
        </p:nvSpPr>
        <p:spPr/>
        <p:txBody>
          <a:bodyPr/>
          <a:lstStyle/>
          <a:p>
            <a:pPr>
              <a:spcAft>
                <a:spcPts val="588"/>
              </a:spcAft>
            </a:pPr>
            <a:r>
              <a:rPr lang="en-US" dirty="0">
                <a:gradFill>
                  <a:gsLst>
                    <a:gs pos="2917">
                      <a:schemeClr val="tx1"/>
                    </a:gs>
                    <a:gs pos="30000">
                      <a:schemeClr val="tx1"/>
                    </a:gs>
                  </a:gsLst>
                  <a:lin ang="5400000" scaled="0"/>
                </a:gradFill>
              </a:rPr>
              <a:t>Opportunity</a:t>
            </a:r>
          </a:p>
          <a:p>
            <a:pPr>
              <a:spcAft>
                <a:spcPts val="588"/>
              </a:spcAft>
            </a:pPr>
            <a:r>
              <a:rPr lang="en-US" dirty="0">
                <a:gradFill>
                  <a:gsLst>
                    <a:gs pos="2917">
                      <a:schemeClr val="tx1"/>
                    </a:gs>
                    <a:gs pos="30000">
                      <a:schemeClr val="tx1"/>
                    </a:gs>
                  </a:gsLst>
                  <a:lin ang="5400000" scaled="0"/>
                </a:gradFill>
              </a:rPr>
              <a:t>Build</a:t>
            </a:r>
          </a:p>
          <a:p>
            <a:pPr>
              <a:spcAft>
                <a:spcPts val="588"/>
              </a:spcAft>
            </a:pPr>
            <a:r>
              <a:rPr lang="en-US" dirty="0">
                <a:gradFill>
                  <a:gsLst>
                    <a:gs pos="2917">
                      <a:schemeClr val="tx1"/>
                    </a:gs>
                    <a:gs pos="30000">
                      <a:schemeClr val="tx1"/>
                    </a:gs>
                  </a:gsLst>
                  <a:lin ang="5400000" scaled="0"/>
                </a:gradFill>
              </a:rPr>
              <a:t>Transform</a:t>
            </a:r>
          </a:p>
          <a:p>
            <a:pPr>
              <a:spcAft>
                <a:spcPts val="588"/>
              </a:spcAft>
            </a:pPr>
            <a:r>
              <a:rPr lang="en-US" dirty="0">
                <a:gradFill>
                  <a:gsLst>
                    <a:gs pos="2917">
                      <a:schemeClr val="tx1"/>
                    </a:gs>
                    <a:gs pos="30000">
                      <a:schemeClr val="tx1"/>
                    </a:gs>
                  </a:gsLst>
                  <a:lin ang="5400000" scaled="0"/>
                </a:gradFill>
              </a:rPr>
              <a:t>Code Samples</a:t>
            </a:r>
          </a:p>
          <a:p>
            <a:pPr>
              <a:spcAft>
                <a:spcPts val="588"/>
              </a:spcAft>
            </a:pPr>
            <a:r>
              <a:rPr lang="en-US" dirty="0">
                <a:gradFill>
                  <a:gsLst>
                    <a:gs pos="2917">
                      <a:schemeClr val="tx1"/>
                    </a:gs>
                    <a:gs pos="30000">
                      <a:schemeClr val="tx1"/>
                    </a:gs>
                  </a:gsLst>
                  <a:lin ang="5400000" scaled="0"/>
                </a:gradFill>
              </a:rPr>
              <a:t>Patterns &amp; Practices</a:t>
            </a:r>
          </a:p>
          <a:p>
            <a:pPr>
              <a:spcAft>
                <a:spcPts val="588"/>
              </a:spcAft>
            </a:pPr>
            <a:r>
              <a:rPr lang="en-US" dirty="0">
                <a:gradFill>
                  <a:gsLst>
                    <a:gs pos="2917">
                      <a:schemeClr val="tx1"/>
                    </a:gs>
                    <a:gs pos="30000">
                      <a:schemeClr val="tx1"/>
                    </a:gs>
                  </a:gsLst>
                  <a:lin ang="5400000" scaled="0"/>
                </a:gradFill>
              </a:rPr>
              <a:t>API Reference</a:t>
            </a:r>
          </a:p>
          <a:p>
            <a:pPr>
              <a:spcAft>
                <a:spcPts val="588"/>
              </a:spcAft>
            </a:pPr>
            <a:endParaRPr lang="en-US" dirty="0">
              <a:gradFill>
                <a:gsLst>
                  <a:gs pos="2917">
                    <a:schemeClr val="tx1"/>
                  </a:gs>
                  <a:gs pos="30000">
                    <a:schemeClr val="tx1"/>
                  </a:gs>
                </a:gsLst>
                <a:lin ang="5400000" scaled="0"/>
              </a:gradFill>
            </a:endParaRPr>
          </a:p>
          <a:p>
            <a:endParaRPr lang="en-US" dirty="0"/>
          </a:p>
        </p:txBody>
      </p:sp>
      <p:sp>
        <p:nvSpPr>
          <p:cNvPr id="8" name="Title 7"/>
          <p:cNvSpPr>
            <a:spLocks noGrp="1"/>
          </p:cNvSpPr>
          <p:nvPr>
            <p:ph type="title"/>
          </p:nvPr>
        </p:nvSpPr>
        <p:spPr/>
        <p:txBody>
          <a:bodyPr/>
          <a:lstStyle/>
          <a:p>
            <a:r>
              <a:rPr lang="en-US" sz="4704" dirty="0"/>
              <a:t>http://dev.office.com</a:t>
            </a:r>
          </a:p>
        </p:txBody>
      </p:sp>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l="11364" r="11243"/>
          <a:stretch/>
        </p:blipFill>
        <p:spPr>
          <a:xfrm>
            <a:off x="4825174" y="1197745"/>
            <a:ext cx="7781301" cy="4859255"/>
          </a:xfrm>
          <a:prstGeom prst="rect">
            <a:avLst/>
          </a:prstGeom>
        </p:spPr>
      </p:pic>
    </p:spTree>
    <p:extLst>
      <p:ext uri="{BB962C8B-B14F-4D97-AF65-F5344CB8AC3E}">
        <p14:creationId xmlns:p14="http://schemas.microsoft.com/office/powerpoint/2010/main" val="611466079"/>
      </p:ext>
    </p:extLst>
  </p:cSld>
  <p:clrMapOvr>
    <a:masterClrMapping/>
  </p:clrMapOvr>
  <p:transition spd="slow">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395293" y="1083967"/>
            <a:ext cx="6198657" cy="5448046"/>
          </a:xfrm>
          <a:prstGeom prst="rect">
            <a:avLst/>
          </a:prstGeom>
          <a:noFill/>
        </p:spPr>
        <p:txBody>
          <a:bodyPr wrap="square" lIns="179238" tIns="143391" rIns="179238" bIns="143391" rtlCol="0">
            <a:spAutoFit/>
          </a:bodyPr>
          <a:lstStyle/>
          <a:p>
            <a:pPr>
              <a:lnSpc>
                <a:spcPct val="90000"/>
              </a:lnSpc>
              <a:spcAft>
                <a:spcPts val="588"/>
              </a:spcAft>
            </a:pPr>
            <a:r>
              <a:rPr lang="en-US" sz="2352" dirty="0" smtClean="0">
                <a:gradFill>
                  <a:gsLst>
                    <a:gs pos="2917">
                      <a:schemeClr val="tx1"/>
                    </a:gs>
                    <a:gs pos="30000">
                      <a:schemeClr val="tx1"/>
                    </a:gs>
                  </a:gsLst>
                  <a:lin ang="5400000" scaled="0"/>
                </a:gradFill>
              </a:rPr>
              <a:t>Providing </a:t>
            </a:r>
            <a:r>
              <a:rPr lang="en-US" sz="2352" dirty="0">
                <a:gradFill>
                  <a:gsLst>
                    <a:gs pos="2917">
                      <a:schemeClr val="tx1"/>
                    </a:gs>
                    <a:gs pos="30000">
                      <a:schemeClr val="tx1"/>
                    </a:gs>
                  </a:gsLst>
                  <a:lin ang="5400000" scaled="0"/>
                </a:gradFill>
              </a:rPr>
              <a:t>App Model Patterns </a:t>
            </a:r>
            <a:br>
              <a:rPr lang="en-US" sz="2352" dirty="0">
                <a:gradFill>
                  <a:gsLst>
                    <a:gs pos="2917">
                      <a:schemeClr val="tx1"/>
                    </a:gs>
                    <a:gs pos="30000">
                      <a:schemeClr val="tx1"/>
                    </a:gs>
                  </a:gsLst>
                  <a:lin ang="5400000" scaled="0"/>
                </a:gradFill>
              </a:rPr>
            </a:br>
            <a:r>
              <a:rPr lang="en-US" sz="2352" dirty="0">
                <a:gradFill>
                  <a:gsLst>
                    <a:gs pos="2917">
                      <a:schemeClr val="tx1"/>
                    </a:gs>
                    <a:gs pos="30000">
                      <a:schemeClr val="tx1"/>
                    </a:gs>
                  </a:gsLst>
                  <a:lin ang="5400000" scaled="0"/>
                </a:gradFill>
              </a:rPr>
              <a:t>for common Full Trust Code scenarios</a:t>
            </a:r>
          </a:p>
          <a:p>
            <a:pPr>
              <a:lnSpc>
                <a:spcPct val="90000"/>
              </a:lnSpc>
              <a:spcAft>
                <a:spcPts val="588"/>
              </a:spcAft>
            </a:pPr>
            <a:endParaRPr lang="en-US" sz="2352" b="1" dirty="0">
              <a:gradFill>
                <a:gsLst>
                  <a:gs pos="2917">
                    <a:schemeClr val="tx1"/>
                  </a:gs>
                  <a:gs pos="30000">
                    <a:schemeClr val="tx1"/>
                  </a:gs>
                </a:gsLst>
                <a:lin ang="5400000" scaled="0"/>
              </a:gradFill>
            </a:endParaRPr>
          </a:p>
          <a:p>
            <a:pPr>
              <a:lnSpc>
                <a:spcPct val="90000"/>
              </a:lnSpc>
              <a:spcAft>
                <a:spcPts val="588"/>
              </a:spcAft>
            </a:pPr>
            <a:r>
              <a:rPr lang="en-US" sz="2352" b="1" dirty="0" smtClean="0">
                <a:gradFill>
                  <a:gsLst>
                    <a:gs pos="2917">
                      <a:schemeClr val="tx1"/>
                    </a:gs>
                    <a:gs pos="30000">
                      <a:schemeClr val="tx1"/>
                    </a:gs>
                  </a:gsLst>
                  <a:lin ang="5400000" scaled="0"/>
                </a:gradFill>
              </a:rPr>
              <a:t>130+ </a:t>
            </a:r>
            <a:r>
              <a:rPr lang="en-US" sz="2352" b="1" dirty="0">
                <a:gradFill>
                  <a:gsLst>
                    <a:gs pos="2917">
                      <a:schemeClr val="tx1"/>
                    </a:gs>
                    <a:gs pos="30000">
                      <a:schemeClr val="tx1"/>
                    </a:gs>
                  </a:gsLst>
                  <a:lin ang="5400000" scaled="0"/>
                </a:gradFill>
              </a:rPr>
              <a:t>Visual Studio Projects</a:t>
            </a:r>
          </a:p>
          <a:p>
            <a:pPr>
              <a:lnSpc>
                <a:spcPct val="90000"/>
              </a:lnSpc>
              <a:spcAft>
                <a:spcPts val="588"/>
              </a:spcAft>
            </a:pPr>
            <a:r>
              <a:rPr lang="en-US" sz="2352" b="1" dirty="0">
                <a:gradFill>
                  <a:gsLst>
                    <a:gs pos="2917">
                      <a:schemeClr val="tx1"/>
                    </a:gs>
                    <a:gs pos="30000">
                      <a:schemeClr val="tx1"/>
                    </a:gs>
                  </a:gsLst>
                  <a:lin ang="5400000" scaled="0"/>
                </a:gradFill>
              </a:rPr>
              <a:t>Common scenarios</a:t>
            </a:r>
          </a:p>
          <a:p>
            <a:pPr marL="793167" lvl="1" indent="-336076">
              <a:lnSpc>
                <a:spcPct val="90000"/>
              </a:lnSpc>
              <a:spcAft>
                <a:spcPts val="588"/>
              </a:spcAft>
              <a:buFontTx/>
              <a:buChar char="-"/>
            </a:pPr>
            <a:r>
              <a:rPr lang="en-US" sz="2352" dirty="0">
                <a:gradFill>
                  <a:gsLst>
                    <a:gs pos="2917">
                      <a:schemeClr val="tx1"/>
                    </a:gs>
                    <a:gs pos="30000">
                      <a:schemeClr val="tx1"/>
                    </a:gs>
                  </a:gsLst>
                  <a:lin ang="5400000" scaled="0"/>
                </a:gradFill>
              </a:rPr>
              <a:t>Branding</a:t>
            </a:r>
          </a:p>
          <a:p>
            <a:pPr marL="793167" lvl="1" indent="-336076">
              <a:lnSpc>
                <a:spcPct val="90000"/>
              </a:lnSpc>
              <a:spcAft>
                <a:spcPts val="588"/>
              </a:spcAft>
              <a:buFontTx/>
              <a:buChar char="-"/>
            </a:pPr>
            <a:r>
              <a:rPr lang="en-US" sz="2352" dirty="0">
                <a:gradFill>
                  <a:gsLst>
                    <a:gs pos="2917">
                      <a:schemeClr val="tx1"/>
                    </a:gs>
                    <a:gs pos="30000">
                      <a:schemeClr val="tx1"/>
                    </a:gs>
                  </a:gsLst>
                  <a:lin ang="5400000" scaled="0"/>
                </a:gradFill>
              </a:rPr>
              <a:t>Site Provisioning</a:t>
            </a:r>
          </a:p>
          <a:p>
            <a:pPr marL="793167" lvl="1" indent="-336076">
              <a:lnSpc>
                <a:spcPct val="90000"/>
              </a:lnSpc>
              <a:spcAft>
                <a:spcPts val="588"/>
              </a:spcAft>
              <a:buFontTx/>
              <a:buChar char="-"/>
            </a:pPr>
            <a:r>
              <a:rPr lang="en-US" sz="2352" dirty="0">
                <a:gradFill>
                  <a:gsLst>
                    <a:gs pos="2917">
                      <a:schemeClr val="tx1"/>
                    </a:gs>
                    <a:gs pos="30000">
                      <a:schemeClr val="tx1"/>
                    </a:gs>
                  </a:gsLst>
                  <a:lin ang="5400000" scaled="0"/>
                </a:gradFill>
              </a:rPr>
              <a:t>Remote Event Receivers </a:t>
            </a:r>
          </a:p>
          <a:p>
            <a:pPr marL="793167" lvl="1" indent="-336076">
              <a:lnSpc>
                <a:spcPct val="90000"/>
              </a:lnSpc>
              <a:spcAft>
                <a:spcPts val="588"/>
              </a:spcAft>
              <a:buFontTx/>
              <a:buChar char="-"/>
            </a:pPr>
            <a:r>
              <a:rPr lang="en-US" sz="2352" dirty="0">
                <a:gradFill>
                  <a:gsLst>
                    <a:gs pos="2917">
                      <a:schemeClr val="tx1"/>
                    </a:gs>
                    <a:gs pos="30000">
                      <a:schemeClr val="tx1"/>
                    </a:gs>
                  </a:gsLst>
                  <a:lin ang="5400000" scaled="0"/>
                </a:gradFill>
              </a:rPr>
              <a:t>Large file support</a:t>
            </a:r>
          </a:p>
          <a:p>
            <a:pPr marL="793167" lvl="1" indent="-336076">
              <a:lnSpc>
                <a:spcPct val="90000"/>
              </a:lnSpc>
              <a:spcAft>
                <a:spcPts val="588"/>
              </a:spcAft>
              <a:buFontTx/>
              <a:buChar char="-"/>
            </a:pPr>
            <a:r>
              <a:rPr lang="en-US" sz="2352" dirty="0">
                <a:gradFill>
                  <a:gsLst>
                    <a:gs pos="2917">
                      <a:schemeClr val="tx1"/>
                    </a:gs>
                    <a:gs pos="30000">
                      <a:schemeClr val="tx1"/>
                    </a:gs>
                  </a:gsLst>
                  <a:lin ang="5400000" scaled="0"/>
                </a:gradFill>
              </a:rPr>
              <a:t>Taxonomy driven navigation</a:t>
            </a:r>
          </a:p>
          <a:p>
            <a:pPr marL="793167" lvl="1" indent="-336076">
              <a:lnSpc>
                <a:spcPct val="90000"/>
              </a:lnSpc>
              <a:spcAft>
                <a:spcPts val="588"/>
              </a:spcAft>
              <a:buFontTx/>
              <a:buChar char="-"/>
            </a:pPr>
            <a:r>
              <a:rPr lang="en-US" sz="2352" dirty="0">
                <a:gradFill>
                  <a:gsLst>
                    <a:gs pos="2917">
                      <a:schemeClr val="tx1"/>
                    </a:gs>
                    <a:gs pos="30000">
                      <a:schemeClr val="tx1"/>
                    </a:gs>
                  </a:gsLst>
                  <a:lin ang="5400000" scaled="0"/>
                </a:gradFill>
              </a:rPr>
              <a:t>And much more…</a:t>
            </a:r>
          </a:p>
          <a:p>
            <a:pPr>
              <a:lnSpc>
                <a:spcPct val="90000"/>
              </a:lnSpc>
              <a:spcAft>
                <a:spcPts val="588"/>
              </a:spcAft>
            </a:pPr>
            <a:endParaRPr lang="en-US" sz="2352" dirty="0">
              <a:gradFill>
                <a:gsLst>
                  <a:gs pos="2917">
                    <a:schemeClr val="tx1"/>
                  </a:gs>
                  <a:gs pos="30000">
                    <a:schemeClr val="tx1"/>
                  </a:gs>
                </a:gsLst>
                <a:lin ang="5400000" scaled="0"/>
              </a:gradFill>
            </a:endParaRPr>
          </a:p>
          <a:p>
            <a:pPr defTabSz="913818">
              <a:lnSpc>
                <a:spcPct val="90000"/>
              </a:lnSpc>
              <a:spcBef>
                <a:spcPts val="588"/>
              </a:spcBef>
              <a:spcAft>
                <a:spcPts val="2939"/>
              </a:spcAft>
              <a:buClr>
                <a:srgbClr val="FFFFFF"/>
              </a:buClr>
              <a:buSzPct val="100000"/>
            </a:pPr>
            <a:r>
              <a:rPr lang="en-US" sz="2351" dirty="0">
                <a:gradFill>
                  <a:gsLst>
                    <a:gs pos="1250">
                      <a:srgbClr val="FFFFFF"/>
                    </a:gs>
                    <a:gs pos="100000">
                      <a:srgbClr val="FFFFFF"/>
                    </a:gs>
                  </a:gsLst>
                  <a:lin ang="5400000" scaled="0"/>
                </a:gradFill>
                <a:latin typeface="Segoe UI Light"/>
                <a:hlinkClick r:id="rId3"/>
              </a:rPr>
              <a:t>http://</a:t>
            </a:r>
            <a:r>
              <a:rPr lang="en-US" sz="2351" dirty="0" smtClean="0">
                <a:gradFill>
                  <a:gsLst>
                    <a:gs pos="1250">
                      <a:srgbClr val="FFFFFF"/>
                    </a:gs>
                    <a:gs pos="100000">
                      <a:srgbClr val="FFFFFF"/>
                    </a:gs>
                  </a:gsLst>
                  <a:lin ang="5400000" scaled="0"/>
                </a:gradFill>
                <a:latin typeface="Segoe UI Light"/>
                <a:hlinkClick r:id="rId3"/>
              </a:rPr>
              <a:t>dev.office.com/patterns-and-practices</a:t>
            </a:r>
            <a:r>
              <a:rPr lang="en-US" sz="2351" dirty="0" smtClean="0">
                <a:gradFill>
                  <a:gsLst>
                    <a:gs pos="1250">
                      <a:srgbClr val="FFFFFF"/>
                    </a:gs>
                    <a:gs pos="100000">
                      <a:srgbClr val="FFFFFF"/>
                    </a:gs>
                  </a:gsLst>
                  <a:lin ang="5400000" scaled="0"/>
                </a:gradFill>
                <a:latin typeface="Segoe UI Light"/>
              </a:rPr>
              <a:t> </a:t>
            </a:r>
            <a:endParaRPr lang="en-US" sz="2351" dirty="0">
              <a:gradFill>
                <a:gsLst>
                  <a:gs pos="1250">
                    <a:srgbClr val="FFFFFF"/>
                  </a:gs>
                  <a:gs pos="100000">
                    <a:srgbClr val="FFFFFF"/>
                  </a:gs>
                </a:gsLst>
                <a:lin ang="5400000" scaled="0"/>
              </a:gradFill>
              <a:latin typeface="Segoe UI Light"/>
            </a:endParaRPr>
          </a:p>
        </p:txBody>
      </p:sp>
      <p:sp>
        <p:nvSpPr>
          <p:cNvPr id="2" name="Title 1"/>
          <p:cNvSpPr>
            <a:spLocks noGrp="1"/>
          </p:cNvSpPr>
          <p:nvPr>
            <p:ph type="title"/>
          </p:nvPr>
        </p:nvSpPr>
        <p:spPr/>
        <p:txBody>
          <a:bodyPr/>
          <a:lstStyle/>
          <a:p>
            <a:r>
              <a:rPr lang="en-US" dirty="0" smtClean="0"/>
              <a:t>Patterns &amp; Practices</a:t>
            </a:r>
            <a:endParaRPr lang="en-US" dirty="0"/>
          </a:p>
        </p:txBody>
      </p:sp>
      <p:pic>
        <p:nvPicPr>
          <p:cNvPr id="3" name="Picture 2"/>
          <p:cNvPicPr>
            <a:picLocks noChangeAspect="1"/>
          </p:cNvPicPr>
          <p:nvPr/>
        </p:nvPicPr>
        <p:blipFill>
          <a:blip r:embed="rId4"/>
          <a:stretch>
            <a:fillRect/>
          </a:stretch>
        </p:blipFill>
        <p:spPr>
          <a:xfrm>
            <a:off x="6593950" y="1083967"/>
            <a:ext cx="6041098" cy="4193036"/>
          </a:xfrm>
          <a:prstGeom prst="rect">
            <a:avLst/>
          </a:prstGeom>
        </p:spPr>
      </p:pic>
    </p:spTree>
    <p:extLst>
      <p:ext uri="{BB962C8B-B14F-4D97-AF65-F5344CB8AC3E}">
        <p14:creationId xmlns:p14="http://schemas.microsoft.com/office/powerpoint/2010/main" val="3462939321"/>
      </p:ext>
    </p:extLst>
  </p:cSld>
  <p:clrMapOvr>
    <a:masterClrMapping/>
  </p:clrMapOvr>
  <p:transition spd="slow">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0" y="1380"/>
            <a:ext cx="12188825" cy="968247"/>
          </a:xfrm>
          <a:prstGeom prst="rect">
            <a:avLst/>
          </a:prstGeom>
          <a:noFill/>
        </p:spPr>
        <p:txBody>
          <a:bodyPr wrap="square" lIns="179213" tIns="143370" rIns="179213" bIns="143370" rtlCol="0">
            <a:spAutoFit/>
          </a:bodyPr>
          <a:lstStyle/>
          <a:p>
            <a:pPr algn="ctr" defTabSz="914005">
              <a:lnSpc>
                <a:spcPct val="90000"/>
              </a:lnSpc>
              <a:spcAft>
                <a:spcPts val="588"/>
              </a:spcAft>
            </a:pPr>
            <a:r>
              <a:rPr lang="en-US" sz="4901" dirty="0">
                <a:gradFill>
                  <a:gsLst>
                    <a:gs pos="2917">
                      <a:srgbClr val="FFFFFF"/>
                    </a:gs>
                    <a:gs pos="30000">
                      <a:srgbClr val="FFFFFF"/>
                    </a:gs>
                  </a:gsLst>
                  <a:lin ang="5400000" scaled="0"/>
                </a:gradFill>
              </a:rPr>
              <a:t>Github.com/</a:t>
            </a:r>
            <a:r>
              <a:rPr lang="en-US" sz="4901" dirty="0" err="1">
                <a:gradFill>
                  <a:gsLst>
                    <a:gs pos="2917">
                      <a:srgbClr val="FFFFFF"/>
                    </a:gs>
                    <a:gs pos="30000">
                      <a:srgbClr val="FFFFFF"/>
                    </a:gs>
                  </a:gsLst>
                  <a:lin ang="5400000" scaled="0"/>
                </a:gradFill>
              </a:rPr>
              <a:t>OfficeDev</a:t>
            </a:r>
            <a:endParaRPr lang="en-US" sz="4901" dirty="0">
              <a:gradFill>
                <a:gsLst>
                  <a:gs pos="2917">
                    <a:srgbClr val="FFFFFF"/>
                  </a:gs>
                  <a:gs pos="30000">
                    <a:srgbClr val="FFFFFF"/>
                  </a:gs>
                </a:gsLst>
                <a:lin ang="5400000" scaled="0"/>
              </a:gradFill>
            </a:endParaRPr>
          </a:p>
        </p:txBody>
      </p:sp>
      <p:sp>
        <p:nvSpPr>
          <p:cNvPr id="4" name="TextBox 3"/>
          <p:cNvSpPr txBox="1"/>
          <p:nvPr/>
        </p:nvSpPr>
        <p:spPr>
          <a:xfrm>
            <a:off x="519112" y="1102561"/>
            <a:ext cx="6198657" cy="5371295"/>
          </a:xfrm>
          <a:prstGeom prst="rect">
            <a:avLst/>
          </a:prstGeom>
          <a:noFill/>
        </p:spPr>
        <p:txBody>
          <a:bodyPr wrap="square" lIns="179238" tIns="143391" rIns="179238" bIns="143391" rtlCol="0">
            <a:spAutoFit/>
          </a:bodyPr>
          <a:lstStyle/>
          <a:p>
            <a:pPr>
              <a:lnSpc>
                <a:spcPct val="90000"/>
              </a:lnSpc>
              <a:spcAft>
                <a:spcPts val="588"/>
              </a:spcAft>
            </a:pPr>
            <a:r>
              <a:rPr lang="en-US" sz="2352" b="1" dirty="0">
                <a:gradFill>
                  <a:gsLst>
                    <a:gs pos="2917">
                      <a:schemeClr val="tx1"/>
                    </a:gs>
                    <a:gs pos="30000">
                      <a:schemeClr val="tx1"/>
                    </a:gs>
                  </a:gsLst>
                  <a:lin ang="5400000" scaled="0"/>
                </a:gradFill>
              </a:rPr>
              <a:t>SDKs</a:t>
            </a:r>
          </a:p>
          <a:p>
            <a:pPr>
              <a:lnSpc>
                <a:spcPct val="90000"/>
              </a:lnSpc>
              <a:spcAft>
                <a:spcPts val="588"/>
              </a:spcAft>
            </a:pPr>
            <a:r>
              <a:rPr lang="en-US" sz="2352" dirty="0">
                <a:gradFill>
                  <a:gsLst>
                    <a:gs pos="2917">
                      <a:schemeClr val="tx1"/>
                    </a:gs>
                    <a:gs pos="30000">
                      <a:schemeClr val="tx1"/>
                    </a:gs>
                  </a:gsLst>
                  <a:lin ang="5400000" scaled="0"/>
                </a:gradFill>
              </a:rPr>
              <a:t>Android </a:t>
            </a:r>
            <a:r>
              <a:rPr lang="en-US" sz="2352" dirty="0" smtClean="0">
                <a:gradFill>
                  <a:gsLst>
                    <a:gs pos="2917">
                      <a:schemeClr val="tx1"/>
                    </a:gs>
                    <a:gs pos="30000">
                      <a:schemeClr val="tx1"/>
                    </a:gs>
                  </a:gsLst>
                  <a:lin ang="5400000" scaled="0"/>
                </a:gradFill>
              </a:rPr>
              <a:t>and iOS SDKs</a:t>
            </a:r>
            <a:endParaRPr lang="en-US" sz="2352" dirty="0">
              <a:gradFill>
                <a:gsLst>
                  <a:gs pos="2917">
                    <a:schemeClr val="tx1"/>
                  </a:gs>
                  <a:gs pos="30000">
                    <a:schemeClr val="tx1"/>
                  </a:gs>
                </a:gsLst>
                <a:lin ang="5400000" scaled="0"/>
              </a:gradFill>
            </a:endParaRPr>
          </a:p>
          <a:p>
            <a:pPr>
              <a:lnSpc>
                <a:spcPct val="90000"/>
              </a:lnSpc>
              <a:spcAft>
                <a:spcPts val="588"/>
              </a:spcAft>
            </a:pPr>
            <a:endParaRPr lang="en-US" sz="2352" b="1" dirty="0">
              <a:gradFill>
                <a:gsLst>
                  <a:gs pos="2917">
                    <a:schemeClr val="tx1"/>
                  </a:gs>
                  <a:gs pos="30000">
                    <a:schemeClr val="tx1"/>
                  </a:gs>
                </a:gsLst>
                <a:lin ang="5400000" scaled="0"/>
              </a:gradFill>
            </a:endParaRPr>
          </a:p>
          <a:p>
            <a:pPr>
              <a:lnSpc>
                <a:spcPct val="90000"/>
              </a:lnSpc>
              <a:spcAft>
                <a:spcPts val="588"/>
              </a:spcAft>
            </a:pPr>
            <a:r>
              <a:rPr lang="en-US" sz="2352" b="1" dirty="0">
                <a:gradFill>
                  <a:gsLst>
                    <a:gs pos="2917">
                      <a:schemeClr val="tx1"/>
                    </a:gs>
                    <a:gs pos="30000">
                      <a:schemeClr val="tx1"/>
                    </a:gs>
                  </a:gsLst>
                  <a:lin ang="5400000" scaled="0"/>
                </a:gradFill>
              </a:rPr>
              <a:t>Code Samples</a:t>
            </a:r>
          </a:p>
          <a:p>
            <a:pPr marL="342809" indent="-342900">
              <a:lnSpc>
                <a:spcPct val="90000"/>
              </a:lnSpc>
              <a:spcAft>
                <a:spcPts val="588"/>
              </a:spcAft>
              <a:buFont typeface="Arial" panose="020B0604020202020204" pitchFamily="34" charset="0"/>
              <a:buChar char="•"/>
            </a:pPr>
            <a:r>
              <a:rPr lang="en-US" sz="2352" dirty="0" err="1">
                <a:gradFill>
                  <a:gsLst>
                    <a:gs pos="2917">
                      <a:schemeClr val="tx1"/>
                    </a:gs>
                    <a:gs pos="30000">
                      <a:schemeClr val="tx1"/>
                    </a:gs>
                  </a:gsLst>
                  <a:lin ang="5400000" scaled="0"/>
                </a:gradFill>
              </a:rPr>
              <a:t>WikiPedia</a:t>
            </a:r>
            <a:r>
              <a:rPr lang="en-US" sz="2352" dirty="0">
                <a:gradFill>
                  <a:gsLst>
                    <a:gs pos="2917">
                      <a:schemeClr val="tx1"/>
                    </a:gs>
                    <a:gs pos="30000">
                      <a:schemeClr val="tx1"/>
                    </a:gs>
                  </a:gsLst>
                  <a:lin ang="5400000" scaled="0"/>
                </a:gradFill>
              </a:rPr>
              <a:t> App for Word</a:t>
            </a:r>
          </a:p>
          <a:p>
            <a:pPr marL="342809" indent="-342900">
              <a:lnSpc>
                <a:spcPct val="90000"/>
              </a:lnSpc>
              <a:spcAft>
                <a:spcPts val="588"/>
              </a:spcAft>
              <a:buFont typeface="Arial" panose="020B0604020202020204" pitchFamily="34" charset="0"/>
              <a:buChar char="•"/>
            </a:pPr>
            <a:r>
              <a:rPr lang="en-US" sz="2352" dirty="0" smtClean="0">
                <a:gradFill>
                  <a:gsLst>
                    <a:gs pos="2917">
                      <a:schemeClr val="tx1"/>
                    </a:gs>
                    <a:gs pos="30000">
                      <a:schemeClr val="tx1"/>
                    </a:gs>
                  </a:gsLst>
                  <a:lin ang="5400000" scaled="0"/>
                </a:gradFill>
              </a:rPr>
              <a:t>Campaign </a:t>
            </a:r>
            <a:r>
              <a:rPr lang="en-US" sz="2352" dirty="0">
                <a:gradFill>
                  <a:gsLst>
                    <a:gs pos="2917">
                      <a:schemeClr val="tx1"/>
                    </a:gs>
                    <a:gs pos="30000">
                      <a:schemeClr val="tx1"/>
                    </a:gs>
                  </a:gsLst>
                  <a:lin ang="5400000" scaled="0"/>
                </a:gradFill>
              </a:rPr>
              <a:t>Manager for Android</a:t>
            </a:r>
          </a:p>
          <a:p>
            <a:pPr marL="342809" indent="-342900">
              <a:lnSpc>
                <a:spcPct val="90000"/>
              </a:lnSpc>
              <a:spcAft>
                <a:spcPts val="588"/>
              </a:spcAft>
              <a:buFont typeface="Arial" panose="020B0604020202020204" pitchFamily="34" charset="0"/>
              <a:buChar char="•"/>
            </a:pPr>
            <a:r>
              <a:rPr lang="en-US" sz="2352" dirty="0">
                <a:gradFill>
                  <a:gsLst>
                    <a:gs pos="2917">
                      <a:schemeClr val="tx1"/>
                    </a:gs>
                    <a:gs pos="30000">
                      <a:schemeClr val="tx1"/>
                    </a:gs>
                  </a:gsLst>
                  <a:lin ang="5400000" scaled="0"/>
                </a:gradFill>
              </a:rPr>
              <a:t>Expense Manager for Windows 8</a:t>
            </a:r>
          </a:p>
          <a:p>
            <a:pPr marL="342809" indent="-342900">
              <a:lnSpc>
                <a:spcPct val="90000"/>
              </a:lnSpc>
              <a:spcAft>
                <a:spcPts val="588"/>
              </a:spcAft>
              <a:buFont typeface="Arial" panose="020B0604020202020204" pitchFamily="34" charset="0"/>
              <a:buChar char="•"/>
            </a:pPr>
            <a:r>
              <a:rPr lang="en-US" sz="2352" dirty="0">
                <a:gradFill>
                  <a:gsLst>
                    <a:gs pos="2917">
                      <a:schemeClr val="tx1"/>
                    </a:gs>
                    <a:gs pos="30000">
                      <a:schemeClr val="tx1"/>
                    </a:gs>
                  </a:gsLst>
                  <a:lin ang="5400000" scaled="0"/>
                </a:gradFill>
              </a:rPr>
              <a:t>Research Manager </a:t>
            </a:r>
            <a:r>
              <a:rPr lang="en-US" sz="2352" dirty="0" err="1">
                <a:gradFill>
                  <a:gsLst>
                    <a:gs pos="2917">
                      <a:schemeClr val="tx1"/>
                    </a:gs>
                    <a:gs pos="30000">
                      <a:schemeClr val="tx1"/>
                    </a:gs>
                  </a:gsLst>
                  <a:lin ang="5400000" scaled="0"/>
                </a:gradFill>
              </a:rPr>
              <a:t>inc.</a:t>
            </a:r>
            <a:r>
              <a:rPr lang="en-US" sz="2352" dirty="0">
                <a:gradFill>
                  <a:gsLst>
                    <a:gs pos="2917">
                      <a:schemeClr val="tx1"/>
                    </a:gs>
                    <a:gs pos="30000">
                      <a:schemeClr val="tx1"/>
                    </a:gs>
                  </a:gsLst>
                  <a:lin ang="5400000" scaled="0"/>
                </a:gradFill>
              </a:rPr>
              <a:t> AngularJS</a:t>
            </a:r>
          </a:p>
          <a:p>
            <a:pPr marL="342809" indent="-342900">
              <a:lnSpc>
                <a:spcPct val="90000"/>
              </a:lnSpc>
              <a:spcAft>
                <a:spcPts val="588"/>
              </a:spcAft>
              <a:buFont typeface="Arial" panose="020B0604020202020204" pitchFamily="34" charset="0"/>
              <a:buChar char="•"/>
            </a:pPr>
            <a:r>
              <a:rPr lang="en-US" sz="2352" dirty="0">
                <a:gradFill>
                  <a:gsLst>
                    <a:gs pos="2917">
                      <a:schemeClr val="tx1"/>
                    </a:gs>
                    <a:gs pos="30000">
                      <a:schemeClr val="tx1"/>
                    </a:gs>
                  </a:gsLst>
                  <a:lin ang="5400000" scaled="0"/>
                </a:gradFill>
              </a:rPr>
              <a:t>Building Snippets for Word</a:t>
            </a:r>
          </a:p>
          <a:p>
            <a:pPr>
              <a:lnSpc>
                <a:spcPct val="90000"/>
              </a:lnSpc>
              <a:spcAft>
                <a:spcPts val="588"/>
              </a:spcAft>
            </a:pPr>
            <a:endParaRPr lang="en-US" sz="2352" dirty="0">
              <a:gradFill>
                <a:gsLst>
                  <a:gs pos="2917">
                    <a:schemeClr val="tx1"/>
                  </a:gs>
                  <a:gs pos="30000">
                    <a:schemeClr val="tx1"/>
                  </a:gs>
                </a:gsLst>
                <a:lin ang="5400000" scaled="0"/>
              </a:gradFill>
            </a:endParaRPr>
          </a:p>
          <a:p>
            <a:pPr>
              <a:lnSpc>
                <a:spcPct val="90000"/>
              </a:lnSpc>
              <a:spcAft>
                <a:spcPts val="588"/>
              </a:spcAft>
            </a:pPr>
            <a:r>
              <a:rPr lang="en-US" sz="2352" b="1" dirty="0">
                <a:gradFill>
                  <a:gsLst>
                    <a:gs pos="2917">
                      <a:schemeClr val="tx1"/>
                    </a:gs>
                    <a:gs pos="30000">
                      <a:schemeClr val="tx1"/>
                    </a:gs>
                  </a:gsLst>
                  <a:lin ang="5400000" scaled="0"/>
                </a:gradFill>
              </a:rPr>
              <a:t>Contribute</a:t>
            </a:r>
            <a:endParaRPr lang="en-US" sz="2352" dirty="0">
              <a:gradFill>
                <a:gsLst>
                  <a:gs pos="2917">
                    <a:schemeClr val="tx1"/>
                  </a:gs>
                  <a:gs pos="30000">
                    <a:schemeClr val="tx1"/>
                  </a:gs>
                </a:gsLst>
                <a:lin ang="5400000" scaled="0"/>
              </a:gradFill>
            </a:endParaRPr>
          </a:p>
          <a:p>
            <a:pPr>
              <a:lnSpc>
                <a:spcPct val="90000"/>
              </a:lnSpc>
              <a:spcAft>
                <a:spcPts val="588"/>
              </a:spcAft>
            </a:pPr>
            <a:r>
              <a:rPr lang="en-US" sz="2352" dirty="0">
                <a:gradFill>
                  <a:gsLst>
                    <a:gs pos="2917">
                      <a:schemeClr val="tx1"/>
                    </a:gs>
                    <a:gs pos="30000">
                      <a:schemeClr val="tx1"/>
                    </a:gs>
                  </a:gsLst>
                  <a:lin ang="5400000" scaled="0"/>
                </a:gradFill>
              </a:rPr>
              <a:t>We want your enhancements and your samples!</a:t>
            </a:r>
          </a:p>
        </p:txBody>
      </p:sp>
      <p:sp>
        <p:nvSpPr>
          <p:cNvPr id="5" name="Title 4"/>
          <p:cNvSpPr>
            <a:spLocks noGrp="1"/>
          </p:cNvSpPr>
          <p:nvPr>
            <p:ph type="title"/>
          </p:nvPr>
        </p:nvSpPr>
        <p:spPr/>
        <p:txBody>
          <a:bodyPr/>
          <a:lstStyle/>
          <a:p>
            <a:r>
              <a:rPr lang="en-US" dirty="0" smtClean="0"/>
              <a:t>http://www.github.com/OfficeDev</a:t>
            </a:r>
            <a:endParaRPr lang="en-US" dirty="0"/>
          </a:p>
        </p:txBody>
      </p:sp>
      <p:pic>
        <p:nvPicPr>
          <p:cNvPr id="6" name="Picture 5"/>
          <p:cNvPicPr>
            <a:picLocks noChangeAspect="1"/>
          </p:cNvPicPr>
          <p:nvPr/>
        </p:nvPicPr>
        <p:blipFill>
          <a:blip r:embed="rId3"/>
          <a:stretch>
            <a:fillRect/>
          </a:stretch>
        </p:blipFill>
        <p:spPr>
          <a:xfrm>
            <a:off x="6254929" y="1203717"/>
            <a:ext cx="5735891" cy="4418539"/>
          </a:xfrm>
          <a:prstGeom prst="rect">
            <a:avLst/>
          </a:prstGeom>
        </p:spPr>
      </p:pic>
    </p:spTree>
    <p:extLst>
      <p:ext uri="{BB962C8B-B14F-4D97-AF65-F5344CB8AC3E}">
        <p14:creationId xmlns:p14="http://schemas.microsoft.com/office/powerpoint/2010/main" val="3565504823"/>
      </p:ext>
    </p:extLst>
  </p:cSld>
  <p:clrMapOvr>
    <a:masterClrMapping/>
  </p:clrMapOvr>
  <p:transition spd="slow">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Virtual Academy Courses</a:t>
            </a:r>
            <a:endParaRPr lang="en-US" dirty="0"/>
          </a:p>
        </p:txBody>
      </p:sp>
      <p:graphicFrame>
        <p:nvGraphicFramePr>
          <p:cNvPr id="10" name="Content Placeholder 9"/>
          <p:cNvGraphicFramePr>
            <a:graphicFrameLocks noGrp="1"/>
          </p:cNvGraphicFramePr>
          <p:nvPr>
            <p:ph sz="quarter" idx="10"/>
            <p:extLst>
              <p:ext uri="{D42A27DB-BD31-4B8C-83A1-F6EECF244321}">
                <p14:modId xmlns:p14="http://schemas.microsoft.com/office/powerpoint/2010/main" val="2745689241"/>
              </p:ext>
            </p:extLst>
          </p:nvPr>
        </p:nvGraphicFramePr>
        <p:xfrm>
          <a:off x="438838" y="1244303"/>
          <a:ext cx="11225057" cy="4350685"/>
        </p:xfrm>
        <a:graphic>
          <a:graphicData uri="http://schemas.openxmlformats.org/drawingml/2006/table">
            <a:tbl>
              <a:tblPr firstRow="1" bandRow="1">
                <a:tableStyleId>{5C22544A-7EE6-4342-B048-85BDC9FD1C3A}</a:tableStyleId>
              </a:tblPr>
              <a:tblGrid>
                <a:gridCol w="11225057">
                  <a:extLst>
                    <a:ext uri="{9D8B030D-6E8A-4147-A177-3AD203B41FA5}">
                      <a16:colId xmlns:a16="http://schemas.microsoft.com/office/drawing/2014/main" xmlns="" val="1253488153"/>
                    </a:ext>
                  </a:extLst>
                </a:gridCol>
              </a:tblGrid>
              <a:tr h="1047037">
                <a:tc>
                  <a:txBody>
                    <a:bodyPr/>
                    <a:lstStyle/>
                    <a:p>
                      <a:r>
                        <a:rPr lang="en-US" sz="2400" dirty="0" smtClean="0"/>
                        <a:t>Office 365 Development</a:t>
                      </a:r>
                      <a:endParaRPr lang="en-US" sz="2400" dirty="0"/>
                    </a:p>
                  </a:txBody>
                  <a:tcPr marL="91403" marR="91403" marT="45701" marB="45701" anchor="ctr"/>
                </a:tc>
                <a:extLst>
                  <a:ext uri="{0D108BD9-81ED-4DB2-BD59-A6C34878D82A}">
                    <a16:rowId xmlns:a16="http://schemas.microsoft.com/office/drawing/2014/main" xmlns="" val="829859176"/>
                  </a:ext>
                </a:extLst>
              </a:tr>
              <a:tr h="360260">
                <a:tc>
                  <a:txBody>
                    <a:bodyPr/>
                    <a:lstStyle/>
                    <a:p>
                      <a:r>
                        <a:rPr lang="en-US" sz="1800" b="1" dirty="0" smtClean="0"/>
                        <a:t>Course</a:t>
                      </a:r>
                      <a:r>
                        <a:rPr lang="en-US" sz="1800" b="1" baseline="0" dirty="0" smtClean="0"/>
                        <a:t> </a:t>
                      </a:r>
                      <a:r>
                        <a:rPr lang="en-US" sz="1800" b="1" dirty="0" smtClean="0"/>
                        <a:t>1: Introduction</a:t>
                      </a:r>
                      <a:r>
                        <a:rPr lang="en-US" sz="1800" b="1" baseline="0" dirty="0" smtClean="0"/>
                        <a:t> to </a:t>
                      </a:r>
                      <a:r>
                        <a:rPr lang="en-US" sz="1800" b="1" dirty="0" smtClean="0"/>
                        <a:t>Office 365 Development</a:t>
                      </a:r>
                      <a:endParaRPr lang="en-US" sz="1800" b="1" dirty="0"/>
                    </a:p>
                  </a:txBody>
                  <a:tcPr marL="91403" marR="91403" marT="45701" marB="45701" anchor="ctr"/>
                </a:tc>
                <a:extLst>
                  <a:ext uri="{0D108BD9-81ED-4DB2-BD59-A6C34878D82A}">
                    <a16:rowId xmlns:a16="http://schemas.microsoft.com/office/drawing/2014/main" xmlns="" val="1946132611"/>
                  </a:ext>
                </a:extLst>
              </a:tr>
              <a:tr h="360260">
                <a:tc>
                  <a:txBody>
                    <a:bodyPr/>
                    <a:lstStyle/>
                    <a:p>
                      <a:pPr marL="0" marR="0" indent="0" algn="l" defTabSz="932559" rtl="0" eaLnBrk="1" fontAlgn="auto" latinLnBrk="0" hangingPunct="1">
                        <a:lnSpc>
                          <a:spcPct val="100000"/>
                        </a:lnSpc>
                        <a:spcBef>
                          <a:spcPts val="0"/>
                        </a:spcBef>
                        <a:spcAft>
                          <a:spcPts val="0"/>
                        </a:spcAft>
                        <a:buClrTx/>
                        <a:buSzTx/>
                        <a:buFontTx/>
                        <a:buNone/>
                        <a:tabLst/>
                        <a:defRPr/>
                      </a:pPr>
                      <a:r>
                        <a:rPr lang="en-US" sz="1800" b="0" dirty="0" smtClean="0"/>
                        <a:t>Course</a:t>
                      </a:r>
                      <a:r>
                        <a:rPr lang="en-US" sz="1800" b="1" baseline="0" dirty="0" smtClean="0"/>
                        <a:t> </a:t>
                      </a:r>
                      <a:r>
                        <a:rPr lang="en-US" sz="1800" b="0" dirty="0" smtClean="0"/>
                        <a:t>2: Deep dive into the Office</a:t>
                      </a:r>
                      <a:r>
                        <a:rPr lang="en-US" sz="1800" b="0" baseline="0" dirty="0" smtClean="0"/>
                        <a:t> 365 App Model</a:t>
                      </a:r>
                      <a:endParaRPr lang="en-US" sz="1800" b="0" dirty="0" smtClean="0"/>
                    </a:p>
                  </a:txBody>
                  <a:tcPr marL="91403" marR="91403" marT="45701" marB="45701" anchor="ctr"/>
                </a:tc>
                <a:extLst>
                  <a:ext uri="{0D108BD9-81ED-4DB2-BD59-A6C34878D82A}">
                    <a16:rowId xmlns:a16="http://schemas.microsoft.com/office/drawing/2014/main" xmlns="" val="3204002662"/>
                  </a:ext>
                </a:extLst>
              </a:tr>
              <a:tr h="387386">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1800" b="0" dirty="0" smtClean="0"/>
                        <a:t>Course</a:t>
                      </a:r>
                      <a:r>
                        <a:rPr lang="en-US" sz="1800" b="1" baseline="0" dirty="0" smtClean="0"/>
                        <a:t> </a:t>
                      </a:r>
                      <a:r>
                        <a:rPr lang="en-US" sz="1800" dirty="0" smtClean="0"/>
                        <a:t>3: Deep Dive into integrating Office 365 APIs with your standalone web application development</a:t>
                      </a:r>
                      <a:endParaRPr lang="en-US" sz="1800" b="0" dirty="0" smtClean="0"/>
                    </a:p>
                  </a:txBody>
                  <a:tcPr marL="91403" marR="91403" marT="45701" marB="45701" anchor="ctr"/>
                </a:tc>
                <a:extLst>
                  <a:ext uri="{0D108BD9-81ED-4DB2-BD59-A6C34878D82A}">
                    <a16:rowId xmlns:a16="http://schemas.microsoft.com/office/drawing/2014/main" xmlns="" val="4266278162"/>
                  </a:ext>
                </a:extLst>
              </a:tr>
              <a:tr h="458534">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1800" b="0" dirty="0" smtClean="0"/>
                        <a:t>Course</a:t>
                      </a:r>
                      <a:r>
                        <a:rPr lang="en-US" sz="1800" b="1" baseline="0" dirty="0" smtClean="0"/>
                        <a:t> </a:t>
                      </a:r>
                      <a:r>
                        <a:rPr lang="en-US" sz="1800" b="0" dirty="0" smtClean="0"/>
                        <a:t>4: </a:t>
                      </a:r>
                      <a:r>
                        <a:rPr lang="en-US" sz="1800" dirty="0" smtClean="0"/>
                        <a:t>Deep Dive into integrating Office 365 APIs with your mobile device development</a:t>
                      </a:r>
                    </a:p>
                  </a:txBody>
                  <a:tcPr marL="91403" marR="91403" marT="45701" marB="45701" anchor="ctr"/>
                </a:tc>
              </a:tr>
              <a:tr h="360260">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1800" b="0" dirty="0" smtClean="0"/>
                        <a:t>Course</a:t>
                      </a:r>
                      <a:r>
                        <a:rPr lang="en-US" sz="1800" b="1" baseline="0" dirty="0" smtClean="0"/>
                        <a:t> </a:t>
                      </a:r>
                      <a:r>
                        <a:rPr lang="en-US" sz="1800" b="0" dirty="0" smtClean="0"/>
                        <a:t>5:</a:t>
                      </a:r>
                      <a:r>
                        <a:rPr lang="en-US" sz="1800" b="0" baseline="0" dirty="0" smtClean="0"/>
                        <a:t> Shipping your Office 365 App to the Office Store</a:t>
                      </a:r>
                      <a:endParaRPr lang="en-US" sz="1800" b="0" dirty="0" smtClean="0"/>
                    </a:p>
                  </a:txBody>
                  <a:tcPr marL="91403" marR="91403" marT="45701" marB="45701" anchor="ctr"/>
                </a:tc>
              </a:tr>
              <a:tr h="629118">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1800" b="0" dirty="0" smtClean="0"/>
                        <a:t>Course</a:t>
                      </a:r>
                      <a:r>
                        <a:rPr lang="en-US" sz="1800" b="1" baseline="0" dirty="0" smtClean="0"/>
                        <a:t> </a:t>
                      </a:r>
                      <a:r>
                        <a:rPr lang="en-US" sz="1800" b="0" dirty="0" smtClean="0"/>
                        <a:t>6: Deep dive into the building blocks and services of the SharePoint platform</a:t>
                      </a:r>
                    </a:p>
                  </a:txBody>
                  <a:tcPr marL="91403" marR="91403" marT="45701" marB="45701" anchor="ctr"/>
                </a:tc>
              </a:tr>
              <a:tr h="360260">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1800" b="0" dirty="0" smtClean="0"/>
                        <a:t>Course</a:t>
                      </a:r>
                      <a:r>
                        <a:rPr lang="en-US" sz="1800" b="1" baseline="0" dirty="0" smtClean="0"/>
                        <a:t> </a:t>
                      </a:r>
                      <a:r>
                        <a:rPr lang="en-US" sz="1800" b="0" dirty="0" smtClean="0"/>
                        <a:t>7: Deep Dive into Office 365 Development on non-Microsoft Stack</a:t>
                      </a:r>
                    </a:p>
                  </a:txBody>
                  <a:tcPr marL="91403" marR="91403" marT="45701" marB="45701" anchor="ctr"/>
                </a:tc>
              </a:tr>
              <a:tr h="360260">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endParaRPr lang="en-US" sz="1800" b="0" dirty="0" smtClean="0"/>
                    </a:p>
                  </a:txBody>
                  <a:tcPr marL="91403" marR="91403" marT="45701" marB="45701" anchor="ctr"/>
                </a:tc>
              </a:tr>
            </a:tbl>
          </a:graphicData>
        </a:graphic>
      </p:graphicFrame>
      <p:sp>
        <p:nvSpPr>
          <p:cNvPr id="4" name="TextBox 3"/>
          <p:cNvSpPr txBox="1"/>
          <p:nvPr/>
        </p:nvSpPr>
        <p:spPr>
          <a:xfrm>
            <a:off x="232756" y="5895541"/>
            <a:ext cx="12020204" cy="615377"/>
          </a:xfrm>
          <a:prstGeom prst="rect">
            <a:avLst/>
          </a:prstGeom>
          <a:noFill/>
        </p:spPr>
        <p:txBody>
          <a:bodyPr wrap="square" lIns="179238" tIns="143391" rIns="179238" bIns="143391" rtlCol="0">
            <a:spAutoFit/>
          </a:bodyPr>
          <a:lstStyle/>
          <a:p>
            <a:pPr>
              <a:lnSpc>
                <a:spcPct val="90000"/>
              </a:lnSpc>
              <a:spcAft>
                <a:spcPts val="588"/>
              </a:spcAft>
            </a:pPr>
            <a:r>
              <a:rPr lang="en-US" sz="2352" dirty="0">
                <a:gradFill>
                  <a:gsLst>
                    <a:gs pos="2917">
                      <a:schemeClr val="tx1"/>
                    </a:gs>
                    <a:gs pos="30000">
                      <a:schemeClr val="tx1"/>
                    </a:gs>
                  </a:gsLst>
                  <a:lin ang="5400000" scaled="0"/>
                </a:gradFill>
              </a:rPr>
              <a:t>http://www.microsoftvirtualacademy.com/product-training/office-development</a:t>
            </a:r>
          </a:p>
        </p:txBody>
      </p:sp>
    </p:spTree>
    <p:extLst>
      <p:ext uri="{BB962C8B-B14F-4D97-AF65-F5344CB8AC3E}">
        <p14:creationId xmlns:p14="http://schemas.microsoft.com/office/powerpoint/2010/main" val="1830897989"/>
      </p:ext>
    </p:extLst>
  </p:cSld>
  <p:clrMapOvr>
    <a:masterClrMapping/>
  </p:clrMapOvr>
  <p:transition>
    <p:fad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stretch>
            <a:fillRect/>
          </a:stretch>
        </p:blipFill>
        <p:spPr>
          <a:xfrm>
            <a:off x="5019427" y="1541818"/>
            <a:ext cx="6629076" cy="14610743"/>
          </a:xfrm>
          <a:prstGeom prst="rect">
            <a:avLst/>
          </a:prstGeom>
        </p:spPr>
      </p:pic>
      <p:sp>
        <p:nvSpPr>
          <p:cNvPr id="2" name="Title 1"/>
          <p:cNvSpPr>
            <a:spLocks noGrp="1"/>
          </p:cNvSpPr>
          <p:nvPr>
            <p:ph type="title"/>
          </p:nvPr>
        </p:nvSpPr>
        <p:spPr/>
        <p:txBody>
          <a:bodyPr/>
          <a:lstStyle/>
          <a:p>
            <a:r>
              <a:rPr lang="en-US" dirty="0" smtClean="0"/>
              <a:t>http://blogs.office.com</a:t>
            </a:r>
            <a:endParaRPr lang="en-US" dirty="0"/>
          </a:p>
        </p:txBody>
      </p:sp>
      <p:sp>
        <p:nvSpPr>
          <p:cNvPr id="4" name="Text Placeholder 3"/>
          <p:cNvSpPr>
            <a:spLocks noGrp="1"/>
          </p:cNvSpPr>
          <p:nvPr>
            <p:ph type="body" sz="quarter" idx="10"/>
          </p:nvPr>
        </p:nvSpPr>
        <p:spPr/>
        <p:txBody>
          <a:bodyPr/>
          <a:lstStyle/>
          <a:p>
            <a:pPr>
              <a:spcAft>
                <a:spcPts val="588"/>
              </a:spcAft>
            </a:pPr>
            <a:r>
              <a:rPr lang="en-US" dirty="0">
                <a:gradFill>
                  <a:gsLst>
                    <a:gs pos="2917">
                      <a:schemeClr val="tx1"/>
                    </a:gs>
                    <a:gs pos="30000">
                      <a:schemeClr val="tx1"/>
                    </a:gs>
                  </a:gsLst>
                  <a:lin ang="5400000" scaled="0"/>
                </a:gradFill>
              </a:rPr>
              <a:t>Office 365 news</a:t>
            </a:r>
          </a:p>
          <a:p>
            <a:pPr>
              <a:spcAft>
                <a:spcPts val="588"/>
              </a:spcAft>
            </a:pPr>
            <a:r>
              <a:rPr lang="en-US" dirty="0">
                <a:gradFill>
                  <a:gsLst>
                    <a:gs pos="2917">
                      <a:schemeClr val="tx1"/>
                    </a:gs>
                    <a:gs pos="30000">
                      <a:schemeClr val="tx1"/>
                    </a:gs>
                  </a:gsLst>
                  <a:lin ang="5400000" scaled="0"/>
                </a:gradFill>
              </a:rPr>
              <a:t>Dev announcements</a:t>
            </a:r>
          </a:p>
          <a:p>
            <a:pPr>
              <a:spcAft>
                <a:spcPts val="588"/>
              </a:spcAft>
            </a:pPr>
            <a:r>
              <a:rPr lang="en-US" dirty="0">
                <a:gradFill>
                  <a:gsLst>
                    <a:gs pos="2917">
                      <a:schemeClr val="tx1"/>
                    </a:gs>
                    <a:gs pos="30000">
                      <a:schemeClr val="tx1"/>
                    </a:gs>
                  </a:gsLst>
                  <a:lin ang="5400000" scaled="0"/>
                </a:gradFill>
              </a:rPr>
              <a:t>Events</a:t>
            </a:r>
          </a:p>
          <a:p>
            <a:pPr>
              <a:spcAft>
                <a:spcPts val="588"/>
              </a:spcAft>
            </a:pPr>
            <a:r>
              <a:rPr lang="en-US" dirty="0">
                <a:gradFill>
                  <a:gsLst>
                    <a:gs pos="2917">
                      <a:schemeClr val="tx1"/>
                    </a:gs>
                    <a:gs pos="30000">
                      <a:schemeClr val="tx1"/>
                    </a:gs>
                  </a:gsLst>
                  <a:lin ang="5400000" scaled="0"/>
                </a:gradFill>
              </a:rPr>
              <a:t>Garage Series videos</a:t>
            </a:r>
          </a:p>
          <a:p>
            <a:pPr>
              <a:spcAft>
                <a:spcPts val="588"/>
              </a:spcAft>
            </a:pPr>
            <a:r>
              <a:rPr lang="en-US" dirty="0">
                <a:gradFill>
                  <a:gsLst>
                    <a:gs pos="2917">
                      <a:schemeClr val="tx1"/>
                    </a:gs>
                    <a:gs pos="30000">
                      <a:schemeClr val="tx1"/>
                    </a:gs>
                  </a:gsLst>
                  <a:lin ang="5400000" scaled="0"/>
                </a:gradFill>
              </a:rPr>
              <a:t>Weekly podcast</a:t>
            </a:r>
          </a:p>
          <a:p>
            <a:endParaRPr lang="en-US" dirty="0"/>
          </a:p>
        </p:txBody>
      </p:sp>
    </p:spTree>
    <p:extLst>
      <p:ext uri="{BB962C8B-B14F-4D97-AF65-F5344CB8AC3E}">
        <p14:creationId xmlns:p14="http://schemas.microsoft.com/office/powerpoint/2010/main" val="210298591"/>
      </p:ext>
    </p:extLst>
  </p:cSld>
  <p:clrMapOvr>
    <a:masterClrMapping/>
  </p:clrMapOvr>
  <p:transition spd="slow">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solidFill>
                  <a:schemeClr val="tx1"/>
                </a:solidFill>
              </a:rPr>
              <a:t>Monthly updates</a:t>
            </a:r>
          </a:p>
          <a:p>
            <a:r>
              <a:rPr lang="en-US" dirty="0" smtClean="0">
                <a:solidFill>
                  <a:schemeClr val="tx1"/>
                </a:solidFill>
              </a:rPr>
              <a:t>Developer features</a:t>
            </a:r>
          </a:p>
          <a:p>
            <a:r>
              <a:rPr lang="en-US" dirty="0" smtClean="0">
                <a:solidFill>
                  <a:schemeClr val="tx1"/>
                </a:solidFill>
              </a:rPr>
              <a:t>Associated blog posts</a:t>
            </a:r>
            <a:endParaRPr lang="en-US" dirty="0">
              <a:solidFill>
                <a:schemeClr val="tx1"/>
              </a:solidFill>
            </a:endParaRPr>
          </a:p>
        </p:txBody>
      </p:sp>
      <p:sp>
        <p:nvSpPr>
          <p:cNvPr id="3" name="Title 2"/>
          <p:cNvSpPr>
            <a:spLocks noGrp="1"/>
          </p:cNvSpPr>
          <p:nvPr>
            <p:ph type="title"/>
          </p:nvPr>
        </p:nvSpPr>
        <p:spPr/>
        <p:txBody>
          <a:bodyPr/>
          <a:lstStyle/>
          <a:p>
            <a:r>
              <a:rPr lang="en-US" sz="4704" dirty="0"/>
              <a:t>http://www.office.com/roadmap</a:t>
            </a:r>
          </a:p>
        </p:txBody>
      </p:sp>
      <p:sp>
        <p:nvSpPr>
          <p:cNvPr id="4" name="Slide Number Placeholder 3"/>
          <p:cNvSpPr>
            <a:spLocks noGrp="1"/>
          </p:cNvSpPr>
          <p:nvPr>
            <p:ph type="sldNum" sz="quarter" idx="12"/>
          </p:nvPr>
        </p:nvSpPr>
        <p:spPr/>
        <p:txBody>
          <a:bodyPr/>
          <a:lstStyle/>
          <a:p>
            <a:fld id="{727B4C2D-45E2-4621-8491-2995EB46A674}" type="slidenum">
              <a:rPr lang="en-US" smtClean="0">
                <a:gradFill>
                  <a:gsLst>
                    <a:gs pos="100000">
                      <a:srgbClr val="797A7D"/>
                    </a:gs>
                    <a:gs pos="0">
                      <a:srgbClr val="797A7D"/>
                    </a:gs>
                  </a:gsLst>
                  <a:lin ang="5400000" scaled="0"/>
                </a:gradFill>
              </a:rPr>
              <a:pPr/>
              <a:t>47</a:t>
            </a:fld>
            <a:endParaRPr lang="en-US" dirty="0">
              <a:gradFill>
                <a:gsLst>
                  <a:gs pos="100000">
                    <a:srgbClr val="797A7D"/>
                  </a:gs>
                  <a:gs pos="0">
                    <a:srgbClr val="797A7D"/>
                  </a:gs>
                </a:gsLst>
                <a:lin ang="5400000" scaled="0"/>
              </a:gradFill>
            </a:endParaRPr>
          </a:p>
        </p:txBody>
      </p:sp>
      <p:pic>
        <p:nvPicPr>
          <p:cNvPr id="5" name="Picture 4" descr="Screen Shot 2014-06-26 at 4.28.51 PM.png"/>
          <p:cNvPicPr>
            <a:picLocks noChangeAspect="1"/>
          </p:cNvPicPr>
          <p:nvPr/>
        </p:nvPicPr>
        <p:blipFill rotWithShape="1">
          <a:blip r:embed="rId2">
            <a:extLst>
              <a:ext uri="{28A0092B-C50C-407E-A947-70E740481C1C}">
                <a14:useLocalDpi xmlns:a14="http://schemas.microsoft.com/office/drawing/2010/main" val="0"/>
              </a:ext>
            </a:extLst>
          </a:blip>
          <a:srcRect l="1078" t="12702" r="25125" b="9437"/>
          <a:stretch/>
        </p:blipFill>
        <p:spPr>
          <a:xfrm>
            <a:off x="5923801" y="1419329"/>
            <a:ext cx="6079274" cy="4008796"/>
          </a:xfrm>
          <a:prstGeom prst="rect">
            <a:avLst/>
          </a:prstGeom>
        </p:spPr>
      </p:pic>
    </p:spTree>
    <p:extLst>
      <p:ext uri="{BB962C8B-B14F-4D97-AF65-F5344CB8AC3E}">
        <p14:creationId xmlns:p14="http://schemas.microsoft.com/office/powerpoint/2010/main" val="877295706"/>
      </p:ext>
    </p:extLst>
  </p:cSld>
  <p:clrMapOvr>
    <a:masterClrMapping/>
  </p:clrMapOvr>
  <p:transition>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Engage</a:t>
            </a:r>
            <a:endParaRPr lang="en-US" dirty="0"/>
          </a:p>
        </p:txBody>
      </p:sp>
      <p:sp>
        <p:nvSpPr>
          <p:cNvPr id="2" name="Text Placeholder 1"/>
          <p:cNvSpPr>
            <a:spLocks noGrp="1"/>
          </p:cNvSpPr>
          <p:nvPr>
            <p:ph type="body" sz="quarter" idx="11"/>
          </p:nvPr>
        </p:nvSpPr>
        <p:spPr>
          <a:xfrm>
            <a:off x="1474185" y="1233814"/>
            <a:ext cx="4677995" cy="5339165"/>
          </a:xfrm>
        </p:spPr>
        <p:txBody>
          <a:bodyPr/>
          <a:lstStyle/>
          <a:p>
            <a:pPr>
              <a:spcBef>
                <a:spcPts val="588"/>
              </a:spcBef>
              <a:spcAft>
                <a:spcPts val="588"/>
              </a:spcAft>
            </a:pPr>
            <a:r>
              <a:rPr lang="en-US" dirty="0" smtClean="0"/>
              <a:t>Office 365 Network</a:t>
            </a:r>
            <a:br>
              <a:rPr lang="en-US" dirty="0" smtClean="0"/>
            </a:br>
            <a:r>
              <a:rPr lang="en-US" sz="2400" dirty="0" smtClean="0"/>
              <a:t>Share you best practices and join conversations</a:t>
            </a:r>
            <a:r>
              <a:rPr lang="en-US" dirty="0" smtClean="0"/>
              <a:t/>
            </a:r>
            <a:br>
              <a:rPr lang="en-US" dirty="0" smtClean="0"/>
            </a:br>
            <a:r>
              <a:rPr lang="en-US" dirty="0"/>
              <a:t/>
            </a:r>
            <a:br>
              <a:rPr lang="en-US" dirty="0"/>
            </a:br>
            <a:r>
              <a:rPr lang="en-US" sz="2400" dirty="0" smtClean="0">
                <a:hlinkClick r:id="rId2"/>
              </a:rPr>
              <a:t>https</a:t>
            </a:r>
            <a:r>
              <a:rPr lang="en-US" sz="2400" dirty="0">
                <a:hlinkClick r:id="rId2"/>
              </a:rPr>
              <a:t>://</a:t>
            </a:r>
            <a:r>
              <a:rPr lang="en-US" sz="2400" dirty="0" smtClean="0">
                <a:hlinkClick r:id="rId2"/>
              </a:rPr>
              <a:t>www.yammer.com/itpronetwork</a:t>
            </a:r>
            <a:r>
              <a:rPr lang="en-US" sz="2400" dirty="0" smtClean="0"/>
              <a:t> </a:t>
            </a:r>
          </a:p>
          <a:p>
            <a:pPr>
              <a:spcBef>
                <a:spcPts val="2941"/>
              </a:spcBef>
              <a:spcAft>
                <a:spcPts val="588"/>
              </a:spcAft>
            </a:pPr>
            <a:r>
              <a:rPr lang="en-US" dirty="0" err="1" smtClean="0"/>
              <a:t>Stackoverflow</a:t>
            </a:r>
            <a:r>
              <a:rPr lang="en-US" dirty="0"/>
              <a:t/>
            </a:r>
            <a:br>
              <a:rPr lang="en-US" dirty="0"/>
            </a:br>
            <a:r>
              <a:rPr lang="en-US" sz="2400" dirty="0" smtClean="0"/>
              <a:t>Ask deep technical questions to a world-wide set of developers</a:t>
            </a:r>
          </a:p>
          <a:p>
            <a:pPr>
              <a:spcBef>
                <a:spcPts val="2941"/>
              </a:spcBef>
              <a:spcAft>
                <a:spcPts val="588"/>
              </a:spcAft>
            </a:pPr>
            <a:r>
              <a:rPr lang="en-US" sz="2400" dirty="0">
                <a:hlinkClick r:id="rId3"/>
              </a:rPr>
              <a:t>http://</a:t>
            </a:r>
            <a:r>
              <a:rPr lang="en-US" sz="2400" dirty="0" smtClean="0">
                <a:hlinkClick r:id="rId3"/>
              </a:rPr>
              <a:t>stackoverflow.com/questions/tagged/ms-office</a:t>
            </a:r>
            <a:r>
              <a:rPr lang="en-US" sz="2400" dirty="0" smtClean="0"/>
              <a:t> </a:t>
            </a:r>
            <a:endParaRPr lang="en-US" sz="2400" dirty="0"/>
          </a:p>
          <a:p>
            <a:pPr>
              <a:spcBef>
                <a:spcPts val="588"/>
              </a:spcBef>
              <a:spcAft>
                <a:spcPts val="588"/>
              </a:spcAft>
            </a:pPr>
            <a:endParaRPr lang="en-US" sz="1961" dirty="0"/>
          </a:p>
          <a:p>
            <a:pPr>
              <a:spcBef>
                <a:spcPts val="588"/>
              </a:spcBef>
              <a:spcAft>
                <a:spcPts val="588"/>
              </a:spcAft>
            </a:pPr>
            <a:endParaRPr lang="en-US" dirty="0"/>
          </a:p>
        </p:txBody>
      </p:sp>
      <p:pic>
        <p:nvPicPr>
          <p:cNvPr id="5" name="Picture 4"/>
          <p:cNvPicPr>
            <a:picLocks noChangeAspect="1"/>
          </p:cNvPicPr>
          <p:nvPr/>
        </p:nvPicPr>
        <p:blipFill>
          <a:blip r:embed="rId4"/>
          <a:stretch>
            <a:fillRect/>
          </a:stretch>
        </p:blipFill>
        <p:spPr>
          <a:xfrm>
            <a:off x="393600" y="1870918"/>
            <a:ext cx="895481" cy="750825"/>
          </a:xfrm>
          <a:prstGeom prst="rect">
            <a:avLst/>
          </a:prstGeom>
        </p:spPr>
      </p:pic>
      <p:pic>
        <p:nvPicPr>
          <p:cNvPr id="10" name="Picture 9"/>
          <p:cNvPicPr>
            <a:picLocks noChangeAspect="1"/>
          </p:cNvPicPr>
          <p:nvPr/>
        </p:nvPicPr>
        <p:blipFill>
          <a:blip r:embed="rId5"/>
          <a:stretch>
            <a:fillRect/>
          </a:stretch>
        </p:blipFill>
        <p:spPr>
          <a:xfrm>
            <a:off x="456206" y="2321966"/>
            <a:ext cx="770270" cy="980977"/>
          </a:xfrm>
          <a:prstGeom prst="rect">
            <a:avLst/>
          </a:prstGeom>
        </p:spPr>
      </p:pic>
      <p:pic>
        <p:nvPicPr>
          <p:cNvPr id="4" name="Picture 3"/>
          <p:cNvPicPr>
            <a:picLocks noChangeAspect="1"/>
          </p:cNvPicPr>
          <p:nvPr/>
        </p:nvPicPr>
        <p:blipFill rotWithShape="1">
          <a:blip r:embed="rId6"/>
          <a:srcRect r="79756"/>
          <a:stretch/>
        </p:blipFill>
        <p:spPr>
          <a:xfrm>
            <a:off x="456206" y="3637479"/>
            <a:ext cx="630577" cy="836633"/>
          </a:xfrm>
          <a:prstGeom prst="rect">
            <a:avLst/>
          </a:prstGeom>
        </p:spPr>
      </p:pic>
      <p:sp>
        <p:nvSpPr>
          <p:cNvPr id="11" name="Text Placeholder 1"/>
          <p:cNvSpPr txBox="1">
            <a:spLocks/>
          </p:cNvSpPr>
          <p:nvPr/>
        </p:nvSpPr>
        <p:spPr>
          <a:xfrm>
            <a:off x="7510830" y="745440"/>
            <a:ext cx="4677995" cy="5339165"/>
          </a:xfrm>
          <a:prstGeom prst="rect">
            <a:avLst/>
          </a:prstGeom>
        </p:spPr>
        <p:txBody>
          <a:bodyPr vert="horz" lIns="0" tIns="0" rIns="0" bIns="0" rtlCol="0">
            <a:noAutofit/>
          </a:bodyPr>
          <a:lstStyle>
            <a:lvl1pPr marL="0" marR="0" indent="0" algn="l" defTabSz="914363" rtl="0" eaLnBrk="1" fontAlgn="auto" latinLnBrk="0" hangingPunct="1">
              <a:lnSpc>
                <a:spcPct val="90000"/>
              </a:lnSpc>
              <a:spcBef>
                <a:spcPct val="20000"/>
              </a:spcBef>
              <a:spcAft>
                <a:spcPts val="0"/>
              </a:spcAft>
              <a:buClrTx/>
              <a:buSzPct val="80000"/>
              <a:buFont typeface="Arial" pitchFamily="34" charset="0"/>
              <a:buNone/>
              <a:tabLst/>
              <a:defRPr sz="3600" kern="1200" spc="-70" baseline="0">
                <a:gradFill>
                  <a:gsLst>
                    <a:gs pos="1250">
                      <a:schemeClr val="bg2"/>
                    </a:gs>
                    <a:gs pos="100000">
                      <a:schemeClr val="bg2"/>
                    </a:gs>
                  </a:gsLst>
                  <a:lin ang="5400000" scaled="0"/>
                </a:gradFill>
                <a:latin typeface="+mj-lt"/>
                <a:ea typeface="+mn-ea"/>
                <a:cs typeface="+mn-cs"/>
              </a:defRPr>
            </a:lvl1pPr>
            <a:lvl2pPr marL="28012"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1961" kern="1200" spc="0" baseline="0">
                <a:gradFill>
                  <a:gsLst>
                    <a:gs pos="1250">
                      <a:schemeClr val="bg2"/>
                    </a:gs>
                    <a:gs pos="100000">
                      <a:schemeClr val="bg2"/>
                    </a:gs>
                  </a:gsLst>
                  <a:lin ang="5400000" scaled="0"/>
                </a:gradFill>
                <a:latin typeface="+mn-lt"/>
                <a:ea typeface="+mn-ea"/>
                <a:cs typeface="+mn-cs"/>
              </a:defRPr>
            </a:lvl2pPr>
            <a:lvl3pPr marL="219428"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798513" algn="l"/>
              </a:tabLst>
              <a:defRPr sz="1961" kern="1200" spc="0" baseline="0">
                <a:gradFill>
                  <a:gsLst>
                    <a:gs pos="1250">
                      <a:schemeClr val="bg2"/>
                    </a:gs>
                    <a:gs pos="100000">
                      <a:schemeClr val="bg2"/>
                    </a:gs>
                  </a:gsLst>
                  <a:lin ang="5400000" scaled="0"/>
                </a:gradFill>
                <a:latin typeface="+mn-lt"/>
                <a:ea typeface="+mn-ea"/>
                <a:cs typeface="+mn-cs"/>
              </a:defRPr>
            </a:lvl3pPr>
            <a:lvl4pPr marL="466868"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1765" kern="1200" spc="0" baseline="0">
                <a:gradFill>
                  <a:gsLst>
                    <a:gs pos="1250">
                      <a:schemeClr val="bg2"/>
                    </a:gs>
                    <a:gs pos="100000">
                      <a:schemeClr val="bg2"/>
                    </a:gs>
                  </a:gsLst>
                  <a:lin ang="5400000" scaled="0"/>
                </a:gradFill>
                <a:latin typeface="+mn-lt"/>
                <a:ea typeface="+mn-ea"/>
                <a:cs typeface="+mn-cs"/>
              </a:defRPr>
            </a:lvl4pPr>
            <a:lvl5pPr marL="725201"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1255713" algn="l"/>
              </a:tabLst>
              <a:defRPr sz="1765" kern="1200" spc="0" baseline="0">
                <a:gradFill>
                  <a:gsLst>
                    <a:gs pos="1250">
                      <a:schemeClr val="bg2"/>
                    </a:gs>
                    <a:gs pos="100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2941"/>
              </a:spcBef>
              <a:spcAft>
                <a:spcPts val="588"/>
              </a:spcAft>
            </a:pPr>
            <a:r>
              <a:rPr lang="en-US" dirty="0" err="1" smtClean="0"/>
              <a:t>UserVoice</a:t>
            </a:r>
            <a:r>
              <a:rPr lang="en-US" dirty="0" smtClean="0"/>
              <a:t/>
            </a:r>
            <a:br>
              <a:rPr lang="en-US" dirty="0" smtClean="0"/>
            </a:br>
            <a:r>
              <a:rPr lang="en-US" sz="2400" dirty="0" smtClean="0"/>
              <a:t>Provide suggestions of what you want in future </a:t>
            </a:r>
            <a:r>
              <a:rPr lang="en-US" sz="2400" dirty="0" smtClean="0"/>
              <a:t>versions</a:t>
            </a:r>
            <a:endParaRPr lang="en-US" sz="2400" dirty="0" smtClean="0">
              <a:latin typeface="+mn-lt"/>
              <a:hlinkClick r:id="rId7"/>
            </a:endParaRPr>
          </a:p>
          <a:p>
            <a:pPr>
              <a:spcBef>
                <a:spcPts val="588"/>
              </a:spcBef>
              <a:spcAft>
                <a:spcPts val="588"/>
              </a:spcAft>
            </a:pPr>
            <a:r>
              <a:rPr lang="en-US" sz="2400" dirty="0">
                <a:latin typeface="+mn-lt"/>
                <a:hlinkClick r:id="rId8"/>
              </a:rPr>
              <a:t>http://officespdev.uservoice.com</a:t>
            </a:r>
            <a:r>
              <a:rPr lang="en-US" sz="2400" dirty="0" smtClean="0">
                <a:latin typeface="+mn-lt"/>
                <a:hlinkClick r:id="rId8"/>
              </a:rPr>
              <a:t>/</a:t>
            </a:r>
            <a:r>
              <a:rPr lang="en-US" sz="2400" dirty="0" smtClean="0">
                <a:latin typeface="+mn-lt"/>
              </a:rPr>
              <a:t> </a:t>
            </a:r>
            <a:endParaRPr lang="en-US" dirty="0" smtClean="0"/>
          </a:p>
          <a:p>
            <a:pPr>
              <a:spcBef>
                <a:spcPts val="2941"/>
              </a:spcBef>
              <a:spcAft>
                <a:spcPts val="588"/>
              </a:spcAft>
            </a:pPr>
            <a:r>
              <a:rPr lang="en-US" dirty="0" smtClean="0"/>
              <a:t>Twitter</a:t>
            </a:r>
            <a:r>
              <a:rPr lang="en-US" dirty="0"/>
              <a:t/>
            </a:r>
            <a:br>
              <a:rPr lang="en-US" dirty="0"/>
            </a:br>
            <a:r>
              <a:rPr lang="en-US" sz="2400" dirty="0"/>
              <a:t>Follow </a:t>
            </a:r>
            <a:r>
              <a:rPr lang="en-US" sz="2400" dirty="0" smtClean="0"/>
              <a:t>our tweets announcing news and relevant dev content </a:t>
            </a:r>
            <a:endParaRPr lang="en-US" dirty="0">
              <a:hlinkClick r:id="rId7"/>
            </a:endParaRPr>
          </a:p>
          <a:p>
            <a:pPr>
              <a:spcBef>
                <a:spcPts val="588"/>
              </a:spcBef>
              <a:spcAft>
                <a:spcPts val="588"/>
              </a:spcAft>
            </a:pPr>
            <a:r>
              <a:rPr lang="en-US" sz="2400" dirty="0">
                <a:latin typeface="+mn-lt"/>
                <a:hlinkClick r:id="rId9"/>
              </a:rPr>
              <a:t>http</a:t>
            </a:r>
            <a:r>
              <a:rPr lang="en-US" sz="2400" dirty="0">
                <a:latin typeface="+mn-lt"/>
                <a:hlinkClick r:id="rId9"/>
              </a:rPr>
              <a:t>://</a:t>
            </a:r>
            <a:r>
              <a:rPr lang="en-US" sz="2400" dirty="0" smtClean="0">
                <a:latin typeface="+mn-lt"/>
                <a:hlinkClick r:id="rId9"/>
              </a:rPr>
              <a:t>www.twitter.com/OfficeDev</a:t>
            </a:r>
            <a:r>
              <a:rPr lang="en-US" sz="2400" dirty="0" smtClean="0">
                <a:latin typeface="+mn-lt"/>
              </a:rPr>
              <a:t> </a:t>
            </a:r>
            <a:endParaRPr lang="en-US" sz="2400" dirty="0">
              <a:latin typeface="+mn-lt"/>
            </a:endParaRPr>
          </a:p>
          <a:p>
            <a:pPr>
              <a:spcBef>
                <a:spcPts val="2941"/>
              </a:spcBef>
              <a:spcAft>
                <a:spcPts val="588"/>
              </a:spcAft>
            </a:pPr>
            <a:r>
              <a:rPr lang="en-US" dirty="0" smtClean="0"/>
              <a:t>Podcast</a:t>
            </a:r>
            <a:r>
              <a:rPr lang="en-US" dirty="0"/>
              <a:t/>
            </a:r>
            <a:br>
              <a:rPr lang="en-US" dirty="0"/>
            </a:br>
            <a:r>
              <a:rPr lang="en-US" sz="2400" dirty="0"/>
              <a:t>Follow our tweets announcing news and relevant dev content </a:t>
            </a:r>
            <a:endParaRPr lang="en-US" sz="2400" dirty="0">
              <a:hlinkClick r:id="rId7"/>
            </a:endParaRPr>
          </a:p>
          <a:p>
            <a:pPr>
              <a:spcBef>
                <a:spcPts val="588"/>
              </a:spcBef>
              <a:spcAft>
                <a:spcPts val="588"/>
              </a:spcAft>
            </a:pPr>
            <a:r>
              <a:rPr lang="en-US" sz="2400" dirty="0">
                <a:latin typeface="+mn-lt"/>
                <a:hlinkClick r:id="rId10"/>
              </a:rPr>
              <a:t>http</a:t>
            </a:r>
            <a:r>
              <a:rPr lang="en-US" sz="2400" dirty="0">
                <a:latin typeface="+mn-lt"/>
                <a:hlinkClick r:id="rId10"/>
              </a:rPr>
              <a:t>://</a:t>
            </a:r>
            <a:r>
              <a:rPr lang="en-US" sz="2400" dirty="0" smtClean="0">
                <a:latin typeface="+mn-lt"/>
                <a:hlinkClick r:id="rId10"/>
              </a:rPr>
              <a:t>dev.office.com/podcasts</a:t>
            </a:r>
            <a:r>
              <a:rPr lang="en-US" sz="2400" dirty="0" smtClean="0">
                <a:latin typeface="+mn-lt"/>
              </a:rPr>
              <a:t> </a:t>
            </a:r>
            <a:endParaRPr lang="en-US" sz="2400" dirty="0">
              <a:latin typeface="+mn-lt"/>
            </a:endParaRPr>
          </a:p>
          <a:p>
            <a:pPr>
              <a:spcBef>
                <a:spcPts val="588"/>
              </a:spcBef>
              <a:spcAft>
                <a:spcPts val="588"/>
              </a:spcAft>
            </a:pPr>
            <a:endParaRPr lang="en-US" dirty="0"/>
          </a:p>
          <a:p>
            <a:pPr>
              <a:spcBef>
                <a:spcPts val="588"/>
              </a:spcBef>
              <a:spcAft>
                <a:spcPts val="588"/>
              </a:spcAft>
            </a:pPr>
            <a:endParaRPr lang="en-US" dirty="0"/>
          </a:p>
          <a:p>
            <a:pPr>
              <a:spcBef>
                <a:spcPts val="588"/>
              </a:spcBef>
              <a:spcAft>
                <a:spcPts val="588"/>
              </a:spcAft>
            </a:pPr>
            <a:endParaRPr lang="en-US" dirty="0"/>
          </a:p>
        </p:txBody>
      </p:sp>
      <p:pic>
        <p:nvPicPr>
          <p:cNvPr id="12" name="Picture 11"/>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274680" y="521612"/>
            <a:ext cx="938180" cy="902095"/>
          </a:xfrm>
          <a:prstGeom prst="rect">
            <a:avLst/>
          </a:prstGeom>
        </p:spPr>
      </p:pic>
    </p:spTree>
    <p:extLst>
      <p:ext uri="{BB962C8B-B14F-4D97-AF65-F5344CB8AC3E}">
        <p14:creationId xmlns:p14="http://schemas.microsoft.com/office/powerpoint/2010/main" val="2729214737"/>
      </p:ext>
    </p:extLst>
  </p:cSld>
  <p:clrMapOvr>
    <a:masterClrMapping/>
  </p:clrMapOvr>
  <p:transition>
    <p:fade/>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Oval 16"/>
          <p:cNvSpPr/>
          <p:nvPr/>
        </p:nvSpPr>
        <p:spPr bwMode="gray">
          <a:xfrm>
            <a:off x="1110331" y="1190088"/>
            <a:ext cx="2071832" cy="207266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89593" tIns="44796" rIns="89593" bIns="44796" rtlCol="0" anchor="ctr"/>
          <a:lstStyle/>
          <a:p>
            <a:pPr algn="ctr" defTabSz="912557"/>
            <a:endParaRPr lang="en-US" sz="1734" dirty="0">
              <a:solidFill>
                <a:srgbClr val="FFFFFF"/>
              </a:solidFill>
            </a:endParaRPr>
          </a:p>
        </p:txBody>
      </p:sp>
      <p:sp>
        <p:nvSpPr>
          <p:cNvPr id="18" name="Oval 17"/>
          <p:cNvSpPr/>
          <p:nvPr/>
        </p:nvSpPr>
        <p:spPr bwMode="gray">
          <a:xfrm>
            <a:off x="1468545" y="1548447"/>
            <a:ext cx="1355404" cy="1355950"/>
          </a:xfrm>
          <a:prstGeom prst="ellipse">
            <a:avLst/>
          </a:prstGeom>
          <a:solidFill>
            <a:srgbClr val="E25D2F"/>
          </a:solidFill>
          <a:ln>
            <a:noFill/>
          </a:ln>
        </p:spPr>
        <p:style>
          <a:lnRef idx="2">
            <a:schemeClr val="accent1">
              <a:shade val="50000"/>
            </a:schemeClr>
          </a:lnRef>
          <a:fillRef idx="1">
            <a:schemeClr val="accent1"/>
          </a:fillRef>
          <a:effectRef idx="0">
            <a:schemeClr val="accent1"/>
          </a:effectRef>
          <a:fontRef idx="minor">
            <a:schemeClr val="lt1"/>
          </a:fontRef>
        </p:style>
        <p:txBody>
          <a:bodyPr lIns="89593" tIns="44796" rIns="89593" bIns="44796" rtlCol="0" anchor="ctr"/>
          <a:lstStyle/>
          <a:p>
            <a:pPr algn="ctr" defTabSz="912557"/>
            <a:endParaRPr lang="en-US" sz="1734" dirty="0">
              <a:solidFill>
                <a:srgbClr val="FFFFFF"/>
              </a:solidFill>
            </a:endParaRPr>
          </a:p>
        </p:txBody>
      </p:sp>
      <p:pic>
        <p:nvPicPr>
          <p:cNvPr id="16" name="Picture 15"/>
          <p:cNvPicPr>
            <a:picLocks noChangeAspect="1"/>
          </p:cNvPicPr>
          <p:nvPr/>
        </p:nvPicPr>
        <p:blipFill>
          <a:blip r:embed="rId3">
            <a:duotone>
              <a:schemeClr val="accent2">
                <a:shade val="45000"/>
                <a:satMod val="135000"/>
              </a:schemeClr>
              <a:prstClr val="white"/>
            </a:duotone>
          </a:blip>
          <a:stretch>
            <a:fillRect/>
          </a:stretch>
        </p:blipFill>
        <p:spPr bwMode="gray">
          <a:xfrm>
            <a:off x="1609504" y="1851384"/>
            <a:ext cx="1062813" cy="662599"/>
          </a:xfrm>
          <a:prstGeom prst="rect">
            <a:avLst/>
          </a:prstGeom>
        </p:spPr>
      </p:pic>
      <p:pic>
        <p:nvPicPr>
          <p:cNvPr id="4" name="Picture 3"/>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bwMode="gray">
          <a:xfrm>
            <a:off x="230563" y="3407899"/>
            <a:ext cx="4073104" cy="1482717"/>
          </a:xfrm>
          <a:prstGeom prst="rect">
            <a:avLst/>
          </a:prstGeom>
        </p:spPr>
      </p:pic>
      <p:pic>
        <p:nvPicPr>
          <p:cNvPr id="5" name="Picture 4"/>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bwMode="gray">
          <a:xfrm>
            <a:off x="290435" y="3051357"/>
            <a:ext cx="3560944" cy="988326"/>
          </a:xfrm>
          <a:prstGeom prst="rect">
            <a:avLst/>
          </a:prstGeom>
        </p:spPr>
      </p:pic>
      <p:pic>
        <p:nvPicPr>
          <p:cNvPr id="6" name="Picture 5"/>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bwMode="gray">
          <a:xfrm>
            <a:off x="290431" y="2232322"/>
            <a:ext cx="4033661" cy="1743710"/>
          </a:xfrm>
          <a:prstGeom prst="rect">
            <a:avLst/>
          </a:prstGeom>
        </p:spPr>
      </p:pic>
      <p:sp>
        <p:nvSpPr>
          <p:cNvPr id="3" name="TextBox 2"/>
          <p:cNvSpPr txBox="1"/>
          <p:nvPr/>
        </p:nvSpPr>
        <p:spPr>
          <a:xfrm>
            <a:off x="5920060" y="1778882"/>
            <a:ext cx="4157099" cy="967797"/>
          </a:xfrm>
          <a:prstGeom prst="rect">
            <a:avLst/>
          </a:prstGeom>
          <a:noFill/>
        </p:spPr>
        <p:txBody>
          <a:bodyPr wrap="none" lIns="179090" tIns="143271" rIns="179090" bIns="143271" rtlCol="0">
            <a:spAutoFit/>
          </a:bodyPr>
          <a:lstStyle/>
          <a:p>
            <a:pPr defTabSz="913287">
              <a:lnSpc>
                <a:spcPct val="90000"/>
              </a:lnSpc>
              <a:spcAft>
                <a:spcPts val="588"/>
              </a:spcAft>
            </a:pPr>
            <a:r>
              <a:rPr lang="en-US" sz="4899" dirty="0">
                <a:gradFill>
                  <a:gsLst>
                    <a:gs pos="2917">
                      <a:srgbClr val="FFFFFF"/>
                    </a:gs>
                    <a:gs pos="30000">
                      <a:srgbClr val="FFFFFF"/>
                    </a:gs>
                  </a:gsLst>
                  <a:lin ang="5400000" scaled="0"/>
                </a:gradFill>
                <a:latin typeface="Segoe UI Light"/>
              </a:rPr>
              <a:t>dev.office.com</a:t>
            </a:r>
          </a:p>
        </p:txBody>
      </p:sp>
      <p:sp>
        <p:nvSpPr>
          <p:cNvPr id="19" name="TextBox 18"/>
          <p:cNvSpPr txBox="1"/>
          <p:nvPr/>
        </p:nvSpPr>
        <p:spPr>
          <a:xfrm>
            <a:off x="5971601" y="3796896"/>
            <a:ext cx="6936014" cy="1093719"/>
          </a:xfrm>
          <a:prstGeom prst="rect">
            <a:avLst/>
          </a:prstGeom>
          <a:noFill/>
        </p:spPr>
        <p:txBody>
          <a:bodyPr wrap="square" lIns="179090" tIns="143271" rIns="179090" bIns="179090" rtlCol="0" anchor="t">
            <a:noAutofit/>
          </a:bodyPr>
          <a:lstStyle/>
          <a:p>
            <a:pPr defTabSz="565936"/>
            <a:r>
              <a:rPr lang="en-US" sz="3528" dirty="0">
                <a:gradFill>
                  <a:gsLst>
                    <a:gs pos="0">
                      <a:srgbClr val="FFFFFF"/>
                    </a:gs>
                    <a:gs pos="100000">
                      <a:srgbClr val="FFFFFF"/>
                    </a:gs>
                  </a:gsLst>
                  <a:lin ang="5400000" scaled="1"/>
                </a:gradFill>
                <a:latin typeface="Segoe UI Light" panose="020B0502040204020203" pitchFamily="34" charset="0"/>
                <a:cs typeface="Segoe UI Light" panose="020B0502040204020203" pitchFamily="34" charset="0"/>
              </a:rPr>
              <a:t>Explore </a:t>
            </a:r>
          </a:p>
          <a:p>
            <a:pPr defTabSz="565936"/>
            <a:r>
              <a:rPr lang="en-US" sz="1999" b="1" dirty="0">
                <a:gradFill>
                  <a:gsLst>
                    <a:gs pos="0">
                      <a:srgbClr val="FFFFFF"/>
                    </a:gs>
                    <a:gs pos="100000">
                      <a:srgbClr val="FFFFFF"/>
                    </a:gs>
                  </a:gsLst>
                  <a:lin ang="5400000" scaled="1"/>
                </a:gradFill>
                <a:cs typeface="Segoe UI" panose="020B0502040204020203" pitchFamily="34" charset="0"/>
              </a:rPr>
              <a:t>http://api.microsoft.com</a:t>
            </a:r>
          </a:p>
        </p:txBody>
      </p:sp>
      <p:sp>
        <p:nvSpPr>
          <p:cNvPr id="20" name="TextBox 19"/>
          <p:cNvSpPr txBox="1"/>
          <p:nvPr/>
        </p:nvSpPr>
        <p:spPr>
          <a:xfrm>
            <a:off x="5940780" y="2770237"/>
            <a:ext cx="6936014" cy="1093719"/>
          </a:xfrm>
          <a:prstGeom prst="rect">
            <a:avLst/>
          </a:prstGeom>
          <a:noFill/>
        </p:spPr>
        <p:txBody>
          <a:bodyPr wrap="square" lIns="179090" tIns="143271" rIns="179090" bIns="179090" rtlCol="0" anchor="t">
            <a:noAutofit/>
          </a:bodyPr>
          <a:lstStyle/>
          <a:p>
            <a:pPr defTabSz="565936"/>
            <a:r>
              <a:rPr lang="en-US" sz="3528" dirty="0">
                <a:gradFill>
                  <a:gsLst>
                    <a:gs pos="0">
                      <a:srgbClr val="FFFFFF"/>
                    </a:gs>
                    <a:gs pos="100000">
                      <a:srgbClr val="FFFFFF"/>
                    </a:gs>
                  </a:gsLst>
                  <a:lin ang="5400000" scaled="1"/>
                </a:gradFill>
                <a:latin typeface="Segoe UI Light" panose="020B0502040204020203" pitchFamily="34" charset="0"/>
                <a:cs typeface="Segoe UI Light" panose="020B0502040204020203" pitchFamily="34" charset="0"/>
              </a:rPr>
              <a:t>Sign up</a:t>
            </a:r>
          </a:p>
          <a:p>
            <a:pPr defTabSz="565936"/>
            <a:r>
              <a:rPr lang="en-US" sz="1999" b="1" dirty="0">
                <a:gradFill>
                  <a:gsLst>
                    <a:gs pos="0">
                      <a:srgbClr val="FFFFFF"/>
                    </a:gs>
                    <a:gs pos="100000">
                      <a:srgbClr val="FFFFFF"/>
                    </a:gs>
                  </a:gsLst>
                  <a:lin ang="5400000" scaled="1"/>
                </a:gradFill>
                <a:cs typeface="Segoe UI" panose="020B0502040204020203" pitchFamily="34" charset="0"/>
              </a:rPr>
              <a:t>http://dev.office.com/build</a:t>
            </a:r>
          </a:p>
        </p:txBody>
      </p:sp>
      <p:grpSp>
        <p:nvGrpSpPr>
          <p:cNvPr id="28" name="Group 27"/>
          <p:cNvGrpSpPr/>
          <p:nvPr/>
        </p:nvGrpSpPr>
        <p:grpSpPr>
          <a:xfrm>
            <a:off x="650053" y="4089195"/>
            <a:ext cx="3871059" cy="2124828"/>
            <a:chOff x="-2301875" y="-2038350"/>
            <a:chExt cx="1924050" cy="1055688"/>
          </a:xfrm>
        </p:grpSpPr>
        <p:sp>
          <p:nvSpPr>
            <p:cNvPr id="10" name="Freeform 5"/>
            <p:cNvSpPr>
              <a:spLocks/>
            </p:cNvSpPr>
            <p:nvPr/>
          </p:nvSpPr>
          <p:spPr bwMode="auto">
            <a:xfrm>
              <a:off x="-600075" y="-1092200"/>
              <a:ext cx="222250" cy="109538"/>
            </a:xfrm>
            <a:custGeom>
              <a:avLst/>
              <a:gdLst>
                <a:gd name="T0" fmla="*/ 51 w 100"/>
                <a:gd name="T1" fmla="*/ 1 h 49"/>
                <a:gd name="T2" fmla="*/ 0 w 100"/>
                <a:gd name="T3" fmla="*/ 49 h 49"/>
                <a:gd name="T4" fmla="*/ 99 w 100"/>
                <a:gd name="T5" fmla="*/ 49 h 49"/>
                <a:gd name="T6" fmla="*/ 51 w 100"/>
                <a:gd name="T7" fmla="*/ 1 h 49"/>
              </a:gdLst>
              <a:ahLst/>
              <a:cxnLst>
                <a:cxn ang="0">
                  <a:pos x="T0" y="T1"/>
                </a:cxn>
                <a:cxn ang="0">
                  <a:pos x="T2" y="T3"/>
                </a:cxn>
                <a:cxn ang="0">
                  <a:pos x="T4" y="T5"/>
                </a:cxn>
                <a:cxn ang="0">
                  <a:pos x="T6" y="T7"/>
                </a:cxn>
              </a:cxnLst>
              <a:rect l="0" t="0" r="r" b="b"/>
              <a:pathLst>
                <a:path w="100" h="49">
                  <a:moveTo>
                    <a:pt x="51" y="1"/>
                  </a:moveTo>
                  <a:cubicBezTo>
                    <a:pt x="24" y="0"/>
                    <a:pt x="1" y="21"/>
                    <a:pt x="0" y="49"/>
                  </a:cubicBezTo>
                  <a:cubicBezTo>
                    <a:pt x="99" y="49"/>
                    <a:pt x="99" y="49"/>
                    <a:pt x="99" y="49"/>
                  </a:cubicBezTo>
                  <a:cubicBezTo>
                    <a:pt x="100" y="21"/>
                    <a:pt x="79" y="2"/>
                    <a:pt x="51"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3" tIns="46611" rIns="93223" bIns="46611" numCol="1" anchor="t" anchorCtr="0" compatLnSpc="1">
              <a:prstTxWarp prst="textNoShape">
                <a:avLst/>
              </a:prstTxWarp>
            </a:bodyPr>
            <a:lstStyle/>
            <a:p>
              <a:pPr defTabSz="913914"/>
              <a:endParaRPr lang="en-US" sz="1835" dirty="0">
                <a:solidFill>
                  <a:srgbClr val="000000"/>
                </a:solidFill>
              </a:endParaRPr>
            </a:p>
          </p:txBody>
        </p:sp>
        <p:sp>
          <p:nvSpPr>
            <p:cNvPr id="11" name="Freeform 6"/>
            <p:cNvSpPr>
              <a:spLocks/>
            </p:cNvSpPr>
            <p:nvPr/>
          </p:nvSpPr>
          <p:spPr bwMode="auto">
            <a:xfrm>
              <a:off x="-1009650" y="-1089025"/>
              <a:ext cx="473075" cy="60325"/>
            </a:xfrm>
            <a:custGeom>
              <a:avLst/>
              <a:gdLst>
                <a:gd name="T0" fmla="*/ 210 w 213"/>
                <a:gd name="T1" fmla="*/ 27 h 27"/>
                <a:gd name="T2" fmla="*/ 188 w 213"/>
                <a:gd name="T3" fmla="*/ 17 h 27"/>
                <a:gd name="T4" fmla="*/ 142 w 213"/>
                <a:gd name="T5" fmla="*/ 8 h 27"/>
                <a:gd name="T6" fmla="*/ 0 w 213"/>
                <a:gd name="T7" fmla="*/ 8 h 27"/>
                <a:gd name="T8" fmla="*/ 0 w 213"/>
                <a:gd name="T9" fmla="*/ 0 h 27"/>
                <a:gd name="T10" fmla="*/ 142 w 213"/>
                <a:gd name="T11" fmla="*/ 0 h 27"/>
                <a:gd name="T12" fmla="*/ 191 w 213"/>
                <a:gd name="T13" fmla="*/ 10 h 27"/>
                <a:gd name="T14" fmla="*/ 213 w 213"/>
                <a:gd name="T15" fmla="*/ 20 h 27"/>
                <a:gd name="T16" fmla="*/ 210 w 213"/>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 h="27">
                  <a:moveTo>
                    <a:pt x="210" y="27"/>
                  </a:moveTo>
                  <a:cubicBezTo>
                    <a:pt x="188" y="17"/>
                    <a:pt x="188" y="17"/>
                    <a:pt x="188" y="17"/>
                  </a:cubicBezTo>
                  <a:cubicBezTo>
                    <a:pt x="177" y="12"/>
                    <a:pt x="155" y="8"/>
                    <a:pt x="142" y="8"/>
                  </a:cubicBezTo>
                  <a:cubicBezTo>
                    <a:pt x="0" y="8"/>
                    <a:pt x="0" y="8"/>
                    <a:pt x="0" y="8"/>
                  </a:cubicBezTo>
                  <a:cubicBezTo>
                    <a:pt x="0" y="0"/>
                    <a:pt x="0" y="0"/>
                    <a:pt x="0" y="0"/>
                  </a:cubicBezTo>
                  <a:cubicBezTo>
                    <a:pt x="142" y="0"/>
                    <a:pt x="142" y="0"/>
                    <a:pt x="142" y="0"/>
                  </a:cubicBezTo>
                  <a:cubicBezTo>
                    <a:pt x="157" y="0"/>
                    <a:pt x="179" y="5"/>
                    <a:pt x="191" y="10"/>
                  </a:cubicBezTo>
                  <a:cubicBezTo>
                    <a:pt x="213" y="20"/>
                    <a:pt x="213" y="20"/>
                    <a:pt x="213" y="20"/>
                  </a:cubicBezTo>
                  <a:lnTo>
                    <a:pt x="210" y="27"/>
                  </a:lnTo>
                  <a:close/>
                </a:path>
              </a:pathLst>
            </a:custGeom>
            <a:solidFill>
              <a:srgbClr val="000000"/>
            </a:solidFill>
            <a:ln w="9525">
              <a:noFill/>
              <a:round/>
              <a:headEnd/>
              <a:tailEnd/>
            </a:ln>
            <a:extLst/>
          </p:spPr>
          <p:txBody>
            <a:bodyPr vert="horz" wrap="square" lIns="93223" tIns="46611" rIns="93223" bIns="46611" numCol="1" anchor="t" anchorCtr="0" compatLnSpc="1">
              <a:prstTxWarp prst="textNoShape">
                <a:avLst/>
              </a:prstTxWarp>
            </a:bodyPr>
            <a:lstStyle/>
            <a:p>
              <a:pPr defTabSz="913914"/>
              <a:endParaRPr lang="en-US" sz="1835" dirty="0">
                <a:solidFill>
                  <a:srgbClr val="000000"/>
                </a:solidFill>
              </a:endParaRPr>
            </a:p>
          </p:txBody>
        </p:sp>
        <p:sp>
          <p:nvSpPr>
            <p:cNvPr id="12" name="Oval 7"/>
            <p:cNvSpPr>
              <a:spLocks noChangeArrowheads="1"/>
            </p:cNvSpPr>
            <p:nvPr/>
          </p:nvSpPr>
          <p:spPr bwMode="auto">
            <a:xfrm>
              <a:off x="-1808163" y="-1262063"/>
              <a:ext cx="493713" cy="103188"/>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3" tIns="46611" rIns="93223" bIns="46611" numCol="1" anchor="t" anchorCtr="0" compatLnSpc="1">
              <a:prstTxWarp prst="textNoShape">
                <a:avLst/>
              </a:prstTxWarp>
            </a:bodyPr>
            <a:lstStyle/>
            <a:p>
              <a:pPr defTabSz="913914"/>
              <a:endParaRPr lang="en-US" sz="1835" dirty="0">
                <a:solidFill>
                  <a:srgbClr val="000000"/>
                </a:solidFill>
              </a:endParaRPr>
            </a:p>
          </p:txBody>
        </p:sp>
        <p:sp>
          <p:nvSpPr>
            <p:cNvPr id="13" name="Freeform 8"/>
            <p:cNvSpPr>
              <a:spLocks/>
            </p:cNvSpPr>
            <p:nvPr/>
          </p:nvSpPr>
          <p:spPr bwMode="auto">
            <a:xfrm>
              <a:off x="-2168525" y="-2038350"/>
              <a:ext cx="1193800" cy="828675"/>
            </a:xfrm>
            <a:custGeom>
              <a:avLst/>
              <a:gdLst>
                <a:gd name="T0" fmla="*/ 527 w 537"/>
                <a:gd name="T1" fmla="*/ 373 h 373"/>
                <a:gd name="T2" fmla="*/ 537 w 537"/>
                <a:gd name="T3" fmla="*/ 362 h 373"/>
                <a:gd name="T4" fmla="*/ 537 w 537"/>
                <a:gd name="T5" fmla="*/ 11 h 373"/>
                <a:gd name="T6" fmla="*/ 527 w 537"/>
                <a:gd name="T7" fmla="*/ 0 h 373"/>
                <a:gd name="T8" fmla="*/ 11 w 537"/>
                <a:gd name="T9" fmla="*/ 0 h 373"/>
                <a:gd name="T10" fmla="*/ 0 w 537"/>
                <a:gd name="T11" fmla="*/ 11 h 373"/>
                <a:gd name="T12" fmla="*/ 0 w 537"/>
                <a:gd name="T13" fmla="*/ 362 h 373"/>
                <a:gd name="T14" fmla="*/ 11 w 537"/>
                <a:gd name="T15" fmla="*/ 373 h 373"/>
                <a:gd name="T16" fmla="*/ 527 w 537"/>
                <a:gd name="T17" fmla="*/ 37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7" h="373">
                  <a:moveTo>
                    <a:pt x="527" y="373"/>
                  </a:moveTo>
                  <a:cubicBezTo>
                    <a:pt x="532" y="373"/>
                    <a:pt x="537" y="368"/>
                    <a:pt x="537" y="362"/>
                  </a:cubicBezTo>
                  <a:cubicBezTo>
                    <a:pt x="537" y="11"/>
                    <a:pt x="537" y="11"/>
                    <a:pt x="537" y="11"/>
                  </a:cubicBezTo>
                  <a:cubicBezTo>
                    <a:pt x="537" y="5"/>
                    <a:pt x="532" y="0"/>
                    <a:pt x="527" y="0"/>
                  </a:cubicBezTo>
                  <a:cubicBezTo>
                    <a:pt x="11" y="0"/>
                    <a:pt x="11" y="0"/>
                    <a:pt x="11" y="0"/>
                  </a:cubicBezTo>
                  <a:cubicBezTo>
                    <a:pt x="5" y="0"/>
                    <a:pt x="0" y="5"/>
                    <a:pt x="0" y="11"/>
                  </a:cubicBezTo>
                  <a:cubicBezTo>
                    <a:pt x="0" y="362"/>
                    <a:pt x="0" y="362"/>
                    <a:pt x="0" y="362"/>
                  </a:cubicBezTo>
                  <a:cubicBezTo>
                    <a:pt x="0" y="368"/>
                    <a:pt x="5" y="373"/>
                    <a:pt x="11" y="373"/>
                  </a:cubicBezTo>
                  <a:lnTo>
                    <a:pt x="527" y="37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3" tIns="46611" rIns="93223" bIns="46611" numCol="1" anchor="t" anchorCtr="0" compatLnSpc="1">
              <a:prstTxWarp prst="textNoShape">
                <a:avLst/>
              </a:prstTxWarp>
            </a:bodyPr>
            <a:lstStyle/>
            <a:p>
              <a:pPr defTabSz="913914"/>
              <a:endParaRPr lang="en-US" sz="1835" dirty="0">
                <a:solidFill>
                  <a:srgbClr val="000000"/>
                </a:solidFill>
              </a:endParaRPr>
            </a:p>
          </p:txBody>
        </p:sp>
        <p:sp>
          <p:nvSpPr>
            <p:cNvPr id="22" name="Rectangle 9"/>
            <p:cNvSpPr>
              <a:spLocks noChangeArrowheads="1"/>
            </p:cNvSpPr>
            <p:nvPr/>
          </p:nvSpPr>
          <p:spPr bwMode="auto">
            <a:xfrm>
              <a:off x="-2130425" y="-2000250"/>
              <a:ext cx="1117600" cy="633413"/>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23" tIns="46611" rIns="93223" bIns="46611" numCol="1" anchor="t" anchorCtr="0" compatLnSpc="1">
              <a:prstTxWarp prst="textNoShape">
                <a:avLst/>
              </a:prstTxWarp>
            </a:bodyPr>
            <a:lstStyle/>
            <a:p>
              <a:pPr defTabSz="913914"/>
              <a:endParaRPr lang="en-US" sz="1835" dirty="0">
                <a:solidFill>
                  <a:srgbClr val="000000"/>
                </a:solidFill>
              </a:endParaRPr>
            </a:p>
          </p:txBody>
        </p:sp>
        <p:sp>
          <p:nvSpPr>
            <p:cNvPr id="24" name="Rectangle 10"/>
            <p:cNvSpPr>
              <a:spLocks noChangeArrowheads="1"/>
            </p:cNvSpPr>
            <p:nvPr/>
          </p:nvSpPr>
          <p:spPr bwMode="auto">
            <a:xfrm>
              <a:off x="-2301875" y="-1039813"/>
              <a:ext cx="1477963" cy="555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23" tIns="46611" rIns="93223" bIns="46611" numCol="1" anchor="t" anchorCtr="0" compatLnSpc="1">
              <a:prstTxWarp prst="textNoShape">
                <a:avLst/>
              </a:prstTxWarp>
            </a:bodyPr>
            <a:lstStyle/>
            <a:p>
              <a:pPr defTabSz="913914"/>
              <a:endParaRPr lang="en-US" sz="1835" dirty="0">
                <a:solidFill>
                  <a:srgbClr val="000000"/>
                </a:solidFill>
              </a:endParaRPr>
            </a:p>
          </p:txBody>
        </p:sp>
        <p:sp>
          <p:nvSpPr>
            <p:cNvPr id="25" name="Freeform 11"/>
            <p:cNvSpPr>
              <a:spLocks/>
            </p:cNvSpPr>
            <p:nvPr/>
          </p:nvSpPr>
          <p:spPr bwMode="auto">
            <a:xfrm>
              <a:off x="-2301875" y="-1106488"/>
              <a:ext cx="1477963" cy="66675"/>
            </a:xfrm>
            <a:custGeom>
              <a:avLst/>
              <a:gdLst>
                <a:gd name="T0" fmla="*/ 931 w 931"/>
                <a:gd name="T1" fmla="*/ 42 h 42"/>
                <a:gd name="T2" fmla="*/ 0 w 931"/>
                <a:gd name="T3" fmla="*/ 42 h 42"/>
                <a:gd name="T4" fmla="*/ 59 w 931"/>
                <a:gd name="T5" fmla="*/ 0 h 42"/>
                <a:gd name="T6" fmla="*/ 874 w 931"/>
                <a:gd name="T7" fmla="*/ 0 h 42"/>
                <a:gd name="T8" fmla="*/ 931 w 931"/>
                <a:gd name="T9" fmla="*/ 42 h 42"/>
              </a:gdLst>
              <a:ahLst/>
              <a:cxnLst>
                <a:cxn ang="0">
                  <a:pos x="T0" y="T1"/>
                </a:cxn>
                <a:cxn ang="0">
                  <a:pos x="T2" y="T3"/>
                </a:cxn>
                <a:cxn ang="0">
                  <a:pos x="T4" y="T5"/>
                </a:cxn>
                <a:cxn ang="0">
                  <a:pos x="T6" y="T7"/>
                </a:cxn>
                <a:cxn ang="0">
                  <a:pos x="T8" y="T9"/>
                </a:cxn>
              </a:cxnLst>
              <a:rect l="0" t="0" r="r" b="b"/>
              <a:pathLst>
                <a:path w="931" h="42">
                  <a:moveTo>
                    <a:pt x="931" y="42"/>
                  </a:moveTo>
                  <a:lnTo>
                    <a:pt x="0" y="42"/>
                  </a:lnTo>
                  <a:lnTo>
                    <a:pt x="59" y="0"/>
                  </a:lnTo>
                  <a:lnTo>
                    <a:pt x="874" y="0"/>
                  </a:lnTo>
                  <a:lnTo>
                    <a:pt x="931" y="4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3" tIns="46611" rIns="93223" bIns="46611" numCol="1" anchor="t" anchorCtr="0" compatLnSpc="1">
              <a:prstTxWarp prst="textNoShape">
                <a:avLst/>
              </a:prstTxWarp>
            </a:bodyPr>
            <a:lstStyle/>
            <a:p>
              <a:pPr defTabSz="913914"/>
              <a:endParaRPr lang="en-US" sz="1835" dirty="0">
                <a:solidFill>
                  <a:srgbClr val="000000"/>
                </a:solidFill>
              </a:endParaRPr>
            </a:p>
          </p:txBody>
        </p:sp>
      </p:grpSp>
      <p:sp>
        <p:nvSpPr>
          <p:cNvPr id="26" name="TextBox 25"/>
          <p:cNvSpPr txBox="1"/>
          <p:nvPr/>
        </p:nvSpPr>
        <p:spPr>
          <a:xfrm>
            <a:off x="5920060" y="4910429"/>
            <a:ext cx="6936014" cy="1093719"/>
          </a:xfrm>
          <a:prstGeom prst="rect">
            <a:avLst/>
          </a:prstGeom>
          <a:noFill/>
        </p:spPr>
        <p:txBody>
          <a:bodyPr wrap="square" lIns="179090" tIns="143271" rIns="179090" bIns="179090" rtlCol="0" anchor="t">
            <a:noAutofit/>
          </a:bodyPr>
          <a:lstStyle/>
          <a:p>
            <a:pPr defTabSz="565936"/>
            <a:r>
              <a:rPr lang="en-US" sz="3528" dirty="0">
                <a:gradFill>
                  <a:gsLst>
                    <a:gs pos="0">
                      <a:srgbClr val="FFFFFF"/>
                    </a:gs>
                    <a:gs pos="100000">
                      <a:srgbClr val="FFFFFF"/>
                    </a:gs>
                  </a:gsLst>
                  <a:lin ang="5400000" scaled="1"/>
                </a:gradFill>
                <a:latin typeface="Segoe UI Light" panose="020B0502040204020203" pitchFamily="34" charset="0"/>
                <a:cs typeface="Segoe UI Light" panose="020B0502040204020203" pitchFamily="34" charset="0"/>
              </a:rPr>
              <a:t>Get trained</a:t>
            </a:r>
            <a:br>
              <a:rPr lang="en-US" sz="3528" dirty="0">
                <a:gradFill>
                  <a:gsLst>
                    <a:gs pos="0">
                      <a:srgbClr val="FFFFFF"/>
                    </a:gs>
                    <a:gs pos="100000">
                      <a:srgbClr val="FFFFFF"/>
                    </a:gs>
                  </a:gsLst>
                  <a:lin ang="5400000" scaled="1"/>
                </a:gradFill>
                <a:latin typeface="Segoe UI Light" panose="020B0502040204020203" pitchFamily="34" charset="0"/>
                <a:cs typeface="Segoe UI Light" panose="020B0502040204020203" pitchFamily="34" charset="0"/>
              </a:rPr>
            </a:br>
            <a:r>
              <a:rPr lang="en-US" sz="1999" b="1" dirty="0">
                <a:gradFill>
                  <a:gsLst>
                    <a:gs pos="0">
                      <a:srgbClr val="FFFFFF"/>
                    </a:gs>
                    <a:gs pos="100000">
                      <a:srgbClr val="FFFFFF"/>
                    </a:gs>
                  </a:gsLst>
                  <a:lin ang="5400000" scaled="1"/>
                </a:gradFill>
                <a:cs typeface="Segoe UI" panose="020B0502040204020203" pitchFamily="34" charset="0"/>
              </a:rPr>
              <a:t>http://dev.office.com/training</a:t>
            </a:r>
          </a:p>
        </p:txBody>
      </p:sp>
    </p:spTree>
    <p:extLst>
      <p:ext uri="{BB962C8B-B14F-4D97-AF65-F5344CB8AC3E}">
        <p14:creationId xmlns:p14="http://schemas.microsoft.com/office/powerpoint/2010/main" val="2136280127"/>
      </p:ext>
    </p:extLst>
  </p:cSld>
  <p:clrMapOvr>
    <a:masterClrMapping/>
  </p:clrMapOvr>
  <mc:AlternateContent xmlns:mc="http://schemas.openxmlformats.org/markup-compatibility/2006" xmlns:p14="http://schemas.microsoft.com/office/powerpoint/2010/main">
    <mc:Choice Requires="p14">
      <p:transition spd="slow" p14:dur="1250">
        <p14:flip dir="r"/>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75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0"/>
                                        <p:tgtEl>
                                          <p:spTgt spid="4"/>
                                        </p:tgtEl>
                                      </p:cBhvr>
                                    </p:animEffect>
                                  </p:childTnLst>
                                </p:cTn>
                              </p:par>
                              <p:par>
                                <p:cTn id="8" presetID="10" presetClass="entr" presetSubtype="0" fill="hold" nodeType="withEffect">
                                  <p:stCondLst>
                                    <p:cond delay="40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2000"/>
                                        <p:tgtEl>
                                          <p:spTgt spid="6"/>
                                        </p:tgtEl>
                                      </p:cBhvr>
                                    </p:animEffect>
                                  </p:childTnLst>
                                </p:cTn>
                              </p:par>
                              <p:par>
                                <p:cTn id="11" presetID="10" presetClass="entr" presetSubtype="0" fill="hold" nodeType="withEffect">
                                  <p:stCondLst>
                                    <p:cond delay="8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2000"/>
                                        <p:tgtEl>
                                          <p:spTgt spid="5"/>
                                        </p:tgtEl>
                                      </p:cBhvr>
                                    </p:animEffect>
                                  </p:childTnLst>
                                </p:cTn>
                              </p:par>
                              <p:par>
                                <p:cTn id="14" presetID="53" presetClass="entr" presetSubtype="16" fill="hold" grpId="0" nodeType="withEffect">
                                  <p:stCondLst>
                                    <p:cond delay="800"/>
                                  </p:stCondLst>
                                  <p:childTnLst>
                                    <p:set>
                                      <p:cBhvr>
                                        <p:cTn id="15" dur="1" fill="hold">
                                          <p:stCondLst>
                                            <p:cond delay="0"/>
                                          </p:stCondLst>
                                        </p:cTn>
                                        <p:tgtEl>
                                          <p:spTgt spid="17"/>
                                        </p:tgtEl>
                                        <p:attrNameLst>
                                          <p:attrName>style.visibility</p:attrName>
                                        </p:attrNameLst>
                                      </p:cBhvr>
                                      <p:to>
                                        <p:strVal val="visible"/>
                                      </p:to>
                                    </p:set>
                                    <p:anim calcmode="lin" valueType="num">
                                      <p:cBhvr>
                                        <p:cTn id="16" dur="500" fill="hold"/>
                                        <p:tgtEl>
                                          <p:spTgt spid="17"/>
                                        </p:tgtEl>
                                        <p:attrNameLst>
                                          <p:attrName>ppt_w</p:attrName>
                                        </p:attrNameLst>
                                      </p:cBhvr>
                                      <p:tavLst>
                                        <p:tav tm="0">
                                          <p:val>
                                            <p:fltVal val="0"/>
                                          </p:val>
                                        </p:tav>
                                        <p:tav tm="100000">
                                          <p:val>
                                            <p:strVal val="#ppt_w"/>
                                          </p:val>
                                        </p:tav>
                                      </p:tavLst>
                                    </p:anim>
                                    <p:anim calcmode="lin" valueType="num">
                                      <p:cBhvr>
                                        <p:cTn id="17" dur="500" fill="hold"/>
                                        <p:tgtEl>
                                          <p:spTgt spid="17"/>
                                        </p:tgtEl>
                                        <p:attrNameLst>
                                          <p:attrName>ppt_h</p:attrName>
                                        </p:attrNameLst>
                                      </p:cBhvr>
                                      <p:tavLst>
                                        <p:tav tm="0">
                                          <p:val>
                                            <p:fltVal val="0"/>
                                          </p:val>
                                        </p:tav>
                                        <p:tav tm="100000">
                                          <p:val>
                                            <p:strVal val="#ppt_h"/>
                                          </p:val>
                                        </p:tav>
                                      </p:tavLst>
                                    </p:anim>
                                    <p:animEffect transition="in" filter="fade">
                                      <p:cBhvr>
                                        <p:cTn id="18" dur="500"/>
                                        <p:tgtEl>
                                          <p:spTgt spid="17"/>
                                        </p:tgtEl>
                                      </p:cBhvr>
                                    </p:animEffect>
                                  </p:childTnLst>
                                </p:cTn>
                              </p:par>
                              <p:par>
                                <p:cTn id="19" presetID="53" presetClass="entr" presetSubtype="16" fill="hold" grpId="0" nodeType="withEffect">
                                  <p:stCondLst>
                                    <p:cond delay="1000"/>
                                  </p:stCondLst>
                                  <p:childTnLst>
                                    <p:set>
                                      <p:cBhvr>
                                        <p:cTn id="20" dur="1" fill="hold">
                                          <p:stCondLst>
                                            <p:cond delay="0"/>
                                          </p:stCondLst>
                                        </p:cTn>
                                        <p:tgtEl>
                                          <p:spTgt spid="18"/>
                                        </p:tgtEl>
                                        <p:attrNameLst>
                                          <p:attrName>style.visibility</p:attrName>
                                        </p:attrNameLst>
                                      </p:cBhvr>
                                      <p:to>
                                        <p:strVal val="visible"/>
                                      </p:to>
                                    </p:set>
                                    <p:anim calcmode="lin" valueType="num">
                                      <p:cBhvr>
                                        <p:cTn id="21" dur="500" fill="hold"/>
                                        <p:tgtEl>
                                          <p:spTgt spid="18"/>
                                        </p:tgtEl>
                                        <p:attrNameLst>
                                          <p:attrName>ppt_w</p:attrName>
                                        </p:attrNameLst>
                                      </p:cBhvr>
                                      <p:tavLst>
                                        <p:tav tm="0">
                                          <p:val>
                                            <p:fltVal val="0"/>
                                          </p:val>
                                        </p:tav>
                                        <p:tav tm="100000">
                                          <p:val>
                                            <p:strVal val="#ppt_w"/>
                                          </p:val>
                                        </p:tav>
                                      </p:tavLst>
                                    </p:anim>
                                    <p:anim calcmode="lin" valueType="num">
                                      <p:cBhvr>
                                        <p:cTn id="22" dur="500" fill="hold"/>
                                        <p:tgtEl>
                                          <p:spTgt spid="18"/>
                                        </p:tgtEl>
                                        <p:attrNameLst>
                                          <p:attrName>ppt_h</p:attrName>
                                        </p:attrNameLst>
                                      </p:cBhvr>
                                      <p:tavLst>
                                        <p:tav tm="0">
                                          <p:val>
                                            <p:fltVal val="0"/>
                                          </p:val>
                                        </p:tav>
                                        <p:tav tm="100000">
                                          <p:val>
                                            <p:strVal val="#ppt_h"/>
                                          </p:val>
                                        </p:tav>
                                      </p:tavLst>
                                    </p:anim>
                                    <p:animEffect transition="in" filter="fade">
                                      <p:cBhvr>
                                        <p:cTn id="23" dur="500"/>
                                        <p:tgtEl>
                                          <p:spTgt spid="18"/>
                                        </p:tgtEl>
                                      </p:cBhvr>
                                    </p:animEffect>
                                  </p:childTnLst>
                                </p:cTn>
                              </p:par>
                              <p:par>
                                <p:cTn id="24" presetID="53" presetClass="entr" presetSubtype="16" fill="hold" nodeType="withEffect">
                                  <p:stCondLst>
                                    <p:cond delay="1200"/>
                                  </p:stCondLst>
                                  <p:childTnLst>
                                    <p:set>
                                      <p:cBhvr>
                                        <p:cTn id="25" dur="1" fill="hold">
                                          <p:stCondLst>
                                            <p:cond delay="0"/>
                                          </p:stCondLst>
                                        </p:cTn>
                                        <p:tgtEl>
                                          <p:spTgt spid="16"/>
                                        </p:tgtEl>
                                        <p:attrNameLst>
                                          <p:attrName>style.visibility</p:attrName>
                                        </p:attrNameLst>
                                      </p:cBhvr>
                                      <p:to>
                                        <p:strVal val="visible"/>
                                      </p:to>
                                    </p:set>
                                    <p:anim calcmode="lin" valueType="num">
                                      <p:cBhvr>
                                        <p:cTn id="26" dur="500" fill="hold"/>
                                        <p:tgtEl>
                                          <p:spTgt spid="16"/>
                                        </p:tgtEl>
                                        <p:attrNameLst>
                                          <p:attrName>ppt_w</p:attrName>
                                        </p:attrNameLst>
                                      </p:cBhvr>
                                      <p:tavLst>
                                        <p:tav tm="0">
                                          <p:val>
                                            <p:fltVal val="0"/>
                                          </p:val>
                                        </p:tav>
                                        <p:tav tm="100000">
                                          <p:val>
                                            <p:strVal val="#ppt_w"/>
                                          </p:val>
                                        </p:tav>
                                      </p:tavLst>
                                    </p:anim>
                                    <p:anim calcmode="lin" valueType="num">
                                      <p:cBhvr>
                                        <p:cTn id="27" dur="500" fill="hold"/>
                                        <p:tgtEl>
                                          <p:spTgt spid="16"/>
                                        </p:tgtEl>
                                        <p:attrNameLst>
                                          <p:attrName>ppt_h</p:attrName>
                                        </p:attrNameLst>
                                      </p:cBhvr>
                                      <p:tavLst>
                                        <p:tav tm="0">
                                          <p:val>
                                            <p:fltVal val="0"/>
                                          </p:val>
                                        </p:tav>
                                        <p:tav tm="100000">
                                          <p:val>
                                            <p:strVal val="#ppt_h"/>
                                          </p:val>
                                        </p:tav>
                                      </p:tavLst>
                                    </p:anim>
                                    <p:animEffect transition="in" filter="fade">
                                      <p:cBhvr>
                                        <p:cTn id="28" dur="500"/>
                                        <p:tgtEl>
                                          <p:spTgt spid="16"/>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9"/>
                                        </p:tgtEl>
                                        <p:attrNameLst>
                                          <p:attrName>style.visibility</p:attrName>
                                        </p:attrNameLst>
                                      </p:cBhvr>
                                      <p:to>
                                        <p:strVal val="visible"/>
                                      </p:to>
                                    </p:set>
                                    <p:animEffect transition="in" filter="fade">
                                      <p:cBhvr>
                                        <p:cTn id="31" dur="1000"/>
                                        <p:tgtEl>
                                          <p:spTgt spid="19"/>
                                        </p:tgtEl>
                                      </p:cBhvr>
                                    </p:animEffect>
                                  </p:childTnLst>
                                </p:cTn>
                              </p:par>
                              <p:par>
                                <p:cTn id="32" presetID="63" presetClass="path" presetSubtype="0" decel="100000" fill="hold" grpId="1" nodeType="withEffect">
                                  <p:stCondLst>
                                    <p:cond delay="0"/>
                                  </p:stCondLst>
                                  <p:childTnLst>
                                    <p:animMotion origin="layout" path="M -0.02409 -3.33333E-6 L 8.33333E-7 -3.33333E-6 " pathEditMode="relative" rAng="0" ptsTypes="AA">
                                      <p:cBhvr>
                                        <p:cTn id="33" dur="1000" fill="hold"/>
                                        <p:tgtEl>
                                          <p:spTgt spid="19"/>
                                        </p:tgtEl>
                                        <p:attrNameLst>
                                          <p:attrName>ppt_x</p:attrName>
                                          <p:attrName>ppt_y</p:attrName>
                                        </p:attrNameLst>
                                      </p:cBhvr>
                                      <p:rCtr x="1198" y="0"/>
                                    </p:animMotion>
                                  </p:childTnLst>
                                </p:cTn>
                              </p:par>
                              <p:par>
                                <p:cTn id="34" presetID="10" presetClass="entr" presetSubtype="0" fill="hold" grpId="0" nodeType="withEffect">
                                  <p:stCondLst>
                                    <p:cond delay="0"/>
                                  </p:stCondLst>
                                  <p:childTnLst>
                                    <p:set>
                                      <p:cBhvr>
                                        <p:cTn id="35" dur="1" fill="hold">
                                          <p:stCondLst>
                                            <p:cond delay="0"/>
                                          </p:stCondLst>
                                        </p:cTn>
                                        <p:tgtEl>
                                          <p:spTgt spid="20"/>
                                        </p:tgtEl>
                                        <p:attrNameLst>
                                          <p:attrName>style.visibility</p:attrName>
                                        </p:attrNameLst>
                                      </p:cBhvr>
                                      <p:to>
                                        <p:strVal val="visible"/>
                                      </p:to>
                                    </p:set>
                                    <p:animEffect transition="in" filter="fade">
                                      <p:cBhvr>
                                        <p:cTn id="36" dur="1000"/>
                                        <p:tgtEl>
                                          <p:spTgt spid="20"/>
                                        </p:tgtEl>
                                      </p:cBhvr>
                                    </p:animEffect>
                                  </p:childTnLst>
                                </p:cTn>
                              </p:par>
                              <p:par>
                                <p:cTn id="37" presetID="63" presetClass="path" presetSubtype="0" decel="100000" fill="hold" grpId="1" nodeType="withEffect">
                                  <p:stCondLst>
                                    <p:cond delay="0"/>
                                  </p:stCondLst>
                                  <p:childTnLst>
                                    <p:animMotion origin="layout" path="M -0.02408 -4.81481E-6 L 5E-6 -4.81481E-6 " pathEditMode="relative" rAng="0" ptsTypes="AA">
                                      <p:cBhvr>
                                        <p:cTn id="38" dur="1000" fill="hold"/>
                                        <p:tgtEl>
                                          <p:spTgt spid="20"/>
                                        </p:tgtEl>
                                        <p:attrNameLst>
                                          <p:attrName>ppt_x</p:attrName>
                                          <p:attrName>ppt_y</p:attrName>
                                        </p:attrNameLst>
                                      </p:cBhvr>
                                      <p:rCtr x="1198" y="0"/>
                                    </p:animMotion>
                                  </p:childTnLst>
                                </p:cTn>
                              </p:par>
                              <p:par>
                                <p:cTn id="39" presetID="10" presetClass="entr" presetSubtype="0" fill="hold" nodeType="withEffect">
                                  <p:stCondLst>
                                    <p:cond delay="750"/>
                                  </p:stCondLst>
                                  <p:childTnLst>
                                    <p:set>
                                      <p:cBhvr>
                                        <p:cTn id="40" dur="1" fill="hold">
                                          <p:stCondLst>
                                            <p:cond delay="0"/>
                                          </p:stCondLst>
                                        </p:cTn>
                                        <p:tgtEl>
                                          <p:spTgt spid="28"/>
                                        </p:tgtEl>
                                        <p:attrNameLst>
                                          <p:attrName>style.visibility</p:attrName>
                                        </p:attrNameLst>
                                      </p:cBhvr>
                                      <p:to>
                                        <p:strVal val="visible"/>
                                      </p:to>
                                    </p:set>
                                    <p:animEffect transition="in" filter="fade">
                                      <p:cBhvr>
                                        <p:cTn id="41" dur="1000"/>
                                        <p:tgtEl>
                                          <p:spTgt spid="28"/>
                                        </p:tgtEl>
                                      </p:cBhvr>
                                    </p:animEffect>
                                  </p:childTnLst>
                                </p:cTn>
                              </p:par>
                              <p:par>
                                <p:cTn id="42" presetID="63" presetClass="path" presetSubtype="0" decel="100000" fill="hold" nodeType="withEffect">
                                  <p:stCondLst>
                                    <p:cond delay="750"/>
                                  </p:stCondLst>
                                  <p:childTnLst>
                                    <p:animMotion origin="layout" path="M -0.0241 2.59259E-6 L 4.92837E-6 2.59259E-6 " pathEditMode="relative" rAng="0" ptsTypes="AA">
                                      <p:cBhvr>
                                        <p:cTn id="43" dur="1000" fill="hold"/>
                                        <p:tgtEl>
                                          <p:spTgt spid="28"/>
                                        </p:tgtEl>
                                        <p:attrNameLst>
                                          <p:attrName>ppt_x</p:attrName>
                                          <p:attrName>ppt_y</p:attrName>
                                        </p:attrNameLst>
                                      </p:cBhvr>
                                      <p:rCtr x="1198" y="0"/>
                                    </p:animMotion>
                                  </p:childTnLst>
                                </p:cTn>
                              </p:par>
                              <p:par>
                                <p:cTn id="44" presetID="10" presetClass="entr" presetSubtype="0" fill="hold" grpId="0" nodeType="withEffect">
                                  <p:stCondLst>
                                    <p:cond delay="0"/>
                                  </p:stCondLst>
                                  <p:childTnLst>
                                    <p:set>
                                      <p:cBhvr>
                                        <p:cTn id="45" dur="1" fill="hold">
                                          <p:stCondLst>
                                            <p:cond delay="0"/>
                                          </p:stCondLst>
                                        </p:cTn>
                                        <p:tgtEl>
                                          <p:spTgt spid="26"/>
                                        </p:tgtEl>
                                        <p:attrNameLst>
                                          <p:attrName>style.visibility</p:attrName>
                                        </p:attrNameLst>
                                      </p:cBhvr>
                                      <p:to>
                                        <p:strVal val="visible"/>
                                      </p:to>
                                    </p:set>
                                    <p:animEffect transition="in" filter="fade">
                                      <p:cBhvr>
                                        <p:cTn id="46" dur="1000"/>
                                        <p:tgtEl>
                                          <p:spTgt spid="26"/>
                                        </p:tgtEl>
                                      </p:cBhvr>
                                    </p:animEffect>
                                  </p:childTnLst>
                                </p:cTn>
                              </p:par>
                              <p:par>
                                <p:cTn id="47" presetID="63" presetClass="path" presetSubtype="0" decel="100000" fill="hold" grpId="1" nodeType="withEffect">
                                  <p:stCondLst>
                                    <p:cond delay="0"/>
                                  </p:stCondLst>
                                  <p:childTnLst>
                                    <p:animMotion origin="layout" path="M -0.02409 -3.33333E-6 L -2.29167E-6 -3.33333E-6 " pathEditMode="relative" rAng="0" ptsTypes="AA">
                                      <p:cBhvr>
                                        <p:cTn id="48" dur="1000" fill="hold"/>
                                        <p:tgtEl>
                                          <p:spTgt spid="26"/>
                                        </p:tgtEl>
                                        <p:attrNameLst>
                                          <p:attrName>ppt_x</p:attrName>
                                          <p:attrName>ppt_y</p:attrName>
                                        </p:attrNameLst>
                                      </p:cBhvr>
                                      <p:rCtr x="119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P spid="19" grpId="0"/>
      <p:bldP spid="19" grpId="1"/>
      <p:bldP spid="20" grpId="0"/>
      <p:bldP spid="20" grpId="1"/>
      <p:bldP spid="26" grpId="0"/>
      <p:bldP spid="26" grpId="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oup 21"/>
          <p:cNvGrpSpPr/>
          <p:nvPr/>
        </p:nvGrpSpPr>
        <p:grpSpPr>
          <a:xfrm>
            <a:off x="7921881" y="1175541"/>
            <a:ext cx="4349533" cy="5330840"/>
            <a:chOff x="8082836" y="1198016"/>
            <a:chExt cx="4437906" cy="5439151"/>
          </a:xfrm>
        </p:grpSpPr>
        <p:grpSp>
          <p:nvGrpSpPr>
            <p:cNvPr id="79" name="Group 78"/>
            <p:cNvGrpSpPr/>
            <p:nvPr/>
          </p:nvGrpSpPr>
          <p:grpSpPr>
            <a:xfrm>
              <a:off x="8082836" y="1198016"/>
              <a:ext cx="4437906" cy="5439151"/>
              <a:chOff x="8082836" y="1198016"/>
              <a:chExt cx="4437906" cy="5439151"/>
            </a:xfrm>
          </p:grpSpPr>
          <p:sp>
            <p:nvSpPr>
              <p:cNvPr id="50" name="Rectangle 49"/>
              <p:cNvSpPr/>
              <p:nvPr/>
            </p:nvSpPr>
            <p:spPr bwMode="auto">
              <a:xfrm>
                <a:off x="8199022" y="1198016"/>
                <a:ext cx="3888159" cy="5439151"/>
              </a:xfrm>
              <a:prstGeom prst="rect">
                <a:avLst/>
              </a:prstGeom>
              <a:solidFill>
                <a:srgbClr val="0072C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771" tIns="146217" rIns="182771" bIns="146217" numCol="1" rtlCol="0" anchor="t" anchorCtr="0" compatLnSpc="1">
                <a:prstTxWarp prst="textNoShape">
                  <a:avLst/>
                </a:prstTxWarp>
              </a:bodyPr>
              <a:lstStyle/>
              <a:p>
                <a:pPr defTabSz="913298" fontAlgn="base">
                  <a:spcBef>
                    <a:spcPct val="0"/>
                  </a:spcBef>
                  <a:spcAft>
                    <a:spcPct val="0"/>
                  </a:spcAft>
                </a:pPr>
                <a:r>
                  <a:rPr lang="en-US" sz="2744" dirty="0">
                    <a:gradFill>
                      <a:gsLst>
                        <a:gs pos="0">
                          <a:srgbClr val="FFFFFF"/>
                        </a:gs>
                        <a:gs pos="100000">
                          <a:srgbClr val="FFFFFF"/>
                        </a:gs>
                      </a:gsLst>
                      <a:lin ang="5400000" scaled="0"/>
                    </a:gradFill>
                    <a:latin typeface="Segoe UI Light"/>
                  </a:rPr>
                  <a:t>FY15</a:t>
                </a:r>
              </a:p>
            </p:txBody>
          </p:sp>
          <p:sp>
            <p:nvSpPr>
              <p:cNvPr id="46" name="Pentagon 45"/>
              <p:cNvSpPr/>
              <p:nvPr/>
            </p:nvSpPr>
            <p:spPr bwMode="auto">
              <a:xfrm>
                <a:off x="8199022" y="1313673"/>
                <a:ext cx="1966357" cy="602085"/>
              </a:xfrm>
              <a:prstGeom prst="homePlat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09" tIns="44809" rIns="44809" bIns="44809" numCol="1" spcCol="0" rtlCol="0" fromWordArt="0" anchor="ctr" anchorCtr="0" forceAA="0" compatLnSpc="1">
                <a:prstTxWarp prst="textNoShape">
                  <a:avLst/>
                </a:prstTxWarp>
                <a:noAutofit/>
              </a:bodyPr>
              <a:lstStyle/>
              <a:p>
                <a:pPr algn="ctr" defTabSz="895822" fontAlgn="base">
                  <a:spcBef>
                    <a:spcPct val="0"/>
                  </a:spcBef>
                  <a:spcAft>
                    <a:spcPct val="0"/>
                  </a:spcAft>
                </a:pPr>
                <a:r>
                  <a:rPr lang="en-US" sz="2399" dirty="0">
                    <a:solidFill>
                      <a:srgbClr val="DC3C00"/>
                    </a:solidFill>
                    <a:latin typeface="Segoe UI Semilight" panose="020B0402040204020203" pitchFamily="34" charset="0"/>
                    <a:cs typeface="Segoe UI Semilight" panose="020B0402040204020203" pitchFamily="34" charset="0"/>
                  </a:rPr>
                  <a:t>Today</a:t>
                </a:r>
              </a:p>
            </p:txBody>
          </p:sp>
          <p:sp>
            <p:nvSpPr>
              <p:cNvPr id="51" name="TextBox 50"/>
              <p:cNvSpPr txBox="1"/>
              <p:nvPr/>
            </p:nvSpPr>
            <p:spPr>
              <a:xfrm>
                <a:off x="9556801" y="2148383"/>
                <a:ext cx="2963941" cy="771332"/>
              </a:xfrm>
              <a:prstGeom prst="rect">
                <a:avLst/>
              </a:prstGeom>
              <a:noFill/>
            </p:spPr>
            <p:txBody>
              <a:bodyPr wrap="square" rtlCol="0">
                <a:spAutoFit/>
              </a:bodyPr>
              <a:lstStyle/>
              <a:p>
                <a:pPr defTabSz="913914" fontAlgn="base">
                  <a:spcBef>
                    <a:spcPct val="0"/>
                  </a:spcBef>
                  <a:spcAft>
                    <a:spcPct val="0"/>
                  </a:spcAft>
                </a:pPr>
                <a:r>
                  <a:rPr lang="en-US" sz="2352"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Extend Office </a:t>
                </a:r>
                <a:r>
                  <a:rPr lang="en-US" sz="1960" dirty="0">
                    <a:gradFill>
                      <a:gsLst>
                        <a:gs pos="0">
                          <a:srgbClr val="505050"/>
                        </a:gs>
                        <a:gs pos="100000">
                          <a:srgbClr val="505050"/>
                        </a:gs>
                      </a:gsLst>
                      <a:lin ang="5400000" scaled="1"/>
                    </a:gradFill>
                    <a:latin typeface="Segoe UI Semibold" panose="020B0702040204020203" pitchFamily="34" charset="0"/>
                    <a:cs typeface="Segoe UI Semibold" panose="020B0702040204020203" pitchFamily="34" charset="0"/>
                  </a:rPr>
                  <a:t/>
                </a:r>
                <a:br>
                  <a:rPr lang="en-US" sz="1960" dirty="0">
                    <a:gradFill>
                      <a:gsLst>
                        <a:gs pos="0">
                          <a:srgbClr val="505050"/>
                        </a:gs>
                        <a:gs pos="100000">
                          <a:srgbClr val="505050"/>
                        </a:gs>
                      </a:gsLst>
                      <a:lin ang="5400000" scaled="1"/>
                    </a:gradFill>
                    <a:latin typeface="Segoe UI Semibold" panose="020B0702040204020203" pitchFamily="34" charset="0"/>
                    <a:cs typeface="Segoe UI Semibold" panose="020B0702040204020203" pitchFamily="34" charset="0"/>
                  </a:rPr>
                </a:br>
                <a:r>
                  <a:rPr lang="en-US" sz="1798"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across endpoints</a:t>
                </a:r>
              </a:p>
            </p:txBody>
          </p:sp>
          <p:grpSp>
            <p:nvGrpSpPr>
              <p:cNvPr id="44" name="Group 43"/>
              <p:cNvGrpSpPr/>
              <p:nvPr/>
            </p:nvGrpSpPr>
            <p:grpSpPr>
              <a:xfrm>
                <a:off x="9727579" y="5299511"/>
                <a:ext cx="2227304" cy="1169551"/>
                <a:chOff x="8450560" y="5207208"/>
                <a:chExt cx="2227304" cy="1169551"/>
              </a:xfrm>
            </p:grpSpPr>
            <p:pic>
              <p:nvPicPr>
                <p:cNvPr id="32" name="Picture 14"/>
                <p:cNvPicPr>
                  <a:picLocks noChangeAspect="1" noChangeArrowheads="1"/>
                </p:cNvPicPr>
                <p:nvPr/>
              </p:nvPicPr>
              <p:blipFill>
                <a:blip r:embed="rId9" cstate="print">
                  <a:biLevel thresh="25000"/>
                  <a:extLst>
                    <a:ext uri="{28A0092B-C50C-407E-A947-70E740481C1C}">
                      <a14:useLocalDpi xmlns:a14="http://schemas.microsoft.com/office/drawing/2010/main" val="0"/>
                    </a:ext>
                  </a:extLst>
                </a:blip>
                <a:srcRect/>
                <a:stretch>
                  <a:fillRect/>
                </a:stretch>
              </p:blipFill>
              <p:spPr bwMode="auto">
                <a:xfrm>
                  <a:off x="9445809" y="5673232"/>
                  <a:ext cx="484158" cy="566399"/>
                </a:xfrm>
                <a:prstGeom prst="rect">
                  <a:avLst/>
                </a:prstGeom>
                <a:noFill/>
                <a:ln>
                  <a:noFill/>
                </a:ln>
                <a:effectLst/>
                <a:extLst/>
              </p:spPr>
            </p:pic>
            <p:sp>
              <p:nvSpPr>
                <p:cNvPr id="54" name="TextBox 53"/>
                <p:cNvSpPr txBox="1"/>
                <p:nvPr/>
              </p:nvSpPr>
              <p:spPr>
                <a:xfrm>
                  <a:off x="8450560" y="5207208"/>
                  <a:ext cx="2227304" cy="1169551"/>
                </a:xfrm>
                <a:prstGeom prst="rect">
                  <a:avLst/>
                </a:prstGeom>
                <a:noFill/>
              </p:spPr>
              <p:txBody>
                <a:bodyPr wrap="square" rtlCol="0">
                  <a:spAutoFit/>
                </a:bodyPr>
                <a:lstStyle/>
                <a:p>
                  <a:pPr defTabSz="913298" fontAlgn="base">
                    <a:lnSpc>
                      <a:spcPts val="2744"/>
                    </a:lnSpc>
                    <a:spcBef>
                      <a:spcPct val="0"/>
                    </a:spcBef>
                    <a:spcAft>
                      <a:spcPct val="0"/>
                    </a:spcAft>
                  </a:pPr>
                  <a:r>
                    <a:rPr lang="en-US" sz="2352"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Open platform</a:t>
                  </a:r>
                  <a:r>
                    <a:rPr lang="en-US" sz="1960" b="1" dirty="0">
                      <a:gradFill>
                        <a:gsLst>
                          <a:gs pos="0">
                            <a:srgbClr val="FFFFFF"/>
                          </a:gs>
                          <a:gs pos="100000">
                            <a:srgbClr val="FFFFFF"/>
                          </a:gs>
                        </a:gsLst>
                        <a:lin ang="5400000" scaled="0"/>
                      </a:gradFill>
                      <a:latin typeface="Segoe UI Light"/>
                    </a:rPr>
                    <a:t> </a:t>
                  </a:r>
                  <a:br>
                    <a:rPr lang="en-US" sz="1960" b="1" dirty="0">
                      <a:gradFill>
                        <a:gsLst>
                          <a:gs pos="0">
                            <a:srgbClr val="FFFFFF"/>
                          </a:gs>
                          <a:gs pos="100000">
                            <a:srgbClr val="FFFFFF"/>
                          </a:gs>
                        </a:gsLst>
                        <a:lin ang="5400000" scaled="0"/>
                      </a:gradFill>
                      <a:latin typeface="Segoe UI Light"/>
                    </a:rPr>
                  </a:br>
                  <a:r>
                    <a:rPr lang="en-US" sz="1798"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existing </a:t>
                  </a:r>
                  <a:br>
                    <a:rPr lang="en-US" sz="1798"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1798"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olutions</a:t>
                  </a:r>
                </a:p>
              </p:txBody>
            </p:sp>
          </p:grpSp>
          <p:pic>
            <p:nvPicPr>
              <p:cNvPr id="61" name="Picture 60"/>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rot="10800000" flipV="1">
                <a:off x="8308747" y="2209532"/>
                <a:ext cx="1153550" cy="577692"/>
              </a:xfrm>
              <a:prstGeom prst="rect">
                <a:avLst/>
              </a:prstGeom>
            </p:spPr>
          </p:pic>
          <p:grpSp>
            <p:nvGrpSpPr>
              <p:cNvPr id="63" name="Group 62"/>
              <p:cNvGrpSpPr/>
              <p:nvPr/>
            </p:nvGrpSpPr>
            <p:grpSpPr>
              <a:xfrm>
                <a:off x="9462299" y="3086746"/>
                <a:ext cx="2624883" cy="1547340"/>
                <a:chOff x="9376344" y="3050205"/>
                <a:chExt cx="2624883" cy="1547340"/>
              </a:xfrm>
            </p:grpSpPr>
            <p:grpSp>
              <p:nvGrpSpPr>
                <p:cNvPr id="55" name="Group 54"/>
                <p:cNvGrpSpPr/>
                <p:nvPr/>
              </p:nvGrpSpPr>
              <p:grpSpPr>
                <a:xfrm>
                  <a:off x="10058835" y="3050205"/>
                  <a:ext cx="1942392" cy="1547340"/>
                  <a:chOff x="9855585" y="2587674"/>
                  <a:chExt cx="1942392" cy="1547340"/>
                </a:xfrm>
              </p:grpSpPr>
              <p:sp>
                <p:nvSpPr>
                  <p:cNvPr id="52" name="TextBox 51"/>
                  <p:cNvSpPr txBox="1"/>
                  <p:nvPr/>
                </p:nvSpPr>
                <p:spPr>
                  <a:xfrm>
                    <a:off x="9855585" y="2820818"/>
                    <a:ext cx="1942392" cy="939488"/>
                  </a:xfrm>
                  <a:prstGeom prst="rect">
                    <a:avLst/>
                  </a:prstGeom>
                  <a:noFill/>
                </p:spPr>
                <p:txBody>
                  <a:bodyPr wrap="square" rtlCol="0">
                    <a:spAutoFit/>
                  </a:bodyPr>
                  <a:lstStyle/>
                  <a:p>
                    <a:pPr defTabSz="913914" fontAlgn="base">
                      <a:spcBef>
                        <a:spcPct val="0"/>
                      </a:spcBef>
                      <a:spcAft>
                        <a:spcPct val="0"/>
                      </a:spcAft>
                    </a:pPr>
                    <a:r>
                      <a:rPr lang="en-US" sz="5395" dirty="0">
                        <a:gradFill>
                          <a:gsLst>
                            <a:gs pos="0">
                              <a:srgbClr val="FCD116"/>
                            </a:gs>
                            <a:gs pos="100000">
                              <a:srgbClr val="FCD116"/>
                            </a:gs>
                          </a:gsLst>
                          <a:lin ang="5400000" scaled="0"/>
                        </a:gradFill>
                        <a:latin typeface="Segoe UI Semilight" panose="020B0402040204020203" pitchFamily="34" charset="0"/>
                        <a:cs typeface="Segoe UI Semilight" panose="020B0402040204020203" pitchFamily="34" charset="0"/>
                      </a:rPr>
                      <a:t>all </a:t>
                    </a:r>
                  </a:p>
                </p:txBody>
              </p:sp>
              <p:sp>
                <p:nvSpPr>
                  <p:cNvPr id="49" name="TextBox 48"/>
                  <p:cNvSpPr txBox="1"/>
                  <p:nvPr/>
                </p:nvSpPr>
                <p:spPr>
                  <a:xfrm>
                    <a:off x="10082431" y="3570169"/>
                    <a:ext cx="1567386" cy="564845"/>
                  </a:xfrm>
                  <a:prstGeom prst="rect">
                    <a:avLst/>
                  </a:prstGeom>
                  <a:noFill/>
                </p:spPr>
                <p:txBody>
                  <a:bodyPr wrap="none" lIns="0" tIns="0" rIns="0" bIns="0" rtlCol="0">
                    <a:spAutoFit/>
                  </a:bodyPr>
                  <a:lstStyle/>
                  <a:p>
                    <a:pPr defTabSz="913914" fontAlgn="base">
                      <a:spcBef>
                        <a:spcPct val="0"/>
                      </a:spcBef>
                      <a:spcAft>
                        <a:spcPct val="0"/>
                      </a:spcAft>
                    </a:pPr>
                    <a:r>
                      <a:rPr lang="en-US" sz="1798"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worldwide </a:t>
                    </a:r>
                    <a:r>
                      <a:rPr lang="en-US" sz="1798" dirty="0" err="1">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evs</a:t>
                    </a:r>
                    <a:r>
                      <a:rPr lang="en-US" sz="1798"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
                    </a:r>
                    <a:br>
                      <a:rPr lang="en-US" sz="1798"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1798"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mp; partners</a:t>
                    </a:r>
                  </a:p>
                </p:txBody>
              </p:sp>
              <p:sp>
                <p:nvSpPr>
                  <p:cNvPr id="57" name="TextBox 56"/>
                  <p:cNvSpPr txBox="1"/>
                  <p:nvPr/>
                </p:nvSpPr>
                <p:spPr>
                  <a:xfrm>
                    <a:off x="9977854" y="2587674"/>
                    <a:ext cx="871649" cy="369332"/>
                  </a:xfrm>
                  <a:prstGeom prst="rect">
                    <a:avLst/>
                  </a:prstGeom>
                  <a:noFill/>
                </p:spPr>
                <p:txBody>
                  <a:bodyPr wrap="none" lIns="0" tIns="0" rIns="0" bIns="0" rtlCol="0">
                    <a:spAutoFit/>
                  </a:bodyPr>
                  <a:lstStyle/>
                  <a:p>
                    <a:pPr defTabSz="913914" fontAlgn="base">
                      <a:spcBef>
                        <a:spcPct val="0"/>
                      </a:spcBef>
                      <a:spcAft>
                        <a:spcPct val="0"/>
                      </a:spcAft>
                    </a:pPr>
                    <a:r>
                      <a:rPr lang="en-US" sz="2352"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Target</a:t>
                    </a:r>
                    <a:endParaRPr lang="en-US" sz="2352" dirty="0">
                      <a:gradFill>
                        <a:gsLst>
                          <a:gs pos="0">
                            <a:srgbClr val="505050"/>
                          </a:gs>
                          <a:gs pos="100000">
                            <a:srgbClr val="505050"/>
                          </a:gs>
                        </a:gsLst>
                        <a:lin ang="5400000" scaled="1"/>
                      </a:gradFill>
                      <a:latin typeface="Segoe UI Semilight" panose="020B0402040204020203" pitchFamily="34" charset="0"/>
                      <a:cs typeface="Segoe UI Semilight" panose="020B0402040204020203" pitchFamily="34" charset="0"/>
                    </a:endParaRPr>
                  </a:p>
                </p:txBody>
              </p:sp>
            </p:grpSp>
            <p:grpSp>
              <p:nvGrpSpPr>
                <p:cNvPr id="64" name="Group 63"/>
                <p:cNvGrpSpPr/>
                <p:nvPr>
                  <p:custDataLst>
                    <p:tags r:id="rId1"/>
                  </p:custDataLst>
                </p:nvPr>
              </p:nvGrpSpPr>
              <p:grpSpPr>
                <a:xfrm>
                  <a:off x="9376344" y="3169272"/>
                  <a:ext cx="714437" cy="838701"/>
                  <a:chOff x="9431927" y="8318500"/>
                  <a:chExt cx="1468166" cy="1719263"/>
                </a:xfrm>
              </p:grpSpPr>
              <p:grpSp>
                <p:nvGrpSpPr>
                  <p:cNvPr id="65" name="Group 64"/>
                  <p:cNvGrpSpPr/>
                  <p:nvPr/>
                </p:nvGrpSpPr>
                <p:grpSpPr>
                  <a:xfrm>
                    <a:off x="10071418" y="8318500"/>
                    <a:ext cx="828675" cy="1719263"/>
                    <a:chOff x="10040938" y="8318500"/>
                    <a:chExt cx="828675" cy="1719263"/>
                  </a:xfrm>
                </p:grpSpPr>
                <p:sp>
                  <p:nvSpPr>
                    <p:cNvPr id="71" name="Freeform 31"/>
                    <p:cNvSpPr>
                      <a:spLocks/>
                    </p:cNvSpPr>
                    <p:nvPr>
                      <p:custDataLst>
                        <p:tags r:id="rId3"/>
                      </p:custDataLst>
                    </p:nvPr>
                  </p:nvSpPr>
                  <p:spPr bwMode="auto">
                    <a:xfrm>
                      <a:off x="10040938" y="8318500"/>
                      <a:ext cx="828675" cy="1719263"/>
                    </a:xfrm>
                    <a:custGeom>
                      <a:avLst/>
                      <a:gdLst>
                        <a:gd name="T0" fmla="*/ 574 w 1044"/>
                        <a:gd name="T1" fmla="*/ 2161 h 2165"/>
                        <a:gd name="T2" fmla="*/ 635 w 1044"/>
                        <a:gd name="T3" fmla="*/ 2136 h 2165"/>
                        <a:gd name="T4" fmla="*/ 700 w 1044"/>
                        <a:gd name="T5" fmla="*/ 2098 h 2165"/>
                        <a:gd name="T6" fmla="*/ 755 w 1044"/>
                        <a:gd name="T7" fmla="*/ 2043 h 2165"/>
                        <a:gd name="T8" fmla="*/ 812 w 1044"/>
                        <a:gd name="T9" fmla="*/ 1980 h 2165"/>
                        <a:gd name="T10" fmla="*/ 862 w 1044"/>
                        <a:gd name="T11" fmla="*/ 1901 h 2165"/>
                        <a:gd name="T12" fmla="*/ 907 w 1044"/>
                        <a:gd name="T13" fmla="*/ 1809 h 2165"/>
                        <a:gd name="T14" fmla="*/ 947 w 1044"/>
                        <a:gd name="T15" fmla="*/ 1707 h 2165"/>
                        <a:gd name="T16" fmla="*/ 979 w 1044"/>
                        <a:gd name="T17" fmla="*/ 1596 h 2165"/>
                        <a:gd name="T18" fmla="*/ 1006 w 1044"/>
                        <a:gd name="T19" fmla="*/ 1477 h 2165"/>
                        <a:gd name="T20" fmla="*/ 1025 w 1044"/>
                        <a:gd name="T21" fmla="*/ 1351 h 2165"/>
                        <a:gd name="T22" fmla="*/ 1038 w 1044"/>
                        <a:gd name="T23" fmla="*/ 1218 h 2165"/>
                        <a:gd name="T24" fmla="*/ 1044 w 1044"/>
                        <a:gd name="T25" fmla="*/ 1081 h 2165"/>
                        <a:gd name="T26" fmla="*/ 1038 w 1044"/>
                        <a:gd name="T27" fmla="*/ 941 h 2165"/>
                        <a:gd name="T28" fmla="*/ 1025 w 1044"/>
                        <a:gd name="T29" fmla="*/ 811 h 2165"/>
                        <a:gd name="T30" fmla="*/ 1006 w 1044"/>
                        <a:gd name="T31" fmla="*/ 684 h 2165"/>
                        <a:gd name="T32" fmla="*/ 979 w 1044"/>
                        <a:gd name="T33" fmla="*/ 564 h 2165"/>
                        <a:gd name="T34" fmla="*/ 947 w 1044"/>
                        <a:gd name="T35" fmla="*/ 452 h 2165"/>
                        <a:gd name="T36" fmla="*/ 907 w 1044"/>
                        <a:gd name="T37" fmla="*/ 351 h 2165"/>
                        <a:gd name="T38" fmla="*/ 862 w 1044"/>
                        <a:gd name="T39" fmla="*/ 260 h 2165"/>
                        <a:gd name="T40" fmla="*/ 812 w 1044"/>
                        <a:gd name="T41" fmla="*/ 184 h 2165"/>
                        <a:gd name="T42" fmla="*/ 755 w 1044"/>
                        <a:gd name="T43" fmla="*/ 116 h 2165"/>
                        <a:gd name="T44" fmla="*/ 700 w 1044"/>
                        <a:gd name="T45" fmla="*/ 64 h 2165"/>
                        <a:gd name="T46" fmla="*/ 635 w 1044"/>
                        <a:gd name="T47" fmla="*/ 24 h 2165"/>
                        <a:gd name="T48" fmla="*/ 574 w 1044"/>
                        <a:gd name="T49" fmla="*/ 4 h 2165"/>
                        <a:gd name="T50" fmla="*/ 508 w 1044"/>
                        <a:gd name="T51" fmla="*/ 0 h 2165"/>
                        <a:gd name="T52" fmla="*/ 439 w 1044"/>
                        <a:gd name="T53" fmla="*/ 9 h 2165"/>
                        <a:gd name="T54" fmla="*/ 377 w 1044"/>
                        <a:gd name="T55" fmla="*/ 38 h 2165"/>
                        <a:gd name="T56" fmla="*/ 318 w 1044"/>
                        <a:gd name="T57" fmla="*/ 83 h 2165"/>
                        <a:gd name="T58" fmla="*/ 259 w 1044"/>
                        <a:gd name="T59" fmla="*/ 140 h 2165"/>
                        <a:gd name="T60" fmla="*/ 208 w 1044"/>
                        <a:gd name="T61" fmla="*/ 211 h 2165"/>
                        <a:gd name="T62" fmla="*/ 160 w 1044"/>
                        <a:gd name="T63" fmla="*/ 296 h 2165"/>
                        <a:gd name="T64" fmla="*/ 116 w 1044"/>
                        <a:gd name="T65" fmla="*/ 391 h 2165"/>
                        <a:gd name="T66" fmla="*/ 78 w 1044"/>
                        <a:gd name="T67" fmla="*/ 496 h 2165"/>
                        <a:gd name="T68" fmla="*/ 50 w 1044"/>
                        <a:gd name="T69" fmla="*/ 610 h 2165"/>
                        <a:gd name="T70" fmla="*/ 25 w 1044"/>
                        <a:gd name="T71" fmla="*/ 732 h 2165"/>
                        <a:gd name="T72" fmla="*/ 10 w 1044"/>
                        <a:gd name="T73" fmla="*/ 863 h 2165"/>
                        <a:gd name="T74" fmla="*/ 0 w 1044"/>
                        <a:gd name="T75" fmla="*/ 996 h 2165"/>
                        <a:gd name="T76" fmla="*/ 0 w 1044"/>
                        <a:gd name="T77" fmla="*/ 1135 h 2165"/>
                        <a:gd name="T78" fmla="*/ 6 w 1044"/>
                        <a:gd name="T79" fmla="*/ 1273 h 2165"/>
                        <a:gd name="T80" fmla="*/ 23 w 1044"/>
                        <a:gd name="T81" fmla="*/ 1403 h 2165"/>
                        <a:gd name="T82" fmla="*/ 44 w 1044"/>
                        <a:gd name="T83" fmla="*/ 1524 h 2165"/>
                        <a:gd name="T84" fmla="*/ 74 w 1044"/>
                        <a:gd name="T85" fmla="*/ 1642 h 2165"/>
                        <a:gd name="T86" fmla="*/ 109 w 1044"/>
                        <a:gd name="T87" fmla="*/ 1749 h 2165"/>
                        <a:gd name="T88" fmla="*/ 152 w 1044"/>
                        <a:gd name="T89" fmla="*/ 1847 h 2165"/>
                        <a:gd name="T90" fmla="*/ 198 w 1044"/>
                        <a:gd name="T91" fmla="*/ 1935 h 2165"/>
                        <a:gd name="T92" fmla="*/ 249 w 1044"/>
                        <a:gd name="T93" fmla="*/ 2005 h 2165"/>
                        <a:gd name="T94" fmla="*/ 306 w 1044"/>
                        <a:gd name="T95" fmla="*/ 2068 h 2165"/>
                        <a:gd name="T96" fmla="*/ 363 w 1044"/>
                        <a:gd name="T97" fmla="*/ 2115 h 2165"/>
                        <a:gd name="T98" fmla="*/ 428 w 1044"/>
                        <a:gd name="T99" fmla="*/ 2148 h 2165"/>
                        <a:gd name="T100" fmla="*/ 495 w 1044"/>
                        <a:gd name="T101" fmla="*/ 2165 h 2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44" h="2165">
                          <a:moveTo>
                            <a:pt x="523" y="2165"/>
                          </a:moveTo>
                          <a:lnTo>
                            <a:pt x="536" y="2165"/>
                          </a:lnTo>
                          <a:lnTo>
                            <a:pt x="548" y="2165"/>
                          </a:lnTo>
                          <a:lnTo>
                            <a:pt x="559" y="2163"/>
                          </a:lnTo>
                          <a:lnTo>
                            <a:pt x="574" y="2161"/>
                          </a:lnTo>
                          <a:lnTo>
                            <a:pt x="586" y="2155"/>
                          </a:lnTo>
                          <a:lnTo>
                            <a:pt x="597" y="2152"/>
                          </a:lnTo>
                          <a:lnTo>
                            <a:pt x="611" y="2148"/>
                          </a:lnTo>
                          <a:lnTo>
                            <a:pt x="626" y="2144"/>
                          </a:lnTo>
                          <a:lnTo>
                            <a:pt x="635" y="2136"/>
                          </a:lnTo>
                          <a:lnTo>
                            <a:pt x="651" y="2131"/>
                          </a:lnTo>
                          <a:lnTo>
                            <a:pt x="662" y="2123"/>
                          </a:lnTo>
                          <a:lnTo>
                            <a:pt x="675" y="2115"/>
                          </a:lnTo>
                          <a:lnTo>
                            <a:pt x="687" y="2106"/>
                          </a:lnTo>
                          <a:lnTo>
                            <a:pt x="700" y="2098"/>
                          </a:lnTo>
                          <a:lnTo>
                            <a:pt x="713" y="2089"/>
                          </a:lnTo>
                          <a:lnTo>
                            <a:pt x="725" y="2081"/>
                          </a:lnTo>
                          <a:lnTo>
                            <a:pt x="734" y="2068"/>
                          </a:lnTo>
                          <a:lnTo>
                            <a:pt x="748" y="2058"/>
                          </a:lnTo>
                          <a:lnTo>
                            <a:pt x="755" y="2043"/>
                          </a:lnTo>
                          <a:lnTo>
                            <a:pt x="770" y="2034"/>
                          </a:lnTo>
                          <a:lnTo>
                            <a:pt x="778" y="2020"/>
                          </a:lnTo>
                          <a:lnTo>
                            <a:pt x="789" y="2005"/>
                          </a:lnTo>
                          <a:lnTo>
                            <a:pt x="801" y="1992"/>
                          </a:lnTo>
                          <a:lnTo>
                            <a:pt x="812" y="1980"/>
                          </a:lnTo>
                          <a:lnTo>
                            <a:pt x="822" y="1963"/>
                          </a:lnTo>
                          <a:lnTo>
                            <a:pt x="833" y="1950"/>
                          </a:lnTo>
                          <a:lnTo>
                            <a:pt x="843" y="1935"/>
                          </a:lnTo>
                          <a:lnTo>
                            <a:pt x="852" y="1918"/>
                          </a:lnTo>
                          <a:lnTo>
                            <a:pt x="862" y="1901"/>
                          </a:lnTo>
                          <a:lnTo>
                            <a:pt x="873" y="1882"/>
                          </a:lnTo>
                          <a:lnTo>
                            <a:pt x="881" y="1865"/>
                          </a:lnTo>
                          <a:lnTo>
                            <a:pt x="892" y="1847"/>
                          </a:lnTo>
                          <a:lnTo>
                            <a:pt x="898" y="1828"/>
                          </a:lnTo>
                          <a:lnTo>
                            <a:pt x="907" y="1809"/>
                          </a:lnTo>
                          <a:lnTo>
                            <a:pt x="915" y="1790"/>
                          </a:lnTo>
                          <a:lnTo>
                            <a:pt x="924" y="1771"/>
                          </a:lnTo>
                          <a:lnTo>
                            <a:pt x="932" y="1749"/>
                          </a:lnTo>
                          <a:lnTo>
                            <a:pt x="938" y="1728"/>
                          </a:lnTo>
                          <a:lnTo>
                            <a:pt x="947" y="1707"/>
                          </a:lnTo>
                          <a:lnTo>
                            <a:pt x="953" y="1686"/>
                          </a:lnTo>
                          <a:lnTo>
                            <a:pt x="960" y="1665"/>
                          </a:lnTo>
                          <a:lnTo>
                            <a:pt x="968" y="1642"/>
                          </a:lnTo>
                          <a:lnTo>
                            <a:pt x="972" y="1617"/>
                          </a:lnTo>
                          <a:lnTo>
                            <a:pt x="979" y="1596"/>
                          </a:lnTo>
                          <a:lnTo>
                            <a:pt x="985" y="1574"/>
                          </a:lnTo>
                          <a:lnTo>
                            <a:pt x="991" y="1549"/>
                          </a:lnTo>
                          <a:lnTo>
                            <a:pt x="997" y="1524"/>
                          </a:lnTo>
                          <a:lnTo>
                            <a:pt x="1002" y="1503"/>
                          </a:lnTo>
                          <a:lnTo>
                            <a:pt x="1006" y="1477"/>
                          </a:lnTo>
                          <a:lnTo>
                            <a:pt x="1012" y="1454"/>
                          </a:lnTo>
                          <a:lnTo>
                            <a:pt x="1014" y="1427"/>
                          </a:lnTo>
                          <a:lnTo>
                            <a:pt x="1019" y="1403"/>
                          </a:lnTo>
                          <a:lnTo>
                            <a:pt x="1021" y="1376"/>
                          </a:lnTo>
                          <a:lnTo>
                            <a:pt x="1025" y="1351"/>
                          </a:lnTo>
                          <a:lnTo>
                            <a:pt x="1029" y="1325"/>
                          </a:lnTo>
                          <a:lnTo>
                            <a:pt x="1033" y="1298"/>
                          </a:lnTo>
                          <a:lnTo>
                            <a:pt x="1035" y="1273"/>
                          </a:lnTo>
                          <a:lnTo>
                            <a:pt x="1037" y="1245"/>
                          </a:lnTo>
                          <a:lnTo>
                            <a:pt x="1038" y="1218"/>
                          </a:lnTo>
                          <a:lnTo>
                            <a:pt x="1040" y="1192"/>
                          </a:lnTo>
                          <a:lnTo>
                            <a:pt x="1040" y="1163"/>
                          </a:lnTo>
                          <a:lnTo>
                            <a:pt x="1042" y="1135"/>
                          </a:lnTo>
                          <a:lnTo>
                            <a:pt x="1042" y="1110"/>
                          </a:lnTo>
                          <a:lnTo>
                            <a:pt x="1044" y="1081"/>
                          </a:lnTo>
                          <a:lnTo>
                            <a:pt x="1042" y="1055"/>
                          </a:lnTo>
                          <a:lnTo>
                            <a:pt x="1042" y="1026"/>
                          </a:lnTo>
                          <a:lnTo>
                            <a:pt x="1040" y="996"/>
                          </a:lnTo>
                          <a:lnTo>
                            <a:pt x="1040" y="971"/>
                          </a:lnTo>
                          <a:lnTo>
                            <a:pt x="1038" y="941"/>
                          </a:lnTo>
                          <a:lnTo>
                            <a:pt x="1037" y="914"/>
                          </a:lnTo>
                          <a:lnTo>
                            <a:pt x="1035" y="887"/>
                          </a:lnTo>
                          <a:lnTo>
                            <a:pt x="1033" y="863"/>
                          </a:lnTo>
                          <a:lnTo>
                            <a:pt x="1029" y="834"/>
                          </a:lnTo>
                          <a:lnTo>
                            <a:pt x="1025" y="811"/>
                          </a:lnTo>
                          <a:lnTo>
                            <a:pt x="1021" y="783"/>
                          </a:lnTo>
                          <a:lnTo>
                            <a:pt x="1019" y="758"/>
                          </a:lnTo>
                          <a:lnTo>
                            <a:pt x="1014" y="732"/>
                          </a:lnTo>
                          <a:lnTo>
                            <a:pt x="1012" y="707"/>
                          </a:lnTo>
                          <a:lnTo>
                            <a:pt x="1006" y="684"/>
                          </a:lnTo>
                          <a:lnTo>
                            <a:pt x="1002" y="659"/>
                          </a:lnTo>
                          <a:lnTo>
                            <a:pt x="997" y="635"/>
                          </a:lnTo>
                          <a:lnTo>
                            <a:pt x="991" y="610"/>
                          </a:lnTo>
                          <a:lnTo>
                            <a:pt x="985" y="587"/>
                          </a:lnTo>
                          <a:lnTo>
                            <a:pt x="979" y="564"/>
                          </a:lnTo>
                          <a:lnTo>
                            <a:pt x="972" y="541"/>
                          </a:lnTo>
                          <a:lnTo>
                            <a:pt x="968" y="519"/>
                          </a:lnTo>
                          <a:lnTo>
                            <a:pt x="960" y="496"/>
                          </a:lnTo>
                          <a:lnTo>
                            <a:pt x="953" y="475"/>
                          </a:lnTo>
                          <a:lnTo>
                            <a:pt x="947" y="452"/>
                          </a:lnTo>
                          <a:lnTo>
                            <a:pt x="938" y="431"/>
                          </a:lnTo>
                          <a:lnTo>
                            <a:pt x="932" y="410"/>
                          </a:lnTo>
                          <a:lnTo>
                            <a:pt x="924" y="391"/>
                          </a:lnTo>
                          <a:lnTo>
                            <a:pt x="915" y="370"/>
                          </a:lnTo>
                          <a:lnTo>
                            <a:pt x="907" y="351"/>
                          </a:lnTo>
                          <a:lnTo>
                            <a:pt x="898" y="332"/>
                          </a:lnTo>
                          <a:lnTo>
                            <a:pt x="892" y="315"/>
                          </a:lnTo>
                          <a:lnTo>
                            <a:pt x="881" y="296"/>
                          </a:lnTo>
                          <a:lnTo>
                            <a:pt x="873" y="279"/>
                          </a:lnTo>
                          <a:lnTo>
                            <a:pt x="862" y="260"/>
                          </a:lnTo>
                          <a:lnTo>
                            <a:pt x="852" y="245"/>
                          </a:lnTo>
                          <a:lnTo>
                            <a:pt x="843" y="226"/>
                          </a:lnTo>
                          <a:lnTo>
                            <a:pt x="833" y="211"/>
                          </a:lnTo>
                          <a:lnTo>
                            <a:pt x="822" y="197"/>
                          </a:lnTo>
                          <a:lnTo>
                            <a:pt x="812" y="184"/>
                          </a:lnTo>
                          <a:lnTo>
                            <a:pt x="801" y="167"/>
                          </a:lnTo>
                          <a:lnTo>
                            <a:pt x="789" y="154"/>
                          </a:lnTo>
                          <a:lnTo>
                            <a:pt x="778" y="140"/>
                          </a:lnTo>
                          <a:lnTo>
                            <a:pt x="770" y="127"/>
                          </a:lnTo>
                          <a:lnTo>
                            <a:pt x="755" y="116"/>
                          </a:lnTo>
                          <a:lnTo>
                            <a:pt x="748" y="104"/>
                          </a:lnTo>
                          <a:lnTo>
                            <a:pt x="734" y="93"/>
                          </a:lnTo>
                          <a:lnTo>
                            <a:pt x="725" y="83"/>
                          </a:lnTo>
                          <a:lnTo>
                            <a:pt x="713" y="72"/>
                          </a:lnTo>
                          <a:lnTo>
                            <a:pt x="700" y="64"/>
                          </a:lnTo>
                          <a:lnTo>
                            <a:pt x="687" y="53"/>
                          </a:lnTo>
                          <a:lnTo>
                            <a:pt x="675" y="47"/>
                          </a:lnTo>
                          <a:lnTo>
                            <a:pt x="662" y="38"/>
                          </a:lnTo>
                          <a:lnTo>
                            <a:pt x="651" y="30"/>
                          </a:lnTo>
                          <a:lnTo>
                            <a:pt x="635" y="24"/>
                          </a:lnTo>
                          <a:lnTo>
                            <a:pt x="626" y="21"/>
                          </a:lnTo>
                          <a:lnTo>
                            <a:pt x="611" y="13"/>
                          </a:lnTo>
                          <a:lnTo>
                            <a:pt x="597" y="9"/>
                          </a:lnTo>
                          <a:lnTo>
                            <a:pt x="586" y="5"/>
                          </a:lnTo>
                          <a:lnTo>
                            <a:pt x="574" y="4"/>
                          </a:lnTo>
                          <a:lnTo>
                            <a:pt x="559" y="2"/>
                          </a:lnTo>
                          <a:lnTo>
                            <a:pt x="548" y="0"/>
                          </a:lnTo>
                          <a:lnTo>
                            <a:pt x="536" y="0"/>
                          </a:lnTo>
                          <a:lnTo>
                            <a:pt x="523" y="0"/>
                          </a:lnTo>
                          <a:lnTo>
                            <a:pt x="508" y="0"/>
                          </a:lnTo>
                          <a:lnTo>
                            <a:pt x="495" y="0"/>
                          </a:lnTo>
                          <a:lnTo>
                            <a:pt x="479" y="2"/>
                          </a:lnTo>
                          <a:lnTo>
                            <a:pt x="468" y="4"/>
                          </a:lnTo>
                          <a:lnTo>
                            <a:pt x="453" y="5"/>
                          </a:lnTo>
                          <a:lnTo>
                            <a:pt x="439" y="9"/>
                          </a:lnTo>
                          <a:lnTo>
                            <a:pt x="428" y="13"/>
                          </a:lnTo>
                          <a:lnTo>
                            <a:pt x="415" y="21"/>
                          </a:lnTo>
                          <a:lnTo>
                            <a:pt x="400" y="24"/>
                          </a:lnTo>
                          <a:lnTo>
                            <a:pt x="390" y="30"/>
                          </a:lnTo>
                          <a:lnTo>
                            <a:pt x="377" y="38"/>
                          </a:lnTo>
                          <a:lnTo>
                            <a:pt x="363" y="47"/>
                          </a:lnTo>
                          <a:lnTo>
                            <a:pt x="352" y="53"/>
                          </a:lnTo>
                          <a:lnTo>
                            <a:pt x="341" y="64"/>
                          </a:lnTo>
                          <a:lnTo>
                            <a:pt x="327" y="72"/>
                          </a:lnTo>
                          <a:lnTo>
                            <a:pt x="318" y="83"/>
                          </a:lnTo>
                          <a:lnTo>
                            <a:pt x="306" y="93"/>
                          </a:lnTo>
                          <a:lnTo>
                            <a:pt x="295" y="104"/>
                          </a:lnTo>
                          <a:lnTo>
                            <a:pt x="282" y="116"/>
                          </a:lnTo>
                          <a:lnTo>
                            <a:pt x="272" y="127"/>
                          </a:lnTo>
                          <a:lnTo>
                            <a:pt x="259" y="140"/>
                          </a:lnTo>
                          <a:lnTo>
                            <a:pt x="249" y="154"/>
                          </a:lnTo>
                          <a:lnTo>
                            <a:pt x="238" y="167"/>
                          </a:lnTo>
                          <a:lnTo>
                            <a:pt x="228" y="184"/>
                          </a:lnTo>
                          <a:lnTo>
                            <a:pt x="217" y="197"/>
                          </a:lnTo>
                          <a:lnTo>
                            <a:pt x="208" y="211"/>
                          </a:lnTo>
                          <a:lnTo>
                            <a:pt x="198" y="226"/>
                          </a:lnTo>
                          <a:lnTo>
                            <a:pt x="189" y="245"/>
                          </a:lnTo>
                          <a:lnTo>
                            <a:pt x="179" y="260"/>
                          </a:lnTo>
                          <a:lnTo>
                            <a:pt x="169" y="279"/>
                          </a:lnTo>
                          <a:lnTo>
                            <a:pt x="160" y="296"/>
                          </a:lnTo>
                          <a:lnTo>
                            <a:pt x="152" y="315"/>
                          </a:lnTo>
                          <a:lnTo>
                            <a:pt x="143" y="332"/>
                          </a:lnTo>
                          <a:lnTo>
                            <a:pt x="133" y="351"/>
                          </a:lnTo>
                          <a:lnTo>
                            <a:pt x="126" y="370"/>
                          </a:lnTo>
                          <a:lnTo>
                            <a:pt x="116" y="391"/>
                          </a:lnTo>
                          <a:lnTo>
                            <a:pt x="109" y="410"/>
                          </a:lnTo>
                          <a:lnTo>
                            <a:pt x="101" y="431"/>
                          </a:lnTo>
                          <a:lnTo>
                            <a:pt x="95" y="452"/>
                          </a:lnTo>
                          <a:lnTo>
                            <a:pt x="88" y="475"/>
                          </a:lnTo>
                          <a:lnTo>
                            <a:pt x="78" y="496"/>
                          </a:lnTo>
                          <a:lnTo>
                            <a:pt x="74" y="519"/>
                          </a:lnTo>
                          <a:lnTo>
                            <a:pt x="65" y="541"/>
                          </a:lnTo>
                          <a:lnTo>
                            <a:pt x="59" y="564"/>
                          </a:lnTo>
                          <a:lnTo>
                            <a:pt x="55" y="587"/>
                          </a:lnTo>
                          <a:lnTo>
                            <a:pt x="50" y="610"/>
                          </a:lnTo>
                          <a:lnTo>
                            <a:pt x="44" y="635"/>
                          </a:lnTo>
                          <a:lnTo>
                            <a:pt x="40" y="659"/>
                          </a:lnTo>
                          <a:lnTo>
                            <a:pt x="36" y="684"/>
                          </a:lnTo>
                          <a:lnTo>
                            <a:pt x="31" y="707"/>
                          </a:lnTo>
                          <a:lnTo>
                            <a:pt x="25" y="732"/>
                          </a:lnTo>
                          <a:lnTo>
                            <a:pt x="23" y="758"/>
                          </a:lnTo>
                          <a:lnTo>
                            <a:pt x="17" y="783"/>
                          </a:lnTo>
                          <a:lnTo>
                            <a:pt x="15" y="811"/>
                          </a:lnTo>
                          <a:lnTo>
                            <a:pt x="12" y="834"/>
                          </a:lnTo>
                          <a:lnTo>
                            <a:pt x="10" y="863"/>
                          </a:lnTo>
                          <a:lnTo>
                            <a:pt x="6" y="887"/>
                          </a:lnTo>
                          <a:lnTo>
                            <a:pt x="6" y="914"/>
                          </a:lnTo>
                          <a:lnTo>
                            <a:pt x="2" y="941"/>
                          </a:lnTo>
                          <a:lnTo>
                            <a:pt x="2" y="971"/>
                          </a:lnTo>
                          <a:lnTo>
                            <a:pt x="0" y="996"/>
                          </a:lnTo>
                          <a:lnTo>
                            <a:pt x="0" y="1026"/>
                          </a:lnTo>
                          <a:lnTo>
                            <a:pt x="0" y="1055"/>
                          </a:lnTo>
                          <a:lnTo>
                            <a:pt x="0" y="1081"/>
                          </a:lnTo>
                          <a:lnTo>
                            <a:pt x="0" y="1110"/>
                          </a:lnTo>
                          <a:lnTo>
                            <a:pt x="0" y="1135"/>
                          </a:lnTo>
                          <a:lnTo>
                            <a:pt x="0" y="1163"/>
                          </a:lnTo>
                          <a:lnTo>
                            <a:pt x="2" y="1192"/>
                          </a:lnTo>
                          <a:lnTo>
                            <a:pt x="2" y="1218"/>
                          </a:lnTo>
                          <a:lnTo>
                            <a:pt x="6" y="1245"/>
                          </a:lnTo>
                          <a:lnTo>
                            <a:pt x="6" y="1273"/>
                          </a:lnTo>
                          <a:lnTo>
                            <a:pt x="10" y="1298"/>
                          </a:lnTo>
                          <a:lnTo>
                            <a:pt x="12" y="1325"/>
                          </a:lnTo>
                          <a:lnTo>
                            <a:pt x="15" y="1351"/>
                          </a:lnTo>
                          <a:lnTo>
                            <a:pt x="17" y="1376"/>
                          </a:lnTo>
                          <a:lnTo>
                            <a:pt x="23" y="1403"/>
                          </a:lnTo>
                          <a:lnTo>
                            <a:pt x="25" y="1427"/>
                          </a:lnTo>
                          <a:lnTo>
                            <a:pt x="31" y="1454"/>
                          </a:lnTo>
                          <a:lnTo>
                            <a:pt x="36" y="1477"/>
                          </a:lnTo>
                          <a:lnTo>
                            <a:pt x="40" y="1503"/>
                          </a:lnTo>
                          <a:lnTo>
                            <a:pt x="44" y="1524"/>
                          </a:lnTo>
                          <a:lnTo>
                            <a:pt x="50" y="1549"/>
                          </a:lnTo>
                          <a:lnTo>
                            <a:pt x="55" y="1574"/>
                          </a:lnTo>
                          <a:lnTo>
                            <a:pt x="59" y="1596"/>
                          </a:lnTo>
                          <a:lnTo>
                            <a:pt x="65" y="1617"/>
                          </a:lnTo>
                          <a:lnTo>
                            <a:pt x="74" y="1642"/>
                          </a:lnTo>
                          <a:lnTo>
                            <a:pt x="78" y="1665"/>
                          </a:lnTo>
                          <a:lnTo>
                            <a:pt x="88" y="1686"/>
                          </a:lnTo>
                          <a:lnTo>
                            <a:pt x="95" y="1707"/>
                          </a:lnTo>
                          <a:lnTo>
                            <a:pt x="101" y="1728"/>
                          </a:lnTo>
                          <a:lnTo>
                            <a:pt x="109" y="1749"/>
                          </a:lnTo>
                          <a:lnTo>
                            <a:pt x="116" y="1771"/>
                          </a:lnTo>
                          <a:lnTo>
                            <a:pt x="126" y="1790"/>
                          </a:lnTo>
                          <a:lnTo>
                            <a:pt x="133" y="1809"/>
                          </a:lnTo>
                          <a:lnTo>
                            <a:pt x="143" y="1828"/>
                          </a:lnTo>
                          <a:lnTo>
                            <a:pt x="152" y="1847"/>
                          </a:lnTo>
                          <a:lnTo>
                            <a:pt x="160" y="1865"/>
                          </a:lnTo>
                          <a:lnTo>
                            <a:pt x="169" y="1882"/>
                          </a:lnTo>
                          <a:lnTo>
                            <a:pt x="179" y="1901"/>
                          </a:lnTo>
                          <a:lnTo>
                            <a:pt x="189" y="1918"/>
                          </a:lnTo>
                          <a:lnTo>
                            <a:pt x="198" y="1935"/>
                          </a:lnTo>
                          <a:lnTo>
                            <a:pt x="208" y="1950"/>
                          </a:lnTo>
                          <a:lnTo>
                            <a:pt x="217" y="1963"/>
                          </a:lnTo>
                          <a:lnTo>
                            <a:pt x="228" y="1980"/>
                          </a:lnTo>
                          <a:lnTo>
                            <a:pt x="238" y="1992"/>
                          </a:lnTo>
                          <a:lnTo>
                            <a:pt x="249" y="2005"/>
                          </a:lnTo>
                          <a:lnTo>
                            <a:pt x="259" y="2020"/>
                          </a:lnTo>
                          <a:lnTo>
                            <a:pt x="272" y="2034"/>
                          </a:lnTo>
                          <a:lnTo>
                            <a:pt x="282" y="2043"/>
                          </a:lnTo>
                          <a:lnTo>
                            <a:pt x="295" y="2058"/>
                          </a:lnTo>
                          <a:lnTo>
                            <a:pt x="306" y="2068"/>
                          </a:lnTo>
                          <a:lnTo>
                            <a:pt x="318" y="2081"/>
                          </a:lnTo>
                          <a:lnTo>
                            <a:pt x="327" y="2089"/>
                          </a:lnTo>
                          <a:lnTo>
                            <a:pt x="341" y="2098"/>
                          </a:lnTo>
                          <a:lnTo>
                            <a:pt x="352" y="2106"/>
                          </a:lnTo>
                          <a:lnTo>
                            <a:pt x="363" y="2115"/>
                          </a:lnTo>
                          <a:lnTo>
                            <a:pt x="377" y="2123"/>
                          </a:lnTo>
                          <a:lnTo>
                            <a:pt x="390" y="2131"/>
                          </a:lnTo>
                          <a:lnTo>
                            <a:pt x="400" y="2136"/>
                          </a:lnTo>
                          <a:lnTo>
                            <a:pt x="415" y="2144"/>
                          </a:lnTo>
                          <a:lnTo>
                            <a:pt x="428" y="2148"/>
                          </a:lnTo>
                          <a:lnTo>
                            <a:pt x="439" y="2152"/>
                          </a:lnTo>
                          <a:lnTo>
                            <a:pt x="453" y="2155"/>
                          </a:lnTo>
                          <a:lnTo>
                            <a:pt x="468" y="2161"/>
                          </a:lnTo>
                          <a:lnTo>
                            <a:pt x="479" y="2163"/>
                          </a:lnTo>
                          <a:lnTo>
                            <a:pt x="495" y="2165"/>
                          </a:lnTo>
                          <a:lnTo>
                            <a:pt x="508" y="2165"/>
                          </a:lnTo>
                          <a:lnTo>
                            <a:pt x="523" y="2165"/>
                          </a:lnTo>
                          <a:lnTo>
                            <a:pt x="523" y="216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dirty="0">
                        <a:solidFill>
                          <a:srgbClr val="FFFFFF"/>
                        </a:solidFill>
                      </a:endParaRPr>
                    </a:p>
                  </p:txBody>
                </p:sp>
                <p:sp>
                  <p:nvSpPr>
                    <p:cNvPr id="72" name="Freeform 32"/>
                    <p:cNvSpPr>
                      <a:spLocks/>
                    </p:cNvSpPr>
                    <p:nvPr>
                      <p:custDataLst>
                        <p:tags r:id="rId4"/>
                      </p:custDataLst>
                    </p:nvPr>
                  </p:nvSpPr>
                  <p:spPr bwMode="auto">
                    <a:xfrm>
                      <a:off x="10171113" y="8512175"/>
                      <a:ext cx="523875" cy="1333500"/>
                    </a:xfrm>
                    <a:custGeom>
                      <a:avLst/>
                      <a:gdLst>
                        <a:gd name="T0" fmla="*/ 376 w 660"/>
                        <a:gd name="T1" fmla="*/ 1671 h 1680"/>
                        <a:gd name="T2" fmla="*/ 439 w 660"/>
                        <a:gd name="T3" fmla="*/ 1627 h 1680"/>
                        <a:gd name="T4" fmla="*/ 473 w 660"/>
                        <a:gd name="T5" fmla="*/ 1585 h 1680"/>
                        <a:gd name="T6" fmla="*/ 502 w 660"/>
                        <a:gd name="T7" fmla="*/ 1547 h 1680"/>
                        <a:gd name="T8" fmla="*/ 528 w 660"/>
                        <a:gd name="T9" fmla="*/ 1496 h 1680"/>
                        <a:gd name="T10" fmla="*/ 555 w 660"/>
                        <a:gd name="T11" fmla="*/ 1447 h 1680"/>
                        <a:gd name="T12" fmla="*/ 574 w 660"/>
                        <a:gd name="T13" fmla="*/ 1388 h 1680"/>
                        <a:gd name="T14" fmla="*/ 595 w 660"/>
                        <a:gd name="T15" fmla="*/ 1325 h 1680"/>
                        <a:gd name="T16" fmla="*/ 610 w 660"/>
                        <a:gd name="T17" fmla="*/ 1255 h 1680"/>
                        <a:gd name="T18" fmla="*/ 627 w 660"/>
                        <a:gd name="T19" fmla="*/ 1184 h 1680"/>
                        <a:gd name="T20" fmla="*/ 639 w 660"/>
                        <a:gd name="T21" fmla="*/ 1106 h 1680"/>
                        <a:gd name="T22" fmla="*/ 648 w 660"/>
                        <a:gd name="T23" fmla="*/ 1027 h 1680"/>
                        <a:gd name="T24" fmla="*/ 654 w 660"/>
                        <a:gd name="T25" fmla="*/ 943 h 1680"/>
                        <a:gd name="T26" fmla="*/ 658 w 660"/>
                        <a:gd name="T27" fmla="*/ 859 h 1680"/>
                        <a:gd name="T28" fmla="*/ 656 w 660"/>
                        <a:gd name="T29" fmla="*/ 772 h 1680"/>
                        <a:gd name="T30" fmla="*/ 650 w 660"/>
                        <a:gd name="T31" fmla="*/ 688 h 1680"/>
                        <a:gd name="T32" fmla="*/ 642 w 660"/>
                        <a:gd name="T33" fmla="*/ 605 h 1680"/>
                        <a:gd name="T34" fmla="*/ 633 w 660"/>
                        <a:gd name="T35" fmla="*/ 528 h 1680"/>
                        <a:gd name="T36" fmla="*/ 620 w 660"/>
                        <a:gd name="T37" fmla="*/ 452 h 1680"/>
                        <a:gd name="T38" fmla="*/ 604 w 660"/>
                        <a:gd name="T39" fmla="*/ 384 h 1680"/>
                        <a:gd name="T40" fmla="*/ 587 w 660"/>
                        <a:gd name="T41" fmla="*/ 317 h 1680"/>
                        <a:gd name="T42" fmla="*/ 566 w 660"/>
                        <a:gd name="T43" fmla="*/ 259 h 1680"/>
                        <a:gd name="T44" fmla="*/ 542 w 660"/>
                        <a:gd name="T45" fmla="*/ 202 h 1680"/>
                        <a:gd name="T46" fmla="*/ 517 w 660"/>
                        <a:gd name="T47" fmla="*/ 150 h 1680"/>
                        <a:gd name="T48" fmla="*/ 488 w 660"/>
                        <a:gd name="T49" fmla="*/ 106 h 1680"/>
                        <a:gd name="T50" fmla="*/ 462 w 660"/>
                        <a:gd name="T51" fmla="*/ 70 h 1680"/>
                        <a:gd name="T52" fmla="*/ 409 w 660"/>
                        <a:gd name="T53" fmla="*/ 23 h 1680"/>
                        <a:gd name="T54" fmla="*/ 342 w 660"/>
                        <a:gd name="T55" fmla="*/ 0 h 1680"/>
                        <a:gd name="T56" fmla="*/ 300 w 660"/>
                        <a:gd name="T57" fmla="*/ 0 h 1680"/>
                        <a:gd name="T58" fmla="*/ 241 w 660"/>
                        <a:gd name="T59" fmla="*/ 23 h 1680"/>
                        <a:gd name="T60" fmla="*/ 188 w 660"/>
                        <a:gd name="T61" fmla="*/ 70 h 1680"/>
                        <a:gd name="T62" fmla="*/ 160 w 660"/>
                        <a:gd name="T63" fmla="*/ 106 h 1680"/>
                        <a:gd name="T64" fmla="*/ 133 w 660"/>
                        <a:gd name="T65" fmla="*/ 150 h 1680"/>
                        <a:gd name="T66" fmla="*/ 110 w 660"/>
                        <a:gd name="T67" fmla="*/ 202 h 1680"/>
                        <a:gd name="T68" fmla="*/ 89 w 660"/>
                        <a:gd name="T69" fmla="*/ 259 h 1680"/>
                        <a:gd name="T70" fmla="*/ 68 w 660"/>
                        <a:gd name="T71" fmla="*/ 317 h 1680"/>
                        <a:gd name="T72" fmla="*/ 49 w 660"/>
                        <a:gd name="T73" fmla="*/ 384 h 1680"/>
                        <a:gd name="T74" fmla="*/ 34 w 660"/>
                        <a:gd name="T75" fmla="*/ 452 h 1680"/>
                        <a:gd name="T76" fmla="*/ 21 w 660"/>
                        <a:gd name="T77" fmla="*/ 528 h 1680"/>
                        <a:gd name="T78" fmla="*/ 9 w 660"/>
                        <a:gd name="T79" fmla="*/ 605 h 1680"/>
                        <a:gd name="T80" fmla="*/ 2 w 660"/>
                        <a:gd name="T81" fmla="*/ 688 h 1680"/>
                        <a:gd name="T82" fmla="*/ 0 w 660"/>
                        <a:gd name="T83" fmla="*/ 772 h 1680"/>
                        <a:gd name="T84" fmla="*/ 0 w 660"/>
                        <a:gd name="T85" fmla="*/ 859 h 1680"/>
                        <a:gd name="T86" fmla="*/ 0 w 660"/>
                        <a:gd name="T87" fmla="*/ 943 h 1680"/>
                        <a:gd name="T88" fmla="*/ 4 w 660"/>
                        <a:gd name="T89" fmla="*/ 1027 h 1680"/>
                        <a:gd name="T90" fmla="*/ 13 w 660"/>
                        <a:gd name="T91" fmla="*/ 1106 h 1680"/>
                        <a:gd name="T92" fmla="*/ 26 w 660"/>
                        <a:gd name="T93" fmla="*/ 1184 h 1680"/>
                        <a:gd name="T94" fmla="*/ 40 w 660"/>
                        <a:gd name="T95" fmla="*/ 1255 h 1680"/>
                        <a:gd name="T96" fmla="*/ 57 w 660"/>
                        <a:gd name="T97" fmla="*/ 1325 h 1680"/>
                        <a:gd name="T98" fmla="*/ 76 w 660"/>
                        <a:gd name="T99" fmla="*/ 1388 h 1680"/>
                        <a:gd name="T100" fmla="*/ 99 w 660"/>
                        <a:gd name="T101" fmla="*/ 1447 h 1680"/>
                        <a:gd name="T102" fmla="*/ 121 w 660"/>
                        <a:gd name="T103" fmla="*/ 1496 h 1680"/>
                        <a:gd name="T104" fmla="*/ 144 w 660"/>
                        <a:gd name="T105" fmla="*/ 1547 h 1680"/>
                        <a:gd name="T106" fmla="*/ 173 w 660"/>
                        <a:gd name="T107" fmla="*/ 1585 h 1680"/>
                        <a:gd name="T108" fmla="*/ 213 w 660"/>
                        <a:gd name="T109" fmla="*/ 1627 h 1680"/>
                        <a:gd name="T110" fmla="*/ 274 w 660"/>
                        <a:gd name="T111" fmla="*/ 1671 h 1680"/>
                        <a:gd name="T112" fmla="*/ 317 w 660"/>
                        <a:gd name="T113" fmla="*/ 1679 h 1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60" h="1680">
                          <a:moveTo>
                            <a:pt x="327" y="1680"/>
                          </a:moveTo>
                          <a:lnTo>
                            <a:pt x="342" y="1679"/>
                          </a:lnTo>
                          <a:lnTo>
                            <a:pt x="359" y="1677"/>
                          </a:lnTo>
                          <a:lnTo>
                            <a:pt x="376" y="1671"/>
                          </a:lnTo>
                          <a:lnTo>
                            <a:pt x="393" y="1663"/>
                          </a:lnTo>
                          <a:lnTo>
                            <a:pt x="409" y="1654"/>
                          </a:lnTo>
                          <a:lnTo>
                            <a:pt x="424" y="1641"/>
                          </a:lnTo>
                          <a:lnTo>
                            <a:pt x="439" y="1627"/>
                          </a:lnTo>
                          <a:lnTo>
                            <a:pt x="454" y="1616"/>
                          </a:lnTo>
                          <a:lnTo>
                            <a:pt x="462" y="1604"/>
                          </a:lnTo>
                          <a:lnTo>
                            <a:pt x="468" y="1597"/>
                          </a:lnTo>
                          <a:lnTo>
                            <a:pt x="473" y="1585"/>
                          </a:lnTo>
                          <a:lnTo>
                            <a:pt x="483" y="1578"/>
                          </a:lnTo>
                          <a:lnTo>
                            <a:pt x="488" y="1566"/>
                          </a:lnTo>
                          <a:lnTo>
                            <a:pt x="496" y="1557"/>
                          </a:lnTo>
                          <a:lnTo>
                            <a:pt x="502" y="1547"/>
                          </a:lnTo>
                          <a:lnTo>
                            <a:pt x="509" y="1536"/>
                          </a:lnTo>
                          <a:lnTo>
                            <a:pt x="517" y="1523"/>
                          </a:lnTo>
                          <a:lnTo>
                            <a:pt x="523" y="1511"/>
                          </a:lnTo>
                          <a:lnTo>
                            <a:pt x="528" y="1496"/>
                          </a:lnTo>
                          <a:lnTo>
                            <a:pt x="536" y="1487"/>
                          </a:lnTo>
                          <a:lnTo>
                            <a:pt x="542" y="1475"/>
                          </a:lnTo>
                          <a:lnTo>
                            <a:pt x="549" y="1460"/>
                          </a:lnTo>
                          <a:lnTo>
                            <a:pt x="555" y="1447"/>
                          </a:lnTo>
                          <a:lnTo>
                            <a:pt x="561" y="1435"/>
                          </a:lnTo>
                          <a:lnTo>
                            <a:pt x="566" y="1418"/>
                          </a:lnTo>
                          <a:lnTo>
                            <a:pt x="570" y="1405"/>
                          </a:lnTo>
                          <a:lnTo>
                            <a:pt x="574" y="1388"/>
                          </a:lnTo>
                          <a:lnTo>
                            <a:pt x="582" y="1374"/>
                          </a:lnTo>
                          <a:lnTo>
                            <a:pt x="587" y="1355"/>
                          </a:lnTo>
                          <a:lnTo>
                            <a:pt x="589" y="1340"/>
                          </a:lnTo>
                          <a:lnTo>
                            <a:pt x="595" y="1325"/>
                          </a:lnTo>
                          <a:lnTo>
                            <a:pt x="601" y="1310"/>
                          </a:lnTo>
                          <a:lnTo>
                            <a:pt x="604" y="1291"/>
                          </a:lnTo>
                          <a:lnTo>
                            <a:pt x="608" y="1274"/>
                          </a:lnTo>
                          <a:lnTo>
                            <a:pt x="610" y="1255"/>
                          </a:lnTo>
                          <a:lnTo>
                            <a:pt x="616" y="1238"/>
                          </a:lnTo>
                          <a:lnTo>
                            <a:pt x="620" y="1219"/>
                          </a:lnTo>
                          <a:lnTo>
                            <a:pt x="625" y="1201"/>
                          </a:lnTo>
                          <a:lnTo>
                            <a:pt x="627" y="1184"/>
                          </a:lnTo>
                          <a:lnTo>
                            <a:pt x="631" y="1167"/>
                          </a:lnTo>
                          <a:lnTo>
                            <a:pt x="633" y="1146"/>
                          </a:lnTo>
                          <a:lnTo>
                            <a:pt x="637" y="1127"/>
                          </a:lnTo>
                          <a:lnTo>
                            <a:pt x="639" y="1106"/>
                          </a:lnTo>
                          <a:lnTo>
                            <a:pt x="642" y="1087"/>
                          </a:lnTo>
                          <a:lnTo>
                            <a:pt x="642" y="1068"/>
                          </a:lnTo>
                          <a:lnTo>
                            <a:pt x="646" y="1047"/>
                          </a:lnTo>
                          <a:lnTo>
                            <a:pt x="648" y="1027"/>
                          </a:lnTo>
                          <a:lnTo>
                            <a:pt x="650" y="1008"/>
                          </a:lnTo>
                          <a:lnTo>
                            <a:pt x="650" y="985"/>
                          </a:lnTo>
                          <a:lnTo>
                            <a:pt x="652" y="964"/>
                          </a:lnTo>
                          <a:lnTo>
                            <a:pt x="654" y="943"/>
                          </a:lnTo>
                          <a:lnTo>
                            <a:pt x="656" y="924"/>
                          </a:lnTo>
                          <a:lnTo>
                            <a:pt x="656" y="901"/>
                          </a:lnTo>
                          <a:lnTo>
                            <a:pt x="658" y="880"/>
                          </a:lnTo>
                          <a:lnTo>
                            <a:pt x="658" y="859"/>
                          </a:lnTo>
                          <a:lnTo>
                            <a:pt x="660" y="838"/>
                          </a:lnTo>
                          <a:lnTo>
                            <a:pt x="658" y="816"/>
                          </a:lnTo>
                          <a:lnTo>
                            <a:pt x="658" y="795"/>
                          </a:lnTo>
                          <a:lnTo>
                            <a:pt x="656" y="772"/>
                          </a:lnTo>
                          <a:lnTo>
                            <a:pt x="656" y="751"/>
                          </a:lnTo>
                          <a:lnTo>
                            <a:pt x="654" y="730"/>
                          </a:lnTo>
                          <a:lnTo>
                            <a:pt x="652" y="711"/>
                          </a:lnTo>
                          <a:lnTo>
                            <a:pt x="650" y="688"/>
                          </a:lnTo>
                          <a:lnTo>
                            <a:pt x="650" y="669"/>
                          </a:lnTo>
                          <a:lnTo>
                            <a:pt x="648" y="646"/>
                          </a:lnTo>
                          <a:lnTo>
                            <a:pt x="646" y="625"/>
                          </a:lnTo>
                          <a:lnTo>
                            <a:pt x="642" y="605"/>
                          </a:lnTo>
                          <a:lnTo>
                            <a:pt x="642" y="587"/>
                          </a:lnTo>
                          <a:lnTo>
                            <a:pt x="639" y="568"/>
                          </a:lnTo>
                          <a:lnTo>
                            <a:pt x="637" y="549"/>
                          </a:lnTo>
                          <a:lnTo>
                            <a:pt x="633" y="528"/>
                          </a:lnTo>
                          <a:lnTo>
                            <a:pt x="631" y="509"/>
                          </a:lnTo>
                          <a:lnTo>
                            <a:pt x="627" y="490"/>
                          </a:lnTo>
                          <a:lnTo>
                            <a:pt x="625" y="471"/>
                          </a:lnTo>
                          <a:lnTo>
                            <a:pt x="620" y="452"/>
                          </a:lnTo>
                          <a:lnTo>
                            <a:pt x="616" y="435"/>
                          </a:lnTo>
                          <a:lnTo>
                            <a:pt x="610" y="416"/>
                          </a:lnTo>
                          <a:lnTo>
                            <a:pt x="608" y="401"/>
                          </a:lnTo>
                          <a:lnTo>
                            <a:pt x="604" y="384"/>
                          </a:lnTo>
                          <a:lnTo>
                            <a:pt x="601" y="367"/>
                          </a:lnTo>
                          <a:lnTo>
                            <a:pt x="595" y="350"/>
                          </a:lnTo>
                          <a:lnTo>
                            <a:pt x="589" y="335"/>
                          </a:lnTo>
                          <a:lnTo>
                            <a:pt x="587" y="317"/>
                          </a:lnTo>
                          <a:lnTo>
                            <a:pt x="582" y="302"/>
                          </a:lnTo>
                          <a:lnTo>
                            <a:pt x="574" y="285"/>
                          </a:lnTo>
                          <a:lnTo>
                            <a:pt x="570" y="272"/>
                          </a:lnTo>
                          <a:lnTo>
                            <a:pt x="566" y="259"/>
                          </a:lnTo>
                          <a:lnTo>
                            <a:pt x="561" y="245"/>
                          </a:lnTo>
                          <a:lnTo>
                            <a:pt x="555" y="230"/>
                          </a:lnTo>
                          <a:lnTo>
                            <a:pt x="549" y="215"/>
                          </a:lnTo>
                          <a:lnTo>
                            <a:pt x="542" y="202"/>
                          </a:lnTo>
                          <a:lnTo>
                            <a:pt x="536" y="188"/>
                          </a:lnTo>
                          <a:lnTo>
                            <a:pt x="528" y="175"/>
                          </a:lnTo>
                          <a:lnTo>
                            <a:pt x="523" y="164"/>
                          </a:lnTo>
                          <a:lnTo>
                            <a:pt x="517" y="150"/>
                          </a:lnTo>
                          <a:lnTo>
                            <a:pt x="509" y="143"/>
                          </a:lnTo>
                          <a:lnTo>
                            <a:pt x="502" y="127"/>
                          </a:lnTo>
                          <a:lnTo>
                            <a:pt x="496" y="118"/>
                          </a:lnTo>
                          <a:lnTo>
                            <a:pt x="488" y="106"/>
                          </a:lnTo>
                          <a:lnTo>
                            <a:pt x="483" y="99"/>
                          </a:lnTo>
                          <a:lnTo>
                            <a:pt x="473" y="89"/>
                          </a:lnTo>
                          <a:lnTo>
                            <a:pt x="468" y="80"/>
                          </a:lnTo>
                          <a:lnTo>
                            <a:pt x="462" y="70"/>
                          </a:lnTo>
                          <a:lnTo>
                            <a:pt x="454" y="63"/>
                          </a:lnTo>
                          <a:lnTo>
                            <a:pt x="439" y="48"/>
                          </a:lnTo>
                          <a:lnTo>
                            <a:pt x="424" y="34"/>
                          </a:lnTo>
                          <a:lnTo>
                            <a:pt x="409" y="23"/>
                          </a:lnTo>
                          <a:lnTo>
                            <a:pt x="393" y="15"/>
                          </a:lnTo>
                          <a:lnTo>
                            <a:pt x="376" y="6"/>
                          </a:lnTo>
                          <a:lnTo>
                            <a:pt x="359" y="2"/>
                          </a:lnTo>
                          <a:lnTo>
                            <a:pt x="342" y="0"/>
                          </a:lnTo>
                          <a:lnTo>
                            <a:pt x="327" y="0"/>
                          </a:lnTo>
                          <a:lnTo>
                            <a:pt x="317" y="0"/>
                          </a:lnTo>
                          <a:lnTo>
                            <a:pt x="308" y="0"/>
                          </a:lnTo>
                          <a:lnTo>
                            <a:pt x="300" y="0"/>
                          </a:lnTo>
                          <a:lnTo>
                            <a:pt x="291" y="2"/>
                          </a:lnTo>
                          <a:lnTo>
                            <a:pt x="274" y="6"/>
                          </a:lnTo>
                          <a:lnTo>
                            <a:pt x="258" y="15"/>
                          </a:lnTo>
                          <a:lnTo>
                            <a:pt x="241" y="23"/>
                          </a:lnTo>
                          <a:lnTo>
                            <a:pt x="226" y="34"/>
                          </a:lnTo>
                          <a:lnTo>
                            <a:pt x="213" y="48"/>
                          </a:lnTo>
                          <a:lnTo>
                            <a:pt x="198" y="63"/>
                          </a:lnTo>
                          <a:lnTo>
                            <a:pt x="188" y="70"/>
                          </a:lnTo>
                          <a:lnTo>
                            <a:pt x="180" y="80"/>
                          </a:lnTo>
                          <a:lnTo>
                            <a:pt x="173" y="89"/>
                          </a:lnTo>
                          <a:lnTo>
                            <a:pt x="167" y="99"/>
                          </a:lnTo>
                          <a:lnTo>
                            <a:pt x="160" y="106"/>
                          </a:lnTo>
                          <a:lnTo>
                            <a:pt x="152" y="118"/>
                          </a:lnTo>
                          <a:lnTo>
                            <a:pt x="144" y="127"/>
                          </a:lnTo>
                          <a:lnTo>
                            <a:pt x="140" y="143"/>
                          </a:lnTo>
                          <a:lnTo>
                            <a:pt x="133" y="150"/>
                          </a:lnTo>
                          <a:lnTo>
                            <a:pt x="127" y="164"/>
                          </a:lnTo>
                          <a:lnTo>
                            <a:pt x="121" y="175"/>
                          </a:lnTo>
                          <a:lnTo>
                            <a:pt x="116" y="188"/>
                          </a:lnTo>
                          <a:lnTo>
                            <a:pt x="110" y="202"/>
                          </a:lnTo>
                          <a:lnTo>
                            <a:pt x="104" y="215"/>
                          </a:lnTo>
                          <a:lnTo>
                            <a:pt x="99" y="230"/>
                          </a:lnTo>
                          <a:lnTo>
                            <a:pt x="93" y="245"/>
                          </a:lnTo>
                          <a:lnTo>
                            <a:pt x="89" y="259"/>
                          </a:lnTo>
                          <a:lnTo>
                            <a:pt x="82" y="272"/>
                          </a:lnTo>
                          <a:lnTo>
                            <a:pt x="76" y="285"/>
                          </a:lnTo>
                          <a:lnTo>
                            <a:pt x="74" y="302"/>
                          </a:lnTo>
                          <a:lnTo>
                            <a:pt x="68" y="317"/>
                          </a:lnTo>
                          <a:lnTo>
                            <a:pt x="63" y="335"/>
                          </a:lnTo>
                          <a:lnTo>
                            <a:pt x="57" y="350"/>
                          </a:lnTo>
                          <a:lnTo>
                            <a:pt x="53" y="367"/>
                          </a:lnTo>
                          <a:lnTo>
                            <a:pt x="49" y="384"/>
                          </a:lnTo>
                          <a:lnTo>
                            <a:pt x="44" y="401"/>
                          </a:lnTo>
                          <a:lnTo>
                            <a:pt x="40" y="416"/>
                          </a:lnTo>
                          <a:lnTo>
                            <a:pt x="38" y="435"/>
                          </a:lnTo>
                          <a:lnTo>
                            <a:pt x="34" y="452"/>
                          </a:lnTo>
                          <a:lnTo>
                            <a:pt x="30" y="471"/>
                          </a:lnTo>
                          <a:lnTo>
                            <a:pt x="26" y="490"/>
                          </a:lnTo>
                          <a:lnTo>
                            <a:pt x="25" y="509"/>
                          </a:lnTo>
                          <a:lnTo>
                            <a:pt x="21" y="528"/>
                          </a:lnTo>
                          <a:lnTo>
                            <a:pt x="17" y="549"/>
                          </a:lnTo>
                          <a:lnTo>
                            <a:pt x="13" y="568"/>
                          </a:lnTo>
                          <a:lnTo>
                            <a:pt x="13" y="587"/>
                          </a:lnTo>
                          <a:lnTo>
                            <a:pt x="9" y="605"/>
                          </a:lnTo>
                          <a:lnTo>
                            <a:pt x="7" y="625"/>
                          </a:lnTo>
                          <a:lnTo>
                            <a:pt x="4" y="646"/>
                          </a:lnTo>
                          <a:lnTo>
                            <a:pt x="4" y="669"/>
                          </a:lnTo>
                          <a:lnTo>
                            <a:pt x="2" y="688"/>
                          </a:lnTo>
                          <a:lnTo>
                            <a:pt x="2" y="711"/>
                          </a:lnTo>
                          <a:lnTo>
                            <a:pt x="0" y="730"/>
                          </a:lnTo>
                          <a:lnTo>
                            <a:pt x="0" y="751"/>
                          </a:lnTo>
                          <a:lnTo>
                            <a:pt x="0" y="772"/>
                          </a:lnTo>
                          <a:lnTo>
                            <a:pt x="0" y="795"/>
                          </a:lnTo>
                          <a:lnTo>
                            <a:pt x="0" y="816"/>
                          </a:lnTo>
                          <a:lnTo>
                            <a:pt x="0" y="838"/>
                          </a:lnTo>
                          <a:lnTo>
                            <a:pt x="0" y="859"/>
                          </a:lnTo>
                          <a:lnTo>
                            <a:pt x="0" y="880"/>
                          </a:lnTo>
                          <a:lnTo>
                            <a:pt x="0" y="901"/>
                          </a:lnTo>
                          <a:lnTo>
                            <a:pt x="0" y="924"/>
                          </a:lnTo>
                          <a:lnTo>
                            <a:pt x="0" y="943"/>
                          </a:lnTo>
                          <a:lnTo>
                            <a:pt x="2" y="964"/>
                          </a:lnTo>
                          <a:lnTo>
                            <a:pt x="2" y="985"/>
                          </a:lnTo>
                          <a:lnTo>
                            <a:pt x="4" y="1008"/>
                          </a:lnTo>
                          <a:lnTo>
                            <a:pt x="4" y="1027"/>
                          </a:lnTo>
                          <a:lnTo>
                            <a:pt x="7" y="1047"/>
                          </a:lnTo>
                          <a:lnTo>
                            <a:pt x="9" y="1068"/>
                          </a:lnTo>
                          <a:lnTo>
                            <a:pt x="13" y="1087"/>
                          </a:lnTo>
                          <a:lnTo>
                            <a:pt x="13" y="1106"/>
                          </a:lnTo>
                          <a:lnTo>
                            <a:pt x="17" y="1127"/>
                          </a:lnTo>
                          <a:lnTo>
                            <a:pt x="21" y="1146"/>
                          </a:lnTo>
                          <a:lnTo>
                            <a:pt x="25" y="1167"/>
                          </a:lnTo>
                          <a:lnTo>
                            <a:pt x="26" y="1184"/>
                          </a:lnTo>
                          <a:lnTo>
                            <a:pt x="30" y="1201"/>
                          </a:lnTo>
                          <a:lnTo>
                            <a:pt x="34" y="1219"/>
                          </a:lnTo>
                          <a:lnTo>
                            <a:pt x="38" y="1238"/>
                          </a:lnTo>
                          <a:lnTo>
                            <a:pt x="40" y="1255"/>
                          </a:lnTo>
                          <a:lnTo>
                            <a:pt x="44" y="1274"/>
                          </a:lnTo>
                          <a:lnTo>
                            <a:pt x="49" y="1291"/>
                          </a:lnTo>
                          <a:lnTo>
                            <a:pt x="53" y="1310"/>
                          </a:lnTo>
                          <a:lnTo>
                            <a:pt x="57" y="1325"/>
                          </a:lnTo>
                          <a:lnTo>
                            <a:pt x="63" y="1340"/>
                          </a:lnTo>
                          <a:lnTo>
                            <a:pt x="68" y="1355"/>
                          </a:lnTo>
                          <a:lnTo>
                            <a:pt x="74" y="1374"/>
                          </a:lnTo>
                          <a:lnTo>
                            <a:pt x="76" y="1388"/>
                          </a:lnTo>
                          <a:lnTo>
                            <a:pt x="82" y="1405"/>
                          </a:lnTo>
                          <a:lnTo>
                            <a:pt x="89" y="1418"/>
                          </a:lnTo>
                          <a:lnTo>
                            <a:pt x="93" y="1435"/>
                          </a:lnTo>
                          <a:lnTo>
                            <a:pt x="99" y="1447"/>
                          </a:lnTo>
                          <a:lnTo>
                            <a:pt x="104" y="1460"/>
                          </a:lnTo>
                          <a:lnTo>
                            <a:pt x="110" y="1475"/>
                          </a:lnTo>
                          <a:lnTo>
                            <a:pt x="116" y="1487"/>
                          </a:lnTo>
                          <a:lnTo>
                            <a:pt x="121" y="1496"/>
                          </a:lnTo>
                          <a:lnTo>
                            <a:pt x="127" y="1511"/>
                          </a:lnTo>
                          <a:lnTo>
                            <a:pt x="133" y="1523"/>
                          </a:lnTo>
                          <a:lnTo>
                            <a:pt x="140" y="1536"/>
                          </a:lnTo>
                          <a:lnTo>
                            <a:pt x="144" y="1547"/>
                          </a:lnTo>
                          <a:lnTo>
                            <a:pt x="152" y="1557"/>
                          </a:lnTo>
                          <a:lnTo>
                            <a:pt x="160" y="1566"/>
                          </a:lnTo>
                          <a:lnTo>
                            <a:pt x="167" y="1578"/>
                          </a:lnTo>
                          <a:lnTo>
                            <a:pt x="173" y="1585"/>
                          </a:lnTo>
                          <a:lnTo>
                            <a:pt x="180" y="1597"/>
                          </a:lnTo>
                          <a:lnTo>
                            <a:pt x="188" y="1604"/>
                          </a:lnTo>
                          <a:lnTo>
                            <a:pt x="198" y="1616"/>
                          </a:lnTo>
                          <a:lnTo>
                            <a:pt x="213" y="1627"/>
                          </a:lnTo>
                          <a:lnTo>
                            <a:pt x="226" y="1641"/>
                          </a:lnTo>
                          <a:lnTo>
                            <a:pt x="241" y="1654"/>
                          </a:lnTo>
                          <a:lnTo>
                            <a:pt x="258" y="1663"/>
                          </a:lnTo>
                          <a:lnTo>
                            <a:pt x="274" y="1671"/>
                          </a:lnTo>
                          <a:lnTo>
                            <a:pt x="291" y="1677"/>
                          </a:lnTo>
                          <a:lnTo>
                            <a:pt x="300" y="1677"/>
                          </a:lnTo>
                          <a:lnTo>
                            <a:pt x="308" y="1679"/>
                          </a:lnTo>
                          <a:lnTo>
                            <a:pt x="317" y="1679"/>
                          </a:lnTo>
                          <a:lnTo>
                            <a:pt x="327" y="1680"/>
                          </a:lnTo>
                          <a:lnTo>
                            <a:pt x="327" y="168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dirty="0">
                        <a:solidFill>
                          <a:srgbClr val="FFFFFF"/>
                        </a:solidFill>
                      </a:endParaRPr>
                    </a:p>
                  </p:txBody>
                </p:sp>
                <p:sp>
                  <p:nvSpPr>
                    <p:cNvPr id="73" name="Freeform 33"/>
                    <p:cNvSpPr>
                      <a:spLocks/>
                    </p:cNvSpPr>
                    <p:nvPr>
                      <p:custDataLst>
                        <p:tags r:id="rId5"/>
                      </p:custDataLst>
                    </p:nvPr>
                  </p:nvSpPr>
                  <p:spPr bwMode="auto">
                    <a:xfrm>
                      <a:off x="10274301" y="8772525"/>
                      <a:ext cx="284163" cy="809625"/>
                    </a:xfrm>
                    <a:custGeom>
                      <a:avLst/>
                      <a:gdLst>
                        <a:gd name="T0" fmla="*/ 221 w 357"/>
                        <a:gd name="T1" fmla="*/ 1002 h 1019"/>
                        <a:gd name="T2" fmla="*/ 251 w 357"/>
                        <a:gd name="T3" fmla="*/ 967 h 1019"/>
                        <a:gd name="T4" fmla="*/ 281 w 357"/>
                        <a:gd name="T5" fmla="*/ 914 h 1019"/>
                        <a:gd name="T6" fmla="*/ 304 w 357"/>
                        <a:gd name="T7" fmla="*/ 859 h 1019"/>
                        <a:gd name="T8" fmla="*/ 316 w 357"/>
                        <a:gd name="T9" fmla="*/ 821 h 1019"/>
                        <a:gd name="T10" fmla="*/ 325 w 357"/>
                        <a:gd name="T11" fmla="*/ 781 h 1019"/>
                        <a:gd name="T12" fmla="*/ 335 w 357"/>
                        <a:gd name="T13" fmla="*/ 739 h 1019"/>
                        <a:gd name="T14" fmla="*/ 340 w 357"/>
                        <a:gd name="T15" fmla="*/ 694 h 1019"/>
                        <a:gd name="T16" fmla="*/ 348 w 357"/>
                        <a:gd name="T17" fmla="*/ 646 h 1019"/>
                        <a:gd name="T18" fmla="*/ 352 w 357"/>
                        <a:gd name="T19" fmla="*/ 597 h 1019"/>
                        <a:gd name="T20" fmla="*/ 356 w 357"/>
                        <a:gd name="T21" fmla="*/ 545 h 1019"/>
                        <a:gd name="T22" fmla="*/ 356 w 357"/>
                        <a:gd name="T23" fmla="*/ 496 h 1019"/>
                        <a:gd name="T24" fmla="*/ 354 w 357"/>
                        <a:gd name="T25" fmla="*/ 443 h 1019"/>
                        <a:gd name="T26" fmla="*/ 352 w 357"/>
                        <a:gd name="T27" fmla="*/ 393 h 1019"/>
                        <a:gd name="T28" fmla="*/ 344 w 357"/>
                        <a:gd name="T29" fmla="*/ 346 h 1019"/>
                        <a:gd name="T30" fmla="*/ 338 w 357"/>
                        <a:gd name="T31" fmla="*/ 300 h 1019"/>
                        <a:gd name="T32" fmla="*/ 331 w 357"/>
                        <a:gd name="T33" fmla="*/ 257 h 1019"/>
                        <a:gd name="T34" fmla="*/ 319 w 357"/>
                        <a:gd name="T35" fmla="*/ 215 h 1019"/>
                        <a:gd name="T36" fmla="*/ 310 w 357"/>
                        <a:gd name="T37" fmla="*/ 177 h 1019"/>
                        <a:gd name="T38" fmla="*/ 298 w 357"/>
                        <a:gd name="T39" fmla="*/ 141 h 1019"/>
                        <a:gd name="T40" fmla="*/ 281 w 357"/>
                        <a:gd name="T41" fmla="*/ 99 h 1019"/>
                        <a:gd name="T42" fmla="*/ 251 w 357"/>
                        <a:gd name="T43" fmla="*/ 49 h 1019"/>
                        <a:gd name="T44" fmla="*/ 221 w 357"/>
                        <a:gd name="T45" fmla="*/ 15 h 1019"/>
                        <a:gd name="T46" fmla="*/ 169 w 357"/>
                        <a:gd name="T47" fmla="*/ 0 h 1019"/>
                        <a:gd name="T48" fmla="*/ 131 w 357"/>
                        <a:gd name="T49" fmla="*/ 15 h 1019"/>
                        <a:gd name="T50" fmla="*/ 99 w 357"/>
                        <a:gd name="T51" fmla="*/ 49 h 1019"/>
                        <a:gd name="T52" fmla="*/ 67 w 357"/>
                        <a:gd name="T53" fmla="*/ 99 h 1019"/>
                        <a:gd name="T54" fmla="*/ 51 w 357"/>
                        <a:gd name="T55" fmla="*/ 141 h 1019"/>
                        <a:gd name="T56" fmla="*/ 40 w 357"/>
                        <a:gd name="T57" fmla="*/ 177 h 1019"/>
                        <a:gd name="T58" fmla="*/ 30 w 357"/>
                        <a:gd name="T59" fmla="*/ 215 h 1019"/>
                        <a:gd name="T60" fmla="*/ 21 w 357"/>
                        <a:gd name="T61" fmla="*/ 257 h 1019"/>
                        <a:gd name="T62" fmla="*/ 13 w 357"/>
                        <a:gd name="T63" fmla="*/ 300 h 1019"/>
                        <a:gd name="T64" fmla="*/ 6 w 357"/>
                        <a:gd name="T65" fmla="*/ 346 h 1019"/>
                        <a:gd name="T66" fmla="*/ 2 w 357"/>
                        <a:gd name="T67" fmla="*/ 393 h 1019"/>
                        <a:gd name="T68" fmla="*/ 0 w 357"/>
                        <a:gd name="T69" fmla="*/ 443 h 1019"/>
                        <a:gd name="T70" fmla="*/ 0 w 357"/>
                        <a:gd name="T71" fmla="*/ 496 h 1019"/>
                        <a:gd name="T72" fmla="*/ 0 w 357"/>
                        <a:gd name="T73" fmla="*/ 545 h 1019"/>
                        <a:gd name="T74" fmla="*/ 0 w 357"/>
                        <a:gd name="T75" fmla="*/ 597 h 1019"/>
                        <a:gd name="T76" fmla="*/ 4 w 357"/>
                        <a:gd name="T77" fmla="*/ 646 h 1019"/>
                        <a:gd name="T78" fmla="*/ 9 w 357"/>
                        <a:gd name="T79" fmla="*/ 694 h 1019"/>
                        <a:gd name="T80" fmla="*/ 15 w 357"/>
                        <a:gd name="T81" fmla="*/ 739 h 1019"/>
                        <a:gd name="T82" fmla="*/ 25 w 357"/>
                        <a:gd name="T83" fmla="*/ 781 h 1019"/>
                        <a:gd name="T84" fmla="*/ 34 w 357"/>
                        <a:gd name="T85" fmla="*/ 821 h 1019"/>
                        <a:gd name="T86" fmla="*/ 46 w 357"/>
                        <a:gd name="T87" fmla="*/ 859 h 1019"/>
                        <a:gd name="T88" fmla="*/ 67 w 357"/>
                        <a:gd name="T89" fmla="*/ 914 h 1019"/>
                        <a:gd name="T90" fmla="*/ 99 w 357"/>
                        <a:gd name="T91" fmla="*/ 967 h 1019"/>
                        <a:gd name="T92" fmla="*/ 131 w 357"/>
                        <a:gd name="T93" fmla="*/ 1002 h 1019"/>
                        <a:gd name="T94" fmla="*/ 169 w 357"/>
                        <a:gd name="T95" fmla="*/ 1017 h 10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57" h="1019">
                          <a:moveTo>
                            <a:pt x="179" y="1019"/>
                          </a:moveTo>
                          <a:lnTo>
                            <a:pt x="194" y="1015"/>
                          </a:lnTo>
                          <a:lnTo>
                            <a:pt x="211" y="1005"/>
                          </a:lnTo>
                          <a:lnTo>
                            <a:pt x="221" y="1002"/>
                          </a:lnTo>
                          <a:lnTo>
                            <a:pt x="228" y="994"/>
                          </a:lnTo>
                          <a:lnTo>
                            <a:pt x="236" y="986"/>
                          </a:lnTo>
                          <a:lnTo>
                            <a:pt x="245" y="977"/>
                          </a:lnTo>
                          <a:lnTo>
                            <a:pt x="251" y="967"/>
                          </a:lnTo>
                          <a:lnTo>
                            <a:pt x="260" y="954"/>
                          </a:lnTo>
                          <a:lnTo>
                            <a:pt x="266" y="943"/>
                          </a:lnTo>
                          <a:lnTo>
                            <a:pt x="276" y="929"/>
                          </a:lnTo>
                          <a:lnTo>
                            <a:pt x="281" y="914"/>
                          </a:lnTo>
                          <a:lnTo>
                            <a:pt x="289" y="899"/>
                          </a:lnTo>
                          <a:lnTo>
                            <a:pt x="297" y="884"/>
                          </a:lnTo>
                          <a:lnTo>
                            <a:pt x="302" y="867"/>
                          </a:lnTo>
                          <a:lnTo>
                            <a:pt x="304" y="859"/>
                          </a:lnTo>
                          <a:lnTo>
                            <a:pt x="308" y="848"/>
                          </a:lnTo>
                          <a:lnTo>
                            <a:pt x="310" y="840"/>
                          </a:lnTo>
                          <a:lnTo>
                            <a:pt x="314" y="829"/>
                          </a:lnTo>
                          <a:lnTo>
                            <a:pt x="316" y="821"/>
                          </a:lnTo>
                          <a:lnTo>
                            <a:pt x="318" y="810"/>
                          </a:lnTo>
                          <a:lnTo>
                            <a:pt x="319" y="802"/>
                          </a:lnTo>
                          <a:lnTo>
                            <a:pt x="323" y="793"/>
                          </a:lnTo>
                          <a:lnTo>
                            <a:pt x="325" y="781"/>
                          </a:lnTo>
                          <a:lnTo>
                            <a:pt x="329" y="770"/>
                          </a:lnTo>
                          <a:lnTo>
                            <a:pt x="331" y="758"/>
                          </a:lnTo>
                          <a:lnTo>
                            <a:pt x="335" y="749"/>
                          </a:lnTo>
                          <a:lnTo>
                            <a:pt x="335" y="739"/>
                          </a:lnTo>
                          <a:lnTo>
                            <a:pt x="337" y="726"/>
                          </a:lnTo>
                          <a:lnTo>
                            <a:pt x="338" y="717"/>
                          </a:lnTo>
                          <a:lnTo>
                            <a:pt x="340" y="705"/>
                          </a:lnTo>
                          <a:lnTo>
                            <a:pt x="340" y="694"/>
                          </a:lnTo>
                          <a:lnTo>
                            <a:pt x="342" y="684"/>
                          </a:lnTo>
                          <a:lnTo>
                            <a:pt x="344" y="669"/>
                          </a:lnTo>
                          <a:lnTo>
                            <a:pt x="346" y="660"/>
                          </a:lnTo>
                          <a:lnTo>
                            <a:pt x="348" y="646"/>
                          </a:lnTo>
                          <a:lnTo>
                            <a:pt x="350" y="635"/>
                          </a:lnTo>
                          <a:lnTo>
                            <a:pt x="352" y="621"/>
                          </a:lnTo>
                          <a:lnTo>
                            <a:pt x="352" y="612"/>
                          </a:lnTo>
                          <a:lnTo>
                            <a:pt x="352" y="597"/>
                          </a:lnTo>
                          <a:lnTo>
                            <a:pt x="354" y="585"/>
                          </a:lnTo>
                          <a:lnTo>
                            <a:pt x="354" y="572"/>
                          </a:lnTo>
                          <a:lnTo>
                            <a:pt x="356" y="561"/>
                          </a:lnTo>
                          <a:lnTo>
                            <a:pt x="356" y="545"/>
                          </a:lnTo>
                          <a:lnTo>
                            <a:pt x="356" y="536"/>
                          </a:lnTo>
                          <a:lnTo>
                            <a:pt x="356" y="523"/>
                          </a:lnTo>
                          <a:lnTo>
                            <a:pt x="357" y="509"/>
                          </a:lnTo>
                          <a:lnTo>
                            <a:pt x="356" y="496"/>
                          </a:lnTo>
                          <a:lnTo>
                            <a:pt x="356" y="483"/>
                          </a:lnTo>
                          <a:lnTo>
                            <a:pt x="356" y="471"/>
                          </a:lnTo>
                          <a:lnTo>
                            <a:pt x="356" y="458"/>
                          </a:lnTo>
                          <a:lnTo>
                            <a:pt x="354" y="443"/>
                          </a:lnTo>
                          <a:lnTo>
                            <a:pt x="354" y="431"/>
                          </a:lnTo>
                          <a:lnTo>
                            <a:pt x="352" y="418"/>
                          </a:lnTo>
                          <a:lnTo>
                            <a:pt x="352" y="407"/>
                          </a:lnTo>
                          <a:lnTo>
                            <a:pt x="352" y="393"/>
                          </a:lnTo>
                          <a:lnTo>
                            <a:pt x="350" y="382"/>
                          </a:lnTo>
                          <a:lnTo>
                            <a:pt x="348" y="369"/>
                          </a:lnTo>
                          <a:lnTo>
                            <a:pt x="346" y="359"/>
                          </a:lnTo>
                          <a:lnTo>
                            <a:pt x="344" y="346"/>
                          </a:lnTo>
                          <a:lnTo>
                            <a:pt x="342" y="334"/>
                          </a:lnTo>
                          <a:lnTo>
                            <a:pt x="340" y="321"/>
                          </a:lnTo>
                          <a:lnTo>
                            <a:pt x="340" y="312"/>
                          </a:lnTo>
                          <a:lnTo>
                            <a:pt x="338" y="300"/>
                          </a:lnTo>
                          <a:lnTo>
                            <a:pt x="337" y="289"/>
                          </a:lnTo>
                          <a:lnTo>
                            <a:pt x="335" y="276"/>
                          </a:lnTo>
                          <a:lnTo>
                            <a:pt x="335" y="266"/>
                          </a:lnTo>
                          <a:lnTo>
                            <a:pt x="331" y="257"/>
                          </a:lnTo>
                          <a:lnTo>
                            <a:pt x="329" y="243"/>
                          </a:lnTo>
                          <a:lnTo>
                            <a:pt x="325" y="236"/>
                          </a:lnTo>
                          <a:lnTo>
                            <a:pt x="323" y="224"/>
                          </a:lnTo>
                          <a:lnTo>
                            <a:pt x="319" y="215"/>
                          </a:lnTo>
                          <a:lnTo>
                            <a:pt x="318" y="205"/>
                          </a:lnTo>
                          <a:lnTo>
                            <a:pt x="316" y="196"/>
                          </a:lnTo>
                          <a:lnTo>
                            <a:pt x="314" y="186"/>
                          </a:lnTo>
                          <a:lnTo>
                            <a:pt x="310" y="177"/>
                          </a:lnTo>
                          <a:lnTo>
                            <a:pt x="308" y="167"/>
                          </a:lnTo>
                          <a:lnTo>
                            <a:pt x="304" y="158"/>
                          </a:lnTo>
                          <a:lnTo>
                            <a:pt x="302" y="152"/>
                          </a:lnTo>
                          <a:lnTo>
                            <a:pt x="298" y="141"/>
                          </a:lnTo>
                          <a:lnTo>
                            <a:pt x="297" y="133"/>
                          </a:lnTo>
                          <a:lnTo>
                            <a:pt x="293" y="123"/>
                          </a:lnTo>
                          <a:lnTo>
                            <a:pt x="289" y="116"/>
                          </a:lnTo>
                          <a:lnTo>
                            <a:pt x="281" y="99"/>
                          </a:lnTo>
                          <a:lnTo>
                            <a:pt x="276" y="85"/>
                          </a:lnTo>
                          <a:lnTo>
                            <a:pt x="266" y="72"/>
                          </a:lnTo>
                          <a:lnTo>
                            <a:pt x="260" y="61"/>
                          </a:lnTo>
                          <a:lnTo>
                            <a:pt x="251" y="49"/>
                          </a:lnTo>
                          <a:lnTo>
                            <a:pt x="245" y="40"/>
                          </a:lnTo>
                          <a:lnTo>
                            <a:pt x="236" y="30"/>
                          </a:lnTo>
                          <a:lnTo>
                            <a:pt x="228" y="23"/>
                          </a:lnTo>
                          <a:lnTo>
                            <a:pt x="221" y="15"/>
                          </a:lnTo>
                          <a:lnTo>
                            <a:pt x="211" y="9"/>
                          </a:lnTo>
                          <a:lnTo>
                            <a:pt x="194" y="2"/>
                          </a:lnTo>
                          <a:lnTo>
                            <a:pt x="179" y="0"/>
                          </a:lnTo>
                          <a:lnTo>
                            <a:pt x="169" y="0"/>
                          </a:lnTo>
                          <a:lnTo>
                            <a:pt x="160" y="2"/>
                          </a:lnTo>
                          <a:lnTo>
                            <a:pt x="150" y="6"/>
                          </a:lnTo>
                          <a:lnTo>
                            <a:pt x="141" y="9"/>
                          </a:lnTo>
                          <a:lnTo>
                            <a:pt x="131" y="15"/>
                          </a:lnTo>
                          <a:lnTo>
                            <a:pt x="122" y="23"/>
                          </a:lnTo>
                          <a:lnTo>
                            <a:pt x="116" y="30"/>
                          </a:lnTo>
                          <a:lnTo>
                            <a:pt x="106" y="40"/>
                          </a:lnTo>
                          <a:lnTo>
                            <a:pt x="99" y="49"/>
                          </a:lnTo>
                          <a:lnTo>
                            <a:pt x="89" y="61"/>
                          </a:lnTo>
                          <a:lnTo>
                            <a:pt x="82" y="72"/>
                          </a:lnTo>
                          <a:lnTo>
                            <a:pt x="76" y="85"/>
                          </a:lnTo>
                          <a:lnTo>
                            <a:pt x="67" y="99"/>
                          </a:lnTo>
                          <a:lnTo>
                            <a:pt x="63" y="116"/>
                          </a:lnTo>
                          <a:lnTo>
                            <a:pt x="59" y="123"/>
                          </a:lnTo>
                          <a:lnTo>
                            <a:pt x="55" y="133"/>
                          </a:lnTo>
                          <a:lnTo>
                            <a:pt x="51" y="141"/>
                          </a:lnTo>
                          <a:lnTo>
                            <a:pt x="49" y="152"/>
                          </a:lnTo>
                          <a:lnTo>
                            <a:pt x="46" y="158"/>
                          </a:lnTo>
                          <a:lnTo>
                            <a:pt x="44" y="167"/>
                          </a:lnTo>
                          <a:lnTo>
                            <a:pt x="40" y="177"/>
                          </a:lnTo>
                          <a:lnTo>
                            <a:pt x="38" y="186"/>
                          </a:lnTo>
                          <a:lnTo>
                            <a:pt x="34" y="196"/>
                          </a:lnTo>
                          <a:lnTo>
                            <a:pt x="32" y="205"/>
                          </a:lnTo>
                          <a:lnTo>
                            <a:pt x="30" y="215"/>
                          </a:lnTo>
                          <a:lnTo>
                            <a:pt x="29" y="224"/>
                          </a:lnTo>
                          <a:lnTo>
                            <a:pt x="25" y="236"/>
                          </a:lnTo>
                          <a:lnTo>
                            <a:pt x="23" y="243"/>
                          </a:lnTo>
                          <a:lnTo>
                            <a:pt x="21" y="257"/>
                          </a:lnTo>
                          <a:lnTo>
                            <a:pt x="19" y="266"/>
                          </a:lnTo>
                          <a:lnTo>
                            <a:pt x="15" y="276"/>
                          </a:lnTo>
                          <a:lnTo>
                            <a:pt x="15" y="289"/>
                          </a:lnTo>
                          <a:lnTo>
                            <a:pt x="13" y="300"/>
                          </a:lnTo>
                          <a:lnTo>
                            <a:pt x="13" y="312"/>
                          </a:lnTo>
                          <a:lnTo>
                            <a:pt x="9" y="321"/>
                          </a:lnTo>
                          <a:lnTo>
                            <a:pt x="8" y="334"/>
                          </a:lnTo>
                          <a:lnTo>
                            <a:pt x="6" y="346"/>
                          </a:lnTo>
                          <a:lnTo>
                            <a:pt x="6" y="359"/>
                          </a:lnTo>
                          <a:lnTo>
                            <a:pt x="4" y="369"/>
                          </a:lnTo>
                          <a:lnTo>
                            <a:pt x="2" y="382"/>
                          </a:lnTo>
                          <a:lnTo>
                            <a:pt x="2" y="393"/>
                          </a:lnTo>
                          <a:lnTo>
                            <a:pt x="2" y="407"/>
                          </a:lnTo>
                          <a:lnTo>
                            <a:pt x="0" y="418"/>
                          </a:lnTo>
                          <a:lnTo>
                            <a:pt x="0" y="431"/>
                          </a:lnTo>
                          <a:lnTo>
                            <a:pt x="0" y="443"/>
                          </a:lnTo>
                          <a:lnTo>
                            <a:pt x="0" y="458"/>
                          </a:lnTo>
                          <a:lnTo>
                            <a:pt x="0" y="471"/>
                          </a:lnTo>
                          <a:lnTo>
                            <a:pt x="0" y="483"/>
                          </a:lnTo>
                          <a:lnTo>
                            <a:pt x="0" y="496"/>
                          </a:lnTo>
                          <a:lnTo>
                            <a:pt x="0" y="509"/>
                          </a:lnTo>
                          <a:lnTo>
                            <a:pt x="0" y="523"/>
                          </a:lnTo>
                          <a:lnTo>
                            <a:pt x="0" y="536"/>
                          </a:lnTo>
                          <a:lnTo>
                            <a:pt x="0" y="545"/>
                          </a:lnTo>
                          <a:lnTo>
                            <a:pt x="0" y="561"/>
                          </a:lnTo>
                          <a:lnTo>
                            <a:pt x="0" y="572"/>
                          </a:lnTo>
                          <a:lnTo>
                            <a:pt x="0" y="585"/>
                          </a:lnTo>
                          <a:lnTo>
                            <a:pt x="0" y="597"/>
                          </a:lnTo>
                          <a:lnTo>
                            <a:pt x="2" y="612"/>
                          </a:lnTo>
                          <a:lnTo>
                            <a:pt x="2" y="621"/>
                          </a:lnTo>
                          <a:lnTo>
                            <a:pt x="2" y="635"/>
                          </a:lnTo>
                          <a:lnTo>
                            <a:pt x="4" y="646"/>
                          </a:lnTo>
                          <a:lnTo>
                            <a:pt x="6" y="660"/>
                          </a:lnTo>
                          <a:lnTo>
                            <a:pt x="6" y="669"/>
                          </a:lnTo>
                          <a:lnTo>
                            <a:pt x="8" y="684"/>
                          </a:lnTo>
                          <a:lnTo>
                            <a:pt x="9" y="694"/>
                          </a:lnTo>
                          <a:lnTo>
                            <a:pt x="13" y="705"/>
                          </a:lnTo>
                          <a:lnTo>
                            <a:pt x="13" y="717"/>
                          </a:lnTo>
                          <a:lnTo>
                            <a:pt x="15" y="726"/>
                          </a:lnTo>
                          <a:lnTo>
                            <a:pt x="15" y="739"/>
                          </a:lnTo>
                          <a:lnTo>
                            <a:pt x="19" y="749"/>
                          </a:lnTo>
                          <a:lnTo>
                            <a:pt x="21" y="758"/>
                          </a:lnTo>
                          <a:lnTo>
                            <a:pt x="23" y="770"/>
                          </a:lnTo>
                          <a:lnTo>
                            <a:pt x="25" y="781"/>
                          </a:lnTo>
                          <a:lnTo>
                            <a:pt x="29" y="793"/>
                          </a:lnTo>
                          <a:lnTo>
                            <a:pt x="30" y="802"/>
                          </a:lnTo>
                          <a:lnTo>
                            <a:pt x="32" y="810"/>
                          </a:lnTo>
                          <a:lnTo>
                            <a:pt x="34" y="821"/>
                          </a:lnTo>
                          <a:lnTo>
                            <a:pt x="38" y="829"/>
                          </a:lnTo>
                          <a:lnTo>
                            <a:pt x="40" y="840"/>
                          </a:lnTo>
                          <a:lnTo>
                            <a:pt x="44" y="848"/>
                          </a:lnTo>
                          <a:lnTo>
                            <a:pt x="46" y="859"/>
                          </a:lnTo>
                          <a:lnTo>
                            <a:pt x="49" y="867"/>
                          </a:lnTo>
                          <a:lnTo>
                            <a:pt x="55" y="884"/>
                          </a:lnTo>
                          <a:lnTo>
                            <a:pt x="63" y="899"/>
                          </a:lnTo>
                          <a:lnTo>
                            <a:pt x="67" y="914"/>
                          </a:lnTo>
                          <a:lnTo>
                            <a:pt x="76" y="929"/>
                          </a:lnTo>
                          <a:lnTo>
                            <a:pt x="82" y="943"/>
                          </a:lnTo>
                          <a:lnTo>
                            <a:pt x="89" y="954"/>
                          </a:lnTo>
                          <a:lnTo>
                            <a:pt x="99" y="967"/>
                          </a:lnTo>
                          <a:lnTo>
                            <a:pt x="106" y="977"/>
                          </a:lnTo>
                          <a:lnTo>
                            <a:pt x="116" y="986"/>
                          </a:lnTo>
                          <a:lnTo>
                            <a:pt x="122" y="994"/>
                          </a:lnTo>
                          <a:lnTo>
                            <a:pt x="131" y="1002"/>
                          </a:lnTo>
                          <a:lnTo>
                            <a:pt x="141" y="1005"/>
                          </a:lnTo>
                          <a:lnTo>
                            <a:pt x="150" y="1009"/>
                          </a:lnTo>
                          <a:lnTo>
                            <a:pt x="160" y="1015"/>
                          </a:lnTo>
                          <a:lnTo>
                            <a:pt x="169" y="1017"/>
                          </a:lnTo>
                          <a:lnTo>
                            <a:pt x="179" y="1019"/>
                          </a:lnTo>
                          <a:lnTo>
                            <a:pt x="179" y="1019"/>
                          </a:lnTo>
                          <a:close/>
                        </a:path>
                      </a:pathLst>
                    </a:custGeom>
                    <a:solidFill>
                      <a:schemeClr val="tx1"/>
                    </a:solidFill>
                    <a:ln w="9525">
                      <a:solidFill>
                        <a:schemeClr val="tx1"/>
                      </a:solidFill>
                      <a:round/>
                      <a:headEnd/>
                      <a:tailEnd/>
                    </a:ln>
                    <a:extLst/>
                  </p:spPr>
                  <p:txBody>
                    <a:bodyPr vert="horz" wrap="square" lIns="89619" tIns="44809" rIns="89619" bIns="44809" numCol="1" anchor="t" anchorCtr="0" compatLnSpc="1">
                      <a:prstTxWarp prst="textNoShape">
                        <a:avLst/>
                      </a:prstTxWarp>
                    </a:bodyPr>
                    <a:lstStyle/>
                    <a:p>
                      <a:pPr defTabSz="914093"/>
                      <a:endParaRPr lang="en-US" sz="1764" dirty="0">
                        <a:solidFill>
                          <a:srgbClr val="FFFFFF"/>
                        </a:solidFill>
                      </a:endParaRPr>
                    </a:p>
                  </p:txBody>
                </p:sp>
                <p:sp>
                  <p:nvSpPr>
                    <p:cNvPr id="74" name="Freeform 34"/>
                    <p:cNvSpPr>
                      <a:spLocks/>
                    </p:cNvSpPr>
                    <p:nvPr>
                      <p:custDataLst>
                        <p:tags r:id="rId6"/>
                      </p:custDataLst>
                    </p:nvPr>
                  </p:nvSpPr>
                  <p:spPr bwMode="auto">
                    <a:xfrm>
                      <a:off x="10355263" y="9036050"/>
                      <a:ext cx="98425" cy="280988"/>
                    </a:xfrm>
                    <a:custGeom>
                      <a:avLst/>
                      <a:gdLst>
                        <a:gd name="T0" fmla="*/ 70 w 123"/>
                        <a:gd name="T1" fmla="*/ 349 h 353"/>
                        <a:gd name="T2" fmla="*/ 87 w 123"/>
                        <a:gd name="T3" fmla="*/ 330 h 353"/>
                        <a:gd name="T4" fmla="*/ 99 w 123"/>
                        <a:gd name="T5" fmla="*/ 311 h 353"/>
                        <a:gd name="T6" fmla="*/ 108 w 123"/>
                        <a:gd name="T7" fmla="*/ 287 h 353"/>
                        <a:gd name="T8" fmla="*/ 114 w 123"/>
                        <a:gd name="T9" fmla="*/ 258 h 353"/>
                        <a:gd name="T10" fmla="*/ 120 w 123"/>
                        <a:gd name="T11" fmla="*/ 228 h 353"/>
                        <a:gd name="T12" fmla="*/ 120 w 123"/>
                        <a:gd name="T13" fmla="*/ 201 h 353"/>
                        <a:gd name="T14" fmla="*/ 121 w 123"/>
                        <a:gd name="T15" fmla="*/ 184 h 353"/>
                        <a:gd name="T16" fmla="*/ 121 w 123"/>
                        <a:gd name="T17" fmla="*/ 167 h 353"/>
                        <a:gd name="T18" fmla="*/ 120 w 123"/>
                        <a:gd name="T19" fmla="*/ 148 h 353"/>
                        <a:gd name="T20" fmla="*/ 120 w 123"/>
                        <a:gd name="T21" fmla="*/ 121 h 353"/>
                        <a:gd name="T22" fmla="*/ 114 w 123"/>
                        <a:gd name="T23" fmla="*/ 89 h 353"/>
                        <a:gd name="T24" fmla="*/ 108 w 123"/>
                        <a:gd name="T25" fmla="*/ 62 h 353"/>
                        <a:gd name="T26" fmla="*/ 99 w 123"/>
                        <a:gd name="T27" fmla="*/ 38 h 353"/>
                        <a:gd name="T28" fmla="*/ 87 w 123"/>
                        <a:gd name="T29" fmla="*/ 19 h 353"/>
                        <a:gd name="T30" fmla="*/ 70 w 123"/>
                        <a:gd name="T31" fmla="*/ 3 h 353"/>
                        <a:gd name="T32" fmla="*/ 43 w 123"/>
                        <a:gd name="T33" fmla="*/ 3 h 353"/>
                        <a:gd name="T34" fmla="*/ 28 w 123"/>
                        <a:gd name="T35" fmla="*/ 19 h 353"/>
                        <a:gd name="T36" fmla="*/ 19 w 123"/>
                        <a:gd name="T37" fmla="*/ 38 h 353"/>
                        <a:gd name="T38" fmla="*/ 11 w 123"/>
                        <a:gd name="T39" fmla="*/ 62 h 353"/>
                        <a:gd name="T40" fmla="*/ 2 w 123"/>
                        <a:gd name="T41" fmla="*/ 89 h 353"/>
                        <a:gd name="T42" fmla="*/ 0 w 123"/>
                        <a:gd name="T43" fmla="*/ 121 h 353"/>
                        <a:gd name="T44" fmla="*/ 0 w 123"/>
                        <a:gd name="T45" fmla="*/ 148 h 353"/>
                        <a:gd name="T46" fmla="*/ 0 w 123"/>
                        <a:gd name="T47" fmla="*/ 167 h 353"/>
                        <a:gd name="T48" fmla="*/ 0 w 123"/>
                        <a:gd name="T49" fmla="*/ 184 h 353"/>
                        <a:gd name="T50" fmla="*/ 0 w 123"/>
                        <a:gd name="T51" fmla="*/ 201 h 353"/>
                        <a:gd name="T52" fmla="*/ 0 w 123"/>
                        <a:gd name="T53" fmla="*/ 228 h 353"/>
                        <a:gd name="T54" fmla="*/ 2 w 123"/>
                        <a:gd name="T55" fmla="*/ 258 h 353"/>
                        <a:gd name="T56" fmla="*/ 11 w 123"/>
                        <a:gd name="T57" fmla="*/ 287 h 353"/>
                        <a:gd name="T58" fmla="*/ 19 w 123"/>
                        <a:gd name="T59" fmla="*/ 311 h 353"/>
                        <a:gd name="T60" fmla="*/ 28 w 123"/>
                        <a:gd name="T61" fmla="*/ 330 h 353"/>
                        <a:gd name="T62" fmla="*/ 43 w 123"/>
                        <a:gd name="T63" fmla="*/ 349 h 353"/>
                        <a:gd name="T64" fmla="*/ 59 w 123"/>
                        <a:gd name="T65"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3" h="353">
                          <a:moveTo>
                            <a:pt x="59" y="353"/>
                          </a:moveTo>
                          <a:lnTo>
                            <a:pt x="70" y="349"/>
                          </a:lnTo>
                          <a:lnTo>
                            <a:pt x="82" y="338"/>
                          </a:lnTo>
                          <a:lnTo>
                            <a:pt x="87" y="330"/>
                          </a:lnTo>
                          <a:lnTo>
                            <a:pt x="93" y="321"/>
                          </a:lnTo>
                          <a:lnTo>
                            <a:pt x="99" y="311"/>
                          </a:lnTo>
                          <a:lnTo>
                            <a:pt x="104" y="302"/>
                          </a:lnTo>
                          <a:lnTo>
                            <a:pt x="108" y="287"/>
                          </a:lnTo>
                          <a:lnTo>
                            <a:pt x="110" y="273"/>
                          </a:lnTo>
                          <a:lnTo>
                            <a:pt x="114" y="258"/>
                          </a:lnTo>
                          <a:lnTo>
                            <a:pt x="118" y="245"/>
                          </a:lnTo>
                          <a:lnTo>
                            <a:pt x="120" y="228"/>
                          </a:lnTo>
                          <a:lnTo>
                            <a:pt x="120" y="211"/>
                          </a:lnTo>
                          <a:lnTo>
                            <a:pt x="120" y="201"/>
                          </a:lnTo>
                          <a:lnTo>
                            <a:pt x="121" y="194"/>
                          </a:lnTo>
                          <a:lnTo>
                            <a:pt x="121" y="184"/>
                          </a:lnTo>
                          <a:lnTo>
                            <a:pt x="123" y="176"/>
                          </a:lnTo>
                          <a:lnTo>
                            <a:pt x="121" y="167"/>
                          </a:lnTo>
                          <a:lnTo>
                            <a:pt x="121" y="157"/>
                          </a:lnTo>
                          <a:lnTo>
                            <a:pt x="120" y="148"/>
                          </a:lnTo>
                          <a:lnTo>
                            <a:pt x="120" y="138"/>
                          </a:lnTo>
                          <a:lnTo>
                            <a:pt x="120" y="121"/>
                          </a:lnTo>
                          <a:lnTo>
                            <a:pt x="118" y="106"/>
                          </a:lnTo>
                          <a:lnTo>
                            <a:pt x="114" y="89"/>
                          </a:lnTo>
                          <a:lnTo>
                            <a:pt x="110" y="76"/>
                          </a:lnTo>
                          <a:lnTo>
                            <a:pt x="108" y="62"/>
                          </a:lnTo>
                          <a:lnTo>
                            <a:pt x="104" y="51"/>
                          </a:lnTo>
                          <a:lnTo>
                            <a:pt x="99" y="38"/>
                          </a:lnTo>
                          <a:lnTo>
                            <a:pt x="93" y="28"/>
                          </a:lnTo>
                          <a:lnTo>
                            <a:pt x="87" y="19"/>
                          </a:lnTo>
                          <a:lnTo>
                            <a:pt x="82" y="13"/>
                          </a:lnTo>
                          <a:lnTo>
                            <a:pt x="70" y="3"/>
                          </a:lnTo>
                          <a:lnTo>
                            <a:pt x="59" y="0"/>
                          </a:lnTo>
                          <a:lnTo>
                            <a:pt x="43" y="3"/>
                          </a:lnTo>
                          <a:lnTo>
                            <a:pt x="36" y="13"/>
                          </a:lnTo>
                          <a:lnTo>
                            <a:pt x="28" y="19"/>
                          </a:lnTo>
                          <a:lnTo>
                            <a:pt x="23" y="28"/>
                          </a:lnTo>
                          <a:lnTo>
                            <a:pt x="19" y="38"/>
                          </a:lnTo>
                          <a:lnTo>
                            <a:pt x="17" y="51"/>
                          </a:lnTo>
                          <a:lnTo>
                            <a:pt x="11" y="62"/>
                          </a:lnTo>
                          <a:lnTo>
                            <a:pt x="5" y="76"/>
                          </a:lnTo>
                          <a:lnTo>
                            <a:pt x="2" y="89"/>
                          </a:lnTo>
                          <a:lnTo>
                            <a:pt x="2" y="106"/>
                          </a:lnTo>
                          <a:lnTo>
                            <a:pt x="0" y="121"/>
                          </a:lnTo>
                          <a:lnTo>
                            <a:pt x="0" y="138"/>
                          </a:lnTo>
                          <a:lnTo>
                            <a:pt x="0" y="148"/>
                          </a:lnTo>
                          <a:lnTo>
                            <a:pt x="0" y="157"/>
                          </a:lnTo>
                          <a:lnTo>
                            <a:pt x="0" y="167"/>
                          </a:lnTo>
                          <a:lnTo>
                            <a:pt x="0" y="176"/>
                          </a:lnTo>
                          <a:lnTo>
                            <a:pt x="0" y="184"/>
                          </a:lnTo>
                          <a:lnTo>
                            <a:pt x="0" y="194"/>
                          </a:lnTo>
                          <a:lnTo>
                            <a:pt x="0" y="201"/>
                          </a:lnTo>
                          <a:lnTo>
                            <a:pt x="0" y="211"/>
                          </a:lnTo>
                          <a:lnTo>
                            <a:pt x="0" y="228"/>
                          </a:lnTo>
                          <a:lnTo>
                            <a:pt x="2" y="245"/>
                          </a:lnTo>
                          <a:lnTo>
                            <a:pt x="2" y="258"/>
                          </a:lnTo>
                          <a:lnTo>
                            <a:pt x="5" y="273"/>
                          </a:lnTo>
                          <a:lnTo>
                            <a:pt x="11" y="287"/>
                          </a:lnTo>
                          <a:lnTo>
                            <a:pt x="17" y="302"/>
                          </a:lnTo>
                          <a:lnTo>
                            <a:pt x="19" y="311"/>
                          </a:lnTo>
                          <a:lnTo>
                            <a:pt x="23" y="321"/>
                          </a:lnTo>
                          <a:lnTo>
                            <a:pt x="28" y="330"/>
                          </a:lnTo>
                          <a:lnTo>
                            <a:pt x="36" y="338"/>
                          </a:lnTo>
                          <a:lnTo>
                            <a:pt x="43" y="349"/>
                          </a:lnTo>
                          <a:lnTo>
                            <a:pt x="59" y="353"/>
                          </a:lnTo>
                          <a:lnTo>
                            <a:pt x="59" y="353"/>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dirty="0">
                        <a:solidFill>
                          <a:srgbClr val="FFFFFF"/>
                        </a:solidFill>
                      </a:endParaRPr>
                    </a:p>
                  </p:txBody>
                </p:sp>
              </p:grpSp>
              <p:sp>
                <p:nvSpPr>
                  <p:cNvPr id="67" name="Freeform 22"/>
                  <p:cNvSpPr>
                    <a:spLocks/>
                  </p:cNvSpPr>
                  <p:nvPr>
                    <p:custDataLst>
                      <p:tags r:id="rId2"/>
                    </p:custDataLst>
                  </p:nvPr>
                </p:nvSpPr>
                <p:spPr bwMode="auto">
                  <a:xfrm>
                    <a:off x="9431927" y="9036037"/>
                    <a:ext cx="1011768" cy="277281"/>
                  </a:xfrm>
                  <a:custGeom>
                    <a:avLst/>
                    <a:gdLst>
                      <a:gd name="T0" fmla="*/ 0 w 1911"/>
                      <a:gd name="T1" fmla="*/ 15 h 525"/>
                      <a:gd name="T2" fmla="*/ 191 w 1911"/>
                      <a:gd name="T3" fmla="*/ 266 h 525"/>
                      <a:gd name="T4" fmla="*/ 0 w 1911"/>
                      <a:gd name="T5" fmla="*/ 513 h 525"/>
                      <a:gd name="T6" fmla="*/ 462 w 1911"/>
                      <a:gd name="T7" fmla="*/ 513 h 525"/>
                      <a:gd name="T8" fmla="*/ 607 w 1911"/>
                      <a:gd name="T9" fmla="*/ 325 h 525"/>
                      <a:gd name="T10" fmla="*/ 1522 w 1911"/>
                      <a:gd name="T11" fmla="*/ 325 h 525"/>
                      <a:gd name="T12" fmla="*/ 1522 w 1911"/>
                      <a:gd name="T13" fmla="*/ 525 h 525"/>
                      <a:gd name="T14" fmla="*/ 1911 w 1911"/>
                      <a:gd name="T15" fmla="*/ 266 h 525"/>
                      <a:gd name="T16" fmla="*/ 1523 w 1911"/>
                      <a:gd name="T17" fmla="*/ 0 h 525"/>
                      <a:gd name="T18" fmla="*/ 1523 w 1911"/>
                      <a:gd name="T19" fmla="*/ 211 h 525"/>
                      <a:gd name="T20" fmla="*/ 639 w 1911"/>
                      <a:gd name="T21" fmla="*/ 211 h 525"/>
                      <a:gd name="T22" fmla="*/ 499 w 1911"/>
                      <a:gd name="T23" fmla="*/ 15 h 525"/>
                      <a:gd name="T24" fmla="*/ 0 w 1911"/>
                      <a:gd name="T25" fmla="*/ 15 h 525"/>
                      <a:gd name="T26" fmla="*/ 0 w 1911"/>
                      <a:gd name="T27" fmla="*/ 15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11" h="525">
                        <a:moveTo>
                          <a:pt x="0" y="15"/>
                        </a:moveTo>
                        <a:lnTo>
                          <a:pt x="191" y="266"/>
                        </a:lnTo>
                        <a:lnTo>
                          <a:pt x="0" y="513"/>
                        </a:lnTo>
                        <a:lnTo>
                          <a:pt x="462" y="513"/>
                        </a:lnTo>
                        <a:lnTo>
                          <a:pt x="607" y="325"/>
                        </a:lnTo>
                        <a:lnTo>
                          <a:pt x="1522" y="325"/>
                        </a:lnTo>
                        <a:lnTo>
                          <a:pt x="1522" y="525"/>
                        </a:lnTo>
                        <a:lnTo>
                          <a:pt x="1911" y="266"/>
                        </a:lnTo>
                        <a:lnTo>
                          <a:pt x="1523" y="0"/>
                        </a:lnTo>
                        <a:lnTo>
                          <a:pt x="1523" y="211"/>
                        </a:lnTo>
                        <a:lnTo>
                          <a:pt x="639" y="211"/>
                        </a:lnTo>
                        <a:lnTo>
                          <a:pt x="499" y="15"/>
                        </a:lnTo>
                        <a:lnTo>
                          <a:pt x="0" y="15"/>
                        </a:lnTo>
                        <a:lnTo>
                          <a:pt x="0" y="1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dirty="0">
                      <a:solidFill>
                        <a:srgbClr val="FFFFFF"/>
                      </a:solidFill>
                    </a:endParaRPr>
                  </a:p>
                </p:txBody>
              </p:sp>
            </p:grpSp>
          </p:grpSp>
          <p:grpSp>
            <p:nvGrpSpPr>
              <p:cNvPr id="75" name="Group 74"/>
              <p:cNvGrpSpPr/>
              <p:nvPr/>
            </p:nvGrpSpPr>
            <p:grpSpPr>
              <a:xfrm>
                <a:off x="8082836" y="3443069"/>
                <a:ext cx="1690652" cy="2489763"/>
                <a:chOff x="8082836" y="3313303"/>
                <a:chExt cx="1690652" cy="2489763"/>
              </a:xfrm>
            </p:grpSpPr>
            <p:sp>
              <p:nvSpPr>
                <p:cNvPr id="53" name="TextBox 52"/>
                <p:cNvSpPr txBox="1"/>
                <p:nvPr/>
              </p:nvSpPr>
              <p:spPr>
                <a:xfrm>
                  <a:off x="8288315" y="4400765"/>
                  <a:ext cx="1485173" cy="1402301"/>
                </a:xfrm>
                <a:prstGeom prst="rect">
                  <a:avLst/>
                </a:prstGeom>
                <a:noFill/>
              </p:spPr>
              <p:txBody>
                <a:bodyPr wrap="square" rtlCol="0">
                  <a:spAutoFit/>
                </a:bodyPr>
                <a:lstStyle/>
                <a:p>
                  <a:pPr defTabSz="913298" fontAlgn="base">
                    <a:lnSpc>
                      <a:spcPts val="2450"/>
                    </a:lnSpc>
                    <a:spcBef>
                      <a:spcPct val="0"/>
                    </a:spcBef>
                    <a:spcAft>
                      <a:spcPct val="0"/>
                    </a:spcAft>
                  </a:pPr>
                  <a:r>
                    <a:rPr lang="en-US" sz="2352"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Expand</a:t>
                  </a:r>
                  <a:br>
                    <a:rPr lang="en-US" sz="2352"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br>
                  <a:r>
                    <a:rPr lang="en-US" sz="2352"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REST APIs</a:t>
                  </a:r>
                  <a:br>
                    <a:rPr lang="en-US" sz="2352"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br>
                  <a:endParaRPr lang="en-US" sz="1798"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p:txBody>
            </p:sp>
            <p:pic>
              <p:nvPicPr>
                <p:cNvPr id="77" name="Picture 5" descr="\\MAGNUM\Projects\Microsoft\Cloud Power FY12\Design\ICONS_PNG\Increase.png"/>
                <p:cNvPicPr>
                  <a:picLocks noChangeAspect="1" noChangeArrowheads="1"/>
                </p:cNvPicPr>
                <p:nvPr/>
              </p:nvPicPr>
              <p:blipFill>
                <a:blip r:embed="rId11" cstate="print">
                  <a:lum bright="100000"/>
                </a:blip>
                <a:srcRect/>
                <a:stretch>
                  <a:fillRect/>
                </a:stretch>
              </p:blipFill>
              <p:spPr bwMode="auto">
                <a:xfrm>
                  <a:off x="8082836" y="3313303"/>
                  <a:ext cx="1218766" cy="1295726"/>
                </a:xfrm>
                <a:prstGeom prst="rect">
                  <a:avLst/>
                </a:prstGeom>
                <a:noFill/>
              </p:spPr>
            </p:pic>
          </p:grpSp>
        </p:grpSp>
        <p:grpSp>
          <p:nvGrpSpPr>
            <p:cNvPr id="81" name="Group 23"/>
            <p:cNvGrpSpPr>
              <a:grpSpLocks noChangeAspect="1"/>
            </p:cNvGrpSpPr>
            <p:nvPr/>
          </p:nvGrpSpPr>
          <p:grpSpPr bwMode="auto">
            <a:xfrm>
              <a:off x="11295381" y="5754381"/>
              <a:ext cx="494700" cy="558396"/>
              <a:chOff x="3485" y="1766"/>
              <a:chExt cx="699" cy="789"/>
            </a:xfrm>
            <a:solidFill>
              <a:schemeClr val="tx1"/>
            </a:solidFill>
          </p:grpSpPr>
          <p:sp>
            <p:nvSpPr>
              <p:cNvPr id="82" name="Freeform 24"/>
              <p:cNvSpPr>
                <a:spLocks/>
              </p:cNvSpPr>
              <p:nvPr/>
            </p:nvSpPr>
            <p:spPr bwMode="auto">
              <a:xfrm>
                <a:off x="3485" y="1950"/>
                <a:ext cx="699" cy="605"/>
              </a:xfrm>
              <a:custGeom>
                <a:avLst/>
                <a:gdLst>
                  <a:gd name="T0" fmla="*/ 296 w 296"/>
                  <a:gd name="T1" fmla="*/ 167 h 256"/>
                  <a:gd name="T2" fmla="*/ 274 w 296"/>
                  <a:gd name="T3" fmla="*/ 207 h 256"/>
                  <a:gd name="T4" fmla="*/ 216 w 296"/>
                  <a:gd name="T5" fmla="*/ 256 h 256"/>
                  <a:gd name="T6" fmla="*/ 159 w 296"/>
                  <a:gd name="T7" fmla="*/ 242 h 256"/>
                  <a:gd name="T8" fmla="*/ 101 w 296"/>
                  <a:gd name="T9" fmla="*/ 256 h 256"/>
                  <a:gd name="T10" fmla="*/ 44 w 296"/>
                  <a:gd name="T11" fmla="*/ 210 h 256"/>
                  <a:gd name="T12" fmla="*/ 24 w 296"/>
                  <a:gd name="T13" fmla="*/ 42 h 256"/>
                  <a:gd name="T14" fmla="*/ 94 w 296"/>
                  <a:gd name="T15" fmla="*/ 0 h 256"/>
                  <a:gd name="T16" fmla="*/ 158 w 296"/>
                  <a:gd name="T17" fmla="*/ 15 h 256"/>
                  <a:gd name="T18" fmla="*/ 222 w 296"/>
                  <a:gd name="T19" fmla="*/ 0 h 256"/>
                  <a:gd name="T20" fmla="*/ 286 w 296"/>
                  <a:gd name="T21" fmla="*/ 34 h 256"/>
                  <a:gd name="T22" fmla="*/ 296 w 296"/>
                  <a:gd name="T23" fmla="*/ 16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6" h="256">
                    <a:moveTo>
                      <a:pt x="296" y="167"/>
                    </a:moveTo>
                    <a:cubicBezTo>
                      <a:pt x="288" y="184"/>
                      <a:pt x="284" y="192"/>
                      <a:pt x="274" y="207"/>
                    </a:cubicBezTo>
                    <a:cubicBezTo>
                      <a:pt x="260" y="229"/>
                      <a:pt x="240" y="255"/>
                      <a:pt x="216" y="256"/>
                    </a:cubicBezTo>
                    <a:cubicBezTo>
                      <a:pt x="194" y="256"/>
                      <a:pt x="188" y="241"/>
                      <a:pt x="159" y="242"/>
                    </a:cubicBezTo>
                    <a:cubicBezTo>
                      <a:pt x="129" y="242"/>
                      <a:pt x="123" y="256"/>
                      <a:pt x="101" y="256"/>
                    </a:cubicBezTo>
                    <a:cubicBezTo>
                      <a:pt x="76" y="255"/>
                      <a:pt x="58" y="231"/>
                      <a:pt x="44" y="210"/>
                    </a:cubicBezTo>
                    <a:cubicBezTo>
                      <a:pt x="4" y="150"/>
                      <a:pt x="0" y="80"/>
                      <a:pt x="24" y="42"/>
                    </a:cubicBezTo>
                    <a:cubicBezTo>
                      <a:pt x="42" y="16"/>
                      <a:pt x="69" y="0"/>
                      <a:pt x="94" y="0"/>
                    </a:cubicBezTo>
                    <a:cubicBezTo>
                      <a:pt x="120" y="0"/>
                      <a:pt x="137" y="15"/>
                      <a:pt x="158" y="15"/>
                    </a:cubicBezTo>
                    <a:cubicBezTo>
                      <a:pt x="179" y="15"/>
                      <a:pt x="192" y="0"/>
                      <a:pt x="222" y="0"/>
                    </a:cubicBezTo>
                    <a:cubicBezTo>
                      <a:pt x="245" y="0"/>
                      <a:pt x="269" y="13"/>
                      <a:pt x="286" y="34"/>
                    </a:cubicBezTo>
                    <a:cubicBezTo>
                      <a:pt x="230" y="65"/>
                      <a:pt x="239" y="145"/>
                      <a:pt x="296" y="1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3" name="Freeform 25"/>
              <p:cNvSpPr>
                <a:spLocks/>
              </p:cNvSpPr>
              <p:nvPr/>
            </p:nvSpPr>
            <p:spPr bwMode="auto">
              <a:xfrm>
                <a:off x="3825" y="1766"/>
                <a:ext cx="175" cy="191"/>
              </a:xfrm>
              <a:custGeom>
                <a:avLst/>
                <a:gdLst>
                  <a:gd name="T0" fmla="*/ 55 w 74"/>
                  <a:gd name="T1" fmla="*/ 54 h 81"/>
                  <a:gd name="T2" fmla="*/ 71 w 74"/>
                  <a:gd name="T3" fmla="*/ 0 h 81"/>
                  <a:gd name="T4" fmla="*/ 20 w 74"/>
                  <a:gd name="T5" fmla="*/ 28 h 81"/>
                  <a:gd name="T6" fmla="*/ 4 w 74"/>
                  <a:gd name="T7" fmla="*/ 81 h 81"/>
                  <a:gd name="T8" fmla="*/ 55 w 74"/>
                  <a:gd name="T9" fmla="*/ 54 h 81"/>
                </a:gdLst>
                <a:ahLst/>
                <a:cxnLst>
                  <a:cxn ang="0">
                    <a:pos x="T0" y="T1"/>
                  </a:cxn>
                  <a:cxn ang="0">
                    <a:pos x="T2" y="T3"/>
                  </a:cxn>
                  <a:cxn ang="0">
                    <a:pos x="T4" y="T5"/>
                  </a:cxn>
                  <a:cxn ang="0">
                    <a:pos x="T6" y="T7"/>
                  </a:cxn>
                  <a:cxn ang="0">
                    <a:pos x="T8" y="T9"/>
                  </a:cxn>
                </a:cxnLst>
                <a:rect l="0" t="0" r="r" b="b"/>
                <a:pathLst>
                  <a:path w="74" h="81">
                    <a:moveTo>
                      <a:pt x="55" y="54"/>
                    </a:moveTo>
                    <a:cubicBezTo>
                      <a:pt x="66" y="40"/>
                      <a:pt x="74" y="21"/>
                      <a:pt x="71" y="0"/>
                    </a:cubicBezTo>
                    <a:cubicBezTo>
                      <a:pt x="54" y="2"/>
                      <a:pt x="33" y="13"/>
                      <a:pt x="20" y="28"/>
                    </a:cubicBezTo>
                    <a:cubicBezTo>
                      <a:pt x="9" y="41"/>
                      <a:pt x="0" y="61"/>
                      <a:pt x="4" y="81"/>
                    </a:cubicBezTo>
                    <a:cubicBezTo>
                      <a:pt x="23" y="81"/>
                      <a:pt x="44" y="70"/>
                      <a:pt x="55"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grpSp>
        <p:nvGrpSpPr>
          <p:cNvPr id="58" name="Group 57"/>
          <p:cNvGrpSpPr/>
          <p:nvPr/>
        </p:nvGrpSpPr>
        <p:grpSpPr>
          <a:xfrm>
            <a:off x="4137606" y="1175538"/>
            <a:ext cx="3979071" cy="5437027"/>
            <a:chOff x="4221673" y="1198015"/>
            <a:chExt cx="4059916" cy="5547495"/>
          </a:xfrm>
        </p:grpSpPr>
        <p:sp>
          <p:nvSpPr>
            <p:cNvPr id="92" name="Rectangle 91"/>
            <p:cNvSpPr/>
            <p:nvPr/>
          </p:nvSpPr>
          <p:spPr bwMode="auto">
            <a:xfrm>
              <a:off x="4221673" y="1198015"/>
              <a:ext cx="3928399" cy="5439152"/>
            </a:xfrm>
            <a:prstGeom prst="rect">
              <a:avLst/>
            </a:prstGeom>
            <a:solidFill>
              <a:srgbClr val="0072C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771" tIns="146217" rIns="182771" bIns="146217" numCol="1" rtlCol="0" anchor="t" anchorCtr="0" compatLnSpc="1">
              <a:prstTxWarp prst="textNoShape">
                <a:avLst/>
              </a:prstTxWarp>
            </a:bodyPr>
            <a:lstStyle/>
            <a:p>
              <a:pPr defTabSz="913298" fontAlgn="base">
                <a:spcBef>
                  <a:spcPct val="0"/>
                </a:spcBef>
                <a:spcAft>
                  <a:spcPct val="0"/>
                </a:spcAft>
              </a:pPr>
              <a:r>
                <a:rPr lang="en-US" sz="2744" dirty="0">
                  <a:gradFill>
                    <a:gsLst>
                      <a:gs pos="0">
                        <a:srgbClr val="FFFFFF"/>
                      </a:gs>
                      <a:gs pos="100000">
                        <a:srgbClr val="FFFFFF"/>
                      </a:gs>
                    </a:gsLst>
                    <a:lin ang="5400000" scaled="0"/>
                  </a:gradFill>
                  <a:latin typeface="Segoe UI Light"/>
                </a:rPr>
                <a:t>FY14</a:t>
              </a:r>
            </a:p>
            <a:p>
              <a:pPr defTabSz="913298" fontAlgn="base">
                <a:spcBef>
                  <a:spcPct val="0"/>
                </a:spcBef>
                <a:spcAft>
                  <a:spcPct val="0"/>
                </a:spcAft>
              </a:pPr>
              <a:endParaRPr lang="en-US" sz="2744" dirty="0">
                <a:gradFill>
                  <a:gsLst>
                    <a:gs pos="0">
                      <a:srgbClr val="FFFFFF"/>
                    </a:gs>
                    <a:gs pos="100000">
                      <a:srgbClr val="FFFFFF"/>
                    </a:gs>
                  </a:gsLst>
                  <a:lin ang="5400000" scaled="0"/>
                </a:gradFill>
                <a:latin typeface="Segoe UI Light"/>
              </a:endParaRPr>
            </a:p>
            <a:p>
              <a:pPr defTabSz="913298" fontAlgn="base">
                <a:spcBef>
                  <a:spcPct val="0"/>
                </a:spcBef>
                <a:spcAft>
                  <a:spcPct val="0"/>
                </a:spcAft>
              </a:pPr>
              <a:endParaRPr lang="en-US" sz="2744" dirty="0">
                <a:gradFill>
                  <a:gsLst>
                    <a:gs pos="0">
                      <a:srgbClr val="FFFFFF"/>
                    </a:gs>
                    <a:gs pos="100000">
                      <a:srgbClr val="FFFFFF"/>
                    </a:gs>
                  </a:gsLst>
                  <a:lin ang="5400000" scaled="0"/>
                </a:gradFill>
                <a:latin typeface="Segoe UI Light"/>
              </a:endParaRPr>
            </a:p>
          </p:txBody>
        </p:sp>
        <p:grpSp>
          <p:nvGrpSpPr>
            <p:cNvPr id="8" name="Group 7"/>
            <p:cNvGrpSpPr/>
            <p:nvPr/>
          </p:nvGrpSpPr>
          <p:grpSpPr>
            <a:xfrm>
              <a:off x="4260492" y="4096140"/>
              <a:ext cx="3063365" cy="2126974"/>
              <a:chOff x="4300027" y="3735897"/>
              <a:chExt cx="3063365" cy="2126974"/>
            </a:xfrm>
          </p:grpSpPr>
          <p:sp>
            <p:nvSpPr>
              <p:cNvPr id="6" name="TextBox 5"/>
              <p:cNvSpPr txBox="1"/>
              <p:nvPr/>
            </p:nvSpPr>
            <p:spPr>
              <a:xfrm>
                <a:off x="4300027" y="3735897"/>
                <a:ext cx="2129860" cy="939488"/>
              </a:xfrm>
              <a:prstGeom prst="rect">
                <a:avLst/>
              </a:prstGeom>
              <a:noFill/>
            </p:spPr>
            <p:txBody>
              <a:bodyPr wrap="square" rtlCol="0">
                <a:spAutoFit/>
              </a:bodyPr>
              <a:lstStyle/>
              <a:p>
                <a:pPr defTabSz="913914"/>
                <a:r>
                  <a:rPr lang="en-US" sz="5395" dirty="0">
                    <a:gradFill>
                      <a:gsLst>
                        <a:gs pos="0">
                          <a:srgbClr val="FCD116"/>
                        </a:gs>
                        <a:gs pos="100000">
                          <a:srgbClr val="FCD116"/>
                        </a:gs>
                      </a:gsLst>
                      <a:lin ang="5400000" scaled="0"/>
                    </a:gradFill>
                    <a:latin typeface="Segoe UI Semilight" panose="020B0402040204020203" pitchFamily="34" charset="0"/>
                    <a:cs typeface="Segoe UI Semilight" panose="020B0402040204020203" pitchFamily="34" charset="0"/>
                  </a:rPr>
                  <a:t>142+</a:t>
                </a:r>
              </a:p>
            </p:txBody>
          </p:sp>
          <p:sp>
            <p:nvSpPr>
              <p:cNvPr id="7" name="TextBox 6"/>
              <p:cNvSpPr txBox="1"/>
              <p:nvPr/>
            </p:nvSpPr>
            <p:spPr>
              <a:xfrm>
                <a:off x="4399451" y="4467104"/>
                <a:ext cx="2963941" cy="1395767"/>
              </a:xfrm>
              <a:prstGeom prst="rect">
                <a:avLst/>
              </a:prstGeom>
              <a:noFill/>
            </p:spPr>
            <p:txBody>
              <a:bodyPr wrap="square" rtlCol="0">
                <a:spAutoFit/>
              </a:bodyPr>
              <a:lstStyle/>
              <a:p>
                <a:pPr defTabSz="913914"/>
                <a:r>
                  <a:rPr lang="en-US" sz="2352"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New </a:t>
                </a:r>
                <a:br>
                  <a:rPr lang="en-US" sz="2352"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br>
                <a:r>
                  <a:rPr lang="en-US" sz="2352"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markets </a:t>
                </a:r>
                <a:r>
                  <a:rPr lang="en-US" sz="1960" dirty="0">
                    <a:gradFill>
                      <a:gsLst>
                        <a:gs pos="0">
                          <a:srgbClr val="505050"/>
                        </a:gs>
                        <a:gs pos="100000">
                          <a:srgbClr val="505050"/>
                        </a:gs>
                      </a:gsLst>
                      <a:lin ang="5400000" scaled="1"/>
                    </a:gradFill>
                    <a:latin typeface="Segoe UI Semibold" panose="020B0702040204020203" pitchFamily="34" charset="0"/>
                    <a:cs typeface="Segoe UI Semibold" panose="020B0702040204020203" pitchFamily="34" charset="0"/>
                  </a:rPr>
                  <a:t/>
                </a:r>
                <a:br>
                  <a:rPr lang="en-US" sz="1960" dirty="0">
                    <a:gradFill>
                      <a:gsLst>
                        <a:gs pos="0">
                          <a:srgbClr val="505050"/>
                        </a:gs>
                        <a:gs pos="100000">
                          <a:srgbClr val="505050"/>
                        </a:gs>
                      </a:gsLst>
                      <a:lin ang="5400000" scaled="1"/>
                    </a:gradFill>
                    <a:latin typeface="Segoe UI Semibold" panose="020B0702040204020203" pitchFamily="34" charset="0"/>
                    <a:cs typeface="Segoe UI Semibold" panose="020B0702040204020203" pitchFamily="34" charset="0"/>
                  </a:rPr>
                </a:br>
                <a:r>
                  <a:rPr lang="en-US" sz="1798"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opening </a:t>
                </a:r>
                <a:br>
                  <a:rPr lang="en-US" sz="1798"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1798"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March 2013</a:t>
                </a:r>
              </a:p>
            </p:txBody>
          </p:sp>
        </p:grpSp>
        <p:grpSp>
          <p:nvGrpSpPr>
            <p:cNvPr id="21" name="Group 20"/>
            <p:cNvGrpSpPr/>
            <p:nvPr/>
          </p:nvGrpSpPr>
          <p:grpSpPr>
            <a:xfrm>
              <a:off x="4400570" y="2188123"/>
              <a:ext cx="1938741" cy="1059225"/>
              <a:chOff x="4400570" y="2188123"/>
              <a:chExt cx="1938741" cy="1059225"/>
            </a:xfrm>
          </p:grpSpPr>
          <p:sp>
            <p:nvSpPr>
              <p:cNvPr id="11" name="TextBox 10"/>
              <p:cNvSpPr txBox="1"/>
              <p:nvPr/>
            </p:nvSpPr>
            <p:spPr>
              <a:xfrm>
                <a:off x="5061719" y="2388673"/>
                <a:ext cx="1228642" cy="646331"/>
              </a:xfrm>
              <a:prstGeom prst="rect">
                <a:avLst/>
              </a:prstGeom>
              <a:noFill/>
            </p:spPr>
            <p:txBody>
              <a:bodyPr wrap="square" rtlCol="0">
                <a:spAutoFit/>
              </a:bodyPr>
              <a:lstStyle/>
              <a:p>
                <a:pPr defTabSz="913914"/>
                <a:r>
                  <a:rPr lang="en-US" sz="3528" dirty="0">
                    <a:gradFill>
                      <a:gsLst>
                        <a:gs pos="0">
                          <a:srgbClr val="FCD116"/>
                        </a:gs>
                        <a:gs pos="100000">
                          <a:srgbClr val="FCD116"/>
                        </a:gs>
                      </a:gsLst>
                      <a:lin ang="5400000" scaled="1"/>
                    </a:gradFill>
                    <a:latin typeface="Segoe UI Semilight" panose="020B0402040204020203" pitchFamily="34" charset="0"/>
                    <a:cs typeface="Segoe UI Semilight" panose="020B0402040204020203" pitchFamily="34" charset="0"/>
                  </a:rPr>
                  <a:t>1200 </a:t>
                </a:r>
              </a:p>
            </p:txBody>
          </p:sp>
          <p:sp>
            <p:nvSpPr>
              <p:cNvPr id="12" name="TextBox 11"/>
              <p:cNvSpPr txBox="1"/>
              <p:nvPr/>
            </p:nvSpPr>
            <p:spPr>
              <a:xfrm>
                <a:off x="5089580" y="2188123"/>
                <a:ext cx="728289" cy="375487"/>
              </a:xfrm>
              <a:prstGeom prst="rect">
                <a:avLst/>
              </a:prstGeom>
              <a:noFill/>
            </p:spPr>
            <p:txBody>
              <a:bodyPr wrap="square" rtlCol="0">
                <a:spAutoFit/>
              </a:bodyPr>
              <a:lstStyle/>
              <a:p>
                <a:pPr defTabSz="913914"/>
                <a:r>
                  <a:rPr lang="en-US" sz="1803" dirty="0">
                    <a:solidFill>
                      <a:srgbClr val="FFFFFF"/>
                    </a:solidFill>
                    <a:latin typeface="Segoe UI Semilight" panose="020B0402040204020203" pitchFamily="34" charset="0"/>
                    <a:cs typeface="Segoe UI Semilight" panose="020B0402040204020203" pitchFamily="34" charset="0"/>
                  </a:rPr>
                  <a:t>Over </a:t>
                </a:r>
              </a:p>
            </p:txBody>
          </p:sp>
          <p:pic>
            <p:nvPicPr>
              <p:cNvPr id="13" name="Picture 12"/>
              <p:cNvPicPr>
                <a:picLocks noChangeAspect="1"/>
              </p:cNvPicPr>
              <p:nvPr/>
            </p:nvPicPr>
            <p:blipFill>
              <a:blip r:embed="rId12">
                <a:biLevel thresh="25000"/>
              </a:blip>
              <a:stretch>
                <a:fillRect/>
              </a:stretch>
            </p:blipFill>
            <p:spPr>
              <a:xfrm>
                <a:off x="4400570" y="2298849"/>
                <a:ext cx="689118" cy="836941"/>
              </a:xfrm>
              <a:prstGeom prst="rect">
                <a:avLst/>
              </a:prstGeom>
            </p:spPr>
          </p:pic>
          <p:sp>
            <p:nvSpPr>
              <p:cNvPr id="14" name="TextBox 13"/>
              <p:cNvSpPr txBox="1"/>
              <p:nvPr/>
            </p:nvSpPr>
            <p:spPr>
              <a:xfrm>
                <a:off x="5092454" y="2785683"/>
                <a:ext cx="1246857" cy="461665"/>
              </a:xfrm>
              <a:prstGeom prst="rect">
                <a:avLst/>
              </a:prstGeom>
              <a:noFill/>
            </p:spPr>
            <p:txBody>
              <a:bodyPr wrap="square" rtlCol="0">
                <a:spAutoFit/>
              </a:bodyPr>
              <a:lstStyle/>
              <a:p>
                <a:pPr defTabSz="913914"/>
                <a:r>
                  <a:rPr lang="en-US" sz="2352"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apps</a:t>
                </a:r>
              </a:p>
            </p:txBody>
          </p:sp>
        </p:grpSp>
        <p:grpSp>
          <p:nvGrpSpPr>
            <p:cNvPr id="5" name="Group 4"/>
            <p:cNvGrpSpPr/>
            <p:nvPr/>
          </p:nvGrpSpPr>
          <p:grpSpPr>
            <a:xfrm>
              <a:off x="5722087" y="3252981"/>
              <a:ext cx="2559502" cy="1664627"/>
              <a:chOff x="5805083" y="1894931"/>
              <a:chExt cx="2559502" cy="1664627"/>
            </a:xfrm>
          </p:grpSpPr>
          <p:sp>
            <p:nvSpPr>
              <p:cNvPr id="16" name="TextBox 15"/>
              <p:cNvSpPr txBox="1"/>
              <p:nvPr/>
            </p:nvSpPr>
            <p:spPr>
              <a:xfrm>
                <a:off x="5805083" y="2589313"/>
                <a:ext cx="2559502" cy="646331"/>
              </a:xfrm>
              <a:prstGeom prst="rect">
                <a:avLst/>
              </a:prstGeom>
              <a:noFill/>
            </p:spPr>
            <p:txBody>
              <a:bodyPr wrap="square" rtlCol="0">
                <a:spAutoFit/>
              </a:bodyPr>
              <a:lstStyle/>
              <a:p>
                <a:pPr defTabSz="913914"/>
                <a:r>
                  <a:rPr lang="en-US" sz="3528" dirty="0">
                    <a:gradFill>
                      <a:gsLst>
                        <a:gs pos="0">
                          <a:srgbClr val="FCD116"/>
                        </a:gs>
                        <a:gs pos="100000">
                          <a:srgbClr val="FCD116"/>
                        </a:gs>
                      </a:gsLst>
                      <a:lin ang="5400000" scaled="1"/>
                    </a:gradFill>
                    <a:latin typeface="Segoe UI Semilight" panose="020B0402040204020203" pitchFamily="34" charset="0"/>
                    <a:cs typeface="Segoe UI Semilight" panose="020B0402040204020203" pitchFamily="34" charset="0"/>
                  </a:rPr>
                  <a:t>  millions</a:t>
                </a:r>
              </a:p>
            </p:txBody>
          </p:sp>
          <p:sp>
            <p:nvSpPr>
              <p:cNvPr id="17" name="TextBox 16"/>
              <p:cNvSpPr txBox="1"/>
              <p:nvPr/>
            </p:nvSpPr>
            <p:spPr>
              <a:xfrm>
                <a:off x="6949986" y="2359511"/>
                <a:ext cx="1200085" cy="382178"/>
              </a:xfrm>
              <a:prstGeom prst="rect">
                <a:avLst/>
              </a:prstGeom>
              <a:noFill/>
            </p:spPr>
            <p:txBody>
              <a:bodyPr wrap="square" rtlCol="0">
                <a:spAutoFit/>
              </a:bodyPr>
              <a:lstStyle/>
              <a:p>
                <a:pPr defTabSz="913914"/>
                <a:r>
                  <a:rPr lang="en-US" sz="1798" dirty="0">
                    <a:solidFill>
                      <a:srgbClr val="FFFFFF"/>
                    </a:solidFill>
                    <a:latin typeface="Segoe UI Semilight" panose="020B0402040204020203" pitchFamily="34" charset="0"/>
                    <a:cs typeface="Segoe UI Semilight" panose="020B0402040204020203" pitchFamily="34" charset="0"/>
                  </a:rPr>
                  <a:t>with over </a:t>
                </a:r>
              </a:p>
            </p:txBody>
          </p:sp>
          <p:sp>
            <p:nvSpPr>
              <p:cNvPr id="18" name="TextBox 17"/>
              <p:cNvSpPr txBox="1"/>
              <p:nvPr/>
            </p:nvSpPr>
            <p:spPr>
              <a:xfrm>
                <a:off x="6148164" y="3081312"/>
                <a:ext cx="1763622" cy="478246"/>
              </a:xfrm>
              <a:prstGeom prst="rect">
                <a:avLst/>
              </a:prstGeom>
              <a:noFill/>
            </p:spPr>
            <p:txBody>
              <a:bodyPr wrap="square" rtlCol="0">
                <a:spAutoFit/>
              </a:bodyPr>
              <a:lstStyle/>
              <a:p>
                <a:pPr defTabSz="913914"/>
                <a:r>
                  <a:rPr lang="en-US" sz="2398" dirty="0">
                    <a:solidFill>
                      <a:srgbClr val="FFFFFF"/>
                    </a:solidFill>
                    <a:latin typeface="Segoe UI Semibold" panose="020B0702040204020203" pitchFamily="34" charset="0"/>
                    <a:cs typeface="Segoe UI Semibold" panose="020B0702040204020203" pitchFamily="34" charset="0"/>
                  </a:rPr>
                  <a:t>installs</a:t>
                </a:r>
              </a:p>
            </p:txBody>
          </p:sp>
          <p:pic>
            <p:nvPicPr>
              <p:cNvPr id="19" name="Picture 18"/>
              <p:cNvPicPr>
                <a:picLocks noChangeAspect="1"/>
              </p:cNvPicPr>
              <p:nvPr/>
            </p:nvPicPr>
            <p:blipFill>
              <a:blip r:embed="rId13">
                <a:biLevel thresh="25000"/>
              </a:blip>
              <a:stretch>
                <a:fillRect/>
              </a:stretch>
            </p:blipFill>
            <p:spPr>
              <a:xfrm>
                <a:off x="6260246" y="1894931"/>
                <a:ext cx="894735" cy="768555"/>
              </a:xfrm>
              <a:prstGeom prst="rect">
                <a:avLst/>
              </a:prstGeom>
            </p:spPr>
          </p:pic>
        </p:grpSp>
        <p:grpSp>
          <p:nvGrpSpPr>
            <p:cNvPr id="9" name="Group 8"/>
            <p:cNvGrpSpPr/>
            <p:nvPr/>
          </p:nvGrpSpPr>
          <p:grpSpPr>
            <a:xfrm>
              <a:off x="6580654" y="2126951"/>
              <a:ext cx="1454668" cy="744050"/>
              <a:chOff x="4514274" y="2817402"/>
              <a:chExt cx="1454668" cy="744050"/>
            </a:xfrm>
          </p:grpSpPr>
          <p:sp>
            <p:nvSpPr>
              <p:cNvPr id="20" name="TextBox 19"/>
              <p:cNvSpPr txBox="1"/>
              <p:nvPr/>
            </p:nvSpPr>
            <p:spPr>
              <a:xfrm>
                <a:off x="5071223" y="2817402"/>
                <a:ext cx="897719" cy="744050"/>
              </a:xfrm>
              <a:prstGeom prst="rect">
                <a:avLst/>
              </a:prstGeom>
              <a:noFill/>
            </p:spPr>
            <p:txBody>
              <a:bodyPr wrap="square" rtlCol="0">
                <a:spAutoFit/>
              </a:bodyPr>
              <a:lstStyle/>
              <a:p>
                <a:pPr defTabSz="913914"/>
                <a:r>
                  <a:rPr lang="en-US" sz="2352"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apps</a:t>
                </a:r>
                <a:r>
                  <a:rPr lang="en-US" sz="1798" dirty="0">
                    <a:solidFill>
                      <a:srgbClr val="FFFFFF"/>
                    </a:solidFill>
                    <a:latin typeface="Segoe UI Semilight" panose="020B0402040204020203" pitchFamily="34" charset="0"/>
                    <a:cs typeface="Segoe UI Semilight" panose="020B0402040204020203" pitchFamily="34" charset="0"/>
                  </a:rPr>
                  <a:t/>
                </a:r>
                <a:br>
                  <a:rPr lang="en-US" sz="1798" dirty="0">
                    <a:solidFill>
                      <a:srgbClr val="FFFFFF"/>
                    </a:solidFill>
                    <a:latin typeface="Segoe UI Semilight" panose="020B0402040204020203" pitchFamily="34" charset="0"/>
                    <a:cs typeface="Segoe UI Semilight" panose="020B0402040204020203" pitchFamily="34" charset="0"/>
                  </a:rPr>
                </a:br>
                <a:r>
                  <a:rPr lang="en-US" sz="1798" dirty="0">
                    <a:solidFill>
                      <a:srgbClr val="FFFFFF"/>
                    </a:solidFill>
                    <a:latin typeface="Segoe UI Semilight" panose="020B0402040204020203" pitchFamily="34" charset="0"/>
                    <a:cs typeface="Segoe UI Semilight" panose="020B0402040204020203" pitchFamily="34" charset="0"/>
                  </a:rPr>
                  <a:t>paid</a:t>
                </a:r>
              </a:p>
            </p:txBody>
          </p:sp>
          <p:pic>
            <p:nvPicPr>
              <p:cNvPr id="23" name="Picture 22"/>
              <p:cNvPicPr>
                <a:picLocks noChangeAspect="1"/>
              </p:cNvPicPr>
              <p:nvPr/>
            </p:nvPicPr>
            <p:blipFill>
              <a:blip r:embed="rId14">
                <a:biLevel thresh="25000"/>
              </a:blip>
              <a:stretch>
                <a:fillRect/>
              </a:stretch>
            </p:blipFill>
            <p:spPr>
              <a:xfrm>
                <a:off x="4514274" y="2937049"/>
                <a:ext cx="550606" cy="539135"/>
              </a:xfrm>
              <a:prstGeom prst="rect">
                <a:avLst/>
              </a:prstGeom>
            </p:spPr>
          </p:pic>
        </p:grpSp>
        <p:grpSp>
          <p:nvGrpSpPr>
            <p:cNvPr id="4" name="Group 3"/>
            <p:cNvGrpSpPr/>
            <p:nvPr/>
          </p:nvGrpSpPr>
          <p:grpSpPr>
            <a:xfrm>
              <a:off x="6085550" y="5094091"/>
              <a:ext cx="2072084" cy="1651419"/>
              <a:chOff x="5561974" y="5196604"/>
              <a:chExt cx="2072084" cy="1651419"/>
            </a:xfrm>
          </p:grpSpPr>
          <p:sp>
            <p:nvSpPr>
              <p:cNvPr id="24" name="TextBox 23"/>
              <p:cNvSpPr txBox="1"/>
              <p:nvPr/>
            </p:nvSpPr>
            <p:spPr>
              <a:xfrm>
                <a:off x="5565235" y="5196604"/>
                <a:ext cx="1965692" cy="939488"/>
              </a:xfrm>
              <a:prstGeom prst="rect">
                <a:avLst/>
              </a:prstGeom>
              <a:noFill/>
            </p:spPr>
            <p:txBody>
              <a:bodyPr wrap="square" rtlCol="0">
                <a:spAutoFit/>
              </a:bodyPr>
              <a:lstStyle/>
              <a:p>
                <a:pPr defTabSz="913914"/>
                <a:r>
                  <a:rPr lang="en-US" sz="5395" dirty="0">
                    <a:gradFill>
                      <a:gsLst>
                        <a:gs pos="0">
                          <a:srgbClr val="FCD116"/>
                        </a:gs>
                        <a:gs pos="100000">
                          <a:srgbClr val="FCD116"/>
                        </a:gs>
                      </a:gsLst>
                      <a:lin ang="5400000" scaled="0"/>
                    </a:gradFill>
                    <a:latin typeface="Segoe UI Semilight" panose="020B0402040204020203" pitchFamily="34" charset="0"/>
                    <a:cs typeface="Segoe UI Semilight" panose="020B0402040204020203" pitchFamily="34" charset="0"/>
                  </a:rPr>
                  <a:t>400+</a:t>
                </a:r>
              </a:p>
            </p:txBody>
          </p:sp>
          <p:sp>
            <p:nvSpPr>
              <p:cNvPr id="25" name="TextBox 24"/>
              <p:cNvSpPr txBox="1"/>
              <p:nvPr/>
            </p:nvSpPr>
            <p:spPr>
              <a:xfrm>
                <a:off x="5561974" y="5918475"/>
                <a:ext cx="2072084" cy="929548"/>
              </a:xfrm>
              <a:prstGeom prst="rect">
                <a:avLst/>
              </a:prstGeom>
              <a:noFill/>
            </p:spPr>
            <p:txBody>
              <a:bodyPr wrap="square" rtlCol="0">
                <a:spAutoFit/>
              </a:bodyPr>
              <a:lstStyle/>
              <a:p>
                <a:pPr defTabSz="913914"/>
                <a:r>
                  <a:rPr lang="en-US" sz="1960" dirty="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Petabytes of data </a:t>
                </a:r>
                <a:r>
                  <a:rPr lang="en-US" sz="1798" dirty="0">
                    <a:solidFill>
                      <a:srgbClr val="FFFFFF"/>
                    </a:solidFill>
                    <a:latin typeface="Segoe UI Semilight" panose="020B0402040204020203" pitchFamily="34" charset="0"/>
                    <a:cs typeface="Segoe UI Semilight" panose="020B0402040204020203" pitchFamily="34" charset="0"/>
                  </a:rPr>
                  <a:t>in Office 365</a:t>
                </a:r>
                <a:br>
                  <a:rPr lang="en-US" sz="1798" dirty="0">
                    <a:solidFill>
                      <a:srgbClr val="FFFFFF"/>
                    </a:solidFill>
                    <a:latin typeface="Segoe UI Semilight" panose="020B0402040204020203" pitchFamily="34" charset="0"/>
                    <a:cs typeface="Segoe UI Semilight" panose="020B0402040204020203" pitchFamily="34" charset="0"/>
                  </a:rPr>
                </a:br>
                <a:r>
                  <a:rPr lang="en-US" sz="1200" dirty="0">
                    <a:solidFill>
                      <a:srgbClr val="FFFFFF"/>
                    </a:solidFill>
                    <a:latin typeface="Segoe UI Semilight" panose="020B0402040204020203" pitchFamily="34" charset="0"/>
                    <a:cs typeface="Segoe UI Semilight" panose="020B0402040204020203" pitchFamily="34" charset="0"/>
                  </a:rPr>
                  <a:t>(March 2014)</a:t>
                </a:r>
                <a:endParaRPr lang="en-US" sz="1798" dirty="0">
                  <a:solidFill>
                    <a:srgbClr val="FFFFFF"/>
                  </a:solidFill>
                  <a:latin typeface="Segoe UI Semilight" panose="020B0402040204020203" pitchFamily="34" charset="0"/>
                  <a:cs typeface="Segoe UI Semilight" panose="020B0402040204020203" pitchFamily="34" charset="0"/>
                </a:endParaRPr>
              </a:p>
            </p:txBody>
          </p:sp>
        </p:grpSp>
        <p:sp>
          <p:nvSpPr>
            <p:cNvPr id="45" name="Pentagon 44"/>
            <p:cNvSpPr/>
            <p:nvPr/>
          </p:nvSpPr>
          <p:spPr bwMode="auto">
            <a:xfrm>
              <a:off x="4221673" y="1313673"/>
              <a:ext cx="1966357" cy="602085"/>
            </a:xfrm>
            <a:prstGeom prst="homePlat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09" tIns="44809" rIns="44809" bIns="44809" numCol="1" spcCol="0" rtlCol="0" fromWordArt="0" anchor="ctr" anchorCtr="0" forceAA="0" compatLnSpc="1">
              <a:prstTxWarp prst="textNoShape">
                <a:avLst/>
              </a:prstTxWarp>
              <a:noAutofit/>
            </a:bodyPr>
            <a:lstStyle/>
            <a:p>
              <a:pPr algn="ctr" defTabSz="895822" fontAlgn="base">
                <a:spcBef>
                  <a:spcPct val="0"/>
                </a:spcBef>
                <a:spcAft>
                  <a:spcPct val="0"/>
                </a:spcAft>
              </a:pPr>
              <a:r>
                <a:rPr lang="en-US" sz="2399" dirty="0">
                  <a:solidFill>
                    <a:srgbClr val="DC3C00"/>
                  </a:solidFill>
                  <a:latin typeface="Segoe UI Semilight" panose="020B0402040204020203" pitchFamily="34" charset="0"/>
                  <a:cs typeface="Segoe UI Semilight" panose="020B0402040204020203" pitchFamily="34" charset="0"/>
                </a:rPr>
                <a:t>Momentum</a:t>
              </a:r>
            </a:p>
          </p:txBody>
        </p:sp>
      </p:grpSp>
      <p:sp>
        <p:nvSpPr>
          <p:cNvPr id="2" name="Text Placeholder 1"/>
          <p:cNvSpPr>
            <a:spLocks noGrp="1"/>
          </p:cNvSpPr>
          <p:nvPr>
            <p:ph type="body" sz="quarter" idx="10"/>
          </p:nvPr>
        </p:nvSpPr>
        <p:spPr>
          <a:xfrm>
            <a:off x="269169" y="1189177"/>
            <a:ext cx="11650488" cy="727571"/>
          </a:xfrm>
        </p:spPr>
        <p:txBody>
          <a:bodyPr/>
          <a:lstStyle/>
          <a:p>
            <a:endParaRPr lang="en-US" dirty="0"/>
          </a:p>
        </p:txBody>
      </p:sp>
      <p:sp>
        <p:nvSpPr>
          <p:cNvPr id="48" name="Title 1"/>
          <p:cNvSpPr>
            <a:spLocks noGrp="1"/>
          </p:cNvSpPr>
          <p:nvPr>
            <p:ph type="title"/>
          </p:nvPr>
        </p:nvSpPr>
        <p:spPr/>
        <p:txBody>
          <a:bodyPr/>
          <a:lstStyle/>
          <a:p>
            <a:r>
              <a:rPr lang="en-US" dirty="0" smtClean="0"/>
              <a:t>Where are we?</a:t>
            </a:r>
            <a:endParaRPr lang="en-US" dirty="0"/>
          </a:p>
        </p:txBody>
      </p:sp>
      <p:grpSp>
        <p:nvGrpSpPr>
          <p:cNvPr id="56" name="Group 55"/>
          <p:cNvGrpSpPr/>
          <p:nvPr/>
        </p:nvGrpSpPr>
        <p:grpSpPr>
          <a:xfrm>
            <a:off x="273403" y="1175538"/>
            <a:ext cx="3816227" cy="5330841"/>
            <a:chOff x="278957" y="1198015"/>
            <a:chExt cx="3893764" cy="5439152"/>
          </a:xfrm>
        </p:grpSpPr>
        <p:sp>
          <p:nvSpPr>
            <p:cNvPr id="60" name="Rectangle 59"/>
            <p:cNvSpPr/>
            <p:nvPr/>
          </p:nvSpPr>
          <p:spPr bwMode="auto">
            <a:xfrm>
              <a:off x="278957" y="1198015"/>
              <a:ext cx="3893764" cy="5439152"/>
            </a:xfrm>
            <a:prstGeom prst="rect">
              <a:avLst/>
            </a:prstGeom>
            <a:solidFill>
              <a:srgbClr val="0072C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771" tIns="146217" rIns="182771" bIns="146217" numCol="1" rtlCol="0" anchor="t" anchorCtr="0" compatLnSpc="1">
              <a:prstTxWarp prst="textNoShape">
                <a:avLst/>
              </a:prstTxWarp>
            </a:bodyPr>
            <a:lstStyle/>
            <a:p>
              <a:pPr defTabSz="913298" fontAlgn="base">
                <a:spcBef>
                  <a:spcPct val="0"/>
                </a:spcBef>
                <a:spcAft>
                  <a:spcPct val="0"/>
                </a:spcAft>
              </a:pPr>
              <a:r>
                <a:rPr lang="en-US" sz="2744" dirty="0">
                  <a:gradFill>
                    <a:gsLst>
                      <a:gs pos="0">
                        <a:srgbClr val="FFFFFF"/>
                      </a:gs>
                      <a:gs pos="100000">
                        <a:srgbClr val="FFFFFF"/>
                      </a:gs>
                    </a:gsLst>
                    <a:lin ang="5400000" scaled="0"/>
                  </a:gradFill>
                  <a:latin typeface="Segoe UI Light"/>
                </a:rPr>
                <a:t>FY13</a:t>
              </a:r>
            </a:p>
            <a:p>
              <a:pPr defTabSz="913298" fontAlgn="base">
                <a:spcBef>
                  <a:spcPct val="0"/>
                </a:spcBef>
                <a:spcAft>
                  <a:spcPct val="0"/>
                </a:spcAft>
              </a:pPr>
              <a:endParaRPr lang="en-US" sz="2744" dirty="0">
                <a:gradFill>
                  <a:gsLst>
                    <a:gs pos="0">
                      <a:srgbClr val="FFFFFF"/>
                    </a:gs>
                    <a:gs pos="100000">
                      <a:srgbClr val="FFFFFF"/>
                    </a:gs>
                  </a:gsLst>
                  <a:lin ang="5400000" scaled="0"/>
                </a:gradFill>
                <a:latin typeface="Segoe UI Light"/>
              </a:endParaRPr>
            </a:p>
          </p:txBody>
        </p:sp>
        <p:grpSp>
          <p:nvGrpSpPr>
            <p:cNvPr id="3" name="Group 2"/>
            <p:cNvGrpSpPr/>
            <p:nvPr/>
          </p:nvGrpSpPr>
          <p:grpSpPr>
            <a:xfrm>
              <a:off x="393801" y="3411025"/>
              <a:ext cx="3400878" cy="1682857"/>
              <a:chOff x="628773" y="3413288"/>
              <a:chExt cx="3400878" cy="1682857"/>
            </a:xfrm>
          </p:grpSpPr>
          <p:sp>
            <p:nvSpPr>
              <p:cNvPr id="29" name="TextBox 28"/>
              <p:cNvSpPr txBox="1"/>
              <p:nvPr/>
            </p:nvSpPr>
            <p:spPr>
              <a:xfrm>
                <a:off x="628773" y="3496383"/>
                <a:ext cx="3400878" cy="958191"/>
              </a:xfrm>
              <a:prstGeom prst="rect">
                <a:avLst/>
              </a:prstGeom>
              <a:noFill/>
            </p:spPr>
            <p:txBody>
              <a:bodyPr wrap="square" rtlCol="0">
                <a:spAutoFit/>
              </a:bodyPr>
              <a:lstStyle/>
              <a:p>
                <a:pPr defTabSz="913914"/>
                <a:r>
                  <a:rPr lang="en-US" sz="5395" dirty="0">
                    <a:gradFill>
                      <a:gsLst>
                        <a:gs pos="0">
                          <a:srgbClr val="FCD116"/>
                        </a:gs>
                        <a:gs pos="100000">
                          <a:srgbClr val="FCD116"/>
                        </a:gs>
                      </a:gsLst>
                      <a:lin ang="5400000" scaled="0"/>
                    </a:gradFill>
                    <a:latin typeface="Segoe UI Semilight" panose="020B0402040204020203" pitchFamily="34" charset="0"/>
                    <a:cs typeface="Segoe UI Semilight" panose="020B0402040204020203" pitchFamily="34" charset="0"/>
                  </a:rPr>
                  <a:t>3,400,000</a:t>
                </a:r>
              </a:p>
            </p:txBody>
          </p:sp>
          <p:sp>
            <p:nvSpPr>
              <p:cNvPr id="30" name="TextBox 29"/>
              <p:cNvSpPr txBox="1"/>
              <p:nvPr/>
            </p:nvSpPr>
            <p:spPr>
              <a:xfrm>
                <a:off x="669822" y="3413288"/>
                <a:ext cx="2097812" cy="318286"/>
              </a:xfrm>
              <a:prstGeom prst="rect">
                <a:avLst/>
              </a:prstGeom>
              <a:noFill/>
            </p:spPr>
            <p:txBody>
              <a:bodyPr wrap="square" rtlCol="0">
                <a:spAutoFit/>
              </a:bodyPr>
              <a:lstStyle/>
              <a:p>
                <a:pPr defTabSz="913914"/>
                <a:r>
                  <a:rPr lang="en-US" sz="1400" dirty="0">
                    <a:gradFill>
                      <a:gsLst>
                        <a:gs pos="0">
                          <a:srgbClr val="FFFFFF"/>
                        </a:gs>
                        <a:gs pos="100000">
                          <a:srgbClr val="FFFFFF"/>
                        </a:gs>
                      </a:gsLst>
                      <a:lin ang="5400000" scaled="1"/>
                    </a:gradFill>
                    <a:cs typeface="Segoe UI" panose="020B0502040204020203" pitchFamily="34" charset="0"/>
                  </a:rPr>
                  <a:t>More than</a:t>
                </a:r>
              </a:p>
            </p:txBody>
          </p:sp>
          <p:sp>
            <p:nvSpPr>
              <p:cNvPr id="31" name="TextBox 30"/>
              <p:cNvSpPr txBox="1"/>
              <p:nvPr/>
            </p:nvSpPr>
            <p:spPr>
              <a:xfrm>
                <a:off x="669821" y="4263266"/>
                <a:ext cx="3194422" cy="832879"/>
              </a:xfrm>
              <a:prstGeom prst="rect">
                <a:avLst/>
              </a:prstGeom>
              <a:noFill/>
            </p:spPr>
            <p:txBody>
              <a:bodyPr wrap="square" rtlCol="0">
                <a:spAutoFit/>
              </a:bodyPr>
              <a:lstStyle/>
              <a:p>
                <a:pPr defTabSz="913914"/>
                <a:r>
                  <a:rPr lang="en-US" sz="2352"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Office + SharePoint developers</a:t>
                </a:r>
              </a:p>
            </p:txBody>
          </p:sp>
        </p:grpSp>
        <p:grpSp>
          <p:nvGrpSpPr>
            <p:cNvPr id="47" name="Group 46"/>
            <p:cNvGrpSpPr/>
            <p:nvPr/>
          </p:nvGrpSpPr>
          <p:grpSpPr>
            <a:xfrm>
              <a:off x="549316" y="2095699"/>
              <a:ext cx="2357054" cy="943942"/>
              <a:chOff x="455869" y="2095699"/>
              <a:chExt cx="2357054" cy="943942"/>
            </a:xfrm>
          </p:grpSpPr>
          <p:grpSp>
            <p:nvGrpSpPr>
              <p:cNvPr id="35" name="Group 34"/>
              <p:cNvGrpSpPr/>
              <p:nvPr/>
            </p:nvGrpSpPr>
            <p:grpSpPr>
              <a:xfrm>
                <a:off x="455869" y="2095699"/>
                <a:ext cx="769858" cy="943942"/>
                <a:chOff x="1163638" y="3470275"/>
                <a:chExt cx="1130300" cy="1385888"/>
              </a:xfrm>
            </p:grpSpPr>
            <p:sp>
              <p:nvSpPr>
                <p:cNvPr id="36" name="Freeform 5"/>
                <p:cNvSpPr>
                  <a:spLocks/>
                </p:cNvSpPr>
                <p:nvPr/>
              </p:nvSpPr>
              <p:spPr bwMode="auto">
                <a:xfrm>
                  <a:off x="1992313" y="4187825"/>
                  <a:ext cx="301625" cy="668338"/>
                </a:xfrm>
                <a:custGeom>
                  <a:avLst/>
                  <a:gdLst>
                    <a:gd name="T0" fmla="*/ 12 w 72"/>
                    <a:gd name="T1" fmla="*/ 0 h 160"/>
                    <a:gd name="T2" fmla="*/ 0 w 72"/>
                    <a:gd name="T3" fmla="*/ 76 h 160"/>
                    <a:gd name="T4" fmla="*/ 57 w 72"/>
                    <a:gd name="T5" fmla="*/ 151 h 160"/>
                    <a:gd name="T6" fmla="*/ 67 w 72"/>
                    <a:gd name="T7" fmla="*/ 151 h 160"/>
                    <a:gd name="T8" fmla="*/ 12 w 72"/>
                    <a:gd name="T9" fmla="*/ 0 h 160"/>
                  </a:gdLst>
                  <a:ahLst/>
                  <a:cxnLst>
                    <a:cxn ang="0">
                      <a:pos x="T0" y="T1"/>
                    </a:cxn>
                    <a:cxn ang="0">
                      <a:pos x="T2" y="T3"/>
                    </a:cxn>
                    <a:cxn ang="0">
                      <a:pos x="T4" y="T5"/>
                    </a:cxn>
                    <a:cxn ang="0">
                      <a:pos x="T6" y="T7"/>
                    </a:cxn>
                    <a:cxn ang="0">
                      <a:pos x="T8" y="T9"/>
                    </a:cxn>
                  </a:cxnLst>
                  <a:rect l="0" t="0" r="r" b="b"/>
                  <a:pathLst>
                    <a:path w="72" h="160">
                      <a:moveTo>
                        <a:pt x="12" y="0"/>
                      </a:moveTo>
                      <a:cubicBezTo>
                        <a:pt x="11" y="24"/>
                        <a:pt x="8" y="49"/>
                        <a:pt x="0" y="76"/>
                      </a:cubicBezTo>
                      <a:cubicBezTo>
                        <a:pt x="45" y="82"/>
                        <a:pt x="56" y="147"/>
                        <a:pt x="57" y="151"/>
                      </a:cubicBezTo>
                      <a:cubicBezTo>
                        <a:pt x="58" y="160"/>
                        <a:pt x="67" y="157"/>
                        <a:pt x="67" y="151"/>
                      </a:cubicBezTo>
                      <a:cubicBezTo>
                        <a:pt x="72" y="50"/>
                        <a:pt x="21" y="7"/>
                        <a:pt x="12" y="0"/>
                      </a:cubicBezTo>
                      <a:close/>
                    </a:path>
                  </a:pathLst>
                </a:custGeom>
                <a:solidFill>
                  <a:srgbClr val="FCD116"/>
                </a:solidFill>
                <a:ln>
                  <a:noFill/>
                </a:ln>
              </p:spPr>
              <p:txBody>
                <a:bodyPr vert="horz" wrap="square" lIns="89619" tIns="44809" rIns="89619" bIns="44809" numCol="1" anchor="t" anchorCtr="0" compatLnSpc="1">
                  <a:prstTxWarp prst="textNoShape">
                    <a:avLst/>
                  </a:prstTxWarp>
                </a:bodyPr>
                <a:lstStyle/>
                <a:p>
                  <a:pPr defTabSz="914093"/>
                  <a:endParaRPr lang="en-US" sz="1764" dirty="0">
                    <a:solidFill>
                      <a:srgbClr val="FFFFFF"/>
                    </a:solidFill>
                  </a:endParaRPr>
                </a:p>
              </p:txBody>
            </p:sp>
            <p:sp>
              <p:nvSpPr>
                <p:cNvPr id="37" name="Freeform 6"/>
                <p:cNvSpPr>
                  <a:spLocks/>
                </p:cNvSpPr>
                <p:nvPr/>
              </p:nvSpPr>
              <p:spPr bwMode="auto">
                <a:xfrm>
                  <a:off x="1163638" y="4192588"/>
                  <a:ext cx="296863" cy="663575"/>
                </a:xfrm>
                <a:custGeom>
                  <a:avLst/>
                  <a:gdLst>
                    <a:gd name="T0" fmla="*/ 59 w 71"/>
                    <a:gd name="T1" fmla="*/ 0 h 159"/>
                    <a:gd name="T2" fmla="*/ 5 w 71"/>
                    <a:gd name="T3" fmla="*/ 150 h 159"/>
                    <a:gd name="T4" fmla="*/ 15 w 71"/>
                    <a:gd name="T5" fmla="*/ 150 h 159"/>
                    <a:gd name="T6" fmla="*/ 71 w 71"/>
                    <a:gd name="T7" fmla="*/ 75 h 159"/>
                    <a:gd name="T8" fmla="*/ 59 w 71"/>
                    <a:gd name="T9" fmla="*/ 0 h 159"/>
                  </a:gdLst>
                  <a:ahLst/>
                  <a:cxnLst>
                    <a:cxn ang="0">
                      <a:pos x="T0" y="T1"/>
                    </a:cxn>
                    <a:cxn ang="0">
                      <a:pos x="T2" y="T3"/>
                    </a:cxn>
                    <a:cxn ang="0">
                      <a:pos x="T4" y="T5"/>
                    </a:cxn>
                    <a:cxn ang="0">
                      <a:pos x="T6" y="T7"/>
                    </a:cxn>
                    <a:cxn ang="0">
                      <a:pos x="T8" y="T9"/>
                    </a:cxn>
                  </a:cxnLst>
                  <a:rect l="0" t="0" r="r" b="b"/>
                  <a:pathLst>
                    <a:path w="71" h="159">
                      <a:moveTo>
                        <a:pt x="59" y="0"/>
                      </a:moveTo>
                      <a:cubicBezTo>
                        <a:pt x="48" y="9"/>
                        <a:pt x="0" y="52"/>
                        <a:pt x="5" y="150"/>
                      </a:cubicBezTo>
                      <a:cubicBezTo>
                        <a:pt x="5" y="156"/>
                        <a:pt x="14" y="159"/>
                        <a:pt x="15" y="150"/>
                      </a:cubicBezTo>
                      <a:cubicBezTo>
                        <a:pt x="16" y="146"/>
                        <a:pt x="27" y="82"/>
                        <a:pt x="71" y="75"/>
                      </a:cubicBezTo>
                      <a:cubicBezTo>
                        <a:pt x="63" y="49"/>
                        <a:pt x="60" y="23"/>
                        <a:pt x="59" y="0"/>
                      </a:cubicBezTo>
                      <a:close/>
                    </a:path>
                  </a:pathLst>
                </a:custGeom>
                <a:solidFill>
                  <a:srgbClr val="FCD116"/>
                </a:solidFill>
                <a:ln>
                  <a:noFill/>
                </a:ln>
              </p:spPr>
              <p:txBody>
                <a:bodyPr vert="horz" wrap="square" lIns="89619" tIns="44809" rIns="89619" bIns="44809" numCol="1" anchor="t" anchorCtr="0" compatLnSpc="1">
                  <a:prstTxWarp prst="textNoShape">
                    <a:avLst/>
                  </a:prstTxWarp>
                </a:bodyPr>
                <a:lstStyle/>
                <a:p>
                  <a:pPr defTabSz="914093"/>
                  <a:endParaRPr lang="en-US" sz="1764" dirty="0">
                    <a:solidFill>
                      <a:srgbClr val="FFFFFF"/>
                    </a:solidFill>
                  </a:endParaRPr>
                </a:p>
              </p:txBody>
            </p:sp>
            <p:sp>
              <p:nvSpPr>
                <p:cNvPr id="38" name="Freeform 7"/>
                <p:cNvSpPr>
                  <a:spLocks/>
                </p:cNvSpPr>
                <p:nvPr/>
              </p:nvSpPr>
              <p:spPr bwMode="auto">
                <a:xfrm>
                  <a:off x="1687513" y="4167188"/>
                  <a:ext cx="82550" cy="673100"/>
                </a:xfrm>
                <a:custGeom>
                  <a:avLst/>
                  <a:gdLst>
                    <a:gd name="T0" fmla="*/ 10 w 20"/>
                    <a:gd name="T1" fmla="*/ 0 h 161"/>
                    <a:gd name="T2" fmla="*/ 10 w 20"/>
                    <a:gd name="T3" fmla="*/ 0 h 161"/>
                    <a:gd name="T4" fmla="*/ 10 w 20"/>
                    <a:gd name="T5" fmla="*/ 0 h 161"/>
                    <a:gd name="T6" fmla="*/ 10 w 20"/>
                    <a:gd name="T7" fmla="*/ 0 h 161"/>
                    <a:gd name="T8" fmla="*/ 10 w 20"/>
                    <a:gd name="T9" fmla="*/ 0 h 161"/>
                    <a:gd name="T10" fmla="*/ 0 w 20"/>
                    <a:gd name="T11" fmla="*/ 11 h 161"/>
                    <a:gd name="T12" fmla="*/ 0 w 20"/>
                    <a:gd name="T13" fmla="*/ 149 h 161"/>
                    <a:gd name="T14" fmla="*/ 10 w 20"/>
                    <a:gd name="T15" fmla="*/ 161 h 161"/>
                    <a:gd name="T16" fmla="*/ 10 w 20"/>
                    <a:gd name="T17" fmla="*/ 161 h 161"/>
                    <a:gd name="T18" fmla="*/ 10 w 20"/>
                    <a:gd name="T19" fmla="*/ 161 h 161"/>
                    <a:gd name="T20" fmla="*/ 10 w 20"/>
                    <a:gd name="T21" fmla="*/ 161 h 161"/>
                    <a:gd name="T22" fmla="*/ 10 w 20"/>
                    <a:gd name="T23" fmla="*/ 161 h 161"/>
                    <a:gd name="T24" fmla="*/ 20 w 20"/>
                    <a:gd name="T25" fmla="*/ 149 h 161"/>
                    <a:gd name="T26" fmla="*/ 20 w 20"/>
                    <a:gd name="T27" fmla="*/ 11 h 161"/>
                    <a:gd name="T28" fmla="*/ 10 w 20"/>
                    <a:gd name="T29"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161">
                      <a:moveTo>
                        <a:pt x="10" y="0"/>
                      </a:moveTo>
                      <a:cubicBezTo>
                        <a:pt x="10" y="0"/>
                        <a:pt x="10" y="0"/>
                        <a:pt x="10" y="0"/>
                      </a:cubicBezTo>
                      <a:cubicBezTo>
                        <a:pt x="10" y="0"/>
                        <a:pt x="10" y="0"/>
                        <a:pt x="10" y="0"/>
                      </a:cubicBezTo>
                      <a:cubicBezTo>
                        <a:pt x="10" y="0"/>
                        <a:pt x="10" y="0"/>
                        <a:pt x="10" y="0"/>
                      </a:cubicBezTo>
                      <a:cubicBezTo>
                        <a:pt x="10" y="0"/>
                        <a:pt x="10" y="0"/>
                        <a:pt x="10" y="0"/>
                      </a:cubicBezTo>
                      <a:cubicBezTo>
                        <a:pt x="0" y="0"/>
                        <a:pt x="0" y="11"/>
                        <a:pt x="0" y="11"/>
                      </a:cubicBezTo>
                      <a:cubicBezTo>
                        <a:pt x="0" y="11"/>
                        <a:pt x="0" y="144"/>
                        <a:pt x="0" y="149"/>
                      </a:cubicBezTo>
                      <a:cubicBezTo>
                        <a:pt x="0" y="154"/>
                        <a:pt x="0" y="161"/>
                        <a:pt x="10" y="161"/>
                      </a:cubicBezTo>
                      <a:cubicBezTo>
                        <a:pt x="10" y="161"/>
                        <a:pt x="10" y="161"/>
                        <a:pt x="10" y="161"/>
                      </a:cubicBezTo>
                      <a:cubicBezTo>
                        <a:pt x="10" y="161"/>
                        <a:pt x="10" y="161"/>
                        <a:pt x="10" y="161"/>
                      </a:cubicBezTo>
                      <a:cubicBezTo>
                        <a:pt x="10" y="161"/>
                        <a:pt x="10" y="161"/>
                        <a:pt x="10" y="161"/>
                      </a:cubicBezTo>
                      <a:cubicBezTo>
                        <a:pt x="10" y="161"/>
                        <a:pt x="10" y="161"/>
                        <a:pt x="10" y="161"/>
                      </a:cubicBezTo>
                      <a:cubicBezTo>
                        <a:pt x="20" y="161"/>
                        <a:pt x="20" y="154"/>
                        <a:pt x="20" y="149"/>
                      </a:cubicBezTo>
                      <a:cubicBezTo>
                        <a:pt x="20" y="144"/>
                        <a:pt x="20" y="11"/>
                        <a:pt x="20" y="11"/>
                      </a:cubicBezTo>
                      <a:cubicBezTo>
                        <a:pt x="20" y="11"/>
                        <a:pt x="20" y="0"/>
                        <a:pt x="10" y="0"/>
                      </a:cubicBezTo>
                      <a:close/>
                    </a:path>
                  </a:pathLst>
                </a:custGeom>
                <a:solidFill>
                  <a:srgbClr val="FCD116"/>
                </a:solidFill>
                <a:ln>
                  <a:noFill/>
                </a:ln>
              </p:spPr>
              <p:txBody>
                <a:bodyPr vert="horz" wrap="square" lIns="89619" tIns="44809" rIns="89619" bIns="44809" numCol="1" anchor="t" anchorCtr="0" compatLnSpc="1">
                  <a:prstTxWarp prst="textNoShape">
                    <a:avLst/>
                  </a:prstTxWarp>
                </a:bodyPr>
                <a:lstStyle/>
                <a:p>
                  <a:pPr defTabSz="914093"/>
                  <a:endParaRPr lang="en-US" sz="1764" dirty="0">
                    <a:solidFill>
                      <a:srgbClr val="FFFFFF"/>
                    </a:solidFill>
                  </a:endParaRPr>
                </a:p>
              </p:txBody>
            </p:sp>
            <p:sp>
              <p:nvSpPr>
                <p:cNvPr id="39" name="Freeform 8"/>
                <p:cNvSpPr>
                  <a:spLocks/>
                </p:cNvSpPr>
                <p:nvPr/>
              </p:nvSpPr>
              <p:spPr bwMode="auto">
                <a:xfrm>
                  <a:off x="1595438" y="3470275"/>
                  <a:ext cx="266700" cy="153988"/>
                </a:xfrm>
                <a:custGeom>
                  <a:avLst/>
                  <a:gdLst>
                    <a:gd name="T0" fmla="*/ 64 w 64"/>
                    <a:gd name="T1" fmla="*/ 37 h 37"/>
                    <a:gd name="T2" fmla="*/ 32 w 64"/>
                    <a:gd name="T3" fmla="*/ 0 h 37"/>
                    <a:gd name="T4" fmla="*/ 32 w 64"/>
                    <a:gd name="T5" fmla="*/ 0 h 37"/>
                    <a:gd name="T6" fmla="*/ 0 w 64"/>
                    <a:gd name="T7" fmla="*/ 37 h 37"/>
                    <a:gd name="T8" fmla="*/ 64 w 64"/>
                    <a:gd name="T9" fmla="*/ 37 h 37"/>
                  </a:gdLst>
                  <a:ahLst/>
                  <a:cxnLst>
                    <a:cxn ang="0">
                      <a:pos x="T0" y="T1"/>
                    </a:cxn>
                    <a:cxn ang="0">
                      <a:pos x="T2" y="T3"/>
                    </a:cxn>
                    <a:cxn ang="0">
                      <a:pos x="T4" y="T5"/>
                    </a:cxn>
                    <a:cxn ang="0">
                      <a:pos x="T6" y="T7"/>
                    </a:cxn>
                    <a:cxn ang="0">
                      <a:pos x="T8" y="T9"/>
                    </a:cxn>
                  </a:cxnLst>
                  <a:rect l="0" t="0" r="r" b="b"/>
                  <a:pathLst>
                    <a:path w="64" h="37">
                      <a:moveTo>
                        <a:pt x="64" y="37"/>
                      </a:moveTo>
                      <a:cubicBezTo>
                        <a:pt x="51" y="14"/>
                        <a:pt x="38" y="0"/>
                        <a:pt x="32" y="0"/>
                      </a:cubicBezTo>
                      <a:cubicBezTo>
                        <a:pt x="32" y="0"/>
                        <a:pt x="32" y="0"/>
                        <a:pt x="32" y="0"/>
                      </a:cubicBezTo>
                      <a:cubicBezTo>
                        <a:pt x="26" y="0"/>
                        <a:pt x="13" y="14"/>
                        <a:pt x="0" y="37"/>
                      </a:cubicBezTo>
                      <a:lnTo>
                        <a:pt x="64" y="37"/>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dirty="0">
                    <a:solidFill>
                      <a:srgbClr val="FFFFFF"/>
                    </a:solidFill>
                  </a:endParaRPr>
                </a:p>
              </p:txBody>
            </p:sp>
            <p:sp>
              <p:nvSpPr>
                <p:cNvPr id="40" name="Freeform 9"/>
                <p:cNvSpPr>
                  <a:spLocks noEditPoints="1"/>
                </p:cNvSpPr>
                <p:nvPr/>
              </p:nvSpPr>
              <p:spPr bwMode="auto">
                <a:xfrm>
                  <a:off x="1381126" y="3662363"/>
                  <a:ext cx="695325" cy="901700"/>
                </a:xfrm>
                <a:custGeom>
                  <a:avLst/>
                  <a:gdLst>
                    <a:gd name="T0" fmla="*/ 120 w 166"/>
                    <a:gd name="T1" fmla="*/ 0 h 216"/>
                    <a:gd name="T2" fmla="*/ 46 w 166"/>
                    <a:gd name="T3" fmla="*/ 0 h 216"/>
                    <a:gd name="T4" fmla="*/ 32 w 166"/>
                    <a:gd name="T5" fmla="*/ 216 h 216"/>
                    <a:gd name="T6" fmla="*/ 65 w 166"/>
                    <a:gd name="T7" fmla="*/ 216 h 216"/>
                    <a:gd name="T8" fmla="*/ 65 w 166"/>
                    <a:gd name="T9" fmla="*/ 132 h 216"/>
                    <a:gd name="T10" fmla="*/ 70 w 166"/>
                    <a:gd name="T11" fmla="*/ 118 h 216"/>
                    <a:gd name="T12" fmla="*/ 83 w 166"/>
                    <a:gd name="T13" fmla="*/ 113 h 216"/>
                    <a:gd name="T14" fmla="*/ 96 w 166"/>
                    <a:gd name="T15" fmla="*/ 118 h 216"/>
                    <a:gd name="T16" fmla="*/ 101 w 166"/>
                    <a:gd name="T17" fmla="*/ 132 h 216"/>
                    <a:gd name="T18" fmla="*/ 101 w 166"/>
                    <a:gd name="T19" fmla="*/ 216 h 216"/>
                    <a:gd name="T20" fmla="*/ 134 w 166"/>
                    <a:gd name="T21" fmla="*/ 216 h 216"/>
                    <a:gd name="T22" fmla="*/ 120 w 166"/>
                    <a:gd name="T23" fmla="*/ 0 h 216"/>
                    <a:gd name="T24" fmla="*/ 83 w 166"/>
                    <a:gd name="T25" fmla="*/ 75 h 216"/>
                    <a:gd name="T26" fmla="*/ 57 w 166"/>
                    <a:gd name="T27" fmla="*/ 49 h 216"/>
                    <a:gd name="T28" fmla="*/ 83 w 166"/>
                    <a:gd name="T29" fmla="*/ 23 h 216"/>
                    <a:gd name="T30" fmla="*/ 109 w 166"/>
                    <a:gd name="T31" fmla="*/ 49 h 216"/>
                    <a:gd name="T32" fmla="*/ 83 w 166"/>
                    <a:gd name="T33" fmla="*/ 7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216">
                      <a:moveTo>
                        <a:pt x="120" y="0"/>
                      </a:moveTo>
                      <a:cubicBezTo>
                        <a:pt x="46" y="0"/>
                        <a:pt x="46" y="0"/>
                        <a:pt x="46" y="0"/>
                      </a:cubicBezTo>
                      <a:cubicBezTo>
                        <a:pt x="21" y="47"/>
                        <a:pt x="0" y="126"/>
                        <a:pt x="32" y="216"/>
                      </a:cubicBezTo>
                      <a:cubicBezTo>
                        <a:pt x="32" y="216"/>
                        <a:pt x="50" y="216"/>
                        <a:pt x="65" y="216"/>
                      </a:cubicBezTo>
                      <a:cubicBezTo>
                        <a:pt x="65" y="132"/>
                        <a:pt x="65" y="132"/>
                        <a:pt x="65" y="132"/>
                      </a:cubicBezTo>
                      <a:cubicBezTo>
                        <a:pt x="65" y="130"/>
                        <a:pt x="65" y="123"/>
                        <a:pt x="70" y="118"/>
                      </a:cubicBezTo>
                      <a:cubicBezTo>
                        <a:pt x="72" y="116"/>
                        <a:pt x="77" y="113"/>
                        <a:pt x="83" y="113"/>
                      </a:cubicBezTo>
                      <a:cubicBezTo>
                        <a:pt x="90" y="113"/>
                        <a:pt x="94" y="116"/>
                        <a:pt x="96" y="118"/>
                      </a:cubicBezTo>
                      <a:cubicBezTo>
                        <a:pt x="101" y="123"/>
                        <a:pt x="101" y="130"/>
                        <a:pt x="101" y="132"/>
                      </a:cubicBezTo>
                      <a:cubicBezTo>
                        <a:pt x="101" y="216"/>
                        <a:pt x="101" y="216"/>
                        <a:pt x="101" y="216"/>
                      </a:cubicBezTo>
                      <a:cubicBezTo>
                        <a:pt x="116" y="216"/>
                        <a:pt x="134" y="216"/>
                        <a:pt x="134" y="216"/>
                      </a:cubicBezTo>
                      <a:cubicBezTo>
                        <a:pt x="166" y="126"/>
                        <a:pt x="145" y="47"/>
                        <a:pt x="120" y="0"/>
                      </a:cubicBezTo>
                      <a:close/>
                      <a:moveTo>
                        <a:pt x="83" y="75"/>
                      </a:moveTo>
                      <a:cubicBezTo>
                        <a:pt x="69" y="75"/>
                        <a:pt x="57" y="63"/>
                        <a:pt x="57" y="49"/>
                      </a:cubicBezTo>
                      <a:cubicBezTo>
                        <a:pt x="57" y="35"/>
                        <a:pt x="69" y="23"/>
                        <a:pt x="83" y="23"/>
                      </a:cubicBezTo>
                      <a:cubicBezTo>
                        <a:pt x="97" y="23"/>
                        <a:pt x="109" y="35"/>
                        <a:pt x="109" y="49"/>
                      </a:cubicBezTo>
                      <a:cubicBezTo>
                        <a:pt x="109" y="63"/>
                        <a:pt x="97" y="75"/>
                        <a:pt x="83" y="75"/>
                      </a:cubicBezTo>
                      <a:close/>
                    </a:path>
                  </a:pathLst>
                </a:cu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dirty="0">
                    <a:solidFill>
                      <a:srgbClr val="FFFFFF"/>
                    </a:solidFill>
                  </a:endParaRPr>
                </a:p>
              </p:txBody>
            </p:sp>
            <p:sp>
              <p:nvSpPr>
                <p:cNvPr id="41" name="Freeform 10"/>
                <p:cNvSpPr>
                  <a:spLocks/>
                </p:cNvSpPr>
                <p:nvPr/>
              </p:nvSpPr>
              <p:spPr bwMode="auto">
                <a:xfrm>
                  <a:off x="1511301" y="4592638"/>
                  <a:ext cx="142875" cy="34925"/>
                </a:xfrm>
                <a:custGeom>
                  <a:avLst/>
                  <a:gdLst>
                    <a:gd name="T0" fmla="*/ 34 w 34"/>
                    <a:gd name="T1" fmla="*/ 0 h 8"/>
                    <a:gd name="T2" fmla="*/ 5 w 34"/>
                    <a:gd name="T3" fmla="*/ 0 h 8"/>
                    <a:gd name="T4" fmla="*/ 0 w 34"/>
                    <a:gd name="T5" fmla="*/ 4 h 8"/>
                    <a:gd name="T6" fmla="*/ 5 w 34"/>
                    <a:gd name="T7" fmla="*/ 8 h 8"/>
                    <a:gd name="T8" fmla="*/ 34 w 34"/>
                    <a:gd name="T9" fmla="*/ 8 h 8"/>
                    <a:gd name="T10" fmla="*/ 34 w 34"/>
                    <a:gd name="T11" fmla="*/ 0 h 8"/>
                  </a:gdLst>
                  <a:ahLst/>
                  <a:cxnLst>
                    <a:cxn ang="0">
                      <a:pos x="T0" y="T1"/>
                    </a:cxn>
                    <a:cxn ang="0">
                      <a:pos x="T2" y="T3"/>
                    </a:cxn>
                    <a:cxn ang="0">
                      <a:pos x="T4" y="T5"/>
                    </a:cxn>
                    <a:cxn ang="0">
                      <a:pos x="T6" y="T7"/>
                    </a:cxn>
                    <a:cxn ang="0">
                      <a:pos x="T8" y="T9"/>
                    </a:cxn>
                    <a:cxn ang="0">
                      <a:pos x="T10" y="T11"/>
                    </a:cxn>
                  </a:cxnLst>
                  <a:rect l="0" t="0" r="r" b="b"/>
                  <a:pathLst>
                    <a:path w="34" h="8">
                      <a:moveTo>
                        <a:pt x="34" y="0"/>
                      </a:moveTo>
                      <a:cubicBezTo>
                        <a:pt x="5" y="0"/>
                        <a:pt x="5" y="0"/>
                        <a:pt x="5" y="0"/>
                      </a:cubicBezTo>
                      <a:cubicBezTo>
                        <a:pt x="2" y="0"/>
                        <a:pt x="0" y="2"/>
                        <a:pt x="0" y="4"/>
                      </a:cubicBezTo>
                      <a:cubicBezTo>
                        <a:pt x="0" y="6"/>
                        <a:pt x="2" y="8"/>
                        <a:pt x="5" y="8"/>
                      </a:cubicBezTo>
                      <a:cubicBezTo>
                        <a:pt x="34" y="8"/>
                        <a:pt x="34" y="8"/>
                        <a:pt x="34" y="8"/>
                      </a:cubicBezTo>
                      <a:lnTo>
                        <a:pt x="34" y="0"/>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dirty="0">
                    <a:solidFill>
                      <a:srgbClr val="FFFFFF"/>
                    </a:solidFill>
                  </a:endParaRPr>
                </a:p>
              </p:txBody>
            </p:sp>
            <p:sp>
              <p:nvSpPr>
                <p:cNvPr id="42" name="Freeform 11"/>
                <p:cNvSpPr>
                  <a:spLocks/>
                </p:cNvSpPr>
                <p:nvPr/>
              </p:nvSpPr>
              <p:spPr bwMode="auto">
                <a:xfrm>
                  <a:off x="1804988" y="4592638"/>
                  <a:ext cx="141288" cy="34925"/>
                </a:xfrm>
                <a:custGeom>
                  <a:avLst/>
                  <a:gdLst>
                    <a:gd name="T0" fmla="*/ 30 w 34"/>
                    <a:gd name="T1" fmla="*/ 0 h 8"/>
                    <a:gd name="T2" fmla="*/ 0 w 34"/>
                    <a:gd name="T3" fmla="*/ 0 h 8"/>
                    <a:gd name="T4" fmla="*/ 0 w 34"/>
                    <a:gd name="T5" fmla="*/ 8 h 8"/>
                    <a:gd name="T6" fmla="*/ 30 w 34"/>
                    <a:gd name="T7" fmla="*/ 8 h 8"/>
                    <a:gd name="T8" fmla="*/ 34 w 34"/>
                    <a:gd name="T9" fmla="*/ 4 h 8"/>
                    <a:gd name="T10" fmla="*/ 30 w 34"/>
                    <a:gd name="T11" fmla="*/ 0 h 8"/>
                  </a:gdLst>
                  <a:ahLst/>
                  <a:cxnLst>
                    <a:cxn ang="0">
                      <a:pos x="T0" y="T1"/>
                    </a:cxn>
                    <a:cxn ang="0">
                      <a:pos x="T2" y="T3"/>
                    </a:cxn>
                    <a:cxn ang="0">
                      <a:pos x="T4" y="T5"/>
                    </a:cxn>
                    <a:cxn ang="0">
                      <a:pos x="T6" y="T7"/>
                    </a:cxn>
                    <a:cxn ang="0">
                      <a:pos x="T8" y="T9"/>
                    </a:cxn>
                    <a:cxn ang="0">
                      <a:pos x="T10" y="T11"/>
                    </a:cxn>
                  </a:cxnLst>
                  <a:rect l="0" t="0" r="r" b="b"/>
                  <a:pathLst>
                    <a:path w="34" h="8">
                      <a:moveTo>
                        <a:pt x="30" y="0"/>
                      </a:moveTo>
                      <a:cubicBezTo>
                        <a:pt x="0" y="0"/>
                        <a:pt x="0" y="0"/>
                        <a:pt x="0" y="0"/>
                      </a:cubicBezTo>
                      <a:cubicBezTo>
                        <a:pt x="0" y="8"/>
                        <a:pt x="0" y="8"/>
                        <a:pt x="0" y="8"/>
                      </a:cubicBezTo>
                      <a:cubicBezTo>
                        <a:pt x="30" y="8"/>
                        <a:pt x="30" y="8"/>
                        <a:pt x="30" y="8"/>
                      </a:cubicBezTo>
                      <a:cubicBezTo>
                        <a:pt x="32" y="8"/>
                        <a:pt x="34" y="6"/>
                        <a:pt x="34" y="4"/>
                      </a:cubicBezTo>
                      <a:cubicBezTo>
                        <a:pt x="34" y="2"/>
                        <a:pt x="32" y="0"/>
                        <a:pt x="30" y="0"/>
                      </a:cubicBez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dirty="0">
                    <a:solidFill>
                      <a:srgbClr val="FFFFFF"/>
                    </a:solidFill>
                  </a:endParaRPr>
                </a:p>
              </p:txBody>
            </p:sp>
          </p:grpSp>
          <p:sp>
            <p:nvSpPr>
              <p:cNvPr id="10" name="TextBox 9"/>
              <p:cNvSpPr txBox="1"/>
              <p:nvPr/>
            </p:nvSpPr>
            <p:spPr>
              <a:xfrm>
                <a:off x="1383804" y="2135422"/>
                <a:ext cx="1429119" cy="651769"/>
              </a:xfrm>
              <a:prstGeom prst="rect">
                <a:avLst/>
              </a:prstGeom>
              <a:noFill/>
            </p:spPr>
            <p:txBody>
              <a:bodyPr wrap="none" lIns="0" tIns="0" rIns="0" bIns="0" rtlCol="0">
                <a:spAutoFit/>
              </a:bodyPr>
              <a:lstStyle/>
              <a:p>
                <a:pPr defTabSz="913914" fontAlgn="base">
                  <a:spcBef>
                    <a:spcPct val="0"/>
                  </a:spcBef>
                  <a:spcAft>
                    <a:spcPct val="0"/>
                  </a:spcAft>
                </a:pPr>
                <a:r>
                  <a:rPr lang="en-US" sz="2352" dirty="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Launched</a:t>
                </a:r>
                <a:r>
                  <a:rPr lang="en-US" sz="2352" dirty="0">
                    <a:gradFill>
                      <a:gsLst>
                        <a:gs pos="0">
                          <a:srgbClr val="FFFFFF"/>
                        </a:gs>
                        <a:gs pos="100000">
                          <a:srgbClr val="FFFFFF"/>
                        </a:gs>
                      </a:gsLst>
                      <a:lin ang="5400000" scaled="1"/>
                    </a:gradFill>
                    <a:latin typeface="Segoe UI Light"/>
                  </a:rPr>
                  <a:t> </a:t>
                </a:r>
                <a:br>
                  <a:rPr lang="en-US" sz="2352" dirty="0">
                    <a:gradFill>
                      <a:gsLst>
                        <a:gs pos="0">
                          <a:srgbClr val="FFFFFF"/>
                        </a:gs>
                        <a:gs pos="100000">
                          <a:srgbClr val="FFFFFF"/>
                        </a:gs>
                      </a:gsLst>
                      <a:lin ang="5400000" scaled="1"/>
                    </a:gradFill>
                    <a:latin typeface="Segoe UI Light"/>
                  </a:rPr>
                </a:br>
                <a:r>
                  <a:rPr lang="en-US" sz="1798"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Office 365</a:t>
                </a:r>
              </a:p>
            </p:txBody>
          </p:sp>
        </p:grpSp>
        <p:sp>
          <p:nvSpPr>
            <p:cNvPr id="15" name="Pentagon 14"/>
            <p:cNvSpPr/>
            <p:nvPr/>
          </p:nvSpPr>
          <p:spPr bwMode="auto">
            <a:xfrm>
              <a:off x="278957" y="1313673"/>
              <a:ext cx="1966357" cy="602085"/>
            </a:xfrm>
            <a:prstGeom prst="homePlat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09" tIns="44809" rIns="44809" bIns="44809" numCol="1" spcCol="0" rtlCol="0" fromWordArt="0" anchor="ctr" anchorCtr="0" forceAA="0" compatLnSpc="1">
              <a:prstTxWarp prst="textNoShape">
                <a:avLst/>
              </a:prstTxWarp>
              <a:noAutofit/>
            </a:bodyPr>
            <a:lstStyle/>
            <a:p>
              <a:pPr algn="ctr" defTabSz="895822" fontAlgn="base">
                <a:spcBef>
                  <a:spcPct val="0"/>
                </a:spcBef>
                <a:spcAft>
                  <a:spcPct val="0"/>
                </a:spcAft>
              </a:pPr>
              <a:r>
                <a:rPr lang="en-US" sz="2399" dirty="0">
                  <a:solidFill>
                    <a:srgbClr val="DC3C00"/>
                  </a:solidFill>
                  <a:latin typeface="Segoe UI Semilight" panose="020B0402040204020203" pitchFamily="34" charset="0"/>
                  <a:cs typeface="Segoe UI Semilight" panose="020B0402040204020203" pitchFamily="34" charset="0"/>
                </a:rPr>
                <a:t>Feb 2013</a:t>
              </a:r>
            </a:p>
          </p:txBody>
        </p:sp>
      </p:grpSp>
      <p:sp useBgFill="1">
        <p:nvSpPr>
          <p:cNvPr id="80" name="Rectangle 79"/>
          <p:cNvSpPr/>
          <p:nvPr/>
        </p:nvSpPr>
        <p:spPr bwMode="auto">
          <a:xfrm>
            <a:off x="-24212" y="1175538"/>
            <a:ext cx="297615" cy="5330841"/>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09" tIns="44809" rIns="44809" bIns="44809" numCol="1" spcCol="0" rtlCol="0" fromWordArt="0" anchor="ctr" anchorCtr="0" forceAA="0" compatLnSpc="1">
            <a:prstTxWarp prst="textNoShape">
              <a:avLst/>
            </a:prstTxWarp>
            <a:noAutofit/>
          </a:bodyPr>
          <a:lstStyle/>
          <a:p>
            <a:pPr algn="ctr" defTabSz="895822" fontAlgn="base">
              <a:spcBef>
                <a:spcPct val="0"/>
              </a:spcBef>
              <a:spcAft>
                <a:spcPct val="0"/>
              </a:spcAft>
            </a:pPr>
            <a:endParaRPr lang="en-US" sz="2156" dirty="0">
              <a:gradFill>
                <a:gsLst>
                  <a:gs pos="0">
                    <a:srgbClr val="FFFFFF"/>
                  </a:gs>
                  <a:gs pos="100000">
                    <a:srgbClr val="FFFFFF"/>
                  </a:gs>
                </a:gsLst>
                <a:lin ang="5400000" scaled="0"/>
              </a:gradFill>
              <a:ea typeface="Segoe UI" pitchFamily="34" charset="0"/>
              <a:cs typeface="Segoe UI" pitchFamily="34" charset="0"/>
            </a:endParaRPr>
          </a:p>
        </p:txBody>
      </p:sp>
      <p:sp useBgFill="1">
        <p:nvSpPr>
          <p:cNvPr id="43" name="Rectangle 42"/>
          <p:cNvSpPr/>
          <p:nvPr/>
        </p:nvSpPr>
        <p:spPr bwMode="auto">
          <a:xfrm>
            <a:off x="4089628" y="1175538"/>
            <a:ext cx="47978" cy="5330841"/>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828" fontAlgn="base">
              <a:spcBef>
                <a:spcPct val="0"/>
              </a:spcBef>
              <a:spcAft>
                <a:spcPct val="0"/>
              </a:spcAft>
            </a:pPr>
            <a:endParaRPr lang="en-US" sz="1960" dirty="0">
              <a:gradFill>
                <a:gsLst>
                  <a:gs pos="0">
                    <a:srgbClr val="FFFFFF"/>
                  </a:gs>
                  <a:gs pos="100000">
                    <a:srgbClr val="FFFFFF"/>
                  </a:gs>
                </a:gsLst>
                <a:lin ang="5400000" scaled="0"/>
              </a:gradFill>
            </a:endParaRPr>
          </a:p>
        </p:txBody>
      </p:sp>
      <p:sp useBgFill="1">
        <p:nvSpPr>
          <p:cNvPr id="78" name="Rectangle 77"/>
          <p:cNvSpPr/>
          <p:nvPr/>
        </p:nvSpPr>
        <p:spPr bwMode="auto">
          <a:xfrm>
            <a:off x="7983862" y="1175538"/>
            <a:ext cx="47978" cy="5330841"/>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828" fontAlgn="base">
              <a:spcBef>
                <a:spcPct val="0"/>
              </a:spcBef>
              <a:spcAft>
                <a:spcPct val="0"/>
              </a:spcAft>
            </a:pPr>
            <a:endParaRPr lang="en-US" sz="196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8648209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56"/>
                                        </p:tgtEl>
                                        <p:attrNameLst>
                                          <p:attrName>style.visibility</p:attrName>
                                        </p:attrNameLst>
                                      </p:cBhvr>
                                      <p:to>
                                        <p:strVal val="visible"/>
                                      </p:to>
                                    </p:set>
                                    <p:anim calcmode="lin" valueType="num">
                                      <p:cBhvr additive="base">
                                        <p:cTn id="7" dur="650" fill="hold"/>
                                        <p:tgtEl>
                                          <p:spTgt spid="56"/>
                                        </p:tgtEl>
                                        <p:attrNameLst>
                                          <p:attrName>ppt_x</p:attrName>
                                        </p:attrNameLst>
                                      </p:cBhvr>
                                      <p:tavLst>
                                        <p:tav tm="0">
                                          <p:val>
                                            <p:strVal val="0-#ppt_w/2"/>
                                          </p:val>
                                        </p:tav>
                                        <p:tav tm="100000">
                                          <p:val>
                                            <p:strVal val="#ppt_x"/>
                                          </p:val>
                                        </p:tav>
                                      </p:tavLst>
                                    </p:anim>
                                    <p:anim calcmode="lin" valueType="num">
                                      <p:cBhvr additive="base">
                                        <p:cTn id="8" dur="650" fill="hold"/>
                                        <p:tgtEl>
                                          <p:spTgt spid="56"/>
                                        </p:tgtEl>
                                        <p:attrNameLst>
                                          <p:attrName>ppt_y</p:attrName>
                                        </p:attrNameLst>
                                      </p:cBhvr>
                                      <p:tavLst>
                                        <p:tav tm="0">
                                          <p:val>
                                            <p:strVal val="#ppt_y"/>
                                          </p:val>
                                        </p:tav>
                                        <p:tav tm="100000">
                                          <p:val>
                                            <p:strVal val="#ppt_y"/>
                                          </p:val>
                                        </p:tav>
                                      </p:tavLst>
                                    </p:anim>
                                  </p:childTnLst>
                                </p:cTn>
                              </p:par>
                            </p:childTnLst>
                          </p:cTn>
                        </p:par>
                        <p:par>
                          <p:cTn id="9" fill="hold">
                            <p:stCondLst>
                              <p:cond delay="650"/>
                            </p:stCondLst>
                            <p:childTnLst>
                              <p:par>
                                <p:cTn id="10" presetID="2" presetClass="entr" presetSubtype="8" decel="100000" fill="hold" nodeType="afterEffect">
                                  <p:stCondLst>
                                    <p:cond delay="0"/>
                                  </p:stCondLst>
                                  <p:childTnLst>
                                    <p:set>
                                      <p:cBhvr>
                                        <p:cTn id="11" dur="1" fill="hold">
                                          <p:stCondLst>
                                            <p:cond delay="0"/>
                                          </p:stCondLst>
                                        </p:cTn>
                                        <p:tgtEl>
                                          <p:spTgt spid="58"/>
                                        </p:tgtEl>
                                        <p:attrNameLst>
                                          <p:attrName>style.visibility</p:attrName>
                                        </p:attrNameLst>
                                      </p:cBhvr>
                                      <p:to>
                                        <p:strVal val="visible"/>
                                      </p:to>
                                    </p:set>
                                    <p:anim calcmode="lin" valueType="num">
                                      <p:cBhvr additive="base">
                                        <p:cTn id="12" dur="650" fill="hold"/>
                                        <p:tgtEl>
                                          <p:spTgt spid="58"/>
                                        </p:tgtEl>
                                        <p:attrNameLst>
                                          <p:attrName>ppt_x</p:attrName>
                                        </p:attrNameLst>
                                      </p:cBhvr>
                                      <p:tavLst>
                                        <p:tav tm="0">
                                          <p:val>
                                            <p:strVal val="0-#ppt_w/2"/>
                                          </p:val>
                                        </p:tav>
                                        <p:tav tm="100000">
                                          <p:val>
                                            <p:strVal val="#ppt_x"/>
                                          </p:val>
                                        </p:tav>
                                      </p:tavLst>
                                    </p:anim>
                                    <p:anim calcmode="lin" valueType="num">
                                      <p:cBhvr additive="base">
                                        <p:cTn id="13" dur="650" fill="hold"/>
                                        <p:tgtEl>
                                          <p:spTgt spid="58"/>
                                        </p:tgtEl>
                                        <p:attrNameLst>
                                          <p:attrName>ppt_y</p:attrName>
                                        </p:attrNameLst>
                                      </p:cBhvr>
                                      <p:tavLst>
                                        <p:tav tm="0">
                                          <p:val>
                                            <p:strVal val="#ppt_y"/>
                                          </p:val>
                                        </p:tav>
                                        <p:tav tm="100000">
                                          <p:val>
                                            <p:strVal val="#ppt_y"/>
                                          </p:val>
                                        </p:tav>
                                      </p:tavLst>
                                    </p:anim>
                                  </p:childTnLst>
                                </p:cTn>
                              </p:par>
                            </p:childTnLst>
                          </p:cTn>
                        </p:par>
                        <p:par>
                          <p:cTn id="14" fill="hold">
                            <p:stCondLst>
                              <p:cond delay="1300"/>
                            </p:stCondLst>
                            <p:childTnLst>
                              <p:par>
                                <p:cTn id="15" presetID="2" presetClass="entr" presetSubtype="8" decel="100000" fill="hold" nodeType="afterEffect">
                                  <p:stCondLst>
                                    <p:cond delay="0"/>
                                  </p:stCondLst>
                                  <p:childTnLst>
                                    <p:set>
                                      <p:cBhvr>
                                        <p:cTn id="16" dur="1" fill="hold">
                                          <p:stCondLst>
                                            <p:cond delay="0"/>
                                          </p:stCondLst>
                                        </p:cTn>
                                        <p:tgtEl>
                                          <p:spTgt spid="22"/>
                                        </p:tgtEl>
                                        <p:attrNameLst>
                                          <p:attrName>style.visibility</p:attrName>
                                        </p:attrNameLst>
                                      </p:cBhvr>
                                      <p:to>
                                        <p:strVal val="visible"/>
                                      </p:to>
                                    </p:set>
                                    <p:anim calcmode="lin" valueType="num">
                                      <p:cBhvr additive="base">
                                        <p:cTn id="17" dur="650" fill="hold"/>
                                        <p:tgtEl>
                                          <p:spTgt spid="22"/>
                                        </p:tgtEl>
                                        <p:attrNameLst>
                                          <p:attrName>ppt_x</p:attrName>
                                        </p:attrNameLst>
                                      </p:cBhvr>
                                      <p:tavLst>
                                        <p:tav tm="0">
                                          <p:val>
                                            <p:strVal val="0-#ppt_w/2"/>
                                          </p:val>
                                        </p:tav>
                                        <p:tav tm="100000">
                                          <p:val>
                                            <p:strVal val="#ppt_x"/>
                                          </p:val>
                                        </p:tav>
                                      </p:tavLst>
                                    </p:anim>
                                    <p:anim calcmode="lin" valueType="num">
                                      <p:cBhvr additive="base">
                                        <p:cTn id="18" dur="650" fill="hold"/>
                                        <p:tgtEl>
                                          <p:spTgt spid="2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par>
              <p:cTn id="19"/>
            </p:par>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9537976"/>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Group 24"/>
          <p:cNvGrpSpPr/>
          <p:nvPr/>
        </p:nvGrpSpPr>
        <p:grpSpPr>
          <a:xfrm>
            <a:off x="6397365" y="1195126"/>
            <a:ext cx="5524610" cy="779686"/>
            <a:chOff x="6527345" y="1218000"/>
            <a:chExt cx="5636858" cy="795528"/>
          </a:xfrm>
          <a:solidFill>
            <a:schemeClr val="accent2"/>
          </a:solidFill>
        </p:grpSpPr>
        <p:sp>
          <p:nvSpPr>
            <p:cNvPr id="36" name="TextBox 35"/>
            <p:cNvSpPr txBox="1"/>
            <p:nvPr/>
          </p:nvSpPr>
          <p:spPr>
            <a:xfrm>
              <a:off x="6527345" y="1218000"/>
              <a:ext cx="5636858" cy="795528"/>
            </a:xfrm>
            <a:prstGeom prst="chevron">
              <a:avLst>
                <a:gd name="adj" fmla="val 51641"/>
              </a:avLst>
            </a:prstGeom>
            <a:solidFill>
              <a:srgbClr val="FF0000"/>
            </a:solidFill>
          </p:spPr>
          <p:txBody>
            <a:bodyPr wrap="square" lIns="179213" tIns="182807" rIns="179213" bIns="182807" rtlCol="0" anchor="ctr" anchorCtr="0">
              <a:noAutofit/>
            </a:bodyPr>
            <a:lstStyle>
              <a:defPPr>
                <a:defRPr lang="en-US"/>
              </a:defPPr>
              <a:lvl1pPr defTabSz="932563">
                <a:lnSpc>
                  <a:spcPct val="90000"/>
                </a:lnSpc>
                <a:spcAft>
                  <a:spcPts val="600"/>
                </a:spcAft>
                <a:defRPr sz="2040">
                  <a:gradFill>
                    <a:gsLst>
                      <a:gs pos="2917">
                        <a:srgbClr val="FFFFFF"/>
                      </a:gs>
                      <a:gs pos="91000">
                        <a:srgbClr val="FFFFFF"/>
                      </a:gs>
                    </a:gsLst>
                    <a:lin ang="5400000" scaled="0"/>
                  </a:gradFill>
                  <a:cs typeface="Segoe UI" panose="020B0502040204020203" pitchFamily="34" charset="0"/>
                </a:defRPr>
              </a:lvl1pPr>
            </a:lstStyle>
            <a:p>
              <a:r>
                <a:rPr lang="en-US" sz="1960" dirty="0"/>
                <a:t>Devices + Cloud </a:t>
              </a:r>
            </a:p>
          </p:txBody>
        </p:sp>
        <p:sp>
          <p:nvSpPr>
            <p:cNvPr id="38" name="TextBox 37"/>
            <p:cNvSpPr txBox="1"/>
            <p:nvPr/>
          </p:nvSpPr>
          <p:spPr>
            <a:xfrm>
              <a:off x="10365065" y="1218000"/>
              <a:ext cx="1799138" cy="795528"/>
            </a:xfrm>
            <a:prstGeom prst="chevron">
              <a:avLst>
                <a:gd name="adj" fmla="val 51641"/>
              </a:avLst>
            </a:prstGeom>
            <a:solidFill>
              <a:srgbClr val="FF0000"/>
            </a:solidFill>
          </p:spPr>
          <p:txBody>
            <a:bodyPr wrap="square" lIns="91403" tIns="182807" rIns="0" bIns="182807" rtlCol="0" anchor="ctr" anchorCtr="0">
              <a:noAutofit/>
            </a:bodyPr>
            <a:lstStyle>
              <a:defPPr>
                <a:defRPr lang="en-US"/>
              </a:defPPr>
              <a:lvl1pPr algn="ctr" defTabSz="914367">
                <a:lnSpc>
                  <a:spcPct val="90000"/>
                </a:lnSpc>
                <a:spcAft>
                  <a:spcPts val="588"/>
                </a:spcAft>
                <a:defRPr sz="2040">
                  <a:gradFill>
                    <a:gsLst>
                      <a:gs pos="2917">
                        <a:srgbClr val="FFFFFF"/>
                      </a:gs>
                      <a:gs pos="91000">
                        <a:srgbClr val="FFFFFF"/>
                      </a:gs>
                    </a:gsLst>
                    <a:lin ang="5400000" scaled="0"/>
                  </a:gradFill>
                  <a:latin typeface="Segoe UI" panose="020B0502040204020203" pitchFamily="34" charset="0"/>
                  <a:cs typeface="Segoe UI" panose="020B0502040204020203" pitchFamily="34" charset="0"/>
                </a:defRPr>
              </a:lvl1pPr>
            </a:lstStyle>
            <a:p>
              <a:r>
                <a:rPr lang="en-US" sz="1960" dirty="0">
                  <a:latin typeface="+mn-lt"/>
                </a:rPr>
                <a:t>2010s</a:t>
              </a:r>
            </a:p>
          </p:txBody>
        </p:sp>
      </p:grpSp>
      <p:grpSp>
        <p:nvGrpSpPr>
          <p:cNvPr id="19" name="Group 18"/>
          <p:cNvGrpSpPr/>
          <p:nvPr/>
        </p:nvGrpSpPr>
        <p:grpSpPr>
          <a:xfrm>
            <a:off x="3081830" y="1195126"/>
            <a:ext cx="3667018" cy="779686"/>
            <a:chOff x="3144446" y="1202760"/>
            <a:chExt cx="3741524" cy="795528"/>
          </a:xfrm>
          <a:solidFill>
            <a:srgbClr val="FF0000"/>
          </a:solidFill>
        </p:grpSpPr>
        <p:sp>
          <p:nvSpPr>
            <p:cNvPr id="35" name="TextBox 34"/>
            <p:cNvSpPr txBox="1"/>
            <p:nvPr/>
          </p:nvSpPr>
          <p:spPr>
            <a:xfrm>
              <a:off x="3144446" y="1202760"/>
              <a:ext cx="3741524" cy="795528"/>
            </a:xfrm>
            <a:prstGeom prst="chevron">
              <a:avLst/>
            </a:prstGeom>
            <a:grpFill/>
          </p:spPr>
          <p:txBody>
            <a:bodyPr wrap="square" lIns="179213" tIns="182807" rIns="179213" bIns="182807" rtlCol="0" anchor="ctr" anchorCtr="0">
              <a:noAutofit/>
            </a:bodyPr>
            <a:lstStyle>
              <a:defPPr>
                <a:defRPr lang="en-US"/>
              </a:defPPr>
              <a:lvl1pPr defTabSz="932563">
                <a:lnSpc>
                  <a:spcPct val="90000"/>
                </a:lnSpc>
                <a:spcAft>
                  <a:spcPts val="600"/>
                </a:spcAft>
                <a:defRPr sz="2040">
                  <a:gradFill>
                    <a:gsLst>
                      <a:gs pos="2917">
                        <a:srgbClr val="FFFFFF"/>
                      </a:gs>
                      <a:gs pos="91000">
                        <a:srgbClr val="FFFFFF"/>
                      </a:gs>
                    </a:gsLst>
                    <a:lin ang="5400000" scaled="0"/>
                  </a:gradFill>
                  <a:cs typeface="Segoe UI" panose="020B0502040204020203" pitchFamily="34" charset="0"/>
                </a:defRPr>
              </a:lvl1pPr>
            </a:lstStyle>
            <a:p>
              <a:r>
                <a:rPr lang="en-US" sz="1960" dirty="0"/>
                <a:t>PC + Servers</a:t>
              </a:r>
            </a:p>
          </p:txBody>
        </p:sp>
        <p:sp>
          <p:nvSpPr>
            <p:cNvPr id="42" name="TextBox 41"/>
            <p:cNvSpPr txBox="1"/>
            <p:nvPr/>
          </p:nvSpPr>
          <p:spPr>
            <a:xfrm>
              <a:off x="5086831" y="1202760"/>
              <a:ext cx="1799138" cy="795528"/>
            </a:xfrm>
            <a:prstGeom prst="chevron">
              <a:avLst>
                <a:gd name="adj" fmla="val 50050"/>
              </a:avLst>
            </a:prstGeom>
            <a:grpFill/>
          </p:spPr>
          <p:txBody>
            <a:bodyPr wrap="square" lIns="91403" tIns="182807" rIns="0" bIns="182807" rtlCol="0" anchor="ctr" anchorCtr="0">
              <a:noAutofit/>
            </a:bodyPr>
            <a:lstStyle>
              <a:defPPr>
                <a:defRPr lang="en-US"/>
              </a:defPPr>
              <a:lvl1pPr defTabSz="914367">
                <a:lnSpc>
                  <a:spcPct val="90000"/>
                </a:lnSpc>
                <a:spcAft>
                  <a:spcPts val="588"/>
                </a:spcAft>
                <a:defRPr sz="2400">
                  <a:gradFill>
                    <a:gsLst>
                      <a:gs pos="2917">
                        <a:srgbClr val="FFFFFF"/>
                      </a:gs>
                      <a:gs pos="91000">
                        <a:srgbClr val="FFFFFF"/>
                      </a:gs>
                    </a:gsLst>
                    <a:lin ang="5400000" scaled="0"/>
                  </a:gradFill>
                  <a:latin typeface="Segoe UI Light"/>
                </a:defRPr>
              </a:lvl1pPr>
            </a:lstStyle>
            <a:p>
              <a:pPr algn="ctr"/>
              <a:r>
                <a:rPr lang="en-US" sz="1960" dirty="0">
                  <a:latin typeface="+mn-lt"/>
                  <a:cs typeface="Segoe UI" panose="020B0502040204020203" pitchFamily="34" charset="0"/>
                </a:rPr>
                <a:t>2000s</a:t>
              </a:r>
            </a:p>
          </p:txBody>
        </p:sp>
      </p:grpSp>
      <p:sp>
        <p:nvSpPr>
          <p:cNvPr id="4" name="Title 3"/>
          <p:cNvSpPr>
            <a:spLocks noGrp="1"/>
          </p:cNvSpPr>
          <p:nvPr>
            <p:ph type="title"/>
          </p:nvPr>
        </p:nvSpPr>
        <p:spPr/>
        <p:txBody>
          <a:bodyPr/>
          <a:lstStyle/>
          <a:p>
            <a:r>
              <a:rPr lang="en-US" dirty="0" smtClean="0"/>
              <a:t>Technology journey</a:t>
            </a:r>
            <a:endParaRPr lang="en-US" dirty="0"/>
          </a:p>
        </p:txBody>
      </p:sp>
      <p:sp>
        <p:nvSpPr>
          <p:cNvPr id="64" name="Rectangle 63"/>
          <p:cNvSpPr/>
          <p:nvPr/>
        </p:nvSpPr>
        <p:spPr>
          <a:xfrm>
            <a:off x="264104" y="1964440"/>
            <a:ext cx="2785436" cy="4616167"/>
          </a:xfrm>
          <a:prstGeom prst="rect">
            <a:avLst/>
          </a:prstGeom>
          <a:solidFill>
            <a:schemeClr val="bg1">
              <a:lumMod val="85000"/>
            </a:schemeClr>
          </a:solidFill>
          <a:ln>
            <a:noFill/>
          </a:ln>
        </p:spPr>
        <p:style>
          <a:lnRef idx="1">
            <a:schemeClr val="accent5"/>
          </a:lnRef>
          <a:fillRef idx="3">
            <a:schemeClr val="accent5"/>
          </a:fillRef>
          <a:effectRef idx="2">
            <a:schemeClr val="accent5"/>
          </a:effectRef>
          <a:fontRef idx="minor">
            <a:schemeClr val="lt1"/>
          </a:fontRef>
        </p:style>
        <p:txBody>
          <a:bodyPr rtlCol="0" anchor="ctr"/>
          <a:lstStyle/>
          <a:p>
            <a:pPr algn="ctr" defTabSz="913826"/>
            <a:endParaRPr lang="en-US" sz="1799">
              <a:solidFill>
                <a:prstClr val="white"/>
              </a:solidFill>
            </a:endParaRPr>
          </a:p>
        </p:txBody>
      </p:sp>
      <p:grpSp>
        <p:nvGrpSpPr>
          <p:cNvPr id="14" name="Group 13"/>
          <p:cNvGrpSpPr/>
          <p:nvPr/>
        </p:nvGrpSpPr>
        <p:grpSpPr>
          <a:xfrm>
            <a:off x="577104" y="2405244"/>
            <a:ext cx="2159437" cy="2078606"/>
            <a:chOff x="633288" y="2437465"/>
            <a:chExt cx="2203312" cy="2120839"/>
          </a:xfrm>
        </p:grpSpPr>
        <p:pic>
          <p:nvPicPr>
            <p:cNvPr id="3" name="Picture 2"/>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33288" y="2437465"/>
              <a:ext cx="1009756" cy="1081424"/>
            </a:xfrm>
            <a:prstGeom prst="rect">
              <a:avLst/>
            </a:prstGeom>
          </p:spPr>
        </p:pic>
        <p:pic>
          <p:nvPicPr>
            <p:cNvPr id="5" name="Picture 4"/>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1767710" y="3510398"/>
              <a:ext cx="1040008" cy="1047906"/>
            </a:xfrm>
            <a:prstGeom prst="rect">
              <a:avLst/>
            </a:prstGeom>
          </p:spPr>
        </p:pic>
        <p:pic>
          <p:nvPicPr>
            <p:cNvPr id="8" name="Picture 7"/>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633288" y="3510398"/>
              <a:ext cx="1001518" cy="1042474"/>
            </a:xfrm>
            <a:prstGeom prst="rect">
              <a:avLst/>
            </a:prstGeom>
          </p:spPr>
        </p:pic>
        <p:pic>
          <p:nvPicPr>
            <p:cNvPr id="13" name="Picture 12"/>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1767710" y="2470983"/>
              <a:ext cx="1068890" cy="1047906"/>
            </a:xfrm>
            <a:prstGeom prst="rect">
              <a:avLst/>
            </a:prstGeom>
          </p:spPr>
        </p:pic>
      </p:grpSp>
      <p:sp>
        <p:nvSpPr>
          <p:cNvPr id="74" name="Rectangle 73"/>
          <p:cNvSpPr/>
          <p:nvPr/>
        </p:nvSpPr>
        <p:spPr>
          <a:xfrm>
            <a:off x="3091611" y="1964439"/>
            <a:ext cx="3269390" cy="4616168"/>
          </a:xfrm>
          <a:prstGeom prst="rect">
            <a:avLst/>
          </a:prstGeom>
          <a:solidFill>
            <a:schemeClr val="bg1">
              <a:lumMod val="85000"/>
            </a:schemeClr>
          </a:solidFill>
          <a:ln>
            <a:noFill/>
          </a:ln>
        </p:spPr>
        <p:style>
          <a:lnRef idx="1">
            <a:schemeClr val="accent5"/>
          </a:lnRef>
          <a:fillRef idx="3">
            <a:schemeClr val="accent5"/>
          </a:fillRef>
          <a:effectRef idx="2">
            <a:schemeClr val="accent5"/>
          </a:effectRef>
          <a:fontRef idx="minor">
            <a:schemeClr val="lt1"/>
          </a:fontRef>
        </p:style>
        <p:txBody>
          <a:bodyPr rtlCol="0" anchor="ctr"/>
          <a:lstStyle/>
          <a:p>
            <a:pPr algn="ctr" defTabSz="913826"/>
            <a:endParaRPr lang="en-US" sz="1799">
              <a:solidFill>
                <a:prstClr val="white"/>
              </a:solidFill>
            </a:endParaRPr>
          </a:p>
        </p:txBody>
      </p:sp>
      <p:grpSp>
        <p:nvGrpSpPr>
          <p:cNvPr id="23" name="Group 22"/>
          <p:cNvGrpSpPr/>
          <p:nvPr/>
        </p:nvGrpSpPr>
        <p:grpSpPr>
          <a:xfrm>
            <a:off x="3337454" y="2381970"/>
            <a:ext cx="2014373" cy="2243574"/>
            <a:chOff x="3405263" y="2347044"/>
            <a:chExt cx="2055301" cy="2289158"/>
          </a:xfrm>
        </p:grpSpPr>
        <p:grpSp>
          <p:nvGrpSpPr>
            <p:cNvPr id="22" name="Group 21"/>
            <p:cNvGrpSpPr/>
            <p:nvPr/>
          </p:nvGrpSpPr>
          <p:grpSpPr>
            <a:xfrm>
              <a:off x="3445683" y="3040063"/>
              <a:ext cx="393556" cy="1502456"/>
              <a:chOff x="3445683" y="3040063"/>
              <a:chExt cx="393556" cy="1502456"/>
            </a:xfrm>
          </p:grpSpPr>
          <p:sp>
            <p:nvSpPr>
              <p:cNvPr id="21" name="Rectangle 20"/>
              <p:cNvSpPr/>
              <p:nvPr/>
            </p:nvSpPr>
            <p:spPr bwMode="auto">
              <a:xfrm>
                <a:off x="3457575" y="3040063"/>
                <a:ext cx="161925" cy="233362"/>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50" name="Rectangle 49"/>
              <p:cNvSpPr/>
              <p:nvPr/>
            </p:nvSpPr>
            <p:spPr bwMode="auto">
              <a:xfrm>
                <a:off x="3445684" y="3664324"/>
                <a:ext cx="161925" cy="233362"/>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55" name="Rectangle 54"/>
              <p:cNvSpPr/>
              <p:nvPr/>
            </p:nvSpPr>
            <p:spPr bwMode="auto">
              <a:xfrm>
                <a:off x="3445683" y="4309157"/>
                <a:ext cx="161925" cy="233362"/>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56" name="Rectangle 55"/>
              <p:cNvSpPr/>
              <p:nvPr/>
            </p:nvSpPr>
            <p:spPr bwMode="auto">
              <a:xfrm>
                <a:off x="3677314" y="3675118"/>
                <a:ext cx="161925" cy="233362"/>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grpSp>
        <p:grpSp>
          <p:nvGrpSpPr>
            <p:cNvPr id="20" name="Group 19"/>
            <p:cNvGrpSpPr/>
            <p:nvPr/>
          </p:nvGrpSpPr>
          <p:grpSpPr>
            <a:xfrm>
              <a:off x="3405263" y="2347044"/>
              <a:ext cx="2055301" cy="2289158"/>
              <a:chOff x="3405263" y="2347044"/>
              <a:chExt cx="2055301" cy="2289158"/>
            </a:xfrm>
          </p:grpSpPr>
          <p:sp>
            <p:nvSpPr>
              <p:cNvPr id="49" name="Freeform 13"/>
              <p:cNvSpPr>
                <a:spLocks noEditPoints="1"/>
              </p:cNvSpPr>
              <p:nvPr/>
            </p:nvSpPr>
            <p:spPr bwMode="auto">
              <a:xfrm>
                <a:off x="3405263" y="2947133"/>
                <a:ext cx="1187647" cy="413179"/>
              </a:xfrm>
              <a:custGeom>
                <a:avLst/>
                <a:gdLst>
                  <a:gd name="T0" fmla="*/ 168 w 936"/>
                  <a:gd name="T1" fmla="*/ 331 h 339"/>
                  <a:gd name="T2" fmla="*/ 3 w 936"/>
                  <a:gd name="T3" fmla="*/ 302 h 339"/>
                  <a:gd name="T4" fmla="*/ 5 w 936"/>
                  <a:gd name="T5" fmla="*/ 35 h 339"/>
                  <a:gd name="T6" fmla="*/ 202 w 936"/>
                  <a:gd name="T7" fmla="*/ 6 h 339"/>
                  <a:gd name="T8" fmla="*/ 535 w 936"/>
                  <a:gd name="T9" fmla="*/ 334 h 339"/>
                  <a:gd name="T10" fmla="*/ 646 w 936"/>
                  <a:gd name="T11" fmla="*/ 178 h 339"/>
                  <a:gd name="T12" fmla="*/ 633 w 936"/>
                  <a:gd name="T13" fmla="*/ 150 h 339"/>
                  <a:gd name="T14" fmla="*/ 576 w 936"/>
                  <a:gd name="T15" fmla="*/ 182 h 339"/>
                  <a:gd name="T16" fmla="*/ 538 w 936"/>
                  <a:gd name="T17" fmla="*/ 147 h 339"/>
                  <a:gd name="T18" fmla="*/ 575 w 936"/>
                  <a:gd name="T19" fmla="*/ 296 h 339"/>
                  <a:gd name="T20" fmla="*/ 289 w 936"/>
                  <a:gd name="T21" fmla="*/ 94 h 339"/>
                  <a:gd name="T22" fmla="*/ 335 w 936"/>
                  <a:gd name="T23" fmla="*/ 174 h 339"/>
                  <a:gd name="T24" fmla="*/ 268 w 936"/>
                  <a:gd name="T25" fmla="*/ 230 h 339"/>
                  <a:gd name="T26" fmla="*/ 327 w 936"/>
                  <a:gd name="T27" fmla="*/ 249 h 339"/>
                  <a:gd name="T28" fmla="*/ 371 w 936"/>
                  <a:gd name="T29" fmla="*/ 164 h 339"/>
                  <a:gd name="T30" fmla="*/ 779 w 936"/>
                  <a:gd name="T31" fmla="*/ 270 h 339"/>
                  <a:gd name="T32" fmla="*/ 803 w 936"/>
                  <a:gd name="T33" fmla="*/ 175 h 339"/>
                  <a:gd name="T34" fmla="*/ 706 w 936"/>
                  <a:gd name="T35" fmla="*/ 147 h 339"/>
                  <a:gd name="T36" fmla="*/ 683 w 936"/>
                  <a:gd name="T37" fmla="*/ 131 h 339"/>
                  <a:gd name="T38" fmla="*/ 706 w 936"/>
                  <a:gd name="T39" fmla="*/ 186 h 339"/>
                  <a:gd name="T40" fmla="*/ 441 w 936"/>
                  <a:gd name="T41" fmla="*/ 270 h 339"/>
                  <a:gd name="T42" fmla="*/ 537 w 936"/>
                  <a:gd name="T43" fmla="*/ 248 h 339"/>
                  <a:gd name="T44" fmla="*/ 461 w 936"/>
                  <a:gd name="T45" fmla="*/ 88 h 339"/>
                  <a:gd name="T46" fmla="*/ 437 w 936"/>
                  <a:gd name="T47" fmla="*/ 73 h 339"/>
                  <a:gd name="T48" fmla="*/ 827 w 936"/>
                  <a:gd name="T49" fmla="*/ 205 h 339"/>
                  <a:gd name="T50" fmla="*/ 932 w 936"/>
                  <a:gd name="T51" fmla="*/ 266 h 339"/>
                  <a:gd name="T52" fmla="*/ 854 w 936"/>
                  <a:gd name="T53" fmla="*/ 221 h 339"/>
                  <a:gd name="T54" fmla="*/ 936 w 936"/>
                  <a:gd name="T55" fmla="*/ 134 h 339"/>
                  <a:gd name="T56" fmla="*/ 827 w 936"/>
                  <a:gd name="T57" fmla="*/ 197 h 339"/>
                  <a:gd name="T58" fmla="*/ 255 w 936"/>
                  <a:gd name="T59" fmla="*/ 127 h 339"/>
                  <a:gd name="T60" fmla="*/ 254 w 936"/>
                  <a:gd name="T61" fmla="*/ 65 h 339"/>
                  <a:gd name="T62" fmla="*/ 232 w 936"/>
                  <a:gd name="T63" fmla="*/ 94 h 339"/>
                  <a:gd name="T64" fmla="*/ 221 w 936"/>
                  <a:gd name="T65" fmla="*/ 189 h 339"/>
                  <a:gd name="T66" fmla="*/ 238 w 936"/>
                  <a:gd name="T67" fmla="*/ 207 h 339"/>
                  <a:gd name="T68" fmla="*/ 803 w 936"/>
                  <a:gd name="T69" fmla="*/ 265 h 339"/>
                  <a:gd name="T70" fmla="*/ 803 w 936"/>
                  <a:gd name="T71" fmla="*/ 266 h 339"/>
                  <a:gd name="T72" fmla="*/ 442 w 936"/>
                  <a:gd name="T73" fmla="*/ 271 h 339"/>
                  <a:gd name="T74" fmla="*/ 441 w 936"/>
                  <a:gd name="T75" fmla="*/ 270 h 339"/>
                  <a:gd name="T76" fmla="*/ 462 w 936"/>
                  <a:gd name="T77" fmla="*/ 248 h 339"/>
                  <a:gd name="T78" fmla="*/ 537 w 936"/>
                  <a:gd name="T79" fmla="*/ 248 h 339"/>
                  <a:gd name="T80" fmla="*/ 222 w 936"/>
                  <a:gd name="T81" fmla="*/ 230 h 339"/>
                  <a:gd name="T82" fmla="*/ 221 w 936"/>
                  <a:gd name="T83" fmla="*/ 147 h 339"/>
                  <a:gd name="T84" fmla="*/ 221 w 936"/>
                  <a:gd name="T85" fmla="*/ 147 h 339"/>
                  <a:gd name="T86" fmla="*/ 260 w 936"/>
                  <a:gd name="T87" fmla="*/ 127 h 339"/>
                  <a:gd name="T88" fmla="*/ 702 w 936"/>
                  <a:gd name="T89" fmla="*/ 271 h 339"/>
                  <a:gd name="T90" fmla="*/ 751 w 936"/>
                  <a:gd name="T91" fmla="*/ 143 h 339"/>
                  <a:gd name="T92" fmla="*/ 827 w 936"/>
                  <a:gd name="T93" fmla="*/ 197 h 339"/>
                  <a:gd name="T94" fmla="*/ 544 w 936"/>
                  <a:gd name="T95" fmla="*/ 317 h 339"/>
                  <a:gd name="T96" fmla="*/ 371 w 936"/>
                  <a:gd name="T97" fmla="*/ 164 h 339"/>
                  <a:gd name="T98" fmla="*/ 61 w 936"/>
                  <a:gd name="T99" fmla="*/ 232 h 339"/>
                  <a:gd name="T100" fmla="*/ 145 w 936"/>
                  <a:gd name="T101" fmla="*/ 216 h 339"/>
                  <a:gd name="T102" fmla="*/ 89 w 936"/>
                  <a:gd name="T103" fmla="*/ 120 h 339"/>
                  <a:gd name="T104" fmla="*/ 61 w 936"/>
                  <a:gd name="T105" fmla="*/ 95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36" h="339">
                    <a:moveTo>
                      <a:pt x="202" y="168"/>
                    </a:moveTo>
                    <a:cubicBezTo>
                      <a:pt x="202" y="223"/>
                      <a:pt x="202" y="278"/>
                      <a:pt x="202" y="332"/>
                    </a:cubicBezTo>
                    <a:cubicBezTo>
                      <a:pt x="202" y="337"/>
                      <a:pt x="201" y="338"/>
                      <a:pt x="197" y="337"/>
                    </a:cubicBezTo>
                    <a:cubicBezTo>
                      <a:pt x="187" y="335"/>
                      <a:pt x="178" y="333"/>
                      <a:pt x="168" y="331"/>
                    </a:cubicBezTo>
                    <a:cubicBezTo>
                      <a:pt x="158" y="329"/>
                      <a:pt x="147" y="327"/>
                      <a:pt x="137" y="326"/>
                    </a:cubicBezTo>
                    <a:cubicBezTo>
                      <a:pt x="119" y="323"/>
                      <a:pt x="101" y="320"/>
                      <a:pt x="84" y="316"/>
                    </a:cubicBezTo>
                    <a:cubicBezTo>
                      <a:pt x="68" y="314"/>
                      <a:pt x="53" y="311"/>
                      <a:pt x="38" y="308"/>
                    </a:cubicBezTo>
                    <a:cubicBezTo>
                      <a:pt x="26" y="306"/>
                      <a:pt x="15" y="304"/>
                      <a:pt x="3" y="302"/>
                    </a:cubicBezTo>
                    <a:cubicBezTo>
                      <a:pt x="0" y="302"/>
                      <a:pt x="0" y="301"/>
                      <a:pt x="0" y="299"/>
                    </a:cubicBezTo>
                    <a:cubicBezTo>
                      <a:pt x="0" y="298"/>
                      <a:pt x="0" y="297"/>
                      <a:pt x="0" y="296"/>
                    </a:cubicBezTo>
                    <a:cubicBezTo>
                      <a:pt x="0" y="211"/>
                      <a:pt x="0" y="126"/>
                      <a:pt x="0" y="41"/>
                    </a:cubicBezTo>
                    <a:cubicBezTo>
                      <a:pt x="0" y="37"/>
                      <a:pt x="1" y="36"/>
                      <a:pt x="5" y="35"/>
                    </a:cubicBezTo>
                    <a:cubicBezTo>
                      <a:pt x="62" y="25"/>
                      <a:pt x="118" y="15"/>
                      <a:pt x="174" y="5"/>
                    </a:cubicBezTo>
                    <a:cubicBezTo>
                      <a:pt x="183" y="4"/>
                      <a:pt x="191" y="2"/>
                      <a:pt x="200" y="1"/>
                    </a:cubicBezTo>
                    <a:cubicBezTo>
                      <a:pt x="202" y="0"/>
                      <a:pt x="203" y="1"/>
                      <a:pt x="202" y="3"/>
                    </a:cubicBezTo>
                    <a:cubicBezTo>
                      <a:pt x="202" y="4"/>
                      <a:pt x="202" y="5"/>
                      <a:pt x="202" y="6"/>
                    </a:cubicBezTo>
                    <a:cubicBezTo>
                      <a:pt x="202" y="60"/>
                      <a:pt x="202" y="114"/>
                      <a:pt x="202" y="168"/>
                    </a:cubicBezTo>
                    <a:close/>
                    <a:moveTo>
                      <a:pt x="544" y="317"/>
                    </a:moveTo>
                    <a:cubicBezTo>
                      <a:pt x="541" y="317"/>
                      <a:pt x="538" y="315"/>
                      <a:pt x="535" y="316"/>
                    </a:cubicBezTo>
                    <a:cubicBezTo>
                      <a:pt x="535" y="322"/>
                      <a:pt x="535" y="328"/>
                      <a:pt x="535" y="334"/>
                    </a:cubicBezTo>
                    <a:cubicBezTo>
                      <a:pt x="535" y="335"/>
                      <a:pt x="535" y="336"/>
                      <a:pt x="537" y="337"/>
                    </a:cubicBezTo>
                    <a:cubicBezTo>
                      <a:pt x="547" y="338"/>
                      <a:pt x="557" y="339"/>
                      <a:pt x="566" y="334"/>
                    </a:cubicBezTo>
                    <a:cubicBezTo>
                      <a:pt x="583" y="327"/>
                      <a:pt x="592" y="313"/>
                      <a:pt x="598" y="298"/>
                    </a:cubicBezTo>
                    <a:cubicBezTo>
                      <a:pt x="614" y="258"/>
                      <a:pt x="630" y="218"/>
                      <a:pt x="646" y="178"/>
                    </a:cubicBezTo>
                    <a:cubicBezTo>
                      <a:pt x="652" y="161"/>
                      <a:pt x="659" y="143"/>
                      <a:pt x="666" y="126"/>
                    </a:cubicBezTo>
                    <a:cubicBezTo>
                      <a:pt x="659" y="126"/>
                      <a:pt x="651" y="126"/>
                      <a:pt x="644" y="126"/>
                    </a:cubicBezTo>
                    <a:cubicBezTo>
                      <a:pt x="643" y="126"/>
                      <a:pt x="642" y="126"/>
                      <a:pt x="641" y="128"/>
                    </a:cubicBezTo>
                    <a:cubicBezTo>
                      <a:pt x="638" y="135"/>
                      <a:pt x="636" y="142"/>
                      <a:pt x="633" y="150"/>
                    </a:cubicBezTo>
                    <a:cubicBezTo>
                      <a:pt x="627" y="164"/>
                      <a:pt x="623" y="179"/>
                      <a:pt x="617" y="193"/>
                    </a:cubicBezTo>
                    <a:cubicBezTo>
                      <a:pt x="611" y="209"/>
                      <a:pt x="605" y="226"/>
                      <a:pt x="599" y="242"/>
                    </a:cubicBezTo>
                    <a:cubicBezTo>
                      <a:pt x="599" y="244"/>
                      <a:pt x="599" y="245"/>
                      <a:pt x="597" y="245"/>
                    </a:cubicBezTo>
                    <a:cubicBezTo>
                      <a:pt x="591" y="224"/>
                      <a:pt x="583" y="203"/>
                      <a:pt x="576" y="182"/>
                    </a:cubicBezTo>
                    <a:cubicBezTo>
                      <a:pt x="570" y="164"/>
                      <a:pt x="563" y="147"/>
                      <a:pt x="557" y="128"/>
                    </a:cubicBezTo>
                    <a:cubicBezTo>
                      <a:pt x="556" y="127"/>
                      <a:pt x="556" y="126"/>
                      <a:pt x="554" y="126"/>
                    </a:cubicBezTo>
                    <a:cubicBezTo>
                      <a:pt x="546" y="126"/>
                      <a:pt x="538" y="126"/>
                      <a:pt x="530" y="126"/>
                    </a:cubicBezTo>
                    <a:cubicBezTo>
                      <a:pt x="533" y="133"/>
                      <a:pt x="535" y="140"/>
                      <a:pt x="538" y="147"/>
                    </a:cubicBezTo>
                    <a:cubicBezTo>
                      <a:pt x="545" y="166"/>
                      <a:pt x="553" y="185"/>
                      <a:pt x="560" y="204"/>
                    </a:cubicBezTo>
                    <a:cubicBezTo>
                      <a:pt x="568" y="225"/>
                      <a:pt x="576" y="245"/>
                      <a:pt x="585" y="265"/>
                    </a:cubicBezTo>
                    <a:cubicBezTo>
                      <a:pt x="586" y="268"/>
                      <a:pt x="586" y="271"/>
                      <a:pt x="584" y="274"/>
                    </a:cubicBezTo>
                    <a:cubicBezTo>
                      <a:pt x="581" y="281"/>
                      <a:pt x="578" y="289"/>
                      <a:pt x="575" y="296"/>
                    </a:cubicBezTo>
                    <a:cubicBezTo>
                      <a:pt x="570" y="306"/>
                      <a:pt x="565" y="315"/>
                      <a:pt x="553" y="317"/>
                    </a:cubicBezTo>
                    <a:cubicBezTo>
                      <a:pt x="550" y="317"/>
                      <a:pt x="547" y="317"/>
                      <a:pt x="544" y="317"/>
                    </a:cubicBezTo>
                    <a:close/>
                    <a:moveTo>
                      <a:pt x="371" y="164"/>
                    </a:moveTo>
                    <a:cubicBezTo>
                      <a:pt x="367" y="118"/>
                      <a:pt x="329" y="90"/>
                      <a:pt x="289" y="94"/>
                    </a:cubicBezTo>
                    <a:cubicBezTo>
                      <a:pt x="289" y="95"/>
                      <a:pt x="290" y="96"/>
                      <a:pt x="291" y="98"/>
                    </a:cubicBezTo>
                    <a:cubicBezTo>
                      <a:pt x="295" y="102"/>
                      <a:pt x="298" y="106"/>
                      <a:pt x="301" y="110"/>
                    </a:cubicBezTo>
                    <a:cubicBezTo>
                      <a:pt x="309" y="119"/>
                      <a:pt x="316" y="129"/>
                      <a:pt x="324" y="138"/>
                    </a:cubicBezTo>
                    <a:cubicBezTo>
                      <a:pt x="333" y="149"/>
                      <a:pt x="337" y="160"/>
                      <a:pt x="335" y="174"/>
                    </a:cubicBezTo>
                    <a:cubicBezTo>
                      <a:pt x="332" y="193"/>
                      <a:pt x="313" y="208"/>
                      <a:pt x="296" y="208"/>
                    </a:cubicBezTo>
                    <a:cubicBezTo>
                      <a:pt x="283" y="207"/>
                      <a:pt x="270" y="208"/>
                      <a:pt x="257" y="208"/>
                    </a:cubicBezTo>
                    <a:cubicBezTo>
                      <a:pt x="255" y="208"/>
                      <a:pt x="253" y="207"/>
                      <a:pt x="251" y="209"/>
                    </a:cubicBezTo>
                    <a:cubicBezTo>
                      <a:pt x="257" y="216"/>
                      <a:pt x="262" y="223"/>
                      <a:pt x="268" y="230"/>
                    </a:cubicBezTo>
                    <a:cubicBezTo>
                      <a:pt x="277" y="241"/>
                      <a:pt x="286" y="253"/>
                      <a:pt x="295" y="264"/>
                    </a:cubicBezTo>
                    <a:cubicBezTo>
                      <a:pt x="297" y="267"/>
                      <a:pt x="299" y="272"/>
                      <a:pt x="303" y="274"/>
                    </a:cubicBezTo>
                    <a:cubicBezTo>
                      <a:pt x="312" y="280"/>
                      <a:pt x="322" y="277"/>
                      <a:pt x="327" y="272"/>
                    </a:cubicBezTo>
                    <a:cubicBezTo>
                      <a:pt x="333" y="265"/>
                      <a:pt x="333" y="256"/>
                      <a:pt x="327" y="249"/>
                    </a:cubicBezTo>
                    <a:cubicBezTo>
                      <a:pt x="324" y="245"/>
                      <a:pt x="322" y="242"/>
                      <a:pt x="319" y="238"/>
                    </a:cubicBezTo>
                    <a:cubicBezTo>
                      <a:pt x="331" y="234"/>
                      <a:pt x="342" y="228"/>
                      <a:pt x="350" y="219"/>
                    </a:cubicBezTo>
                    <a:cubicBezTo>
                      <a:pt x="363" y="206"/>
                      <a:pt x="369" y="189"/>
                      <a:pt x="371" y="171"/>
                    </a:cubicBezTo>
                    <a:cubicBezTo>
                      <a:pt x="371" y="169"/>
                      <a:pt x="371" y="166"/>
                      <a:pt x="371" y="164"/>
                    </a:cubicBezTo>
                    <a:close/>
                    <a:moveTo>
                      <a:pt x="751" y="143"/>
                    </a:moveTo>
                    <a:cubicBezTo>
                      <a:pt x="761" y="144"/>
                      <a:pt x="769" y="149"/>
                      <a:pt x="774" y="159"/>
                    </a:cubicBezTo>
                    <a:cubicBezTo>
                      <a:pt x="778" y="168"/>
                      <a:pt x="779" y="177"/>
                      <a:pt x="779" y="187"/>
                    </a:cubicBezTo>
                    <a:cubicBezTo>
                      <a:pt x="780" y="215"/>
                      <a:pt x="779" y="242"/>
                      <a:pt x="779" y="270"/>
                    </a:cubicBezTo>
                    <a:cubicBezTo>
                      <a:pt x="786" y="271"/>
                      <a:pt x="792" y="270"/>
                      <a:pt x="798" y="270"/>
                    </a:cubicBezTo>
                    <a:cubicBezTo>
                      <a:pt x="802" y="270"/>
                      <a:pt x="803" y="269"/>
                      <a:pt x="803" y="266"/>
                    </a:cubicBezTo>
                    <a:cubicBezTo>
                      <a:pt x="803" y="244"/>
                      <a:pt x="803" y="222"/>
                      <a:pt x="803" y="201"/>
                    </a:cubicBezTo>
                    <a:cubicBezTo>
                      <a:pt x="803" y="192"/>
                      <a:pt x="803" y="183"/>
                      <a:pt x="803" y="175"/>
                    </a:cubicBezTo>
                    <a:cubicBezTo>
                      <a:pt x="802" y="172"/>
                      <a:pt x="802" y="169"/>
                      <a:pt x="801" y="166"/>
                    </a:cubicBezTo>
                    <a:cubicBezTo>
                      <a:pt x="798" y="143"/>
                      <a:pt x="786" y="124"/>
                      <a:pt x="758" y="122"/>
                    </a:cubicBezTo>
                    <a:cubicBezTo>
                      <a:pt x="739" y="121"/>
                      <a:pt x="722" y="126"/>
                      <a:pt x="711" y="143"/>
                    </a:cubicBezTo>
                    <a:cubicBezTo>
                      <a:pt x="710" y="144"/>
                      <a:pt x="709" y="147"/>
                      <a:pt x="706" y="147"/>
                    </a:cubicBezTo>
                    <a:cubicBezTo>
                      <a:pt x="706" y="141"/>
                      <a:pt x="706" y="135"/>
                      <a:pt x="706" y="129"/>
                    </a:cubicBezTo>
                    <a:cubicBezTo>
                      <a:pt x="706" y="127"/>
                      <a:pt x="706" y="125"/>
                      <a:pt x="703" y="126"/>
                    </a:cubicBezTo>
                    <a:cubicBezTo>
                      <a:pt x="698" y="126"/>
                      <a:pt x="693" y="126"/>
                      <a:pt x="688" y="126"/>
                    </a:cubicBezTo>
                    <a:cubicBezTo>
                      <a:pt x="684" y="125"/>
                      <a:pt x="683" y="127"/>
                      <a:pt x="683" y="131"/>
                    </a:cubicBezTo>
                    <a:cubicBezTo>
                      <a:pt x="683" y="175"/>
                      <a:pt x="683" y="219"/>
                      <a:pt x="683" y="263"/>
                    </a:cubicBezTo>
                    <a:cubicBezTo>
                      <a:pt x="683" y="265"/>
                      <a:pt x="683" y="267"/>
                      <a:pt x="682" y="269"/>
                    </a:cubicBezTo>
                    <a:cubicBezTo>
                      <a:pt x="690" y="271"/>
                      <a:pt x="698" y="270"/>
                      <a:pt x="706" y="269"/>
                    </a:cubicBezTo>
                    <a:cubicBezTo>
                      <a:pt x="706" y="242"/>
                      <a:pt x="706" y="214"/>
                      <a:pt x="706" y="186"/>
                    </a:cubicBezTo>
                    <a:cubicBezTo>
                      <a:pt x="706" y="180"/>
                      <a:pt x="707" y="175"/>
                      <a:pt x="709" y="169"/>
                    </a:cubicBezTo>
                    <a:cubicBezTo>
                      <a:pt x="715" y="154"/>
                      <a:pt x="728" y="143"/>
                      <a:pt x="741" y="143"/>
                    </a:cubicBezTo>
                    <a:cubicBezTo>
                      <a:pt x="745" y="142"/>
                      <a:pt x="748" y="142"/>
                      <a:pt x="751" y="143"/>
                    </a:cubicBezTo>
                    <a:close/>
                    <a:moveTo>
                      <a:pt x="441" y="270"/>
                    </a:moveTo>
                    <a:cubicBezTo>
                      <a:pt x="473" y="270"/>
                      <a:pt x="506" y="270"/>
                      <a:pt x="538" y="270"/>
                    </a:cubicBezTo>
                    <a:cubicBezTo>
                      <a:pt x="540" y="270"/>
                      <a:pt x="541" y="271"/>
                      <a:pt x="542" y="269"/>
                    </a:cubicBezTo>
                    <a:cubicBezTo>
                      <a:pt x="542" y="263"/>
                      <a:pt x="542" y="256"/>
                      <a:pt x="542" y="249"/>
                    </a:cubicBezTo>
                    <a:cubicBezTo>
                      <a:pt x="541" y="247"/>
                      <a:pt x="539" y="248"/>
                      <a:pt x="537" y="248"/>
                    </a:cubicBezTo>
                    <a:cubicBezTo>
                      <a:pt x="514" y="248"/>
                      <a:pt x="490" y="248"/>
                      <a:pt x="467" y="248"/>
                    </a:cubicBezTo>
                    <a:cubicBezTo>
                      <a:pt x="465" y="248"/>
                      <a:pt x="463" y="249"/>
                      <a:pt x="462" y="248"/>
                    </a:cubicBezTo>
                    <a:cubicBezTo>
                      <a:pt x="461" y="246"/>
                      <a:pt x="461" y="244"/>
                      <a:pt x="461" y="242"/>
                    </a:cubicBezTo>
                    <a:cubicBezTo>
                      <a:pt x="461" y="191"/>
                      <a:pt x="461" y="139"/>
                      <a:pt x="461" y="88"/>
                    </a:cubicBezTo>
                    <a:cubicBezTo>
                      <a:pt x="461" y="83"/>
                      <a:pt x="461" y="77"/>
                      <a:pt x="461" y="72"/>
                    </a:cubicBezTo>
                    <a:cubicBezTo>
                      <a:pt x="461" y="69"/>
                      <a:pt x="461" y="68"/>
                      <a:pt x="457" y="68"/>
                    </a:cubicBezTo>
                    <a:cubicBezTo>
                      <a:pt x="452" y="68"/>
                      <a:pt x="447" y="68"/>
                      <a:pt x="442" y="68"/>
                    </a:cubicBezTo>
                    <a:cubicBezTo>
                      <a:pt x="438" y="68"/>
                      <a:pt x="437" y="69"/>
                      <a:pt x="437" y="73"/>
                    </a:cubicBezTo>
                    <a:cubicBezTo>
                      <a:pt x="437" y="137"/>
                      <a:pt x="437" y="200"/>
                      <a:pt x="437" y="263"/>
                    </a:cubicBezTo>
                    <a:cubicBezTo>
                      <a:pt x="437" y="265"/>
                      <a:pt x="437" y="267"/>
                      <a:pt x="437" y="269"/>
                    </a:cubicBezTo>
                    <a:cubicBezTo>
                      <a:pt x="438" y="271"/>
                      <a:pt x="440" y="270"/>
                      <a:pt x="441" y="270"/>
                    </a:cubicBezTo>
                    <a:close/>
                    <a:moveTo>
                      <a:pt x="827" y="205"/>
                    </a:moveTo>
                    <a:cubicBezTo>
                      <a:pt x="827" y="214"/>
                      <a:pt x="829" y="223"/>
                      <a:pt x="832" y="231"/>
                    </a:cubicBezTo>
                    <a:cubicBezTo>
                      <a:pt x="836" y="241"/>
                      <a:pt x="841" y="249"/>
                      <a:pt x="848" y="256"/>
                    </a:cubicBezTo>
                    <a:cubicBezTo>
                      <a:pt x="860" y="267"/>
                      <a:pt x="875" y="273"/>
                      <a:pt x="892" y="274"/>
                    </a:cubicBezTo>
                    <a:cubicBezTo>
                      <a:pt x="906" y="274"/>
                      <a:pt x="919" y="272"/>
                      <a:pt x="932" y="266"/>
                    </a:cubicBezTo>
                    <a:cubicBezTo>
                      <a:pt x="933" y="265"/>
                      <a:pt x="935" y="264"/>
                      <a:pt x="935" y="261"/>
                    </a:cubicBezTo>
                    <a:cubicBezTo>
                      <a:pt x="935" y="255"/>
                      <a:pt x="935" y="249"/>
                      <a:pt x="935" y="241"/>
                    </a:cubicBezTo>
                    <a:cubicBezTo>
                      <a:pt x="929" y="245"/>
                      <a:pt x="923" y="249"/>
                      <a:pt x="917" y="251"/>
                    </a:cubicBezTo>
                    <a:cubicBezTo>
                      <a:pt x="889" y="260"/>
                      <a:pt x="863" y="247"/>
                      <a:pt x="854" y="221"/>
                    </a:cubicBezTo>
                    <a:cubicBezTo>
                      <a:pt x="850" y="206"/>
                      <a:pt x="850" y="191"/>
                      <a:pt x="855" y="176"/>
                    </a:cubicBezTo>
                    <a:cubicBezTo>
                      <a:pt x="862" y="154"/>
                      <a:pt x="880" y="141"/>
                      <a:pt x="903" y="142"/>
                    </a:cubicBezTo>
                    <a:cubicBezTo>
                      <a:pt x="915" y="143"/>
                      <a:pt x="926" y="147"/>
                      <a:pt x="936" y="154"/>
                    </a:cubicBezTo>
                    <a:cubicBezTo>
                      <a:pt x="936" y="147"/>
                      <a:pt x="935" y="141"/>
                      <a:pt x="936" y="134"/>
                    </a:cubicBezTo>
                    <a:cubicBezTo>
                      <a:pt x="936" y="131"/>
                      <a:pt x="935" y="129"/>
                      <a:pt x="931" y="127"/>
                    </a:cubicBezTo>
                    <a:cubicBezTo>
                      <a:pt x="918" y="122"/>
                      <a:pt x="905" y="121"/>
                      <a:pt x="891" y="123"/>
                    </a:cubicBezTo>
                    <a:cubicBezTo>
                      <a:pt x="867" y="126"/>
                      <a:pt x="849" y="137"/>
                      <a:pt x="837" y="158"/>
                    </a:cubicBezTo>
                    <a:cubicBezTo>
                      <a:pt x="830" y="170"/>
                      <a:pt x="828" y="183"/>
                      <a:pt x="827" y="197"/>
                    </a:cubicBezTo>
                    <a:cubicBezTo>
                      <a:pt x="827" y="200"/>
                      <a:pt x="827" y="202"/>
                      <a:pt x="827" y="205"/>
                    </a:cubicBezTo>
                    <a:close/>
                    <a:moveTo>
                      <a:pt x="221" y="146"/>
                    </a:moveTo>
                    <a:cubicBezTo>
                      <a:pt x="221" y="147"/>
                      <a:pt x="221" y="148"/>
                      <a:pt x="223" y="148"/>
                    </a:cubicBezTo>
                    <a:cubicBezTo>
                      <a:pt x="230" y="135"/>
                      <a:pt x="240" y="128"/>
                      <a:pt x="255" y="127"/>
                    </a:cubicBezTo>
                    <a:cubicBezTo>
                      <a:pt x="256" y="127"/>
                      <a:pt x="258" y="127"/>
                      <a:pt x="260" y="127"/>
                    </a:cubicBezTo>
                    <a:cubicBezTo>
                      <a:pt x="273" y="127"/>
                      <a:pt x="285" y="127"/>
                      <a:pt x="298" y="127"/>
                    </a:cubicBezTo>
                    <a:cubicBezTo>
                      <a:pt x="299" y="127"/>
                      <a:pt x="301" y="128"/>
                      <a:pt x="302" y="126"/>
                    </a:cubicBezTo>
                    <a:cubicBezTo>
                      <a:pt x="286" y="106"/>
                      <a:pt x="270" y="86"/>
                      <a:pt x="254" y="65"/>
                    </a:cubicBezTo>
                    <a:cubicBezTo>
                      <a:pt x="249" y="59"/>
                      <a:pt x="243" y="57"/>
                      <a:pt x="236" y="58"/>
                    </a:cubicBezTo>
                    <a:cubicBezTo>
                      <a:pt x="228" y="59"/>
                      <a:pt x="224" y="64"/>
                      <a:pt x="222" y="71"/>
                    </a:cubicBezTo>
                    <a:cubicBezTo>
                      <a:pt x="222" y="73"/>
                      <a:pt x="222" y="75"/>
                      <a:pt x="222" y="78"/>
                    </a:cubicBezTo>
                    <a:cubicBezTo>
                      <a:pt x="223" y="84"/>
                      <a:pt x="228" y="89"/>
                      <a:pt x="232" y="94"/>
                    </a:cubicBezTo>
                    <a:cubicBezTo>
                      <a:pt x="234" y="96"/>
                      <a:pt x="234" y="96"/>
                      <a:pt x="231" y="97"/>
                    </a:cubicBezTo>
                    <a:cubicBezTo>
                      <a:pt x="228" y="99"/>
                      <a:pt x="224" y="99"/>
                      <a:pt x="221" y="102"/>
                    </a:cubicBezTo>
                    <a:cubicBezTo>
                      <a:pt x="221" y="116"/>
                      <a:pt x="221" y="131"/>
                      <a:pt x="221" y="146"/>
                    </a:cubicBezTo>
                    <a:close/>
                    <a:moveTo>
                      <a:pt x="221" y="189"/>
                    </a:moveTo>
                    <a:cubicBezTo>
                      <a:pt x="221" y="203"/>
                      <a:pt x="221" y="217"/>
                      <a:pt x="221" y="231"/>
                    </a:cubicBezTo>
                    <a:cubicBezTo>
                      <a:pt x="221" y="232"/>
                      <a:pt x="221" y="233"/>
                      <a:pt x="222" y="233"/>
                    </a:cubicBezTo>
                    <a:cubicBezTo>
                      <a:pt x="235" y="240"/>
                      <a:pt x="249" y="242"/>
                      <a:pt x="265" y="241"/>
                    </a:cubicBezTo>
                    <a:cubicBezTo>
                      <a:pt x="255" y="230"/>
                      <a:pt x="246" y="219"/>
                      <a:pt x="238" y="207"/>
                    </a:cubicBezTo>
                    <a:cubicBezTo>
                      <a:pt x="232" y="201"/>
                      <a:pt x="226" y="195"/>
                      <a:pt x="223" y="187"/>
                    </a:cubicBezTo>
                    <a:cubicBezTo>
                      <a:pt x="220" y="186"/>
                      <a:pt x="221" y="188"/>
                      <a:pt x="221" y="189"/>
                    </a:cubicBezTo>
                    <a:close/>
                    <a:moveTo>
                      <a:pt x="798" y="271"/>
                    </a:moveTo>
                    <a:cubicBezTo>
                      <a:pt x="803" y="271"/>
                      <a:pt x="804" y="269"/>
                      <a:pt x="803" y="265"/>
                    </a:cubicBezTo>
                    <a:cubicBezTo>
                      <a:pt x="803" y="237"/>
                      <a:pt x="803" y="208"/>
                      <a:pt x="803" y="179"/>
                    </a:cubicBezTo>
                    <a:cubicBezTo>
                      <a:pt x="803" y="178"/>
                      <a:pt x="804" y="176"/>
                      <a:pt x="803" y="175"/>
                    </a:cubicBezTo>
                    <a:cubicBezTo>
                      <a:pt x="803" y="175"/>
                      <a:pt x="803" y="176"/>
                      <a:pt x="803" y="177"/>
                    </a:cubicBezTo>
                    <a:cubicBezTo>
                      <a:pt x="803" y="207"/>
                      <a:pt x="803" y="236"/>
                      <a:pt x="803" y="266"/>
                    </a:cubicBezTo>
                    <a:cubicBezTo>
                      <a:pt x="803" y="269"/>
                      <a:pt x="802" y="270"/>
                      <a:pt x="799" y="270"/>
                    </a:cubicBezTo>
                    <a:cubicBezTo>
                      <a:pt x="792" y="270"/>
                      <a:pt x="786" y="270"/>
                      <a:pt x="779" y="270"/>
                    </a:cubicBezTo>
                    <a:cubicBezTo>
                      <a:pt x="786" y="272"/>
                      <a:pt x="792" y="270"/>
                      <a:pt x="798" y="271"/>
                    </a:cubicBezTo>
                    <a:close/>
                    <a:moveTo>
                      <a:pt x="442" y="271"/>
                    </a:moveTo>
                    <a:cubicBezTo>
                      <a:pt x="474" y="271"/>
                      <a:pt x="506" y="271"/>
                      <a:pt x="537" y="271"/>
                    </a:cubicBezTo>
                    <a:cubicBezTo>
                      <a:pt x="539" y="271"/>
                      <a:pt x="541" y="271"/>
                      <a:pt x="542" y="269"/>
                    </a:cubicBezTo>
                    <a:cubicBezTo>
                      <a:pt x="541" y="270"/>
                      <a:pt x="540" y="270"/>
                      <a:pt x="539" y="270"/>
                    </a:cubicBezTo>
                    <a:cubicBezTo>
                      <a:pt x="506" y="270"/>
                      <a:pt x="474" y="270"/>
                      <a:pt x="441" y="270"/>
                    </a:cubicBezTo>
                    <a:cubicBezTo>
                      <a:pt x="439" y="270"/>
                      <a:pt x="438" y="270"/>
                      <a:pt x="437" y="269"/>
                    </a:cubicBezTo>
                    <a:cubicBezTo>
                      <a:pt x="438" y="272"/>
                      <a:pt x="440" y="271"/>
                      <a:pt x="442" y="271"/>
                    </a:cubicBezTo>
                    <a:close/>
                    <a:moveTo>
                      <a:pt x="537" y="248"/>
                    </a:moveTo>
                    <a:cubicBezTo>
                      <a:pt x="512" y="248"/>
                      <a:pt x="487" y="248"/>
                      <a:pt x="462" y="248"/>
                    </a:cubicBezTo>
                    <a:cubicBezTo>
                      <a:pt x="463" y="249"/>
                      <a:pt x="465" y="248"/>
                      <a:pt x="467" y="248"/>
                    </a:cubicBezTo>
                    <a:cubicBezTo>
                      <a:pt x="488" y="248"/>
                      <a:pt x="509" y="248"/>
                      <a:pt x="531" y="248"/>
                    </a:cubicBezTo>
                    <a:cubicBezTo>
                      <a:pt x="535" y="248"/>
                      <a:pt x="538" y="249"/>
                      <a:pt x="542" y="249"/>
                    </a:cubicBezTo>
                    <a:cubicBezTo>
                      <a:pt x="541" y="247"/>
                      <a:pt x="539" y="248"/>
                      <a:pt x="537" y="248"/>
                    </a:cubicBezTo>
                    <a:close/>
                    <a:moveTo>
                      <a:pt x="221" y="189"/>
                    </a:moveTo>
                    <a:cubicBezTo>
                      <a:pt x="221" y="202"/>
                      <a:pt x="221" y="216"/>
                      <a:pt x="221" y="230"/>
                    </a:cubicBezTo>
                    <a:cubicBezTo>
                      <a:pt x="221" y="231"/>
                      <a:pt x="221" y="233"/>
                      <a:pt x="222" y="233"/>
                    </a:cubicBezTo>
                    <a:cubicBezTo>
                      <a:pt x="222" y="232"/>
                      <a:pt x="222" y="231"/>
                      <a:pt x="222" y="230"/>
                    </a:cubicBezTo>
                    <a:cubicBezTo>
                      <a:pt x="221" y="217"/>
                      <a:pt x="221" y="203"/>
                      <a:pt x="221" y="189"/>
                    </a:cubicBezTo>
                    <a:cubicBezTo>
                      <a:pt x="221" y="188"/>
                      <a:pt x="221" y="187"/>
                      <a:pt x="223" y="187"/>
                    </a:cubicBezTo>
                    <a:cubicBezTo>
                      <a:pt x="220" y="185"/>
                      <a:pt x="221" y="188"/>
                      <a:pt x="221" y="189"/>
                    </a:cubicBezTo>
                    <a:close/>
                    <a:moveTo>
                      <a:pt x="221" y="147"/>
                    </a:moveTo>
                    <a:cubicBezTo>
                      <a:pt x="221" y="148"/>
                      <a:pt x="222" y="149"/>
                      <a:pt x="223" y="148"/>
                    </a:cubicBezTo>
                    <a:cubicBezTo>
                      <a:pt x="220" y="147"/>
                      <a:pt x="222" y="145"/>
                      <a:pt x="222" y="143"/>
                    </a:cubicBezTo>
                    <a:cubicBezTo>
                      <a:pt x="221" y="129"/>
                      <a:pt x="221" y="116"/>
                      <a:pt x="221" y="102"/>
                    </a:cubicBezTo>
                    <a:cubicBezTo>
                      <a:pt x="220" y="117"/>
                      <a:pt x="221" y="132"/>
                      <a:pt x="221" y="147"/>
                    </a:cubicBezTo>
                    <a:close/>
                    <a:moveTo>
                      <a:pt x="298" y="128"/>
                    </a:moveTo>
                    <a:cubicBezTo>
                      <a:pt x="300" y="128"/>
                      <a:pt x="301" y="128"/>
                      <a:pt x="302" y="126"/>
                    </a:cubicBezTo>
                    <a:cubicBezTo>
                      <a:pt x="301" y="127"/>
                      <a:pt x="299" y="127"/>
                      <a:pt x="297" y="127"/>
                    </a:cubicBezTo>
                    <a:cubicBezTo>
                      <a:pt x="285" y="127"/>
                      <a:pt x="272" y="127"/>
                      <a:pt x="260" y="127"/>
                    </a:cubicBezTo>
                    <a:cubicBezTo>
                      <a:pt x="258" y="127"/>
                      <a:pt x="256" y="126"/>
                      <a:pt x="255" y="127"/>
                    </a:cubicBezTo>
                    <a:cubicBezTo>
                      <a:pt x="269" y="128"/>
                      <a:pt x="284" y="128"/>
                      <a:pt x="298" y="128"/>
                    </a:cubicBezTo>
                    <a:close/>
                    <a:moveTo>
                      <a:pt x="687" y="271"/>
                    </a:moveTo>
                    <a:cubicBezTo>
                      <a:pt x="692" y="271"/>
                      <a:pt x="697" y="271"/>
                      <a:pt x="702" y="271"/>
                    </a:cubicBezTo>
                    <a:cubicBezTo>
                      <a:pt x="704" y="271"/>
                      <a:pt x="705" y="271"/>
                      <a:pt x="706" y="269"/>
                    </a:cubicBezTo>
                    <a:cubicBezTo>
                      <a:pt x="698" y="270"/>
                      <a:pt x="690" y="270"/>
                      <a:pt x="682" y="269"/>
                    </a:cubicBezTo>
                    <a:cubicBezTo>
                      <a:pt x="683" y="271"/>
                      <a:pt x="685" y="271"/>
                      <a:pt x="687" y="271"/>
                    </a:cubicBezTo>
                    <a:close/>
                    <a:moveTo>
                      <a:pt x="751" y="143"/>
                    </a:moveTo>
                    <a:cubicBezTo>
                      <a:pt x="748" y="142"/>
                      <a:pt x="745" y="142"/>
                      <a:pt x="741" y="143"/>
                    </a:cubicBezTo>
                    <a:cubicBezTo>
                      <a:pt x="745" y="143"/>
                      <a:pt x="748" y="143"/>
                      <a:pt x="751" y="143"/>
                    </a:cubicBezTo>
                    <a:close/>
                    <a:moveTo>
                      <a:pt x="827" y="205"/>
                    </a:moveTo>
                    <a:cubicBezTo>
                      <a:pt x="827" y="202"/>
                      <a:pt x="827" y="200"/>
                      <a:pt x="827" y="197"/>
                    </a:cubicBezTo>
                    <a:cubicBezTo>
                      <a:pt x="826" y="200"/>
                      <a:pt x="826" y="202"/>
                      <a:pt x="827" y="205"/>
                    </a:cubicBezTo>
                    <a:close/>
                    <a:moveTo>
                      <a:pt x="544" y="317"/>
                    </a:moveTo>
                    <a:cubicBezTo>
                      <a:pt x="547" y="318"/>
                      <a:pt x="550" y="318"/>
                      <a:pt x="553" y="317"/>
                    </a:cubicBezTo>
                    <a:cubicBezTo>
                      <a:pt x="550" y="317"/>
                      <a:pt x="547" y="317"/>
                      <a:pt x="544" y="317"/>
                    </a:cubicBezTo>
                    <a:close/>
                    <a:moveTo>
                      <a:pt x="222" y="78"/>
                    </a:moveTo>
                    <a:cubicBezTo>
                      <a:pt x="222" y="75"/>
                      <a:pt x="222" y="73"/>
                      <a:pt x="222" y="71"/>
                    </a:cubicBezTo>
                    <a:cubicBezTo>
                      <a:pt x="221" y="73"/>
                      <a:pt x="221" y="75"/>
                      <a:pt x="222" y="78"/>
                    </a:cubicBezTo>
                    <a:close/>
                    <a:moveTo>
                      <a:pt x="371" y="164"/>
                    </a:moveTo>
                    <a:cubicBezTo>
                      <a:pt x="371" y="166"/>
                      <a:pt x="371" y="169"/>
                      <a:pt x="371" y="171"/>
                    </a:cubicBezTo>
                    <a:cubicBezTo>
                      <a:pt x="372" y="169"/>
                      <a:pt x="372" y="166"/>
                      <a:pt x="371" y="164"/>
                    </a:cubicBezTo>
                    <a:close/>
                    <a:moveTo>
                      <a:pt x="61" y="164"/>
                    </a:moveTo>
                    <a:cubicBezTo>
                      <a:pt x="61" y="186"/>
                      <a:pt x="61" y="209"/>
                      <a:pt x="61" y="232"/>
                    </a:cubicBezTo>
                    <a:cubicBezTo>
                      <a:pt x="61" y="235"/>
                      <a:pt x="62" y="236"/>
                      <a:pt x="66" y="237"/>
                    </a:cubicBezTo>
                    <a:cubicBezTo>
                      <a:pt x="91" y="238"/>
                      <a:pt x="116" y="239"/>
                      <a:pt x="142" y="241"/>
                    </a:cubicBezTo>
                    <a:cubicBezTo>
                      <a:pt x="144" y="241"/>
                      <a:pt x="145" y="240"/>
                      <a:pt x="145" y="238"/>
                    </a:cubicBezTo>
                    <a:cubicBezTo>
                      <a:pt x="145" y="230"/>
                      <a:pt x="145" y="223"/>
                      <a:pt x="145" y="216"/>
                    </a:cubicBezTo>
                    <a:cubicBezTo>
                      <a:pt x="145" y="213"/>
                      <a:pt x="144" y="213"/>
                      <a:pt x="141" y="213"/>
                    </a:cubicBezTo>
                    <a:cubicBezTo>
                      <a:pt x="126" y="212"/>
                      <a:pt x="110" y="211"/>
                      <a:pt x="95" y="211"/>
                    </a:cubicBezTo>
                    <a:cubicBezTo>
                      <a:pt x="91" y="211"/>
                      <a:pt x="90" y="210"/>
                      <a:pt x="90" y="206"/>
                    </a:cubicBezTo>
                    <a:cubicBezTo>
                      <a:pt x="90" y="178"/>
                      <a:pt x="90" y="149"/>
                      <a:pt x="89" y="120"/>
                    </a:cubicBezTo>
                    <a:cubicBezTo>
                      <a:pt x="89" y="111"/>
                      <a:pt x="89" y="102"/>
                      <a:pt x="89" y="93"/>
                    </a:cubicBezTo>
                    <a:cubicBezTo>
                      <a:pt x="89" y="91"/>
                      <a:pt x="89" y="89"/>
                      <a:pt x="86" y="90"/>
                    </a:cubicBezTo>
                    <a:cubicBezTo>
                      <a:pt x="79" y="90"/>
                      <a:pt x="72" y="91"/>
                      <a:pt x="66" y="91"/>
                    </a:cubicBezTo>
                    <a:cubicBezTo>
                      <a:pt x="62" y="91"/>
                      <a:pt x="61" y="92"/>
                      <a:pt x="61" y="95"/>
                    </a:cubicBezTo>
                    <a:cubicBezTo>
                      <a:pt x="61" y="118"/>
                      <a:pt x="61" y="141"/>
                      <a:pt x="61" y="164"/>
                    </a:cubicBezTo>
                    <a:cubicBezTo>
                      <a:pt x="61" y="164"/>
                      <a:pt x="61" y="164"/>
                      <a:pt x="61" y="164"/>
                    </a:cubicBezTo>
                    <a:close/>
                  </a:path>
                </a:pathLst>
              </a:custGeom>
              <a:solidFill>
                <a:srgbClr val="0072C6"/>
              </a:solidFill>
              <a:ln>
                <a:noFill/>
              </a:ln>
              <a:extLst/>
            </p:spPr>
            <p:txBody>
              <a:bodyPr vert="horz" wrap="square" lIns="89606" tIns="44803" rIns="89606" bIns="44803" numCol="1" anchor="t" anchorCtr="0" compatLnSpc="1">
                <a:prstTxWarp prst="textNoShape">
                  <a:avLst/>
                </a:prstTxWarp>
              </a:bodyPr>
              <a:lstStyle/>
              <a:p>
                <a:pPr defTabSz="914005"/>
                <a:endParaRPr lang="en-US" sz="1764">
                  <a:solidFill>
                    <a:prstClr val="black"/>
                  </a:solidFill>
                </a:endParaRPr>
              </a:p>
            </p:txBody>
          </p:sp>
          <p:sp>
            <p:nvSpPr>
              <p:cNvPr id="57" name="Freeform 17"/>
              <p:cNvSpPr>
                <a:spLocks noEditPoints="1"/>
              </p:cNvSpPr>
              <p:nvPr/>
            </p:nvSpPr>
            <p:spPr bwMode="auto">
              <a:xfrm>
                <a:off x="3405263" y="3585210"/>
                <a:ext cx="1963838" cy="413179"/>
              </a:xfrm>
              <a:custGeom>
                <a:avLst/>
                <a:gdLst>
                  <a:gd name="T0" fmla="*/ 0 w 1546"/>
                  <a:gd name="T1" fmla="*/ 35 h 339"/>
                  <a:gd name="T2" fmla="*/ 133 w 1546"/>
                  <a:gd name="T3" fmla="*/ 113 h 339"/>
                  <a:gd name="T4" fmla="*/ 125 w 1546"/>
                  <a:gd name="T5" fmla="*/ 174 h 339"/>
                  <a:gd name="T6" fmla="*/ 131 w 1546"/>
                  <a:gd name="T7" fmla="*/ 239 h 339"/>
                  <a:gd name="T8" fmla="*/ 219 w 1546"/>
                  <a:gd name="T9" fmla="*/ 68 h 339"/>
                  <a:gd name="T10" fmla="*/ 241 w 1546"/>
                  <a:gd name="T11" fmla="*/ 110 h 339"/>
                  <a:gd name="T12" fmla="*/ 214 w 1546"/>
                  <a:gd name="T13" fmla="*/ 114 h 339"/>
                  <a:gd name="T14" fmla="*/ 236 w 1546"/>
                  <a:gd name="T15" fmla="*/ 183 h 339"/>
                  <a:gd name="T16" fmla="*/ 222 w 1546"/>
                  <a:gd name="T17" fmla="*/ 221 h 339"/>
                  <a:gd name="T18" fmla="*/ 262 w 1546"/>
                  <a:gd name="T19" fmla="*/ 191 h 339"/>
                  <a:gd name="T20" fmla="*/ 220 w 1546"/>
                  <a:gd name="T21" fmla="*/ 270 h 339"/>
                  <a:gd name="T22" fmla="*/ 332 w 1546"/>
                  <a:gd name="T23" fmla="*/ 68 h 339"/>
                  <a:gd name="T24" fmla="*/ 272 w 1546"/>
                  <a:gd name="T25" fmla="*/ 97 h 339"/>
                  <a:gd name="T26" fmla="*/ 325 w 1546"/>
                  <a:gd name="T27" fmla="*/ 120 h 339"/>
                  <a:gd name="T28" fmla="*/ 303 w 1546"/>
                  <a:gd name="T29" fmla="*/ 161 h 339"/>
                  <a:gd name="T30" fmla="*/ 301 w 1546"/>
                  <a:gd name="T31" fmla="*/ 114 h 339"/>
                  <a:gd name="T32" fmla="*/ 325 w 1546"/>
                  <a:gd name="T33" fmla="*/ 238 h 339"/>
                  <a:gd name="T34" fmla="*/ 273 w 1546"/>
                  <a:gd name="T35" fmla="*/ 243 h 339"/>
                  <a:gd name="T36" fmla="*/ 278 w 1546"/>
                  <a:gd name="T37" fmla="*/ 224 h 339"/>
                  <a:gd name="T38" fmla="*/ 292 w 1546"/>
                  <a:gd name="T39" fmla="*/ 187 h 339"/>
                  <a:gd name="T40" fmla="*/ 321 w 1546"/>
                  <a:gd name="T41" fmla="*/ 192 h 339"/>
                  <a:gd name="T42" fmla="*/ 1369 w 1546"/>
                  <a:gd name="T43" fmla="*/ 126 h 339"/>
                  <a:gd name="T44" fmla="*/ 1279 w 1546"/>
                  <a:gd name="T45" fmla="*/ 141 h 339"/>
                  <a:gd name="T46" fmla="*/ 1368 w 1546"/>
                  <a:gd name="T47" fmla="*/ 275 h 339"/>
                  <a:gd name="T48" fmla="*/ 1269 w 1546"/>
                  <a:gd name="T49" fmla="*/ 323 h 339"/>
                  <a:gd name="T50" fmla="*/ 1392 w 1546"/>
                  <a:gd name="T51" fmla="*/ 267 h 339"/>
                  <a:gd name="T52" fmla="*/ 1324 w 1546"/>
                  <a:gd name="T53" fmla="*/ 253 h 339"/>
                  <a:gd name="T54" fmla="*/ 1369 w 1546"/>
                  <a:gd name="T55" fmla="*/ 183 h 339"/>
                  <a:gd name="T56" fmla="*/ 544 w 1546"/>
                  <a:gd name="T57" fmla="*/ 248 h 339"/>
                  <a:gd name="T58" fmla="*/ 539 w 1546"/>
                  <a:gd name="T59" fmla="*/ 68 h 339"/>
                  <a:gd name="T60" fmla="*/ 533 w 1546"/>
                  <a:gd name="T61" fmla="*/ 156 h 339"/>
                  <a:gd name="T62" fmla="*/ 942 w 1546"/>
                  <a:gd name="T63" fmla="*/ 179 h 339"/>
                  <a:gd name="T64" fmla="*/ 919 w 1546"/>
                  <a:gd name="T65" fmla="*/ 264 h 339"/>
                  <a:gd name="T66" fmla="*/ 846 w 1546"/>
                  <a:gd name="T67" fmla="*/ 187 h 339"/>
                  <a:gd name="T68" fmla="*/ 822 w 1546"/>
                  <a:gd name="T69" fmla="*/ 57 h 339"/>
                  <a:gd name="T70" fmla="*/ 915 w 1546"/>
                  <a:gd name="T71" fmla="*/ 126 h 339"/>
                  <a:gd name="T72" fmla="*/ 1485 w 1546"/>
                  <a:gd name="T73" fmla="*/ 253 h 339"/>
                  <a:gd name="T74" fmla="*/ 1522 w 1546"/>
                  <a:gd name="T75" fmla="*/ 133 h 339"/>
                  <a:gd name="T76" fmla="*/ 1474 w 1546"/>
                  <a:gd name="T77" fmla="*/ 273 h 339"/>
                  <a:gd name="T78" fmla="*/ 1531 w 1546"/>
                  <a:gd name="T79" fmla="*/ 241 h 339"/>
                  <a:gd name="T80" fmla="*/ 1445 w 1546"/>
                  <a:gd name="T81" fmla="*/ 184 h 339"/>
                  <a:gd name="T82" fmla="*/ 982 w 1546"/>
                  <a:gd name="T83" fmla="*/ 134 h 339"/>
                  <a:gd name="T84" fmla="*/ 1055 w 1546"/>
                  <a:gd name="T85" fmla="*/ 179 h 339"/>
                  <a:gd name="T86" fmla="*/ 984 w 1546"/>
                  <a:gd name="T87" fmla="*/ 267 h 339"/>
                  <a:gd name="T88" fmla="*/ 1056 w 1546"/>
                  <a:gd name="T89" fmla="*/ 270 h 339"/>
                  <a:gd name="T90" fmla="*/ 1046 w 1546"/>
                  <a:gd name="T91" fmla="*/ 240 h 339"/>
                  <a:gd name="T92" fmla="*/ 1039 w 1546"/>
                  <a:gd name="T93" fmla="*/ 200 h 339"/>
                  <a:gd name="T94" fmla="*/ 1235 w 1546"/>
                  <a:gd name="T95" fmla="*/ 264 h 339"/>
                  <a:gd name="T96" fmla="*/ 1211 w 1546"/>
                  <a:gd name="T97" fmla="*/ 188 h 339"/>
                  <a:gd name="T98" fmla="*/ 1138 w 1546"/>
                  <a:gd name="T99" fmla="*/ 264 h 339"/>
                  <a:gd name="T100" fmla="*/ 1138 w 1546"/>
                  <a:gd name="T101" fmla="*/ 126 h 339"/>
                  <a:gd name="T102" fmla="*/ 1233 w 1546"/>
                  <a:gd name="T103" fmla="*/ 165 h 339"/>
                  <a:gd name="T104" fmla="*/ 675 w 1546"/>
                  <a:gd name="T105" fmla="*/ 265 h 339"/>
                  <a:gd name="T106" fmla="*/ 618 w 1546"/>
                  <a:gd name="T107" fmla="*/ 215 h 339"/>
                  <a:gd name="T108" fmla="*/ 576 w 1546"/>
                  <a:gd name="T109" fmla="*/ 270 h 339"/>
                  <a:gd name="T110" fmla="*/ 582 w 1546"/>
                  <a:gd name="T111" fmla="*/ 126 h 339"/>
                  <a:gd name="T112" fmla="*/ 636 w 1546"/>
                  <a:gd name="T113" fmla="*/ 154 h 339"/>
                  <a:gd name="T114" fmla="*/ 676 w 1546"/>
                  <a:gd name="T115" fmla="*/ 130 h 339"/>
                  <a:gd name="T116" fmla="*/ 784 w 1546"/>
                  <a:gd name="T117" fmla="*/ 147 h 339"/>
                  <a:gd name="T118" fmla="*/ 795 w 1546"/>
                  <a:gd name="T119" fmla="*/ 243 h 339"/>
                  <a:gd name="T120" fmla="*/ 692 w 1546"/>
                  <a:gd name="T121" fmla="*/ 170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46" h="339">
                    <a:moveTo>
                      <a:pt x="0" y="302"/>
                    </a:moveTo>
                    <a:cubicBezTo>
                      <a:pt x="65" y="313"/>
                      <a:pt x="131" y="325"/>
                      <a:pt x="196" y="337"/>
                    </a:cubicBezTo>
                    <a:cubicBezTo>
                      <a:pt x="196" y="224"/>
                      <a:pt x="196" y="112"/>
                      <a:pt x="196" y="0"/>
                    </a:cubicBezTo>
                    <a:cubicBezTo>
                      <a:pt x="130" y="12"/>
                      <a:pt x="65" y="23"/>
                      <a:pt x="0" y="35"/>
                    </a:cubicBezTo>
                    <a:cubicBezTo>
                      <a:pt x="0" y="124"/>
                      <a:pt x="0" y="213"/>
                      <a:pt x="0" y="302"/>
                    </a:cubicBezTo>
                    <a:close/>
                    <a:moveTo>
                      <a:pt x="58" y="90"/>
                    </a:moveTo>
                    <a:cubicBezTo>
                      <a:pt x="83" y="89"/>
                      <a:pt x="108" y="87"/>
                      <a:pt x="133" y="85"/>
                    </a:cubicBezTo>
                    <a:cubicBezTo>
                      <a:pt x="133" y="95"/>
                      <a:pt x="133" y="104"/>
                      <a:pt x="133" y="113"/>
                    </a:cubicBezTo>
                    <a:cubicBezTo>
                      <a:pt x="118" y="113"/>
                      <a:pt x="103" y="113"/>
                      <a:pt x="87" y="113"/>
                    </a:cubicBezTo>
                    <a:cubicBezTo>
                      <a:pt x="87" y="124"/>
                      <a:pt x="87" y="135"/>
                      <a:pt x="87" y="146"/>
                    </a:cubicBezTo>
                    <a:cubicBezTo>
                      <a:pt x="100" y="146"/>
                      <a:pt x="113" y="146"/>
                      <a:pt x="125" y="146"/>
                    </a:cubicBezTo>
                    <a:cubicBezTo>
                      <a:pt x="125" y="156"/>
                      <a:pt x="125" y="165"/>
                      <a:pt x="125" y="174"/>
                    </a:cubicBezTo>
                    <a:cubicBezTo>
                      <a:pt x="113" y="174"/>
                      <a:pt x="100" y="174"/>
                      <a:pt x="87" y="174"/>
                    </a:cubicBezTo>
                    <a:cubicBezTo>
                      <a:pt x="87" y="185"/>
                      <a:pt x="87" y="195"/>
                      <a:pt x="87" y="206"/>
                    </a:cubicBezTo>
                    <a:cubicBezTo>
                      <a:pt x="102" y="207"/>
                      <a:pt x="116" y="208"/>
                      <a:pt x="131" y="210"/>
                    </a:cubicBezTo>
                    <a:cubicBezTo>
                      <a:pt x="131" y="219"/>
                      <a:pt x="131" y="229"/>
                      <a:pt x="131" y="239"/>
                    </a:cubicBezTo>
                    <a:cubicBezTo>
                      <a:pt x="107" y="237"/>
                      <a:pt x="82" y="234"/>
                      <a:pt x="58" y="231"/>
                    </a:cubicBezTo>
                    <a:cubicBezTo>
                      <a:pt x="58" y="184"/>
                      <a:pt x="58" y="138"/>
                      <a:pt x="58" y="90"/>
                    </a:cubicBezTo>
                    <a:close/>
                    <a:moveTo>
                      <a:pt x="332" y="68"/>
                    </a:moveTo>
                    <a:cubicBezTo>
                      <a:pt x="295" y="68"/>
                      <a:pt x="257" y="68"/>
                      <a:pt x="219" y="68"/>
                    </a:cubicBezTo>
                    <a:cubicBezTo>
                      <a:pt x="218" y="68"/>
                      <a:pt x="216" y="68"/>
                      <a:pt x="214" y="68"/>
                    </a:cubicBezTo>
                    <a:cubicBezTo>
                      <a:pt x="214" y="77"/>
                      <a:pt x="214" y="85"/>
                      <a:pt x="214" y="92"/>
                    </a:cubicBezTo>
                    <a:cubicBezTo>
                      <a:pt x="218" y="93"/>
                      <a:pt x="222" y="93"/>
                      <a:pt x="224" y="95"/>
                    </a:cubicBezTo>
                    <a:cubicBezTo>
                      <a:pt x="230" y="99"/>
                      <a:pt x="235" y="105"/>
                      <a:pt x="241" y="110"/>
                    </a:cubicBezTo>
                    <a:cubicBezTo>
                      <a:pt x="241" y="111"/>
                      <a:pt x="242" y="113"/>
                      <a:pt x="242" y="114"/>
                    </a:cubicBezTo>
                    <a:cubicBezTo>
                      <a:pt x="239" y="117"/>
                      <a:pt x="237" y="120"/>
                      <a:pt x="233" y="125"/>
                    </a:cubicBezTo>
                    <a:cubicBezTo>
                      <a:pt x="230" y="121"/>
                      <a:pt x="228" y="118"/>
                      <a:pt x="225" y="116"/>
                    </a:cubicBezTo>
                    <a:cubicBezTo>
                      <a:pt x="222" y="114"/>
                      <a:pt x="218" y="114"/>
                      <a:pt x="214" y="114"/>
                    </a:cubicBezTo>
                    <a:cubicBezTo>
                      <a:pt x="214" y="129"/>
                      <a:pt x="214" y="143"/>
                      <a:pt x="214" y="157"/>
                    </a:cubicBezTo>
                    <a:cubicBezTo>
                      <a:pt x="214" y="158"/>
                      <a:pt x="215" y="160"/>
                      <a:pt x="216" y="161"/>
                    </a:cubicBezTo>
                    <a:cubicBezTo>
                      <a:pt x="222" y="167"/>
                      <a:pt x="228" y="172"/>
                      <a:pt x="234" y="178"/>
                    </a:cubicBezTo>
                    <a:cubicBezTo>
                      <a:pt x="235" y="180"/>
                      <a:pt x="236" y="182"/>
                      <a:pt x="236" y="183"/>
                    </a:cubicBezTo>
                    <a:cubicBezTo>
                      <a:pt x="234" y="186"/>
                      <a:pt x="232" y="185"/>
                      <a:pt x="230" y="184"/>
                    </a:cubicBezTo>
                    <a:cubicBezTo>
                      <a:pt x="225" y="181"/>
                      <a:pt x="220" y="178"/>
                      <a:pt x="214" y="175"/>
                    </a:cubicBezTo>
                    <a:cubicBezTo>
                      <a:pt x="214" y="192"/>
                      <a:pt x="214" y="208"/>
                      <a:pt x="214" y="226"/>
                    </a:cubicBezTo>
                    <a:cubicBezTo>
                      <a:pt x="217" y="224"/>
                      <a:pt x="220" y="223"/>
                      <a:pt x="222" y="221"/>
                    </a:cubicBezTo>
                    <a:cubicBezTo>
                      <a:pt x="235" y="209"/>
                      <a:pt x="247" y="197"/>
                      <a:pt x="259" y="185"/>
                    </a:cubicBezTo>
                    <a:cubicBezTo>
                      <a:pt x="260" y="183"/>
                      <a:pt x="262" y="184"/>
                      <a:pt x="263" y="183"/>
                    </a:cubicBezTo>
                    <a:cubicBezTo>
                      <a:pt x="264" y="185"/>
                      <a:pt x="264" y="186"/>
                      <a:pt x="264" y="188"/>
                    </a:cubicBezTo>
                    <a:cubicBezTo>
                      <a:pt x="264" y="189"/>
                      <a:pt x="263" y="190"/>
                      <a:pt x="262" y="191"/>
                    </a:cubicBezTo>
                    <a:cubicBezTo>
                      <a:pt x="251" y="207"/>
                      <a:pt x="241" y="222"/>
                      <a:pt x="230" y="237"/>
                    </a:cubicBezTo>
                    <a:cubicBezTo>
                      <a:pt x="226" y="242"/>
                      <a:pt x="222" y="247"/>
                      <a:pt x="214" y="245"/>
                    </a:cubicBezTo>
                    <a:cubicBezTo>
                      <a:pt x="214" y="254"/>
                      <a:pt x="214" y="262"/>
                      <a:pt x="214" y="270"/>
                    </a:cubicBezTo>
                    <a:cubicBezTo>
                      <a:pt x="216" y="270"/>
                      <a:pt x="218" y="270"/>
                      <a:pt x="220" y="270"/>
                    </a:cubicBezTo>
                    <a:cubicBezTo>
                      <a:pt x="257" y="270"/>
                      <a:pt x="294" y="270"/>
                      <a:pt x="332" y="270"/>
                    </a:cubicBezTo>
                    <a:cubicBezTo>
                      <a:pt x="345" y="270"/>
                      <a:pt x="350" y="265"/>
                      <a:pt x="350" y="252"/>
                    </a:cubicBezTo>
                    <a:cubicBezTo>
                      <a:pt x="350" y="197"/>
                      <a:pt x="350" y="142"/>
                      <a:pt x="350" y="86"/>
                    </a:cubicBezTo>
                    <a:cubicBezTo>
                      <a:pt x="350" y="73"/>
                      <a:pt x="345" y="68"/>
                      <a:pt x="332" y="68"/>
                    </a:cubicBezTo>
                    <a:close/>
                    <a:moveTo>
                      <a:pt x="240" y="154"/>
                    </a:moveTo>
                    <a:cubicBezTo>
                      <a:pt x="239" y="155"/>
                      <a:pt x="237" y="155"/>
                      <a:pt x="235" y="156"/>
                    </a:cubicBezTo>
                    <a:cubicBezTo>
                      <a:pt x="235" y="154"/>
                      <a:pt x="234" y="152"/>
                      <a:pt x="235" y="151"/>
                    </a:cubicBezTo>
                    <a:cubicBezTo>
                      <a:pt x="245" y="131"/>
                      <a:pt x="258" y="114"/>
                      <a:pt x="272" y="97"/>
                    </a:cubicBezTo>
                    <a:cubicBezTo>
                      <a:pt x="275" y="95"/>
                      <a:pt x="279" y="94"/>
                      <a:pt x="282" y="93"/>
                    </a:cubicBezTo>
                    <a:cubicBezTo>
                      <a:pt x="294" y="93"/>
                      <a:pt x="306" y="93"/>
                      <a:pt x="318" y="93"/>
                    </a:cubicBezTo>
                    <a:cubicBezTo>
                      <a:pt x="324" y="93"/>
                      <a:pt x="325" y="95"/>
                      <a:pt x="325" y="101"/>
                    </a:cubicBezTo>
                    <a:cubicBezTo>
                      <a:pt x="326" y="107"/>
                      <a:pt x="325" y="113"/>
                      <a:pt x="325" y="120"/>
                    </a:cubicBezTo>
                    <a:cubicBezTo>
                      <a:pt x="325" y="126"/>
                      <a:pt x="326" y="133"/>
                      <a:pt x="325" y="139"/>
                    </a:cubicBezTo>
                    <a:cubicBezTo>
                      <a:pt x="325" y="142"/>
                      <a:pt x="324" y="144"/>
                      <a:pt x="323" y="146"/>
                    </a:cubicBezTo>
                    <a:cubicBezTo>
                      <a:pt x="318" y="151"/>
                      <a:pt x="314" y="155"/>
                      <a:pt x="310" y="160"/>
                    </a:cubicBezTo>
                    <a:cubicBezTo>
                      <a:pt x="308" y="162"/>
                      <a:pt x="306" y="163"/>
                      <a:pt x="303" y="161"/>
                    </a:cubicBezTo>
                    <a:cubicBezTo>
                      <a:pt x="294" y="155"/>
                      <a:pt x="294" y="155"/>
                      <a:pt x="301" y="147"/>
                    </a:cubicBezTo>
                    <a:cubicBezTo>
                      <a:pt x="303" y="145"/>
                      <a:pt x="304" y="143"/>
                      <a:pt x="304" y="140"/>
                    </a:cubicBezTo>
                    <a:cubicBezTo>
                      <a:pt x="305" y="133"/>
                      <a:pt x="304" y="126"/>
                      <a:pt x="304" y="118"/>
                    </a:cubicBezTo>
                    <a:cubicBezTo>
                      <a:pt x="304" y="115"/>
                      <a:pt x="304" y="114"/>
                      <a:pt x="301" y="114"/>
                    </a:cubicBezTo>
                    <a:cubicBezTo>
                      <a:pt x="300" y="114"/>
                      <a:pt x="300" y="114"/>
                      <a:pt x="299" y="114"/>
                    </a:cubicBezTo>
                    <a:cubicBezTo>
                      <a:pt x="285" y="112"/>
                      <a:pt x="275" y="117"/>
                      <a:pt x="266" y="128"/>
                    </a:cubicBezTo>
                    <a:cubicBezTo>
                      <a:pt x="258" y="137"/>
                      <a:pt x="249" y="145"/>
                      <a:pt x="240" y="154"/>
                    </a:cubicBezTo>
                    <a:close/>
                    <a:moveTo>
                      <a:pt x="325" y="238"/>
                    </a:moveTo>
                    <a:cubicBezTo>
                      <a:pt x="325" y="244"/>
                      <a:pt x="324" y="246"/>
                      <a:pt x="318" y="246"/>
                    </a:cubicBezTo>
                    <a:cubicBezTo>
                      <a:pt x="311" y="246"/>
                      <a:pt x="305" y="246"/>
                      <a:pt x="299" y="246"/>
                    </a:cubicBezTo>
                    <a:cubicBezTo>
                      <a:pt x="292" y="246"/>
                      <a:pt x="286" y="246"/>
                      <a:pt x="279" y="246"/>
                    </a:cubicBezTo>
                    <a:cubicBezTo>
                      <a:pt x="277" y="245"/>
                      <a:pt x="275" y="245"/>
                      <a:pt x="273" y="243"/>
                    </a:cubicBezTo>
                    <a:cubicBezTo>
                      <a:pt x="268" y="239"/>
                      <a:pt x="263" y="234"/>
                      <a:pt x="258" y="230"/>
                    </a:cubicBezTo>
                    <a:cubicBezTo>
                      <a:pt x="256" y="228"/>
                      <a:pt x="256" y="226"/>
                      <a:pt x="258" y="224"/>
                    </a:cubicBezTo>
                    <a:cubicBezTo>
                      <a:pt x="266" y="213"/>
                      <a:pt x="263" y="214"/>
                      <a:pt x="272" y="222"/>
                    </a:cubicBezTo>
                    <a:cubicBezTo>
                      <a:pt x="274" y="223"/>
                      <a:pt x="276" y="224"/>
                      <a:pt x="278" y="224"/>
                    </a:cubicBezTo>
                    <a:cubicBezTo>
                      <a:pt x="286" y="225"/>
                      <a:pt x="293" y="224"/>
                      <a:pt x="300" y="225"/>
                    </a:cubicBezTo>
                    <a:cubicBezTo>
                      <a:pt x="304" y="225"/>
                      <a:pt x="305" y="223"/>
                      <a:pt x="304" y="220"/>
                    </a:cubicBezTo>
                    <a:cubicBezTo>
                      <a:pt x="304" y="219"/>
                      <a:pt x="304" y="217"/>
                      <a:pt x="304" y="215"/>
                    </a:cubicBezTo>
                    <a:cubicBezTo>
                      <a:pt x="304" y="199"/>
                      <a:pt x="304" y="199"/>
                      <a:pt x="292" y="187"/>
                    </a:cubicBezTo>
                    <a:cubicBezTo>
                      <a:pt x="283" y="178"/>
                      <a:pt x="274" y="169"/>
                      <a:pt x="264" y="160"/>
                    </a:cubicBezTo>
                    <a:cubicBezTo>
                      <a:pt x="263" y="159"/>
                      <a:pt x="263" y="157"/>
                      <a:pt x="263" y="155"/>
                    </a:cubicBezTo>
                    <a:cubicBezTo>
                      <a:pt x="265" y="155"/>
                      <a:pt x="267" y="154"/>
                      <a:pt x="268" y="155"/>
                    </a:cubicBezTo>
                    <a:cubicBezTo>
                      <a:pt x="287" y="165"/>
                      <a:pt x="305" y="178"/>
                      <a:pt x="321" y="192"/>
                    </a:cubicBezTo>
                    <a:cubicBezTo>
                      <a:pt x="324" y="195"/>
                      <a:pt x="326" y="198"/>
                      <a:pt x="326" y="203"/>
                    </a:cubicBezTo>
                    <a:cubicBezTo>
                      <a:pt x="325" y="214"/>
                      <a:pt x="326" y="226"/>
                      <a:pt x="325" y="238"/>
                    </a:cubicBezTo>
                    <a:close/>
                    <a:moveTo>
                      <a:pt x="1392" y="126"/>
                    </a:moveTo>
                    <a:cubicBezTo>
                      <a:pt x="1384" y="126"/>
                      <a:pt x="1377" y="126"/>
                      <a:pt x="1369" y="126"/>
                    </a:cubicBezTo>
                    <a:cubicBezTo>
                      <a:pt x="1369" y="132"/>
                      <a:pt x="1369" y="138"/>
                      <a:pt x="1369" y="145"/>
                    </a:cubicBezTo>
                    <a:cubicBezTo>
                      <a:pt x="1365" y="141"/>
                      <a:pt x="1363" y="138"/>
                      <a:pt x="1360" y="135"/>
                    </a:cubicBezTo>
                    <a:cubicBezTo>
                      <a:pt x="1356" y="132"/>
                      <a:pt x="1353" y="129"/>
                      <a:pt x="1349" y="127"/>
                    </a:cubicBezTo>
                    <a:cubicBezTo>
                      <a:pt x="1327" y="117"/>
                      <a:pt x="1296" y="123"/>
                      <a:pt x="1279" y="141"/>
                    </a:cubicBezTo>
                    <a:cubicBezTo>
                      <a:pt x="1256" y="166"/>
                      <a:pt x="1255" y="215"/>
                      <a:pt x="1267" y="241"/>
                    </a:cubicBezTo>
                    <a:cubicBezTo>
                      <a:pt x="1286" y="282"/>
                      <a:pt x="1345" y="284"/>
                      <a:pt x="1367" y="249"/>
                    </a:cubicBezTo>
                    <a:cubicBezTo>
                      <a:pt x="1367" y="248"/>
                      <a:pt x="1368" y="247"/>
                      <a:pt x="1369" y="246"/>
                    </a:cubicBezTo>
                    <a:cubicBezTo>
                      <a:pt x="1369" y="256"/>
                      <a:pt x="1369" y="266"/>
                      <a:pt x="1368" y="275"/>
                    </a:cubicBezTo>
                    <a:cubicBezTo>
                      <a:pt x="1365" y="299"/>
                      <a:pt x="1351" y="313"/>
                      <a:pt x="1327" y="317"/>
                    </a:cubicBezTo>
                    <a:cubicBezTo>
                      <a:pt x="1308" y="320"/>
                      <a:pt x="1291" y="315"/>
                      <a:pt x="1274" y="307"/>
                    </a:cubicBezTo>
                    <a:cubicBezTo>
                      <a:pt x="1273" y="306"/>
                      <a:pt x="1271" y="305"/>
                      <a:pt x="1269" y="305"/>
                    </a:cubicBezTo>
                    <a:cubicBezTo>
                      <a:pt x="1269" y="311"/>
                      <a:pt x="1269" y="317"/>
                      <a:pt x="1269" y="323"/>
                    </a:cubicBezTo>
                    <a:cubicBezTo>
                      <a:pt x="1269" y="327"/>
                      <a:pt x="1271" y="329"/>
                      <a:pt x="1274" y="330"/>
                    </a:cubicBezTo>
                    <a:cubicBezTo>
                      <a:pt x="1293" y="338"/>
                      <a:pt x="1313" y="339"/>
                      <a:pt x="1333" y="336"/>
                    </a:cubicBezTo>
                    <a:cubicBezTo>
                      <a:pt x="1349" y="334"/>
                      <a:pt x="1363" y="329"/>
                      <a:pt x="1374" y="317"/>
                    </a:cubicBezTo>
                    <a:cubicBezTo>
                      <a:pt x="1387" y="303"/>
                      <a:pt x="1392" y="285"/>
                      <a:pt x="1392" y="267"/>
                    </a:cubicBezTo>
                    <a:cubicBezTo>
                      <a:pt x="1392" y="221"/>
                      <a:pt x="1392" y="175"/>
                      <a:pt x="1392" y="129"/>
                    </a:cubicBezTo>
                    <a:cubicBezTo>
                      <a:pt x="1392" y="128"/>
                      <a:pt x="1392" y="127"/>
                      <a:pt x="1392" y="126"/>
                    </a:cubicBezTo>
                    <a:close/>
                    <a:moveTo>
                      <a:pt x="1363" y="230"/>
                    </a:moveTo>
                    <a:cubicBezTo>
                      <a:pt x="1355" y="246"/>
                      <a:pt x="1342" y="254"/>
                      <a:pt x="1324" y="253"/>
                    </a:cubicBezTo>
                    <a:cubicBezTo>
                      <a:pt x="1307" y="253"/>
                      <a:pt x="1295" y="245"/>
                      <a:pt x="1289" y="229"/>
                    </a:cubicBezTo>
                    <a:cubicBezTo>
                      <a:pt x="1279" y="207"/>
                      <a:pt x="1280" y="183"/>
                      <a:pt x="1293" y="162"/>
                    </a:cubicBezTo>
                    <a:cubicBezTo>
                      <a:pt x="1302" y="145"/>
                      <a:pt x="1321" y="139"/>
                      <a:pt x="1339" y="144"/>
                    </a:cubicBezTo>
                    <a:cubicBezTo>
                      <a:pt x="1356" y="148"/>
                      <a:pt x="1369" y="164"/>
                      <a:pt x="1369" y="183"/>
                    </a:cubicBezTo>
                    <a:cubicBezTo>
                      <a:pt x="1369" y="187"/>
                      <a:pt x="1369" y="191"/>
                      <a:pt x="1369" y="195"/>
                    </a:cubicBezTo>
                    <a:cubicBezTo>
                      <a:pt x="1369" y="207"/>
                      <a:pt x="1369" y="219"/>
                      <a:pt x="1363" y="230"/>
                    </a:cubicBezTo>
                    <a:close/>
                    <a:moveTo>
                      <a:pt x="462" y="248"/>
                    </a:moveTo>
                    <a:cubicBezTo>
                      <a:pt x="489" y="248"/>
                      <a:pt x="516" y="248"/>
                      <a:pt x="544" y="248"/>
                    </a:cubicBezTo>
                    <a:cubicBezTo>
                      <a:pt x="544" y="256"/>
                      <a:pt x="544" y="262"/>
                      <a:pt x="544" y="269"/>
                    </a:cubicBezTo>
                    <a:cubicBezTo>
                      <a:pt x="509" y="269"/>
                      <a:pt x="473" y="269"/>
                      <a:pt x="437" y="269"/>
                    </a:cubicBezTo>
                    <a:cubicBezTo>
                      <a:pt x="437" y="203"/>
                      <a:pt x="437" y="136"/>
                      <a:pt x="437" y="68"/>
                    </a:cubicBezTo>
                    <a:cubicBezTo>
                      <a:pt x="472" y="68"/>
                      <a:pt x="505" y="68"/>
                      <a:pt x="539" y="68"/>
                    </a:cubicBezTo>
                    <a:cubicBezTo>
                      <a:pt x="539" y="75"/>
                      <a:pt x="539" y="82"/>
                      <a:pt x="539" y="90"/>
                    </a:cubicBezTo>
                    <a:cubicBezTo>
                      <a:pt x="513" y="90"/>
                      <a:pt x="488" y="90"/>
                      <a:pt x="461" y="90"/>
                    </a:cubicBezTo>
                    <a:cubicBezTo>
                      <a:pt x="461" y="112"/>
                      <a:pt x="461" y="134"/>
                      <a:pt x="461" y="156"/>
                    </a:cubicBezTo>
                    <a:cubicBezTo>
                      <a:pt x="485" y="156"/>
                      <a:pt x="509" y="156"/>
                      <a:pt x="533" y="156"/>
                    </a:cubicBezTo>
                    <a:cubicBezTo>
                      <a:pt x="533" y="164"/>
                      <a:pt x="533" y="171"/>
                      <a:pt x="533" y="178"/>
                    </a:cubicBezTo>
                    <a:cubicBezTo>
                      <a:pt x="510" y="178"/>
                      <a:pt x="486" y="178"/>
                      <a:pt x="462" y="178"/>
                    </a:cubicBezTo>
                    <a:cubicBezTo>
                      <a:pt x="462" y="202"/>
                      <a:pt x="462" y="225"/>
                      <a:pt x="462" y="248"/>
                    </a:cubicBezTo>
                    <a:close/>
                    <a:moveTo>
                      <a:pt x="942" y="179"/>
                    </a:moveTo>
                    <a:cubicBezTo>
                      <a:pt x="942" y="208"/>
                      <a:pt x="942" y="237"/>
                      <a:pt x="942" y="266"/>
                    </a:cubicBezTo>
                    <a:cubicBezTo>
                      <a:pt x="942" y="267"/>
                      <a:pt x="942" y="268"/>
                      <a:pt x="942" y="269"/>
                    </a:cubicBezTo>
                    <a:cubicBezTo>
                      <a:pt x="934" y="269"/>
                      <a:pt x="927" y="269"/>
                      <a:pt x="919" y="269"/>
                    </a:cubicBezTo>
                    <a:cubicBezTo>
                      <a:pt x="919" y="268"/>
                      <a:pt x="919" y="266"/>
                      <a:pt x="919" y="264"/>
                    </a:cubicBezTo>
                    <a:cubicBezTo>
                      <a:pt x="919" y="237"/>
                      <a:pt x="919" y="210"/>
                      <a:pt x="918" y="182"/>
                    </a:cubicBezTo>
                    <a:cubicBezTo>
                      <a:pt x="918" y="177"/>
                      <a:pt x="918" y="172"/>
                      <a:pt x="916" y="168"/>
                    </a:cubicBezTo>
                    <a:cubicBezTo>
                      <a:pt x="911" y="143"/>
                      <a:pt x="882" y="133"/>
                      <a:pt x="862" y="150"/>
                    </a:cubicBezTo>
                    <a:cubicBezTo>
                      <a:pt x="851" y="159"/>
                      <a:pt x="846" y="172"/>
                      <a:pt x="846" y="187"/>
                    </a:cubicBezTo>
                    <a:cubicBezTo>
                      <a:pt x="845" y="212"/>
                      <a:pt x="845" y="238"/>
                      <a:pt x="845" y="264"/>
                    </a:cubicBezTo>
                    <a:cubicBezTo>
                      <a:pt x="845" y="266"/>
                      <a:pt x="845" y="267"/>
                      <a:pt x="845" y="270"/>
                    </a:cubicBezTo>
                    <a:cubicBezTo>
                      <a:pt x="837" y="270"/>
                      <a:pt x="830" y="270"/>
                      <a:pt x="822" y="270"/>
                    </a:cubicBezTo>
                    <a:cubicBezTo>
                      <a:pt x="822" y="199"/>
                      <a:pt x="822" y="128"/>
                      <a:pt x="822" y="57"/>
                    </a:cubicBezTo>
                    <a:cubicBezTo>
                      <a:pt x="830" y="57"/>
                      <a:pt x="837" y="57"/>
                      <a:pt x="845" y="57"/>
                    </a:cubicBezTo>
                    <a:cubicBezTo>
                      <a:pt x="845" y="87"/>
                      <a:pt x="845" y="118"/>
                      <a:pt x="845" y="149"/>
                    </a:cubicBezTo>
                    <a:cubicBezTo>
                      <a:pt x="847" y="147"/>
                      <a:pt x="848" y="146"/>
                      <a:pt x="849" y="144"/>
                    </a:cubicBezTo>
                    <a:cubicBezTo>
                      <a:pt x="867" y="119"/>
                      <a:pt x="896" y="119"/>
                      <a:pt x="915" y="126"/>
                    </a:cubicBezTo>
                    <a:cubicBezTo>
                      <a:pt x="930" y="132"/>
                      <a:pt x="937" y="144"/>
                      <a:pt x="940" y="159"/>
                    </a:cubicBezTo>
                    <a:cubicBezTo>
                      <a:pt x="941" y="166"/>
                      <a:pt x="942" y="173"/>
                      <a:pt x="942" y="179"/>
                    </a:cubicBezTo>
                    <a:close/>
                    <a:moveTo>
                      <a:pt x="1531" y="241"/>
                    </a:moveTo>
                    <a:cubicBezTo>
                      <a:pt x="1517" y="250"/>
                      <a:pt x="1502" y="255"/>
                      <a:pt x="1485" y="253"/>
                    </a:cubicBezTo>
                    <a:cubicBezTo>
                      <a:pt x="1460" y="252"/>
                      <a:pt x="1443" y="232"/>
                      <a:pt x="1445" y="204"/>
                    </a:cubicBezTo>
                    <a:cubicBezTo>
                      <a:pt x="1478" y="204"/>
                      <a:pt x="1512" y="204"/>
                      <a:pt x="1546" y="204"/>
                    </a:cubicBezTo>
                    <a:cubicBezTo>
                      <a:pt x="1546" y="193"/>
                      <a:pt x="1546" y="184"/>
                      <a:pt x="1544" y="174"/>
                    </a:cubicBezTo>
                    <a:cubicBezTo>
                      <a:pt x="1542" y="158"/>
                      <a:pt x="1536" y="143"/>
                      <a:pt x="1522" y="133"/>
                    </a:cubicBezTo>
                    <a:cubicBezTo>
                      <a:pt x="1494" y="112"/>
                      <a:pt x="1451" y="122"/>
                      <a:pt x="1432" y="153"/>
                    </a:cubicBezTo>
                    <a:cubicBezTo>
                      <a:pt x="1420" y="172"/>
                      <a:pt x="1417" y="194"/>
                      <a:pt x="1421" y="217"/>
                    </a:cubicBezTo>
                    <a:cubicBezTo>
                      <a:pt x="1423" y="225"/>
                      <a:pt x="1426" y="234"/>
                      <a:pt x="1429" y="242"/>
                    </a:cubicBezTo>
                    <a:cubicBezTo>
                      <a:pt x="1438" y="260"/>
                      <a:pt x="1454" y="270"/>
                      <a:pt x="1474" y="273"/>
                    </a:cubicBezTo>
                    <a:cubicBezTo>
                      <a:pt x="1494" y="275"/>
                      <a:pt x="1514" y="273"/>
                      <a:pt x="1531" y="262"/>
                    </a:cubicBezTo>
                    <a:cubicBezTo>
                      <a:pt x="1533" y="261"/>
                      <a:pt x="1535" y="260"/>
                      <a:pt x="1535" y="258"/>
                    </a:cubicBezTo>
                    <a:cubicBezTo>
                      <a:pt x="1536" y="252"/>
                      <a:pt x="1535" y="245"/>
                      <a:pt x="1535" y="238"/>
                    </a:cubicBezTo>
                    <a:cubicBezTo>
                      <a:pt x="1533" y="239"/>
                      <a:pt x="1532" y="240"/>
                      <a:pt x="1531" y="241"/>
                    </a:cubicBezTo>
                    <a:close/>
                    <a:moveTo>
                      <a:pt x="1446" y="177"/>
                    </a:moveTo>
                    <a:cubicBezTo>
                      <a:pt x="1450" y="162"/>
                      <a:pt x="1458" y="149"/>
                      <a:pt x="1474" y="144"/>
                    </a:cubicBezTo>
                    <a:cubicBezTo>
                      <a:pt x="1501" y="136"/>
                      <a:pt x="1523" y="153"/>
                      <a:pt x="1521" y="184"/>
                    </a:cubicBezTo>
                    <a:cubicBezTo>
                      <a:pt x="1496" y="184"/>
                      <a:pt x="1470" y="184"/>
                      <a:pt x="1445" y="184"/>
                    </a:cubicBezTo>
                    <a:cubicBezTo>
                      <a:pt x="1445" y="182"/>
                      <a:pt x="1445" y="179"/>
                      <a:pt x="1446" y="177"/>
                    </a:cubicBezTo>
                    <a:close/>
                    <a:moveTo>
                      <a:pt x="1079" y="166"/>
                    </a:moveTo>
                    <a:cubicBezTo>
                      <a:pt x="1078" y="144"/>
                      <a:pt x="1066" y="129"/>
                      <a:pt x="1047" y="124"/>
                    </a:cubicBezTo>
                    <a:cubicBezTo>
                      <a:pt x="1024" y="119"/>
                      <a:pt x="1003" y="124"/>
                      <a:pt x="982" y="134"/>
                    </a:cubicBezTo>
                    <a:cubicBezTo>
                      <a:pt x="981" y="135"/>
                      <a:pt x="980" y="136"/>
                      <a:pt x="980" y="137"/>
                    </a:cubicBezTo>
                    <a:cubicBezTo>
                      <a:pt x="980" y="144"/>
                      <a:pt x="980" y="151"/>
                      <a:pt x="980" y="160"/>
                    </a:cubicBezTo>
                    <a:cubicBezTo>
                      <a:pt x="992" y="149"/>
                      <a:pt x="1006" y="144"/>
                      <a:pt x="1021" y="142"/>
                    </a:cubicBezTo>
                    <a:cubicBezTo>
                      <a:pt x="1044" y="140"/>
                      <a:pt x="1060" y="156"/>
                      <a:pt x="1055" y="179"/>
                    </a:cubicBezTo>
                    <a:cubicBezTo>
                      <a:pt x="1046" y="180"/>
                      <a:pt x="1037" y="181"/>
                      <a:pt x="1028" y="182"/>
                    </a:cubicBezTo>
                    <a:cubicBezTo>
                      <a:pt x="1016" y="184"/>
                      <a:pt x="1002" y="185"/>
                      <a:pt x="990" y="191"/>
                    </a:cubicBezTo>
                    <a:cubicBezTo>
                      <a:pt x="975" y="198"/>
                      <a:pt x="967" y="210"/>
                      <a:pt x="966" y="226"/>
                    </a:cubicBezTo>
                    <a:cubicBezTo>
                      <a:pt x="964" y="243"/>
                      <a:pt x="969" y="257"/>
                      <a:pt x="984" y="267"/>
                    </a:cubicBezTo>
                    <a:cubicBezTo>
                      <a:pt x="1006" y="280"/>
                      <a:pt x="1037" y="274"/>
                      <a:pt x="1052" y="253"/>
                    </a:cubicBezTo>
                    <a:cubicBezTo>
                      <a:pt x="1053" y="252"/>
                      <a:pt x="1054" y="250"/>
                      <a:pt x="1055" y="249"/>
                    </a:cubicBezTo>
                    <a:cubicBezTo>
                      <a:pt x="1056" y="249"/>
                      <a:pt x="1056" y="249"/>
                      <a:pt x="1056" y="249"/>
                    </a:cubicBezTo>
                    <a:cubicBezTo>
                      <a:pt x="1056" y="256"/>
                      <a:pt x="1056" y="263"/>
                      <a:pt x="1056" y="270"/>
                    </a:cubicBezTo>
                    <a:cubicBezTo>
                      <a:pt x="1064" y="270"/>
                      <a:pt x="1071" y="270"/>
                      <a:pt x="1079" y="270"/>
                    </a:cubicBezTo>
                    <a:cubicBezTo>
                      <a:pt x="1079" y="258"/>
                      <a:pt x="1079" y="248"/>
                      <a:pt x="1079" y="237"/>
                    </a:cubicBezTo>
                    <a:cubicBezTo>
                      <a:pt x="1079" y="213"/>
                      <a:pt x="1080" y="190"/>
                      <a:pt x="1079" y="166"/>
                    </a:cubicBezTo>
                    <a:close/>
                    <a:moveTo>
                      <a:pt x="1046" y="240"/>
                    </a:moveTo>
                    <a:cubicBezTo>
                      <a:pt x="1035" y="252"/>
                      <a:pt x="1023" y="256"/>
                      <a:pt x="1008" y="252"/>
                    </a:cubicBezTo>
                    <a:cubicBezTo>
                      <a:pt x="997" y="250"/>
                      <a:pt x="990" y="242"/>
                      <a:pt x="989" y="232"/>
                    </a:cubicBezTo>
                    <a:cubicBezTo>
                      <a:pt x="989" y="218"/>
                      <a:pt x="993" y="210"/>
                      <a:pt x="1005" y="206"/>
                    </a:cubicBezTo>
                    <a:cubicBezTo>
                      <a:pt x="1016" y="203"/>
                      <a:pt x="1028" y="202"/>
                      <a:pt x="1039" y="200"/>
                    </a:cubicBezTo>
                    <a:cubicBezTo>
                      <a:pt x="1044" y="199"/>
                      <a:pt x="1050" y="198"/>
                      <a:pt x="1056" y="197"/>
                    </a:cubicBezTo>
                    <a:cubicBezTo>
                      <a:pt x="1057" y="213"/>
                      <a:pt x="1057" y="228"/>
                      <a:pt x="1046" y="240"/>
                    </a:cubicBezTo>
                    <a:close/>
                    <a:moveTo>
                      <a:pt x="1235" y="183"/>
                    </a:moveTo>
                    <a:cubicBezTo>
                      <a:pt x="1235" y="210"/>
                      <a:pt x="1235" y="237"/>
                      <a:pt x="1235" y="264"/>
                    </a:cubicBezTo>
                    <a:cubicBezTo>
                      <a:pt x="1235" y="266"/>
                      <a:pt x="1235" y="267"/>
                      <a:pt x="1235" y="270"/>
                    </a:cubicBezTo>
                    <a:cubicBezTo>
                      <a:pt x="1227" y="270"/>
                      <a:pt x="1219" y="270"/>
                      <a:pt x="1211" y="270"/>
                    </a:cubicBezTo>
                    <a:cubicBezTo>
                      <a:pt x="1211" y="268"/>
                      <a:pt x="1211" y="266"/>
                      <a:pt x="1211" y="264"/>
                    </a:cubicBezTo>
                    <a:cubicBezTo>
                      <a:pt x="1211" y="239"/>
                      <a:pt x="1212" y="214"/>
                      <a:pt x="1211" y="188"/>
                    </a:cubicBezTo>
                    <a:cubicBezTo>
                      <a:pt x="1211" y="182"/>
                      <a:pt x="1211" y="176"/>
                      <a:pt x="1209" y="170"/>
                    </a:cubicBezTo>
                    <a:cubicBezTo>
                      <a:pt x="1204" y="143"/>
                      <a:pt x="1175" y="133"/>
                      <a:pt x="1154" y="151"/>
                    </a:cubicBezTo>
                    <a:cubicBezTo>
                      <a:pt x="1143" y="160"/>
                      <a:pt x="1138" y="172"/>
                      <a:pt x="1138" y="187"/>
                    </a:cubicBezTo>
                    <a:cubicBezTo>
                      <a:pt x="1138" y="213"/>
                      <a:pt x="1138" y="238"/>
                      <a:pt x="1138" y="264"/>
                    </a:cubicBezTo>
                    <a:cubicBezTo>
                      <a:pt x="1138" y="266"/>
                      <a:pt x="1138" y="267"/>
                      <a:pt x="1138" y="270"/>
                    </a:cubicBezTo>
                    <a:cubicBezTo>
                      <a:pt x="1130" y="270"/>
                      <a:pt x="1123" y="270"/>
                      <a:pt x="1115" y="270"/>
                    </a:cubicBezTo>
                    <a:cubicBezTo>
                      <a:pt x="1115" y="222"/>
                      <a:pt x="1115" y="174"/>
                      <a:pt x="1115" y="126"/>
                    </a:cubicBezTo>
                    <a:cubicBezTo>
                      <a:pt x="1123" y="126"/>
                      <a:pt x="1130" y="126"/>
                      <a:pt x="1138" y="126"/>
                    </a:cubicBezTo>
                    <a:cubicBezTo>
                      <a:pt x="1138" y="133"/>
                      <a:pt x="1138" y="141"/>
                      <a:pt x="1138" y="149"/>
                    </a:cubicBezTo>
                    <a:cubicBezTo>
                      <a:pt x="1141" y="145"/>
                      <a:pt x="1143" y="143"/>
                      <a:pt x="1146" y="140"/>
                    </a:cubicBezTo>
                    <a:cubicBezTo>
                      <a:pt x="1163" y="119"/>
                      <a:pt x="1193" y="119"/>
                      <a:pt x="1209" y="127"/>
                    </a:cubicBezTo>
                    <a:cubicBezTo>
                      <a:pt x="1225" y="135"/>
                      <a:pt x="1231" y="149"/>
                      <a:pt x="1233" y="165"/>
                    </a:cubicBezTo>
                    <a:cubicBezTo>
                      <a:pt x="1234" y="171"/>
                      <a:pt x="1235" y="177"/>
                      <a:pt x="1235" y="183"/>
                    </a:cubicBezTo>
                    <a:close/>
                    <a:moveTo>
                      <a:pt x="633" y="195"/>
                    </a:moveTo>
                    <a:cubicBezTo>
                      <a:pt x="631" y="198"/>
                      <a:pt x="631" y="200"/>
                      <a:pt x="633" y="203"/>
                    </a:cubicBezTo>
                    <a:cubicBezTo>
                      <a:pt x="647" y="223"/>
                      <a:pt x="661" y="244"/>
                      <a:pt x="675" y="265"/>
                    </a:cubicBezTo>
                    <a:cubicBezTo>
                      <a:pt x="676" y="266"/>
                      <a:pt x="676" y="268"/>
                      <a:pt x="678" y="270"/>
                    </a:cubicBezTo>
                    <a:cubicBezTo>
                      <a:pt x="669" y="270"/>
                      <a:pt x="661" y="270"/>
                      <a:pt x="653" y="270"/>
                    </a:cubicBezTo>
                    <a:cubicBezTo>
                      <a:pt x="652" y="270"/>
                      <a:pt x="650" y="268"/>
                      <a:pt x="649" y="266"/>
                    </a:cubicBezTo>
                    <a:cubicBezTo>
                      <a:pt x="639" y="249"/>
                      <a:pt x="628" y="232"/>
                      <a:pt x="618" y="215"/>
                    </a:cubicBezTo>
                    <a:cubicBezTo>
                      <a:pt x="618" y="215"/>
                      <a:pt x="617" y="214"/>
                      <a:pt x="616" y="212"/>
                    </a:cubicBezTo>
                    <a:cubicBezTo>
                      <a:pt x="615" y="214"/>
                      <a:pt x="614" y="216"/>
                      <a:pt x="613" y="217"/>
                    </a:cubicBezTo>
                    <a:cubicBezTo>
                      <a:pt x="603" y="233"/>
                      <a:pt x="593" y="250"/>
                      <a:pt x="583" y="266"/>
                    </a:cubicBezTo>
                    <a:cubicBezTo>
                      <a:pt x="581" y="269"/>
                      <a:pt x="579" y="270"/>
                      <a:pt x="576" y="270"/>
                    </a:cubicBezTo>
                    <a:cubicBezTo>
                      <a:pt x="569" y="270"/>
                      <a:pt x="562" y="270"/>
                      <a:pt x="554" y="270"/>
                    </a:cubicBezTo>
                    <a:cubicBezTo>
                      <a:pt x="571" y="246"/>
                      <a:pt x="587" y="223"/>
                      <a:pt x="603" y="199"/>
                    </a:cubicBezTo>
                    <a:cubicBezTo>
                      <a:pt x="587" y="175"/>
                      <a:pt x="572" y="151"/>
                      <a:pt x="556" y="126"/>
                    </a:cubicBezTo>
                    <a:cubicBezTo>
                      <a:pt x="565" y="126"/>
                      <a:pt x="573" y="126"/>
                      <a:pt x="582" y="126"/>
                    </a:cubicBezTo>
                    <a:cubicBezTo>
                      <a:pt x="583" y="126"/>
                      <a:pt x="584" y="128"/>
                      <a:pt x="585" y="129"/>
                    </a:cubicBezTo>
                    <a:cubicBezTo>
                      <a:pt x="595" y="147"/>
                      <a:pt x="604" y="164"/>
                      <a:pt x="614" y="181"/>
                    </a:cubicBezTo>
                    <a:cubicBezTo>
                      <a:pt x="615" y="183"/>
                      <a:pt x="616" y="184"/>
                      <a:pt x="617" y="186"/>
                    </a:cubicBezTo>
                    <a:cubicBezTo>
                      <a:pt x="624" y="175"/>
                      <a:pt x="630" y="165"/>
                      <a:pt x="636" y="154"/>
                    </a:cubicBezTo>
                    <a:cubicBezTo>
                      <a:pt x="641" y="146"/>
                      <a:pt x="646" y="137"/>
                      <a:pt x="651" y="129"/>
                    </a:cubicBezTo>
                    <a:cubicBezTo>
                      <a:pt x="653" y="127"/>
                      <a:pt x="654" y="126"/>
                      <a:pt x="657" y="126"/>
                    </a:cubicBezTo>
                    <a:cubicBezTo>
                      <a:pt x="664" y="126"/>
                      <a:pt x="671" y="126"/>
                      <a:pt x="679" y="126"/>
                    </a:cubicBezTo>
                    <a:cubicBezTo>
                      <a:pt x="678" y="127"/>
                      <a:pt x="677" y="129"/>
                      <a:pt x="676" y="130"/>
                    </a:cubicBezTo>
                    <a:cubicBezTo>
                      <a:pt x="662" y="152"/>
                      <a:pt x="648" y="173"/>
                      <a:pt x="633" y="195"/>
                    </a:cubicBezTo>
                    <a:close/>
                    <a:moveTo>
                      <a:pt x="796" y="134"/>
                    </a:moveTo>
                    <a:cubicBezTo>
                      <a:pt x="795" y="140"/>
                      <a:pt x="796" y="146"/>
                      <a:pt x="796" y="153"/>
                    </a:cubicBezTo>
                    <a:cubicBezTo>
                      <a:pt x="791" y="151"/>
                      <a:pt x="788" y="149"/>
                      <a:pt x="784" y="147"/>
                    </a:cubicBezTo>
                    <a:cubicBezTo>
                      <a:pt x="749" y="132"/>
                      <a:pt x="714" y="153"/>
                      <a:pt x="711" y="191"/>
                    </a:cubicBezTo>
                    <a:cubicBezTo>
                      <a:pt x="711" y="199"/>
                      <a:pt x="711" y="208"/>
                      <a:pt x="713" y="216"/>
                    </a:cubicBezTo>
                    <a:cubicBezTo>
                      <a:pt x="719" y="244"/>
                      <a:pt x="744" y="259"/>
                      <a:pt x="773" y="252"/>
                    </a:cubicBezTo>
                    <a:cubicBezTo>
                      <a:pt x="780" y="250"/>
                      <a:pt x="787" y="246"/>
                      <a:pt x="795" y="243"/>
                    </a:cubicBezTo>
                    <a:cubicBezTo>
                      <a:pt x="795" y="249"/>
                      <a:pt x="795" y="256"/>
                      <a:pt x="795" y="262"/>
                    </a:cubicBezTo>
                    <a:cubicBezTo>
                      <a:pt x="795" y="263"/>
                      <a:pt x="793" y="264"/>
                      <a:pt x="792" y="265"/>
                    </a:cubicBezTo>
                    <a:cubicBezTo>
                      <a:pt x="752" y="285"/>
                      <a:pt x="691" y="271"/>
                      <a:pt x="687" y="207"/>
                    </a:cubicBezTo>
                    <a:cubicBezTo>
                      <a:pt x="686" y="194"/>
                      <a:pt x="688" y="182"/>
                      <a:pt x="692" y="170"/>
                    </a:cubicBezTo>
                    <a:cubicBezTo>
                      <a:pt x="702" y="141"/>
                      <a:pt x="727" y="123"/>
                      <a:pt x="759" y="122"/>
                    </a:cubicBezTo>
                    <a:cubicBezTo>
                      <a:pt x="770" y="122"/>
                      <a:pt x="781" y="123"/>
                      <a:pt x="792" y="128"/>
                    </a:cubicBezTo>
                    <a:cubicBezTo>
                      <a:pt x="794" y="129"/>
                      <a:pt x="796" y="130"/>
                      <a:pt x="796" y="134"/>
                    </a:cubicBezTo>
                    <a:close/>
                  </a:path>
                </a:pathLst>
              </a:custGeom>
              <a:solidFill>
                <a:srgbClr val="0072C6"/>
              </a:solidFill>
              <a:ln>
                <a:noFill/>
              </a:ln>
            </p:spPr>
            <p:txBody>
              <a:bodyPr vert="horz" wrap="square" lIns="89606" tIns="44803" rIns="89606" bIns="44803" numCol="1" anchor="t" anchorCtr="0" compatLnSpc="1">
                <a:prstTxWarp prst="textNoShape">
                  <a:avLst/>
                </a:prstTxWarp>
              </a:bodyPr>
              <a:lstStyle/>
              <a:p>
                <a:pPr defTabSz="914005"/>
                <a:endParaRPr lang="en-US" sz="1764" dirty="0">
                  <a:solidFill>
                    <a:prstClr val="black"/>
                  </a:solidFill>
                </a:endParaRPr>
              </a:p>
              <a:p>
                <a:pPr defTabSz="914005"/>
                <a:endParaRPr lang="en-US" sz="1764" dirty="0">
                  <a:solidFill>
                    <a:prstClr val="black"/>
                  </a:solidFill>
                </a:endParaRPr>
              </a:p>
              <a:p>
                <a:pPr defTabSz="914005"/>
                <a:endParaRPr lang="en-US" sz="1764" dirty="0">
                  <a:solidFill>
                    <a:prstClr val="black"/>
                  </a:solidFill>
                </a:endParaRPr>
              </a:p>
              <a:p>
                <a:pPr defTabSz="914005"/>
                <a:endParaRPr lang="en-US" sz="1764" dirty="0">
                  <a:solidFill>
                    <a:prstClr val="black"/>
                  </a:solidFill>
                </a:endParaRPr>
              </a:p>
              <a:p>
                <a:pPr defTabSz="914005"/>
                <a:endParaRPr lang="en-US" sz="1764" dirty="0">
                  <a:solidFill>
                    <a:prstClr val="black"/>
                  </a:solidFill>
                </a:endParaRPr>
              </a:p>
              <a:p>
                <a:pPr defTabSz="914005"/>
                <a:endParaRPr lang="en-US" sz="1764" dirty="0">
                  <a:solidFill>
                    <a:prstClr val="black"/>
                  </a:solidFill>
                </a:endParaRPr>
              </a:p>
              <a:p>
                <a:pPr defTabSz="914005"/>
                <a:endParaRPr lang="en-US" sz="1764" dirty="0">
                  <a:solidFill>
                    <a:prstClr val="black"/>
                  </a:solidFill>
                </a:endParaRPr>
              </a:p>
              <a:p>
                <a:pPr defTabSz="914005"/>
                <a:endParaRPr lang="en-US" sz="1764" dirty="0">
                  <a:solidFill>
                    <a:prstClr val="black"/>
                  </a:solidFill>
                </a:endParaRPr>
              </a:p>
              <a:p>
                <a:pPr defTabSz="914005"/>
                <a:endParaRPr lang="en-US" sz="1764" dirty="0">
                  <a:solidFill>
                    <a:prstClr val="black"/>
                  </a:solidFill>
                </a:endParaRPr>
              </a:p>
              <a:p>
                <a:pPr defTabSz="914005"/>
                <a:endParaRPr lang="en-US" sz="1764" dirty="0">
                  <a:solidFill>
                    <a:prstClr val="black"/>
                  </a:solidFill>
                </a:endParaRPr>
              </a:p>
              <a:p>
                <a:pPr defTabSz="914005"/>
                <a:endParaRPr lang="en-US" sz="1764" dirty="0">
                  <a:solidFill>
                    <a:prstClr val="black"/>
                  </a:solidFill>
                </a:endParaRPr>
              </a:p>
              <a:p>
                <a:pPr defTabSz="914005"/>
                <a:endParaRPr lang="en-US" sz="1764" dirty="0">
                  <a:solidFill>
                    <a:prstClr val="black"/>
                  </a:solidFill>
                </a:endParaRPr>
              </a:p>
              <a:p>
                <a:pPr defTabSz="914005"/>
                <a:endParaRPr lang="en-US" sz="1764" dirty="0">
                  <a:solidFill>
                    <a:prstClr val="black"/>
                  </a:solidFill>
                </a:endParaRPr>
              </a:p>
              <a:p>
                <a:pPr defTabSz="914005"/>
                <a:endParaRPr lang="en-US" sz="1764" dirty="0">
                  <a:solidFill>
                    <a:prstClr val="black"/>
                  </a:solidFill>
                </a:endParaRPr>
              </a:p>
              <a:p>
                <a:pPr defTabSz="914005"/>
                <a:endParaRPr lang="en-US" sz="1764" dirty="0">
                  <a:solidFill>
                    <a:prstClr val="black"/>
                  </a:solidFill>
                </a:endParaRPr>
              </a:p>
              <a:p>
                <a:pPr defTabSz="914005"/>
                <a:endParaRPr lang="en-US" sz="1764" dirty="0">
                  <a:solidFill>
                    <a:prstClr val="black"/>
                  </a:solidFill>
                </a:endParaRPr>
              </a:p>
              <a:p>
                <a:pPr defTabSz="914005"/>
                <a:endParaRPr lang="en-US" sz="1764" dirty="0">
                  <a:solidFill>
                    <a:prstClr val="black"/>
                  </a:solidFill>
                </a:endParaRPr>
              </a:p>
              <a:p>
                <a:pPr defTabSz="914005"/>
                <a:endParaRPr lang="en-US" sz="1764" dirty="0">
                  <a:solidFill>
                    <a:prstClr val="black"/>
                  </a:solidFill>
                </a:endParaRPr>
              </a:p>
              <a:p>
                <a:pPr defTabSz="914005"/>
                <a:endParaRPr lang="en-US" sz="1764" dirty="0">
                  <a:solidFill>
                    <a:prstClr val="black"/>
                  </a:solidFill>
                </a:endParaRPr>
              </a:p>
              <a:p>
                <a:pPr defTabSz="914005"/>
                <a:endParaRPr lang="en-US" sz="1764" dirty="0">
                  <a:solidFill>
                    <a:prstClr val="black"/>
                  </a:solidFill>
                </a:endParaRPr>
              </a:p>
              <a:p>
                <a:pPr defTabSz="914005"/>
                <a:endParaRPr lang="en-US" sz="1764" dirty="0">
                  <a:solidFill>
                    <a:prstClr val="black"/>
                  </a:solidFill>
                </a:endParaRPr>
              </a:p>
              <a:p>
                <a:pPr defTabSz="914005"/>
                <a:endParaRPr lang="en-US" sz="1764" dirty="0">
                  <a:solidFill>
                    <a:prstClr val="black"/>
                  </a:solidFill>
                </a:endParaRPr>
              </a:p>
            </p:txBody>
          </p:sp>
          <p:sp>
            <p:nvSpPr>
              <p:cNvPr id="58" name="Freeform 57"/>
              <p:cNvSpPr>
                <a:spLocks noEditPoints="1"/>
              </p:cNvSpPr>
              <p:nvPr/>
            </p:nvSpPr>
            <p:spPr bwMode="auto">
              <a:xfrm>
                <a:off x="3405263" y="2347044"/>
                <a:ext cx="1233412" cy="375191"/>
              </a:xfrm>
              <a:custGeom>
                <a:avLst/>
                <a:gdLst>
                  <a:gd name="T0" fmla="*/ 0 w 1922"/>
                  <a:gd name="T1" fmla="*/ 122 h 606"/>
                  <a:gd name="T2" fmla="*/ 324 w 1922"/>
                  <a:gd name="T3" fmla="*/ 0 h 606"/>
                  <a:gd name="T4" fmla="*/ 502 w 1922"/>
                  <a:gd name="T5" fmla="*/ 51 h 606"/>
                  <a:gd name="T6" fmla="*/ 503 w 1922"/>
                  <a:gd name="T7" fmla="*/ 557 h 606"/>
                  <a:gd name="T8" fmla="*/ 17 w 1922"/>
                  <a:gd name="T9" fmla="*/ 492 h 606"/>
                  <a:gd name="T10" fmla="*/ 22 w 1922"/>
                  <a:gd name="T11" fmla="*/ 489 h 606"/>
                  <a:gd name="T12" fmla="*/ 244 w 1922"/>
                  <a:gd name="T13" fmla="*/ 520 h 606"/>
                  <a:gd name="T14" fmla="*/ 325 w 1922"/>
                  <a:gd name="T15" fmla="*/ 99 h 606"/>
                  <a:gd name="T16" fmla="*/ 299 w 1922"/>
                  <a:gd name="T17" fmla="*/ 101 h 606"/>
                  <a:gd name="T18" fmla="*/ 111 w 1922"/>
                  <a:gd name="T19" fmla="*/ 439 h 606"/>
                  <a:gd name="T20" fmla="*/ 2 w 1922"/>
                  <a:gd name="T21" fmla="*/ 486 h 606"/>
                  <a:gd name="T22" fmla="*/ 1356 w 1922"/>
                  <a:gd name="T23" fmla="*/ 99 h 606"/>
                  <a:gd name="T24" fmla="*/ 1246 w 1922"/>
                  <a:gd name="T25" fmla="*/ 178 h 606"/>
                  <a:gd name="T26" fmla="*/ 1148 w 1922"/>
                  <a:gd name="T27" fmla="*/ 225 h 606"/>
                  <a:gd name="T28" fmla="*/ 1147 w 1922"/>
                  <a:gd name="T29" fmla="*/ 164 h 606"/>
                  <a:gd name="T30" fmla="*/ 1216 w 1922"/>
                  <a:gd name="T31" fmla="*/ 135 h 606"/>
                  <a:gd name="T32" fmla="*/ 1192 w 1922"/>
                  <a:gd name="T33" fmla="*/ 95 h 606"/>
                  <a:gd name="T34" fmla="*/ 1103 w 1922"/>
                  <a:gd name="T35" fmla="*/ 222 h 606"/>
                  <a:gd name="T36" fmla="*/ 1059 w 1922"/>
                  <a:gd name="T37" fmla="*/ 228 h 606"/>
                  <a:gd name="T38" fmla="*/ 1099 w 1922"/>
                  <a:gd name="T39" fmla="*/ 261 h 606"/>
                  <a:gd name="T40" fmla="*/ 1106 w 1922"/>
                  <a:gd name="T41" fmla="*/ 485 h 606"/>
                  <a:gd name="T42" fmla="*/ 1145 w 1922"/>
                  <a:gd name="T43" fmla="*/ 265 h 606"/>
                  <a:gd name="T44" fmla="*/ 1246 w 1922"/>
                  <a:gd name="T45" fmla="*/ 265 h 606"/>
                  <a:gd name="T46" fmla="*/ 1284 w 1922"/>
                  <a:gd name="T47" fmla="*/ 485 h 606"/>
                  <a:gd name="T48" fmla="*/ 1291 w 1922"/>
                  <a:gd name="T49" fmla="*/ 261 h 606"/>
                  <a:gd name="T50" fmla="*/ 1349 w 1922"/>
                  <a:gd name="T51" fmla="*/ 229 h 606"/>
                  <a:gd name="T52" fmla="*/ 1287 w 1922"/>
                  <a:gd name="T53" fmla="*/ 222 h 606"/>
                  <a:gd name="T54" fmla="*/ 1335 w 1922"/>
                  <a:gd name="T55" fmla="*/ 131 h 606"/>
                  <a:gd name="T56" fmla="*/ 688 w 1922"/>
                  <a:gd name="T57" fmla="*/ 319 h 606"/>
                  <a:gd name="T58" fmla="*/ 908 w 1922"/>
                  <a:gd name="T59" fmla="*/ 485 h 606"/>
                  <a:gd name="T60" fmla="*/ 1032 w 1922"/>
                  <a:gd name="T61" fmla="*/ 287 h 606"/>
                  <a:gd name="T62" fmla="*/ 826 w 1922"/>
                  <a:gd name="T63" fmla="*/ 119 h 606"/>
                  <a:gd name="T64" fmla="*/ 688 w 1922"/>
                  <a:gd name="T65" fmla="*/ 307 h 606"/>
                  <a:gd name="T66" fmla="*/ 887 w 1922"/>
                  <a:gd name="T67" fmla="*/ 450 h 606"/>
                  <a:gd name="T68" fmla="*/ 750 w 1922"/>
                  <a:gd name="T69" fmla="*/ 224 h 606"/>
                  <a:gd name="T70" fmla="*/ 977 w 1922"/>
                  <a:gd name="T71" fmla="*/ 236 h 606"/>
                  <a:gd name="T72" fmla="*/ 974 w 1922"/>
                  <a:gd name="T73" fmla="*/ 380 h 606"/>
                  <a:gd name="T74" fmla="*/ 1751 w 1922"/>
                  <a:gd name="T75" fmla="*/ 417 h 606"/>
                  <a:gd name="T76" fmla="*/ 1919 w 1922"/>
                  <a:gd name="T77" fmla="*/ 366 h 606"/>
                  <a:gd name="T78" fmla="*/ 1915 w 1922"/>
                  <a:gd name="T79" fmla="*/ 291 h 606"/>
                  <a:gd name="T80" fmla="*/ 1710 w 1922"/>
                  <a:gd name="T81" fmla="*/ 289 h 606"/>
                  <a:gd name="T82" fmla="*/ 1787 w 1922"/>
                  <a:gd name="T83" fmla="*/ 489 h 606"/>
                  <a:gd name="T84" fmla="*/ 1904 w 1922"/>
                  <a:gd name="T85" fmla="*/ 465 h 606"/>
                  <a:gd name="T86" fmla="*/ 1742 w 1922"/>
                  <a:gd name="T87" fmla="*/ 330 h 606"/>
                  <a:gd name="T88" fmla="*/ 1847 w 1922"/>
                  <a:gd name="T89" fmla="*/ 262 h 606"/>
                  <a:gd name="T90" fmla="*/ 1876 w 1922"/>
                  <a:gd name="T91" fmla="*/ 330 h 606"/>
                  <a:gd name="T92" fmla="*/ 1667 w 1922"/>
                  <a:gd name="T93" fmla="*/ 234 h 606"/>
                  <a:gd name="T94" fmla="*/ 1576 w 1922"/>
                  <a:gd name="T95" fmla="*/ 222 h 606"/>
                  <a:gd name="T96" fmla="*/ 1550 w 1922"/>
                  <a:gd name="T97" fmla="*/ 484 h 606"/>
                  <a:gd name="T98" fmla="*/ 1666 w 1922"/>
                  <a:gd name="T99" fmla="*/ 470 h 606"/>
                  <a:gd name="T100" fmla="*/ 1663 w 1922"/>
                  <a:gd name="T101" fmla="*/ 436 h 606"/>
                  <a:gd name="T102" fmla="*/ 1518 w 1922"/>
                  <a:gd name="T103" fmla="*/ 323 h 606"/>
                  <a:gd name="T104" fmla="*/ 1667 w 1922"/>
                  <a:gd name="T105" fmla="*/ 275 h 606"/>
                  <a:gd name="T106" fmla="*/ 1391 w 1922"/>
                  <a:gd name="T107" fmla="*/ 485 h 606"/>
                  <a:gd name="T108" fmla="*/ 1429 w 1922"/>
                  <a:gd name="T109" fmla="*/ 385 h 606"/>
                  <a:gd name="T110" fmla="*/ 1391 w 1922"/>
                  <a:gd name="T111" fmla="*/ 225 h 606"/>
                  <a:gd name="T112" fmla="*/ 1387 w 1922"/>
                  <a:gd name="T113" fmla="*/ 481 h 606"/>
                  <a:gd name="T114" fmla="*/ 1381 w 1922"/>
                  <a:gd name="T115" fmla="*/ 133 h 606"/>
                  <a:gd name="T116" fmla="*/ 1 w 1922"/>
                  <a:gd name="T117" fmla="*/ 486 h 606"/>
                  <a:gd name="T118" fmla="*/ 2 w 1922"/>
                  <a:gd name="T119" fmla="*/ 48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22" h="606">
                    <a:moveTo>
                      <a:pt x="1" y="486"/>
                    </a:moveTo>
                    <a:cubicBezTo>
                      <a:pt x="1" y="486"/>
                      <a:pt x="0" y="486"/>
                      <a:pt x="0" y="486"/>
                    </a:cubicBezTo>
                    <a:cubicBezTo>
                      <a:pt x="0" y="365"/>
                      <a:pt x="0" y="243"/>
                      <a:pt x="0" y="122"/>
                    </a:cubicBezTo>
                    <a:cubicBezTo>
                      <a:pt x="1" y="121"/>
                      <a:pt x="2" y="121"/>
                      <a:pt x="3" y="121"/>
                    </a:cubicBezTo>
                    <a:cubicBezTo>
                      <a:pt x="98" y="85"/>
                      <a:pt x="194" y="49"/>
                      <a:pt x="289" y="13"/>
                    </a:cubicBezTo>
                    <a:cubicBezTo>
                      <a:pt x="301" y="9"/>
                      <a:pt x="313" y="4"/>
                      <a:pt x="324" y="0"/>
                    </a:cubicBezTo>
                    <a:cubicBezTo>
                      <a:pt x="325" y="0"/>
                      <a:pt x="326" y="0"/>
                      <a:pt x="327" y="0"/>
                    </a:cubicBezTo>
                    <a:cubicBezTo>
                      <a:pt x="335" y="3"/>
                      <a:pt x="343" y="5"/>
                      <a:pt x="351" y="7"/>
                    </a:cubicBezTo>
                    <a:cubicBezTo>
                      <a:pt x="402" y="22"/>
                      <a:pt x="452" y="36"/>
                      <a:pt x="502" y="51"/>
                    </a:cubicBezTo>
                    <a:cubicBezTo>
                      <a:pt x="505" y="51"/>
                      <a:pt x="506" y="52"/>
                      <a:pt x="506" y="55"/>
                    </a:cubicBezTo>
                    <a:cubicBezTo>
                      <a:pt x="506" y="221"/>
                      <a:pt x="506" y="387"/>
                      <a:pt x="506" y="553"/>
                    </a:cubicBezTo>
                    <a:cubicBezTo>
                      <a:pt x="506" y="556"/>
                      <a:pt x="505" y="557"/>
                      <a:pt x="503" y="557"/>
                    </a:cubicBezTo>
                    <a:cubicBezTo>
                      <a:pt x="444" y="573"/>
                      <a:pt x="386" y="590"/>
                      <a:pt x="327" y="606"/>
                    </a:cubicBezTo>
                    <a:cubicBezTo>
                      <a:pt x="326" y="606"/>
                      <a:pt x="324" y="606"/>
                      <a:pt x="323" y="605"/>
                    </a:cubicBezTo>
                    <a:cubicBezTo>
                      <a:pt x="221" y="568"/>
                      <a:pt x="119" y="530"/>
                      <a:pt x="17" y="492"/>
                    </a:cubicBezTo>
                    <a:cubicBezTo>
                      <a:pt x="12" y="490"/>
                      <a:pt x="6" y="488"/>
                      <a:pt x="1" y="486"/>
                    </a:cubicBezTo>
                    <a:cubicBezTo>
                      <a:pt x="1" y="486"/>
                      <a:pt x="1" y="486"/>
                      <a:pt x="2" y="486"/>
                    </a:cubicBezTo>
                    <a:cubicBezTo>
                      <a:pt x="8" y="487"/>
                      <a:pt x="15" y="488"/>
                      <a:pt x="22" y="489"/>
                    </a:cubicBezTo>
                    <a:cubicBezTo>
                      <a:pt x="46" y="492"/>
                      <a:pt x="70" y="496"/>
                      <a:pt x="94" y="499"/>
                    </a:cubicBezTo>
                    <a:cubicBezTo>
                      <a:pt x="119" y="502"/>
                      <a:pt x="144" y="506"/>
                      <a:pt x="168" y="509"/>
                    </a:cubicBezTo>
                    <a:cubicBezTo>
                      <a:pt x="194" y="513"/>
                      <a:pt x="219" y="516"/>
                      <a:pt x="244" y="520"/>
                    </a:cubicBezTo>
                    <a:cubicBezTo>
                      <a:pt x="270" y="523"/>
                      <a:pt x="295" y="527"/>
                      <a:pt x="321" y="530"/>
                    </a:cubicBezTo>
                    <a:cubicBezTo>
                      <a:pt x="325" y="531"/>
                      <a:pt x="325" y="530"/>
                      <a:pt x="325" y="527"/>
                    </a:cubicBezTo>
                    <a:cubicBezTo>
                      <a:pt x="325" y="384"/>
                      <a:pt x="325" y="242"/>
                      <a:pt x="325" y="99"/>
                    </a:cubicBezTo>
                    <a:cubicBezTo>
                      <a:pt x="325" y="99"/>
                      <a:pt x="325" y="98"/>
                      <a:pt x="325" y="98"/>
                    </a:cubicBezTo>
                    <a:cubicBezTo>
                      <a:pt x="325" y="96"/>
                      <a:pt x="325" y="95"/>
                      <a:pt x="322" y="96"/>
                    </a:cubicBezTo>
                    <a:cubicBezTo>
                      <a:pt x="314" y="98"/>
                      <a:pt x="306" y="99"/>
                      <a:pt x="299" y="101"/>
                    </a:cubicBezTo>
                    <a:cubicBezTo>
                      <a:pt x="237" y="116"/>
                      <a:pt x="176" y="131"/>
                      <a:pt x="114" y="145"/>
                    </a:cubicBezTo>
                    <a:cubicBezTo>
                      <a:pt x="111" y="146"/>
                      <a:pt x="111" y="147"/>
                      <a:pt x="111" y="150"/>
                    </a:cubicBezTo>
                    <a:cubicBezTo>
                      <a:pt x="111" y="247"/>
                      <a:pt x="111" y="343"/>
                      <a:pt x="111" y="439"/>
                    </a:cubicBezTo>
                    <a:cubicBezTo>
                      <a:pt x="111" y="442"/>
                      <a:pt x="110" y="443"/>
                      <a:pt x="107" y="444"/>
                    </a:cubicBezTo>
                    <a:cubicBezTo>
                      <a:pt x="79" y="455"/>
                      <a:pt x="50" y="467"/>
                      <a:pt x="21" y="478"/>
                    </a:cubicBezTo>
                    <a:cubicBezTo>
                      <a:pt x="15" y="480"/>
                      <a:pt x="8" y="482"/>
                      <a:pt x="2" y="486"/>
                    </a:cubicBezTo>
                    <a:cubicBezTo>
                      <a:pt x="1" y="486"/>
                      <a:pt x="1" y="486"/>
                      <a:pt x="1" y="486"/>
                    </a:cubicBezTo>
                    <a:close/>
                    <a:moveTo>
                      <a:pt x="1359" y="102"/>
                    </a:moveTo>
                    <a:cubicBezTo>
                      <a:pt x="1359" y="100"/>
                      <a:pt x="1358" y="99"/>
                      <a:pt x="1356" y="99"/>
                    </a:cubicBezTo>
                    <a:cubicBezTo>
                      <a:pt x="1349" y="96"/>
                      <a:pt x="1342" y="95"/>
                      <a:pt x="1334" y="95"/>
                    </a:cubicBezTo>
                    <a:cubicBezTo>
                      <a:pt x="1318" y="95"/>
                      <a:pt x="1302" y="97"/>
                      <a:pt x="1287" y="105"/>
                    </a:cubicBezTo>
                    <a:cubicBezTo>
                      <a:pt x="1260" y="122"/>
                      <a:pt x="1247" y="147"/>
                      <a:pt x="1246" y="178"/>
                    </a:cubicBezTo>
                    <a:cubicBezTo>
                      <a:pt x="1245" y="193"/>
                      <a:pt x="1246" y="207"/>
                      <a:pt x="1246" y="222"/>
                    </a:cubicBezTo>
                    <a:cubicBezTo>
                      <a:pt x="1246" y="224"/>
                      <a:pt x="1246" y="225"/>
                      <a:pt x="1243" y="225"/>
                    </a:cubicBezTo>
                    <a:cubicBezTo>
                      <a:pt x="1211" y="225"/>
                      <a:pt x="1179" y="225"/>
                      <a:pt x="1148" y="225"/>
                    </a:cubicBezTo>
                    <a:cubicBezTo>
                      <a:pt x="1145" y="225"/>
                      <a:pt x="1145" y="225"/>
                      <a:pt x="1145" y="222"/>
                    </a:cubicBezTo>
                    <a:cubicBezTo>
                      <a:pt x="1145" y="210"/>
                      <a:pt x="1145" y="197"/>
                      <a:pt x="1145" y="185"/>
                    </a:cubicBezTo>
                    <a:cubicBezTo>
                      <a:pt x="1145" y="178"/>
                      <a:pt x="1145" y="171"/>
                      <a:pt x="1147" y="164"/>
                    </a:cubicBezTo>
                    <a:cubicBezTo>
                      <a:pt x="1151" y="145"/>
                      <a:pt x="1162" y="134"/>
                      <a:pt x="1179" y="131"/>
                    </a:cubicBezTo>
                    <a:cubicBezTo>
                      <a:pt x="1191" y="129"/>
                      <a:pt x="1203" y="131"/>
                      <a:pt x="1213" y="136"/>
                    </a:cubicBezTo>
                    <a:cubicBezTo>
                      <a:pt x="1215" y="137"/>
                      <a:pt x="1216" y="137"/>
                      <a:pt x="1216" y="135"/>
                    </a:cubicBezTo>
                    <a:cubicBezTo>
                      <a:pt x="1216" y="124"/>
                      <a:pt x="1216" y="113"/>
                      <a:pt x="1216" y="102"/>
                    </a:cubicBezTo>
                    <a:cubicBezTo>
                      <a:pt x="1216" y="100"/>
                      <a:pt x="1215" y="99"/>
                      <a:pt x="1214" y="99"/>
                    </a:cubicBezTo>
                    <a:cubicBezTo>
                      <a:pt x="1207" y="96"/>
                      <a:pt x="1199" y="96"/>
                      <a:pt x="1192" y="95"/>
                    </a:cubicBezTo>
                    <a:cubicBezTo>
                      <a:pt x="1176" y="95"/>
                      <a:pt x="1161" y="96"/>
                      <a:pt x="1147" y="104"/>
                    </a:cubicBezTo>
                    <a:cubicBezTo>
                      <a:pt x="1118" y="120"/>
                      <a:pt x="1104" y="145"/>
                      <a:pt x="1103" y="178"/>
                    </a:cubicBezTo>
                    <a:cubicBezTo>
                      <a:pt x="1103" y="192"/>
                      <a:pt x="1103" y="207"/>
                      <a:pt x="1103" y="222"/>
                    </a:cubicBezTo>
                    <a:cubicBezTo>
                      <a:pt x="1103" y="225"/>
                      <a:pt x="1102" y="225"/>
                      <a:pt x="1100" y="225"/>
                    </a:cubicBezTo>
                    <a:cubicBezTo>
                      <a:pt x="1087" y="225"/>
                      <a:pt x="1074" y="225"/>
                      <a:pt x="1062" y="225"/>
                    </a:cubicBezTo>
                    <a:cubicBezTo>
                      <a:pt x="1060" y="225"/>
                      <a:pt x="1059" y="226"/>
                      <a:pt x="1059" y="228"/>
                    </a:cubicBezTo>
                    <a:cubicBezTo>
                      <a:pt x="1059" y="238"/>
                      <a:pt x="1059" y="248"/>
                      <a:pt x="1059" y="258"/>
                    </a:cubicBezTo>
                    <a:cubicBezTo>
                      <a:pt x="1059" y="260"/>
                      <a:pt x="1059" y="261"/>
                      <a:pt x="1062" y="261"/>
                    </a:cubicBezTo>
                    <a:cubicBezTo>
                      <a:pt x="1074" y="261"/>
                      <a:pt x="1086" y="261"/>
                      <a:pt x="1099" y="261"/>
                    </a:cubicBezTo>
                    <a:cubicBezTo>
                      <a:pt x="1102" y="261"/>
                      <a:pt x="1103" y="262"/>
                      <a:pt x="1103" y="265"/>
                    </a:cubicBezTo>
                    <a:cubicBezTo>
                      <a:pt x="1103" y="337"/>
                      <a:pt x="1103" y="409"/>
                      <a:pt x="1103" y="482"/>
                    </a:cubicBezTo>
                    <a:cubicBezTo>
                      <a:pt x="1103" y="484"/>
                      <a:pt x="1103" y="485"/>
                      <a:pt x="1106" y="485"/>
                    </a:cubicBezTo>
                    <a:cubicBezTo>
                      <a:pt x="1118" y="485"/>
                      <a:pt x="1129" y="485"/>
                      <a:pt x="1140" y="485"/>
                    </a:cubicBezTo>
                    <a:cubicBezTo>
                      <a:pt x="1145" y="485"/>
                      <a:pt x="1145" y="486"/>
                      <a:pt x="1145" y="481"/>
                    </a:cubicBezTo>
                    <a:cubicBezTo>
                      <a:pt x="1145" y="409"/>
                      <a:pt x="1145" y="337"/>
                      <a:pt x="1145" y="265"/>
                    </a:cubicBezTo>
                    <a:cubicBezTo>
                      <a:pt x="1145" y="261"/>
                      <a:pt x="1146" y="261"/>
                      <a:pt x="1149" y="261"/>
                    </a:cubicBezTo>
                    <a:cubicBezTo>
                      <a:pt x="1180" y="261"/>
                      <a:pt x="1211" y="261"/>
                      <a:pt x="1242" y="261"/>
                    </a:cubicBezTo>
                    <a:cubicBezTo>
                      <a:pt x="1245" y="261"/>
                      <a:pt x="1246" y="262"/>
                      <a:pt x="1246" y="265"/>
                    </a:cubicBezTo>
                    <a:cubicBezTo>
                      <a:pt x="1246" y="337"/>
                      <a:pt x="1246" y="410"/>
                      <a:pt x="1246" y="482"/>
                    </a:cubicBezTo>
                    <a:cubicBezTo>
                      <a:pt x="1246" y="484"/>
                      <a:pt x="1246" y="485"/>
                      <a:pt x="1249" y="485"/>
                    </a:cubicBezTo>
                    <a:cubicBezTo>
                      <a:pt x="1261" y="485"/>
                      <a:pt x="1272" y="485"/>
                      <a:pt x="1284" y="485"/>
                    </a:cubicBezTo>
                    <a:cubicBezTo>
                      <a:pt x="1287" y="485"/>
                      <a:pt x="1288" y="484"/>
                      <a:pt x="1288" y="481"/>
                    </a:cubicBezTo>
                    <a:cubicBezTo>
                      <a:pt x="1287" y="409"/>
                      <a:pt x="1288" y="337"/>
                      <a:pt x="1287" y="264"/>
                    </a:cubicBezTo>
                    <a:cubicBezTo>
                      <a:pt x="1287" y="262"/>
                      <a:pt x="1288" y="261"/>
                      <a:pt x="1291" y="261"/>
                    </a:cubicBezTo>
                    <a:cubicBezTo>
                      <a:pt x="1309" y="261"/>
                      <a:pt x="1327" y="261"/>
                      <a:pt x="1346" y="261"/>
                    </a:cubicBezTo>
                    <a:cubicBezTo>
                      <a:pt x="1348" y="261"/>
                      <a:pt x="1349" y="260"/>
                      <a:pt x="1349" y="258"/>
                    </a:cubicBezTo>
                    <a:cubicBezTo>
                      <a:pt x="1348" y="248"/>
                      <a:pt x="1348" y="239"/>
                      <a:pt x="1349" y="229"/>
                    </a:cubicBezTo>
                    <a:cubicBezTo>
                      <a:pt x="1349" y="226"/>
                      <a:pt x="1348" y="225"/>
                      <a:pt x="1345" y="225"/>
                    </a:cubicBezTo>
                    <a:cubicBezTo>
                      <a:pt x="1327" y="225"/>
                      <a:pt x="1309" y="225"/>
                      <a:pt x="1291" y="225"/>
                    </a:cubicBezTo>
                    <a:cubicBezTo>
                      <a:pt x="1288" y="225"/>
                      <a:pt x="1287" y="225"/>
                      <a:pt x="1287" y="222"/>
                    </a:cubicBezTo>
                    <a:cubicBezTo>
                      <a:pt x="1288" y="210"/>
                      <a:pt x="1287" y="198"/>
                      <a:pt x="1288" y="186"/>
                    </a:cubicBezTo>
                    <a:cubicBezTo>
                      <a:pt x="1288" y="179"/>
                      <a:pt x="1288" y="171"/>
                      <a:pt x="1290" y="164"/>
                    </a:cubicBezTo>
                    <a:cubicBezTo>
                      <a:pt x="1294" y="141"/>
                      <a:pt x="1311" y="129"/>
                      <a:pt x="1335" y="131"/>
                    </a:cubicBezTo>
                    <a:cubicBezTo>
                      <a:pt x="1343" y="131"/>
                      <a:pt x="1351" y="133"/>
                      <a:pt x="1359" y="137"/>
                    </a:cubicBezTo>
                    <a:cubicBezTo>
                      <a:pt x="1359" y="125"/>
                      <a:pt x="1359" y="113"/>
                      <a:pt x="1359" y="102"/>
                    </a:cubicBezTo>
                    <a:close/>
                    <a:moveTo>
                      <a:pt x="688" y="319"/>
                    </a:moveTo>
                    <a:cubicBezTo>
                      <a:pt x="689" y="341"/>
                      <a:pt x="693" y="363"/>
                      <a:pt x="700" y="383"/>
                    </a:cubicBezTo>
                    <a:cubicBezTo>
                      <a:pt x="717" y="428"/>
                      <a:pt x="746" y="461"/>
                      <a:pt x="791" y="479"/>
                    </a:cubicBezTo>
                    <a:cubicBezTo>
                      <a:pt x="829" y="494"/>
                      <a:pt x="869" y="495"/>
                      <a:pt x="908" y="485"/>
                    </a:cubicBezTo>
                    <a:cubicBezTo>
                      <a:pt x="937" y="478"/>
                      <a:pt x="962" y="464"/>
                      <a:pt x="983" y="442"/>
                    </a:cubicBezTo>
                    <a:cubicBezTo>
                      <a:pt x="1002" y="422"/>
                      <a:pt x="1014" y="398"/>
                      <a:pt x="1022" y="371"/>
                    </a:cubicBezTo>
                    <a:cubicBezTo>
                      <a:pt x="1030" y="344"/>
                      <a:pt x="1033" y="316"/>
                      <a:pt x="1032" y="287"/>
                    </a:cubicBezTo>
                    <a:cubicBezTo>
                      <a:pt x="1031" y="261"/>
                      <a:pt x="1026" y="236"/>
                      <a:pt x="1015" y="211"/>
                    </a:cubicBezTo>
                    <a:cubicBezTo>
                      <a:pt x="994" y="165"/>
                      <a:pt x="960" y="135"/>
                      <a:pt x="911" y="121"/>
                    </a:cubicBezTo>
                    <a:cubicBezTo>
                      <a:pt x="883" y="113"/>
                      <a:pt x="854" y="114"/>
                      <a:pt x="826" y="119"/>
                    </a:cubicBezTo>
                    <a:cubicBezTo>
                      <a:pt x="789" y="126"/>
                      <a:pt x="758" y="142"/>
                      <a:pt x="734" y="170"/>
                    </a:cubicBezTo>
                    <a:cubicBezTo>
                      <a:pt x="712" y="194"/>
                      <a:pt x="700" y="223"/>
                      <a:pt x="693" y="255"/>
                    </a:cubicBezTo>
                    <a:cubicBezTo>
                      <a:pt x="689" y="272"/>
                      <a:pt x="688" y="289"/>
                      <a:pt x="688" y="307"/>
                    </a:cubicBezTo>
                    <a:cubicBezTo>
                      <a:pt x="688" y="311"/>
                      <a:pt x="688" y="315"/>
                      <a:pt x="688" y="319"/>
                    </a:cubicBezTo>
                    <a:close/>
                    <a:moveTo>
                      <a:pt x="974" y="380"/>
                    </a:moveTo>
                    <a:cubicBezTo>
                      <a:pt x="957" y="418"/>
                      <a:pt x="928" y="443"/>
                      <a:pt x="887" y="450"/>
                    </a:cubicBezTo>
                    <a:cubicBezTo>
                      <a:pt x="854" y="456"/>
                      <a:pt x="823" y="453"/>
                      <a:pt x="794" y="435"/>
                    </a:cubicBezTo>
                    <a:cubicBezTo>
                      <a:pt x="769" y="419"/>
                      <a:pt x="752" y="396"/>
                      <a:pt x="743" y="367"/>
                    </a:cubicBezTo>
                    <a:cubicBezTo>
                      <a:pt x="727" y="319"/>
                      <a:pt x="728" y="271"/>
                      <a:pt x="750" y="224"/>
                    </a:cubicBezTo>
                    <a:cubicBezTo>
                      <a:pt x="768" y="186"/>
                      <a:pt x="798" y="162"/>
                      <a:pt x="840" y="156"/>
                    </a:cubicBezTo>
                    <a:cubicBezTo>
                      <a:pt x="873" y="150"/>
                      <a:pt x="904" y="155"/>
                      <a:pt x="932" y="174"/>
                    </a:cubicBezTo>
                    <a:cubicBezTo>
                      <a:pt x="955" y="189"/>
                      <a:pt x="968" y="211"/>
                      <a:pt x="977" y="236"/>
                    </a:cubicBezTo>
                    <a:cubicBezTo>
                      <a:pt x="983" y="254"/>
                      <a:pt x="986" y="273"/>
                      <a:pt x="987" y="292"/>
                    </a:cubicBezTo>
                    <a:cubicBezTo>
                      <a:pt x="987" y="296"/>
                      <a:pt x="987" y="300"/>
                      <a:pt x="987" y="304"/>
                    </a:cubicBezTo>
                    <a:cubicBezTo>
                      <a:pt x="987" y="330"/>
                      <a:pt x="984" y="356"/>
                      <a:pt x="974" y="380"/>
                    </a:cubicBezTo>
                    <a:close/>
                    <a:moveTo>
                      <a:pt x="1901" y="429"/>
                    </a:moveTo>
                    <a:cubicBezTo>
                      <a:pt x="1873" y="450"/>
                      <a:pt x="1842" y="459"/>
                      <a:pt x="1807" y="455"/>
                    </a:cubicBezTo>
                    <a:cubicBezTo>
                      <a:pt x="1782" y="451"/>
                      <a:pt x="1763" y="439"/>
                      <a:pt x="1751" y="417"/>
                    </a:cubicBezTo>
                    <a:cubicBezTo>
                      <a:pt x="1743" y="402"/>
                      <a:pt x="1740" y="386"/>
                      <a:pt x="1739" y="370"/>
                    </a:cubicBezTo>
                    <a:cubicBezTo>
                      <a:pt x="1739" y="366"/>
                      <a:pt x="1739" y="366"/>
                      <a:pt x="1743" y="366"/>
                    </a:cubicBezTo>
                    <a:cubicBezTo>
                      <a:pt x="1801" y="366"/>
                      <a:pt x="1860" y="366"/>
                      <a:pt x="1919" y="366"/>
                    </a:cubicBezTo>
                    <a:cubicBezTo>
                      <a:pt x="1921" y="366"/>
                      <a:pt x="1922" y="365"/>
                      <a:pt x="1922" y="363"/>
                    </a:cubicBezTo>
                    <a:cubicBezTo>
                      <a:pt x="1922" y="355"/>
                      <a:pt x="1922" y="347"/>
                      <a:pt x="1922" y="339"/>
                    </a:cubicBezTo>
                    <a:cubicBezTo>
                      <a:pt x="1922" y="322"/>
                      <a:pt x="1920" y="306"/>
                      <a:pt x="1915" y="291"/>
                    </a:cubicBezTo>
                    <a:cubicBezTo>
                      <a:pt x="1907" y="267"/>
                      <a:pt x="1894" y="246"/>
                      <a:pt x="1872" y="234"/>
                    </a:cubicBezTo>
                    <a:cubicBezTo>
                      <a:pt x="1842" y="216"/>
                      <a:pt x="1809" y="215"/>
                      <a:pt x="1777" y="226"/>
                    </a:cubicBezTo>
                    <a:cubicBezTo>
                      <a:pt x="1745" y="236"/>
                      <a:pt x="1724" y="259"/>
                      <a:pt x="1710" y="289"/>
                    </a:cubicBezTo>
                    <a:cubicBezTo>
                      <a:pt x="1699" y="311"/>
                      <a:pt x="1695" y="335"/>
                      <a:pt x="1695" y="359"/>
                    </a:cubicBezTo>
                    <a:cubicBezTo>
                      <a:pt x="1696" y="381"/>
                      <a:pt x="1698" y="403"/>
                      <a:pt x="1707" y="423"/>
                    </a:cubicBezTo>
                    <a:cubicBezTo>
                      <a:pt x="1722" y="459"/>
                      <a:pt x="1748" y="482"/>
                      <a:pt x="1787" y="489"/>
                    </a:cubicBezTo>
                    <a:cubicBezTo>
                      <a:pt x="1810" y="494"/>
                      <a:pt x="1833" y="492"/>
                      <a:pt x="1856" y="487"/>
                    </a:cubicBezTo>
                    <a:cubicBezTo>
                      <a:pt x="1873" y="484"/>
                      <a:pt x="1888" y="478"/>
                      <a:pt x="1902" y="468"/>
                    </a:cubicBezTo>
                    <a:cubicBezTo>
                      <a:pt x="1903" y="467"/>
                      <a:pt x="1904" y="467"/>
                      <a:pt x="1904" y="465"/>
                    </a:cubicBezTo>
                    <a:cubicBezTo>
                      <a:pt x="1904" y="453"/>
                      <a:pt x="1904" y="441"/>
                      <a:pt x="1904" y="428"/>
                    </a:cubicBezTo>
                    <a:cubicBezTo>
                      <a:pt x="1903" y="428"/>
                      <a:pt x="1902" y="429"/>
                      <a:pt x="1901" y="429"/>
                    </a:cubicBezTo>
                    <a:close/>
                    <a:moveTo>
                      <a:pt x="1742" y="330"/>
                    </a:moveTo>
                    <a:cubicBezTo>
                      <a:pt x="1740" y="330"/>
                      <a:pt x="1739" y="330"/>
                      <a:pt x="1740" y="327"/>
                    </a:cubicBezTo>
                    <a:cubicBezTo>
                      <a:pt x="1744" y="304"/>
                      <a:pt x="1754" y="284"/>
                      <a:pt x="1773" y="269"/>
                    </a:cubicBezTo>
                    <a:cubicBezTo>
                      <a:pt x="1793" y="253"/>
                      <a:pt x="1825" y="250"/>
                      <a:pt x="1847" y="262"/>
                    </a:cubicBezTo>
                    <a:cubicBezTo>
                      <a:pt x="1863" y="271"/>
                      <a:pt x="1871" y="285"/>
                      <a:pt x="1876" y="302"/>
                    </a:cubicBezTo>
                    <a:cubicBezTo>
                      <a:pt x="1878" y="310"/>
                      <a:pt x="1879" y="319"/>
                      <a:pt x="1879" y="327"/>
                    </a:cubicBezTo>
                    <a:cubicBezTo>
                      <a:pt x="1879" y="330"/>
                      <a:pt x="1879" y="330"/>
                      <a:pt x="1876" y="330"/>
                    </a:cubicBezTo>
                    <a:cubicBezTo>
                      <a:pt x="1854" y="330"/>
                      <a:pt x="1832" y="330"/>
                      <a:pt x="1809" y="330"/>
                    </a:cubicBezTo>
                    <a:cubicBezTo>
                      <a:pt x="1787" y="330"/>
                      <a:pt x="1765" y="330"/>
                      <a:pt x="1742" y="330"/>
                    </a:cubicBezTo>
                    <a:close/>
                    <a:moveTo>
                      <a:pt x="1667" y="234"/>
                    </a:moveTo>
                    <a:cubicBezTo>
                      <a:pt x="1667" y="233"/>
                      <a:pt x="1666" y="232"/>
                      <a:pt x="1665" y="231"/>
                    </a:cubicBezTo>
                    <a:cubicBezTo>
                      <a:pt x="1660" y="229"/>
                      <a:pt x="1655" y="227"/>
                      <a:pt x="1649" y="225"/>
                    </a:cubicBezTo>
                    <a:cubicBezTo>
                      <a:pt x="1625" y="218"/>
                      <a:pt x="1600" y="217"/>
                      <a:pt x="1576" y="222"/>
                    </a:cubicBezTo>
                    <a:cubicBezTo>
                      <a:pt x="1535" y="229"/>
                      <a:pt x="1504" y="252"/>
                      <a:pt x="1486" y="290"/>
                    </a:cubicBezTo>
                    <a:cubicBezTo>
                      <a:pt x="1469" y="325"/>
                      <a:pt x="1466" y="362"/>
                      <a:pt x="1476" y="400"/>
                    </a:cubicBezTo>
                    <a:cubicBezTo>
                      <a:pt x="1486" y="440"/>
                      <a:pt x="1510" y="469"/>
                      <a:pt x="1550" y="484"/>
                    </a:cubicBezTo>
                    <a:cubicBezTo>
                      <a:pt x="1569" y="491"/>
                      <a:pt x="1589" y="493"/>
                      <a:pt x="1609" y="491"/>
                    </a:cubicBezTo>
                    <a:cubicBezTo>
                      <a:pt x="1629" y="489"/>
                      <a:pt x="1647" y="484"/>
                      <a:pt x="1663" y="475"/>
                    </a:cubicBezTo>
                    <a:cubicBezTo>
                      <a:pt x="1665" y="474"/>
                      <a:pt x="1666" y="473"/>
                      <a:pt x="1666" y="470"/>
                    </a:cubicBezTo>
                    <a:cubicBezTo>
                      <a:pt x="1666" y="459"/>
                      <a:pt x="1666" y="448"/>
                      <a:pt x="1666" y="437"/>
                    </a:cubicBezTo>
                    <a:cubicBezTo>
                      <a:pt x="1666" y="436"/>
                      <a:pt x="1666" y="435"/>
                      <a:pt x="1665" y="434"/>
                    </a:cubicBezTo>
                    <a:cubicBezTo>
                      <a:pt x="1665" y="435"/>
                      <a:pt x="1664" y="435"/>
                      <a:pt x="1663" y="436"/>
                    </a:cubicBezTo>
                    <a:cubicBezTo>
                      <a:pt x="1642" y="450"/>
                      <a:pt x="1619" y="458"/>
                      <a:pt x="1593" y="456"/>
                    </a:cubicBezTo>
                    <a:cubicBezTo>
                      <a:pt x="1558" y="453"/>
                      <a:pt x="1534" y="435"/>
                      <a:pt x="1521" y="402"/>
                    </a:cubicBezTo>
                    <a:cubicBezTo>
                      <a:pt x="1511" y="376"/>
                      <a:pt x="1511" y="349"/>
                      <a:pt x="1518" y="323"/>
                    </a:cubicBezTo>
                    <a:cubicBezTo>
                      <a:pt x="1524" y="301"/>
                      <a:pt x="1535" y="284"/>
                      <a:pt x="1553" y="271"/>
                    </a:cubicBezTo>
                    <a:cubicBezTo>
                      <a:pt x="1576" y="254"/>
                      <a:pt x="1602" y="252"/>
                      <a:pt x="1630" y="258"/>
                    </a:cubicBezTo>
                    <a:cubicBezTo>
                      <a:pt x="1643" y="261"/>
                      <a:pt x="1655" y="267"/>
                      <a:pt x="1667" y="275"/>
                    </a:cubicBezTo>
                    <a:cubicBezTo>
                      <a:pt x="1667" y="261"/>
                      <a:pt x="1666" y="247"/>
                      <a:pt x="1667" y="234"/>
                    </a:cubicBezTo>
                    <a:close/>
                    <a:moveTo>
                      <a:pt x="1387" y="481"/>
                    </a:moveTo>
                    <a:cubicBezTo>
                      <a:pt x="1387" y="484"/>
                      <a:pt x="1387" y="485"/>
                      <a:pt x="1391" y="485"/>
                    </a:cubicBezTo>
                    <a:cubicBezTo>
                      <a:pt x="1402" y="485"/>
                      <a:pt x="1413" y="485"/>
                      <a:pt x="1425" y="485"/>
                    </a:cubicBezTo>
                    <a:cubicBezTo>
                      <a:pt x="1428" y="485"/>
                      <a:pt x="1429" y="485"/>
                      <a:pt x="1429" y="481"/>
                    </a:cubicBezTo>
                    <a:cubicBezTo>
                      <a:pt x="1428" y="449"/>
                      <a:pt x="1429" y="417"/>
                      <a:pt x="1429" y="385"/>
                    </a:cubicBezTo>
                    <a:cubicBezTo>
                      <a:pt x="1429" y="333"/>
                      <a:pt x="1429" y="281"/>
                      <a:pt x="1429" y="230"/>
                    </a:cubicBezTo>
                    <a:cubicBezTo>
                      <a:pt x="1429" y="225"/>
                      <a:pt x="1429" y="225"/>
                      <a:pt x="1424" y="225"/>
                    </a:cubicBezTo>
                    <a:cubicBezTo>
                      <a:pt x="1413" y="225"/>
                      <a:pt x="1402" y="225"/>
                      <a:pt x="1391" y="225"/>
                    </a:cubicBezTo>
                    <a:cubicBezTo>
                      <a:pt x="1388" y="225"/>
                      <a:pt x="1387" y="226"/>
                      <a:pt x="1387" y="229"/>
                    </a:cubicBezTo>
                    <a:cubicBezTo>
                      <a:pt x="1387" y="271"/>
                      <a:pt x="1387" y="313"/>
                      <a:pt x="1387" y="355"/>
                    </a:cubicBezTo>
                    <a:cubicBezTo>
                      <a:pt x="1387" y="397"/>
                      <a:pt x="1387" y="439"/>
                      <a:pt x="1387" y="481"/>
                    </a:cubicBezTo>
                    <a:close/>
                    <a:moveTo>
                      <a:pt x="1436" y="132"/>
                    </a:moveTo>
                    <a:cubicBezTo>
                      <a:pt x="1436" y="117"/>
                      <a:pt x="1424" y="105"/>
                      <a:pt x="1408" y="105"/>
                    </a:cubicBezTo>
                    <a:cubicBezTo>
                      <a:pt x="1393" y="105"/>
                      <a:pt x="1381" y="117"/>
                      <a:pt x="1381" y="133"/>
                    </a:cubicBezTo>
                    <a:cubicBezTo>
                      <a:pt x="1381" y="148"/>
                      <a:pt x="1392" y="160"/>
                      <a:pt x="1408" y="160"/>
                    </a:cubicBezTo>
                    <a:cubicBezTo>
                      <a:pt x="1424" y="160"/>
                      <a:pt x="1436" y="148"/>
                      <a:pt x="1436" y="132"/>
                    </a:cubicBezTo>
                    <a:close/>
                    <a:moveTo>
                      <a:pt x="1" y="486"/>
                    </a:moveTo>
                    <a:cubicBezTo>
                      <a:pt x="1" y="486"/>
                      <a:pt x="1" y="486"/>
                      <a:pt x="1" y="486"/>
                    </a:cubicBezTo>
                    <a:cubicBezTo>
                      <a:pt x="1" y="486"/>
                      <a:pt x="1" y="486"/>
                      <a:pt x="2" y="486"/>
                    </a:cubicBezTo>
                    <a:cubicBezTo>
                      <a:pt x="2" y="486"/>
                      <a:pt x="2" y="486"/>
                      <a:pt x="2" y="486"/>
                    </a:cubicBezTo>
                    <a:cubicBezTo>
                      <a:pt x="1" y="486"/>
                      <a:pt x="1" y="486"/>
                      <a:pt x="1" y="486"/>
                    </a:cubicBezTo>
                    <a:close/>
                  </a:path>
                </a:pathLst>
              </a:custGeom>
              <a:solidFill>
                <a:srgbClr val="DC3C00"/>
              </a:solidFill>
              <a:ln>
                <a:noFill/>
              </a:ln>
              <a:extLst/>
            </p:spPr>
            <p:txBody>
              <a:bodyPr vert="horz" wrap="square" lIns="89606" tIns="44803" rIns="89606" bIns="44803" numCol="1" anchor="t" anchorCtr="0" compatLnSpc="1">
                <a:prstTxWarp prst="textNoShape">
                  <a:avLst/>
                </a:prstTxWarp>
              </a:bodyPr>
              <a:lstStyle/>
              <a:p>
                <a:pPr defTabSz="914005"/>
                <a:endParaRPr lang="en-US" sz="1764">
                  <a:solidFill>
                    <a:prstClr val="black"/>
                  </a:solidFill>
                </a:endParaRPr>
              </a:p>
            </p:txBody>
          </p:sp>
          <p:sp>
            <p:nvSpPr>
              <p:cNvPr id="59" name="Freeform 5"/>
              <p:cNvSpPr>
                <a:spLocks noEditPoints="1"/>
              </p:cNvSpPr>
              <p:nvPr/>
            </p:nvSpPr>
            <p:spPr bwMode="auto">
              <a:xfrm>
                <a:off x="3405263" y="4223288"/>
                <a:ext cx="2055301" cy="412914"/>
              </a:xfrm>
              <a:custGeom>
                <a:avLst/>
                <a:gdLst>
                  <a:gd name="T0" fmla="*/ 271 w 1687"/>
                  <a:gd name="T1" fmla="*/ 82 h 337"/>
                  <a:gd name="T2" fmla="*/ 348 w 1687"/>
                  <a:gd name="T3" fmla="*/ 192 h 337"/>
                  <a:gd name="T4" fmla="*/ 238 w 1687"/>
                  <a:gd name="T5" fmla="*/ 291 h 337"/>
                  <a:gd name="T6" fmla="*/ 260 w 1687"/>
                  <a:gd name="T7" fmla="*/ 232 h 337"/>
                  <a:gd name="T8" fmla="*/ 301 w 1687"/>
                  <a:gd name="T9" fmla="*/ 141 h 337"/>
                  <a:gd name="T10" fmla="*/ 215 w 1687"/>
                  <a:gd name="T11" fmla="*/ 80 h 337"/>
                  <a:gd name="T12" fmla="*/ 579 w 1687"/>
                  <a:gd name="T13" fmla="*/ 62 h 337"/>
                  <a:gd name="T14" fmla="*/ 602 w 1687"/>
                  <a:gd name="T15" fmla="*/ 265 h 337"/>
                  <a:gd name="T16" fmla="*/ 676 w 1687"/>
                  <a:gd name="T17" fmla="*/ 191 h 337"/>
                  <a:gd name="T18" fmla="*/ 699 w 1687"/>
                  <a:gd name="T19" fmla="*/ 181 h 337"/>
                  <a:gd name="T20" fmla="*/ 602 w 1687"/>
                  <a:gd name="T21" fmla="*/ 143 h 337"/>
                  <a:gd name="T22" fmla="*/ 453 w 1687"/>
                  <a:gd name="T23" fmla="*/ 156 h 337"/>
                  <a:gd name="T24" fmla="*/ 469 w 1687"/>
                  <a:gd name="T25" fmla="*/ 250 h 337"/>
                  <a:gd name="T26" fmla="*/ 549 w 1687"/>
                  <a:gd name="T27" fmla="*/ 231 h 337"/>
                  <a:gd name="T28" fmla="*/ 496 w 1687"/>
                  <a:gd name="T29" fmla="*/ 86 h 337"/>
                  <a:gd name="T30" fmla="*/ 1468 w 1687"/>
                  <a:gd name="T31" fmla="*/ 126 h 337"/>
                  <a:gd name="T32" fmla="*/ 1488 w 1687"/>
                  <a:gd name="T33" fmla="*/ 265 h 337"/>
                  <a:gd name="T34" fmla="*/ 1561 w 1687"/>
                  <a:gd name="T35" fmla="*/ 265 h 337"/>
                  <a:gd name="T36" fmla="*/ 1583 w 1687"/>
                  <a:gd name="T37" fmla="*/ 164 h 337"/>
                  <a:gd name="T38" fmla="*/ 1651 w 1687"/>
                  <a:gd name="T39" fmla="*/ 237 h 337"/>
                  <a:gd name="T40" fmla="*/ 1687 w 1687"/>
                  <a:gd name="T41" fmla="*/ 142 h 337"/>
                  <a:gd name="T42" fmla="*/ 1651 w 1687"/>
                  <a:gd name="T43" fmla="*/ 87 h 337"/>
                  <a:gd name="T44" fmla="*/ 1624 w 1687"/>
                  <a:gd name="T45" fmla="*/ 126 h 337"/>
                  <a:gd name="T46" fmla="*/ 1623 w 1687"/>
                  <a:gd name="T47" fmla="*/ 146 h 337"/>
                  <a:gd name="T48" fmla="*/ 1687 w 1687"/>
                  <a:gd name="T49" fmla="*/ 266 h 337"/>
                  <a:gd name="T50" fmla="*/ 898 w 1687"/>
                  <a:gd name="T51" fmla="*/ 149 h 337"/>
                  <a:gd name="T52" fmla="*/ 872 w 1687"/>
                  <a:gd name="T53" fmla="*/ 129 h 337"/>
                  <a:gd name="T54" fmla="*/ 895 w 1687"/>
                  <a:gd name="T55" fmla="*/ 263 h 337"/>
                  <a:gd name="T56" fmla="*/ 947 w 1687"/>
                  <a:gd name="T57" fmla="*/ 130 h 337"/>
                  <a:gd name="T58" fmla="*/ 1403 w 1687"/>
                  <a:gd name="T59" fmla="*/ 192 h 337"/>
                  <a:gd name="T60" fmla="*/ 1426 w 1687"/>
                  <a:gd name="T61" fmla="*/ 198 h 337"/>
                  <a:gd name="T62" fmla="*/ 1415 w 1687"/>
                  <a:gd name="T63" fmla="*/ 89 h 337"/>
                  <a:gd name="T64" fmla="*/ 0 w 1687"/>
                  <a:gd name="T65" fmla="*/ 298 h 337"/>
                  <a:gd name="T66" fmla="*/ 197 w 1687"/>
                  <a:gd name="T67" fmla="*/ 169 h 337"/>
                  <a:gd name="T68" fmla="*/ 100 w 1687"/>
                  <a:gd name="T69" fmla="*/ 122 h 337"/>
                  <a:gd name="T70" fmla="*/ 64 w 1687"/>
                  <a:gd name="T71" fmla="*/ 166 h 337"/>
                  <a:gd name="T72" fmla="*/ 75 w 1687"/>
                  <a:gd name="T73" fmla="*/ 214 h 337"/>
                  <a:gd name="T74" fmla="*/ 123 w 1687"/>
                  <a:gd name="T75" fmla="*/ 213 h 337"/>
                  <a:gd name="T76" fmla="*/ 1128 w 1687"/>
                  <a:gd name="T77" fmla="*/ 265 h 337"/>
                  <a:gd name="T78" fmla="*/ 1104 w 1687"/>
                  <a:gd name="T79" fmla="*/ 169 h 337"/>
                  <a:gd name="T80" fmla="*/ 1228 w 1687"/>
                  <a:gd name="T81" fmla="*/ 123 h 337"/>
                  <a:gd name="T82" fmla="*/ 1128 w 1687"/>
                  <a:gd name="T83" fmla="*/ 131 h 337"/>
                  <a:gd name="T84" fmla="*/ 1170 w 1687"/>
                  <a:gd name="T85" fmla="*/ 91 h 337"/>
                  <a:gd name="T86" fmla="*/ 989 w 1687"/>
                  <a:gd name="T87" fmla="*/ 243 h 337"/>
                  <a:gd name="T88" fmla="*/ 1004 w 1687"/>
                  <a:gd name="T89" fmla="*/ 273 h 337"/>
                  <a:gd name="T90" fmla="*/ 1073 w 1687"/>
                  <a:gd name="T91" fmla="*/ 169 h 337"/>
                  <a:gd name="T92" fmla="*/ 978 w 1687"/>
                  <a:gd name="T93" fmla="*/ 184 h 337"/>
                  <a:gd name="T94" fmla="*/ 1366 w 1687"/>
                  <a:gd name="T95" fmla="*/ 238 h 337"/>
                  <a:gd name="T96" fmla="*/ 1343 w 1687"/>
                  <a:gd name="T97" fmla="*/ 131 h 337"/>
                  <a:gd name="T98" fmla="*/ 1309 w 1687"/>
                  <a:gd name="T99" fmla="*/ 142 h 337"/>
                  <a:gd name="T100" fmla="*/ 1351 w 1687"/>
                  <a:gd name="T101" fmla="*/ 197 h 337"/>
                  <a:gd name="T102" fmla="*/ 813 w 1687"/>
                  <a:gd name="T103" fmla="*/ 247 h 337"/>
                  <a:gd name="T104" fmla="*/ 807 w 1687"/>
                  <a:gd name="T105" fmla="*/ 179 h 337"/>
                  <a:gd name="T106" fmla="*/ 736 w 1687"/>
                  <a:gd name="T107" fmla="*/ 159 h 337"/>
                  <a:gd name="T108" fmla="*/ 836 w 1687"/>
                  <a:gd name="T109" fmla="*/ 174 h 337"/>
                  <a:gd name="T110" fmla="*/ 747 w 1687"/>
                  <a:gd name="T111" fmla="*/ 224 h 337"/>
                  <a:gd name="T112" fmla="*/ 809 w 1687"/>
                  <a:gd name="T113" fmla="*/ 198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87" h="337">
                    <a:moveTo>
                      <a:pt x="215" y="80"/>
                    </a:moveTo>
                    <a:cubicBezTo>
                      <a:pt x="215" y="73"/>
                      <a:pt x="216" y="67"/>
                      <a:pt x="215" y="60"/>
                    </a:cubicBezTo>
                    <a:cubicBezTo>
                      <a:pt x="215" y="58"/>
                      <a:pt x="216" y="56"/>
                      <a:pt x="218" y="55"/>
                    </a:cubicBezTo>
                    <a:cubicBezTo>
                      <a:pt x="228" y="46"/>
                      <a:pt x="242" y="44"/>
                      <a:pt x="253" y="50"/>
                    </a:cubicBezTo>
                    <a:cubicBezTo>
                      <a:pt x="265" y="57"/>
                      <a:pt x="271" y="68"/>
                      <a:pt x="271" y="82"/>
                    </a:cubicBezTo>
                    <a:cubicBezTo>
                      <a:pt x="271" y="85"/>
                      <a:pt x="272" y="87"/>
                      <a:pt x="275" y="88"/>
                    </a:cubicBezTo>
                    <a:cubicBezTo>
                      <a:pt x="294" y="98"/>
                      <a:pt x="308" y="113"/>
                      <a:pt x="317" y="132"/>
                    </a:cubicBezTo>
                    <a:cubicBezTo>
                      <a:pt x="318" y="134"/>
                      <a:pt x="318" y="136"/>
                      <a:pt x="321" y="136"/>
                    </a:cubicBezTo>
                    <a:cubicBezTo>
                      <a:pt x="336" y="134"/>
                      <a:pt x="348" y="142"/>
                      <a:pt x="354" y="154"/>
                    </a:cubicBezTo>
                    <a:cubicBezTo>
                      <a:pt x="360" y="167"/>
                      <a:pt x="357" y="182"/>
                      <a:pt x="348" y="192"/>
                    </a:cubicBezTo>
                    <a:cubicBezTo>
                      <a:pt x="340" y="200"/>
                      <a:pt x="332" y="203"/>
                      <a:pt x="321" y="202"/>
                    </a:cubicBezTo>
                    <a:cubicBezTo>
                      <a:pt x="319" y="202"/>
                      <a:pt x="318" y="202"/>
                      <a:pt x="317" y="204"/>
                    </a:cubicBezTo>
                    <a:cubicBezTo>
                      <a:pt x="308" y="225"/>
                      <a:pt x="294" y="241"/>
                      <a:pt x="273" y="250"/>
                    </a:cubicBezTo>
                    <a:cubicBezTo>
                      <a:pt x="270" y="251"/>
                      <a:pt x="271" y="253"/>
                      <a:pt x="271" y="255"/>
                    </a:cubicBezTo>
                    <a:cubicBezTo>
                      <a:pt x="272" y="275"/>
                      <a:pt x="257" y="291"/>
                      <a:pt x="238" y="291"/>
                    </a:cubicBezTo>
                    <a:cubicBezTo>
                      <a:pt x="234" y="291"/>
                      <a:pt x="230" y="290"/>
                      <a:pt x="226" y="288"/>
                    </a:cubicBezTo>
                    <a:cubicBezTo>
                      <a:pt x="219" y="285"/>
                      <a:pt x="215" y="281"/>
                      <a:pt x="215" y="272"/>
                    </a:cubicBezTo>
                    <a:cubicBezTo>
                      <a:pt x="216" y="261"/>
                      <a:pt x="216" y="249"/>
                      <a:pt x="215" y="238"/>
                    </a:cubicBezTo>
                    <a:cubicBezTo>
                      <a:pt x="215" y="235"/>
                      <a:pt x="216" y="233"/>
                      <a:pt x="219" y="231"/>
                    </a:cubicBezTo>
                    <a:cubicBezTo>
                      <a:pt x="231" y="221"/>
                      <a:pt x="248" y="222"/>
                      <a:pt x="260" y="232"/>
                    </a:cubicBezTo>
                    <a:cubicBezTo>
                      <a:pt x="262" y="234"/>
                      <a:pt x="264" y="234"/>
                      <a:pt x="267" y="233"/>
                    </a:cubicBezTo>
                    <a:cubicBezTo>
                      <a:pt x="283" y="225"/>
                      <a:pt x="294" y="213"/>
                      <a:pt x="301" y="197"/>
                    </a:cubicBezTo>
                    <a:cubicBezTo>
                      <a:pt x="302" y="195"/>
                      <a:pt x="302" y="193"/>
                      <a:pt x="301" y="191"/>
                    </a:cubicBezTo>
                    <a:cubicBezTo>
                      <a:pt x="289" y="177"/>
                      <a:pt x="289" y="161"/>
                      <a:pt x="300" y="147"/>
                    </a:cubicBezTo>
                    <a:cubicBezTo>
                      <a:pt x="302" y="145"/>
                      <a:pt x="303" y="143"/>
                      <a:pt x="301" y="141"/>
                    </a:cubicBezTo>
                    <a:cubicBezTo>
                      <a:pt x="294" y="124"/>
                      <a:pt x="282" y="112"/>
                      <a:pt x="266" y="104"/>
                    </a:cubicBezTo>
                    <a:cubicBezTo>
                      <a:pt x="264" y="103"/>
                      <a:pt x="262" y="103"/>
                      <a:pt x="260" y="105"/>
                    </a:cubicBezTo>
                    <a:cubicBezTo>
                      <a:pt x="248" y="116"/>
                      <a:pt x="231" y="117"/>
                      <a:pt x="218" y="106"/>
                    </a:cubicBezTo>
                    <a:cubicBezTo>
                      <a:pt x="216" y="105"/>
                      <a:pt x="215" y="103"/>
                      <a:pt x="215" y="100"/>
                    </a:cubicBezTo>
                    <a:cubicBezTo>
                      <a:pt x="216" y="93"/>
                      <a:pt x="215" y="87"/>
                      <a:pt x="215" y="80"/>
                    </a:cubicBezTo>
                    <a:close/>
                    <a:moveTo>
                      <a:pt x="602" y="143"/>
                    </a:moveTo>
                    <a:cubicBezTo>
                      <a:pt x="602" y="116"/>
                      <a:pt x="602" y="88"/>
                      <a:pt x="602" y="61"/>
                    </a:cubicBezTo>
                    <a:cubicBezTo>
                      <a:pt x="602" y="58"/>
                      <a:pt x="602" y="56"/>
                      <a:pt x="598" y="56"/>
                    </a:cubicBezTo>
                    <a:cubicBezTo>
                      <a:pt x="593" y="57"/>
                      <a:pt x="589" y="57"/>
                      <a:pt x="584" y="56"/>
                    </a:cubicBezTo>
                    <a:cubicBezTo>
                      <a:pt x="580" y="56"/>
                      <a:pt x="579" y="58"/>
                      <a:pt x="579" y="62"/>
                    </a:cubicBezTo>
                    <a:cubicBezTo>
                      <a:pt x="579" y="126"/>
                      <a:pt x="579" y="190"/>
                      <a:pt x="579" y="254"/>
                    </a:cubicBezTo>
                    <a:cubicBezTo>
                      <a:pt x="579" y="258"/>
                      <a:pt x="579" y="262"/>
                      <a:pt x="579" y="266"/>
                    </a:cubicBezTo>
                    <a:cubicBezTo>
                      <a:pt x="579" y="269"/>
                      <a:pt x="580" y="270"/>
                      <a:pt x="583" y="270"/>
                    </a:cubicBezTo>
                    <a:cubicBezTo>
                      <a:pt x="588" y="270"/>
                      <a:pt x="593" y="270"/>
                      <a:pt x="598" y="270"/>
                    </a:cubicBezTo>
                    <a:cubicBezTo>
                      <a:pt x="601" y="270"/>
                      <a:pt x="602" y="269"/>
                      <a:pt x="602" y="265"/>
                    </a:cubicBezTo>
                    <a:cubicBezTo>
                      <a:pt x="602" y="239"/>
                      <a:pt x="602" y="213"/>
                      <a:pt x="602" y="187"/>
                    </a:cubicBezTo>
                    <a:cubicBezTo>
                      <a:pt x="602" y="175"/>
                      <a:pt x="606" y="164"/>
                      <a:pt x="614" y="154"/>
                    </a:cubicBezTo>
                    <a:cubicBezTo>
                      <a:pt x="625" y="143"/>
                      <a:pt x="637" y="140"/>
                      <a:pt x="652" y="143"/>
                    </a:cubicBezTo>
                    <a:cubicBezTo>
                      <a:pt x="666" y="147"/>
                      <a:pt x="671" y="157"/>
                      <a:pt x="674" y="170"/>
                    </a:cubicBezTo>
                    <a:cubicBezTo>
                      <a:pt x="675" y="177"/>
                      <a:pt x="676" y="184"/>
                      <a:pt x="676" y="191"/>
                    </a:cubicBezTo>
                    <a:cubicBezTo>
                      <a:pt x="676" y="215"/>
                      <a:pt x="676" y="240"/>
                      <a:pt x="675" y="265"/>
                    </a:cubicBezTo>
                    <a:cubicBezTo>
                      <a:pt x="675" y="269"/>
                      <a:pt x="677" y="270"/>
                      <a:pt x="681" y="270"/>
                    </a:cubicBezTo>
                    <a:cubicBezTo>
                      <a:pt x="686" y="270"/>
                      <a:pt x="690" y="270"/>
                      <a:pt x="695" y="270"/>
                    </a:cubicBezTo>
                    <a:cubicBezTo>
                      <a:pt x="698" y="270"/>
                      <a:pt x="699" y="269"/>
                      <a:pt x="699" y="265"/>
                    </a:cubicBezTo>
                    <a:cubicBezTo>
                      <a:pt x="699" y="237"/>
                      <a:pt x="699" y="209"/>
                      <a:pt x="699" y="181"/>
                    </a:cubicBezTo>
                    <a:cubicBezTo>
                      <a:pt x="699" y="174"/>
                      <a:pt x="698" y="167"/>
                      <a:pt x="697" y="160"/>
                    </a:cubicBezTo>
                    <a:cubicBezTo>
                      <a:pt x="694" y="147"/>
                      <a:pt x="688" y="135"/>
                      <a:pt x="675" y="128"/>
                    </a:cubicBezTo>
                    <a:cubicBezTo>
                      <a:pt x="656" y="117"/>
                      <a:pt x="628" y="122"/>
                      <a:pt x="612" y="137"/>
                    </a:cubicBezTo>
                    <a:cubicBezTo>
                      <a:pt x="609" y="141"/>
                      <a:pt x="606" y="145"/>
                      <a:pt x="602" y="149"/>
                    </a:cubicBezTo>
                    <a:cubicBezTo>
                      <a:pt x="602" y="147"/>
                      <a:pt x="602" y="145"/>
                      <a:pt x="602" y="143"/>
                    </a:cubicBezTo>
                    <a:close/>
                    <a:moveTo>
                      <a:pt x="541" y="75"/>
                    </a:moveTo>
                    <a:cubicBezTo>
                      <a:pt x="541" y="72"/>
                      <a:pt x="541" y="71"/>
                      <a:pt x="538" y="70"/>
                    </a:cubicBezTo>
                    <a:cubicBezTo>
                      <a:pt x="532" y="68"/>
                      <a:pt x="526" y="66"/>
                      <a:pt x="520" y="66"/>
                    </a:cubicBezTo>
                    <a:cubicBezTo>
                      <a:pt x="503" y="64"/>
                      <a:pt x="485" y="64"/>
                      <a:pt x="469" y="71"/>
                    </a:cubicBezTo>
                    <a:cubicBezTo>
                      <a:pt x="429" y="89"/>
                      <a:pt x="430" y="136"/>
                      <a:pt x="453" y="156"/>
                    </a:cubicBezTo>
                    <a:cubicBezTo>
                      <a:pt x="463" y="165"/>
                      <a:pt x="474" y="172"/>
                      <a:pt x="485" y="178"/>
                    </a:cubicBezTo>
                    <a:cubicBezTo>
                      <a:pt x="496" y="184"/>
                      <a:pt x="507" y="191"/>
                      <a:pt x="516" y="200"/>
                    </a:cubicBezTo>
                    <a:cubicBezTo>
                      <a:pt x="525" y="209"/>
                      <a:pt x="527" y="220"/>
                      <a:pt x="523" y="232"/>
                    </a:cubicBezTo>
                    <a:cubicBezTo>
                      <a:pt x="520" y="243"/>
                      <a:pt x="511" y="248"/>
                      <a:pt x="500" y="251"/>
                    </a:cubicBezTo>
                    <a:cubicBezTo>
                      <a:pt x="490" y="253"/>
                      <a:pt x="480" y="252"/>
                      <a:pt x="469" y="250"/>
                    </a:cubicBezTo>
                    <a:cubicBezTo>
                      <a:pt x="458" y="247"/>
                      <a:pt x="447" y="242"/>
                      <a:pt x="437" y="234"/>
                    </a:cubicBezTo>
                    <a:cubicBezTo>
                      <a:pt x="437" y="242"/>
                      <a:pt x="438" y="250"/>
                      <a:pt x="437" y="257"/>
                    </a:cubicBezTo>
                    <a:cubicBezTo>
                      <a:pt x="437" y="261"/>
                      <a:pt x="438" y="263"/>
                      <a:pt x="442" y="265"/>
                    </a:cubicBezTo>
                    <a:cubicBezTo>
                      <a:pt x="464" y="273"/>
                      <a:pt x="486" y="277"/>
                      <a:pt x="509" y="270"/>
                    </a:cubicBezTo>
                    <a:cubicBezTo>
                      <a:pt x="529" y="265"/>
                      <a:pt x="544" y="253"/>
                      <a:pt x="549" y="231"/>
                    </a:cubicBezTo>
                    <a:cubicBezTo>
                      <a:pt x="553" y="209"/>
                      <a:pt x="546" y="191"/>
                      <a:pt x="528" y="178"/>
                    </a:cubicBezTo>
                    <a:cubicBezTo>
                      <a:pt x="517" y="169"/>
                      <a:pt x="505" y="162"/>
                      <a:pt x="493" y="155"/>
                    </a:cubicBezTo>
                    <a:cubicBezTo>
                      <a:pt x="485" y="151"/>
                      <a:pt x="477" y="146"/>
                      <a:pt x="471" y="139"/>
                    </a:cubicBezTo>
                    <a:cubicBezTo>
                      <a:pt x="456" y="124"/>
                      <a:pt x="461" y="100"/>
                      <a:pt x="480" y="90"/>
                    </a:cubicBezTo>
                    <a:cubicBezTo>
                      <a:pt x="485" y="88"/>
                      <a:pt x="490" y="87"/>
                      <a:pt x="496" y="86"/>
                    </a:cubicBezTo>
                    <a:cubicBezTo>
                      <a:pt x="512" y="86"/>
                      <a:pt x="527" y="88"/>
                      <a:pt x="541" y="99"/>
                    </a:cubicBezTo>
                    <a:cubicBezTo>
                      <a:pt x="541" y="90"/>
                      <a:pt x="541" y="82"/>
                      <a:pt x="541" y="75"/>
                    </a:cubicBezTo>
                    <a:close/>
                    <a:moveTo>
                      <a:pt x="1488" y="129"/>
                    </a:moveTo>
                    <a:cubicBezTo>
                      <a:pt x="1488" y="127"/>
                      <a:pt x="1488" y="125"/>
                      <a:pt x="1484" y="126"/>
                    </a:cubicBezTo>
                    <a:cubicBezTo>
                      <a:pt x="1479" y="126"/>
                      <a:pt x="1474" y="126"/>
                      <a:pt x="1468" y="126"/>
                    </a:cubicBezTo>
                    <a:cubicBezTo>
                      <a:pt x="1465" y="126"/>
                      <a:pt x="1465" y="127"/>
                      <a:pt x="1465" y="129"/>
                    </a:cubicBezTo>
                    <a:cubicBezTo>
                      <a:pt x="1465" y="175"/>
                      <a:pt x="1465" y="220"/>
                      <a:pt x="1465" y="266"/>
                    </a:cubicBezTo>
                    <a:cubicBezTo>
                      <a:pt x="1465" y="269"/>
                      <a:pt x="1466" y="270"/>
                      <a:pt x="1469" y="270"/>
                    </a:cubicBezTo>
                    <a:cubicBezTo>
                      <a:pt x="1474" y="270"/>
                      <a:pt x="1478" y="270"/>
                      <a:pt x="1483" y="270"/>
                    </a:cubicBezTo>
                    <a:cubicBezTo>
                      <a:pt x="1487" y="270"/>
                      <a:pt x="1488" y="269"/>
                      <a:pt x="1488" y="265"/>
                    </a:cubicBezTo>
                    <a:cubicBezTo>
                      <a:pt x="1488" y="239"/>
                      <a:pt x="1488" y="212"/>
                      <a:pt x="1488" y="186"/>
                    </a:cubicBezTo>
                    <a:cubicBezTo>
                      <a:pt x="1488" y="172"/>
                      <a:pt x="1493" y="160"/>
                      <a:pt x="1504" y="151"/>
                    </a:cubicBezTo>
                    <a:cubicBezTo>
                      <a:pt x="1525" y="133"/>
                      <a:pt x="1553" y="142"/>
                      <a:pt x="1559" y="169"/>
                    </a:cubicBezTo>
                    <a:cubicBezTo>
                      <a:pt x="1561" y="175"/>
                      <a:pt x="1561" y="182"/>
                      <a:pt x="1561" y="188"/>
                    </a:cubicBezTo>
                    <a:cubicBezTo>
                      <a:pt x="1561" y="214"/>
                      <a:pt x="1561" y="239"/>
                      <a:pt x="1561" y="265"/>
                    </a:cubicBezTo>
                    <a:cubicBezTo>
                      <a:pt x="1561" y="269"/>
                      <a:pt x="1562" y="270"/>
                      <a:pt x="1566" y="270"/>
                    </a:cubicBezTo>
                    <a:cubicBezTo>
                      <a:pt x="1571" y="270"/>
                      <a:pt x="1575" y="270"/>
                      <a:pt x="1580" y="270"/>
                    </a:cubicBezTo>
                    <a:cubicBezTo>
                      <a:pt x="1584" y="270"/>
                      <a:pt x="1584" y="269"/>
                      <a:pt x="1584" y="265"/>
                    </a:cubicBezTo>
                    <a:cubicBezTo>
                      <a:pt x="1584" y="237"/>
                      <a:pt x="1584" y="209"/>
                      <a:pt x="1584" y="180"/>
                    </a:cubicBezTo>
                    <a:cubicBezTo>
                      <a:pt x="1584" y="175"/>
                      <a:pt x="1584" y="169"/>
                      <a:pt x="1583" y="164"/>
                    </a:cubicBezTo>
                    <a:cubicBezTo>
                      <a:pt x="1577" y="131"/>
                      <a:pt x="1555" y="118"/>
                      <a:pt x="1524" y="123"/>
                    </a:cubicBezTo>
                    <a:cubicBezTo>
                      <a:pt x="1508" y="126"/>
                      <a:pt x="1497" y="135"/>
                      <a:pt x="1488" y="149"/>
                    </a:cubicBezTo>
                    <a:cubicBezTo>
                      <a:pt x="1488" y="142"/>
                      <a:pt x="1488" y="136"/>
                      <a:pt x="1488" y="129"/>
                    </a:cubicBezTo>
                    <a:close/>
                    <a:moveTo>
                      <a:pt x="1681" y="252"/>
                    </a:moveTo>
                    <a:cubicBezTo>
                      <a:pt x="1667" y="257"/>
                      <a:pt x="1654" y="251"/>
                      <a:pt x="1651" y="237"/>
                    </a:cubicBezTo>
                    <a:cubicBezTo>
                      <a:pt x="1651" y="234"/>
                      <a:pt x="1651" y="232"/>
                      <a:pt x="1651" y="229"/>
                    </a:cubicBezTo>
                    <a:cubicBezTo>
                      <a:pt x="1651" y="203"/>
                      <a:pt x="1651" y="176"/>
                      <a:pt x="1651" y="150"/>
                    </a:cubicBezTo>
                    <a:cubicBezTo>
                      <a:pt x="1651" y="147"/>
                      <a:pt x="1651" y="146"/>
                      <a:pt x="1655" y="146"/>
                    </a:cubicBezTo>
                    <a:cubicBezTo>
                      <a:pt x="1664" y="146"/>
                      <a:pt x="1674" y="146"/>
                      <a:pt x="1683" y="146"/>
                    </a:cubicBezTo>
                    <a:cubicBezTo>
                      <a:pt x="1686" y="146"/>
                      <a:pt x="1687" y="145"/>
                      <a:pt x="1687" y="142"/>
                    </a:cubicBezTo>
                    <a:cubicBezTo>
                      <a:pt x="1687" y="138"/>
                      <a:pt x="1687" y="134"/>
                      <a:pt x="1687" y="129"/>
                    </a:cubicBezTo>
                    <a:cubicBezTo>
                      <a:pt x="1687" y="126"/>
                      <a:pt x="1686" y="126"/>
                      <a:pt x="1683" y="126"/>
                    </a:cubicBezTo>
                    <a:cubicBezTo>
                      <a:pt x="1674" y="126"/>
                      <a:pt x="1664" y="126"/>
                      <a:pt x="1655" y="126"/>
                    </a:cubicBezTo>
                    <a:cubicBezTo>
                      <a:pt x="1651" y="126"/>
                      <a:pt x="1650" y="125"/>
                      <a:pt x="1651" y="121"/>
                    </a:cubicBezTo>
                    <a:cubicBezTo>
                      <a:pt x="1651" y="110"/>
                      <a:pt x="1651" y="99"/>
                      <a:pt x="1651" y="87"/>
                    </a:cubicBezTo>
                    <a:cubicBezTo>
                      <a:pt x="1651" y="85"/>
                      <a:pt x="1651" y="83"/>
                      <a:pt x="1647" y="84"/>
                    </a:cubicBezTo>
                    <a:cubicBezTo>
                      <a:pt x="1641" y="86"/>
                      <a:pt x="1636" y="88"/>
                      <a:pt x="1630" y="90"/>
                    </a:cubicBezTo>
                    <a:cubicBezTo>
                      <a:pt x="1628" y="90"/>
                      <a:pt x="1627" y="91"/>
                      <a:pt x="1627" y="94"/>
                    </a:cubicBezTo>
                    <a:cubicBezTo>
                      <a:pt x="1627" y="103"/>
                      <a:pt x="1627" y="113"/>
                      <a:pt x="1627" y="122"/>
                    </a:cubicBezTo>
                    <a:cubicBezTo>
                      <a:pt x="1627" y="125"/>
                      <a:pt x="1627" y="126"/>
                      <a:pt x="1624" y="126"/>
                    </a:cubicBezTo>
                    <a:cubicBezTo>
                      <a:pt x="1618" y="126"/>
                      <a:pt x="1612" y="126"/>
                      <a:pt x="1606" y="126"/>
                    </a:cubicBezTo>
                    <a:cubicBezTo>
                      <a:pt x="1603" y="126"/>
                      <a:pt x="1602" y="126"/>
                      <a:pt x="1602" y="129"/>
                    </a:cubicBezTo>
                    <a:cubicBezTo>
                      <a:pt x="1602" y="133"/>
                      <a:pt x="1602" y="138"/>
                      <a:pt x="1602" y="143"/>
                    </a:cubicBezTo>
                    <a:cubicBezTo>
                      <a:pt x="1602" y="145"/>
                      <a:pt x="1603" y="146"/>
                      <a:pt x="1605" y="146"/>
                    </a:cubicBezTo>
                    <a:cubicBezTo>
                      <a:pt x="1611" y="146"/>
                      <a:pt x="1617" y="146"/>
                      <a:pt x="1623" y="146"/>
                    </a:cubicBezTo>
                    <a:cubicBezTo>
                      <a:pt x="1626" y="145"/>
                      <a:pt x="1627" y="146"/>
                      <a:pt x="1627" y="150"/>
                    </a:cubicBezTo>
                    <a:cubicBezTo>
                      <a:pt x="1627" y="178"/>
                      <a:pt x="1627" y="206"/>
                      <a:pt x="1627" y="233"/>
                    </a:cubicBezTo>
                    <a:cubicBezTo>
                      <a:pt x="1627" y="244"/>
                      <a:pt x="1630" y="254"/>
                      <a:pt x="1637" y="263"/>
                    </a:cubicBezTo>
                    <a:cubicBezTo>
                      <a:pt x="1648" y="276"/>
                      <a:pt x="1673" y="275"/>
                      <a:pt x="1685" y="270"/>
                    </a:cubicBezTo>
                    <a:cubicBezTo>
                      <a:pt x="1686" y="269"/>
                      <a:pt x="1687" y="268"/>
                      <a:pt x="1687" y="266"/>
                    </a:cubicBezTo>
                    <a:cubicBezTo>
                      <a:pt x="1687" y="261"/>
                      <a:pt x="1687" y="255"/>
                      <a:pt x="1687" y="249"/>
                    </a:cubicBezTo>
                    <a:cubicBezTo>
                      <a:pt x="1685" y="250"/>
                      <a:pt x="1683" y="251"/>
                      <a:pt x="1681" y="252"/>
                    </a:cubicBezTo>
                    <a:close/>
                    <a:moveTo>
                      <a:pt x="947" y="130"/>
                    </a:moveTo>
                    <a:cubicBezTo>
                      <a:pt x="948" y="125"/>
                      <a:pt x="945" y="124"/>
                      <a:pt x="941" y="124"/>
                    </a:cubicBezTo>
                    <a:cubicBezTo>
                      <a:pt x="921" y="121"/>
                      <a:pt x="906" y="130"/>
                      <a:pt x="898" y="149"/>
                    </a:cubicBezTo>
                    <a:cubicBezTo>
                      <a:pt x="897" y="151"/>
                      <a:pt x="897" y="153"/>
                      <a:pt x="895" y="154"/>
                    </a:cubicBezTo>
                    <a:cubicBezTo>
                      <a:pt x="895" y="145"/>
                      <a:pt x="895" y="137"/>
                      <a:pt x="895" y="129"/>
                    </a:cubicBezTo>
                    <a:cubicBezTo>
                      <a:pt x="895" y="127"/>
                      <a:pt x="895" y="126"/>
                      <a:pt x="892" y="126"/>
                    </a:cubicBezTo>
                    <a:cubicBezTo>
                      <a:pt x="886" y="126"/>
                      <a:pt x="880" y="126"/>
                      <a:pt x="875" y="126"/>
                    </a:cubicBezTo>
                    <a:cubicBezTo>
                      <a:pt x="872" y="126"/>
                      <a:pt x="872" y="127"/>
                      <a:pt x="872" y="129"/>
                    </a:cubicBezTo>
                    <a:cubicBezTo>
                      <a:pt x="872" y="134"/>
                      <a:pt x="872" y="140"/>
                      <a:pt x="872" y="146"/>
                    </a:cubicBezTo>
                    <a:cubicBezTo>
                      <a:pt x="872" y="185"/>
                      <a:pt x="872" y="225"/>
                      <a:pt x="872" y="265"/>
                    </a:cubicBezTo>
                    <a:cubicBezTo>
                      <a:pt x="872" y="269"/>
                      <a:pt x="872" y="270"/>
                      <a:pt x="876" y="270"/>
                    </a:cubicBezTo>
                    <a:cubicBezTo>
                      <a:pt x="880" y="270"/>
                      <a:pt x="884" y="270"/>
                      <a:pt x="888" y="270"/>
                    </a:cubicBezTo>
                    <a:cubicBezTo>
                      <a:pt x="895" y="270"/>
                      <a:pt x="895" y="270"/>
                      <a:pt x="895" y="263"/>
                    </a:cubicBezTo>
                    <a:cubicBezTo>
                      <a:pt x="895" y="241"/>
                      <a:pt x="895" y="218"/>
                      <a:pt x="895" y="195"/>
                    </a:cubicBezTo>
                    <a:cubicBezTo>
                      <a:pt x="895" y="185"/>
                      <a:pt x="897" y="175"/>
                      <a:pt x="901" y="165"/>
                    </a:cubicBezTo>
                    <a:cubicBezTo>
                      <a:pt x="906" y="156"/>
                      <a:pt x="912" y="147"/>
                      <a:pt x="924" y="145"/>
                    </a:cubicBezTo>
                    <a:cubicBezTo>
                      <a:pt x="932" y="144"/>
                      <a:pt x="939" y="145"/>
                      <a:pt x="947" y="149"/>
                    </a:cubicBezTo>
                    <a:cubicBezTo>
                      <a:pt x="947" y="142"/>
                      <a:pt x="947" y="136"/>
                      <a:pt x="947" y="130"/>
                    </a:cubicBezTo>
                    <a:close/>
                    <a:moveTo>
                      <a:pt x="1426" y="131"/>
                    </a:moveTo>
                    <a:cubicBezTo>
                      <a:pt x="1426" y="126"/>
                      <a:pt x="1425" y="125"/>
                      <a:pt x="1421" y="126"/>
                    </a:cubicBezTo>
                    <a:cubicBezTo>
                      <a:pt x="1416" y="126"/>
                      <a:pt x="1412" y="126"/>
                      <a:pt x="1408" y="126"/>
                    </a:cubicBezTo>
                    <a:cubicBezTo>
                      <a:pt x="1404" y="125"/>
                      <a:pt x="1402" y="126"/>
                      <a:pt x="1403" y="130"/>
                    </a:cubicBezTo>
                    <a:cubicBezTo>
                      <a:pt x="1403" y="151"/>
                      <a:pt x="1403" y="171"/>
                      <a:pt x="1403" y="192"/>
                    </a:cubicBezTo>
                    <a:cubicBezTo>
                      <a:pt x="1403" y="216"/>
                      <a:pt x="1403" y="240"/>
                      <a:pt x="1403" y="265"/>
                    </a:cubicBezTo>
                    <a:cubicBezTo>
                      <a:pt x="1402" y="269"/>
                      <a:pt x="1404" y="270"/>
                      <a:pt x="1408" y="270"/>
                    </a:cubicBezTo>
                    <a:cubicBezTo>
                      <a:pt x="1412" y="270"/>
                      <a:pt x="1417" y="270"/>
                      <a:pt x="1421" y="270"/>
                    </a:cubicBezTo>
                    <a:cubicBezTo>
                      <a:pt x="1425" y="270"/>
                      <a:pt x="1426" y="269"/>
                      <a:pt x="1426" y="265"/>
                    </a:cubicBezTo>
                    <a:cubicBezTo>
                      <a:pt x="1426" y="243"/>
                      <a:pt x="1426" y="220"/>
                      <a:pt x="1426" y="198"/>
                    </a:cubicBezTo>
                    <a:cubicBezTo>
                      <a:pt x="1426" y="176"/>
                      <a:pt x="1426" y="153"/>
                      <a:pt x="1426" y="131"/>
                    </a:cubicBezTo>
                    <a:close/>
                    <a:moveTo>
                      <a:pt x="1430" y="74"/>
                    </a:moveTo>
                    <a:cubicBezTo>
                      <a:pt x="1430" y="66"/>
                      <a:pt x="1423" y="59"/>
                      <a:pt x="1415" y="59"/>
                    </a:cubicBezTo>
                    <a:cubicBezTo>
                      <a:pt x="1406" y="59"/>
                      <a:pt x="1399" y="66"/>
                      <a:pt x="1399" y="74"/>
                    </a:cubicBezTo>
                    <a:cubicBezTo>
                      <a:pt x="1399" y="83"/>
                      <a:pt x="1406" y="89"/>
                      <a:pt x="1415" y="89"/>
                    </a:cubicBezTo>
                    <a:cubicBezTo>
                      <a:pt x="1423" y="89"/>
                      <a:pt x="1430" y="83"/>
                      <a:pt x="1430" y="74"/>
                    </a:cubicBezTo>
                    <a:close/>
                    <a:moveTo>
                      <a:pt x="197" y="332"/>
                    </a:moveTo>
                    <a:cubicBezTo>
                      <a:pt x="197" y="336"/>
                      <a:pt x="196" y="337"/>
                      <a:pt x="192" y="336"/>
                    </a:cubicBezTo>
                    <a:cubicBezTo>
                      <a:pt x="129" y="325"/>
                      <a:pt x="66" y="314"/>
                      <a:pt x="4" y="303"/>
                    </a:cubicBezTo>
                    <a:cubicBezTo>
                      <a:pt x="0" y="302"/>
                      <a:pt x="0" y="301"/>
                      <a:pt x="0" y="298"/>
                    </a:cubicBezTo>
                    <a:cubicBezTo>
                      <a:pt x="0" y="212"/>
                      <a:pt x="0" y="126"/>
                      <a:pt x="0" y="39"/>
                    </a:cubicBezTo>
                    <a:cubicBezTo>
                      <a:pt x="0" y="36"/>
                      <a:pt x="1" y="35"/>
                      <a:pt x="4" y="35"/>
                    </a:cubicBezTo>
                    <a:cubicBezTo>
                      <a:pt x="67" y="23"/>
                      <a:pt x="129" y="12"/>
                      <a:pt x="191" y="1"/>
                    </a:cubicBezTo>
                    <a:cubicBezTo>
                      <a:pt x="196" y="0"/>
                      <a:pt x="197" y="1"/>
                      <a:pt x="197" y="6"/>
                    </a:cubicBezTo>
                    <a:cubicBezTo>
                      <a:pt x="197" y="60"/>
                      <a:pt x="197" y="114"/>
                      <a:pt x="197" y="169"/>
                    </a:cubicBezTo>
                    <a:cubicBezTo>
                      <a:pt x="197" y="223"/>
                      <a:pt x="197" y="278"/>
                      <a:pt x="197" y="332"/>
                    </a:cubicBezTo>
                    <a:close/>
                    <a:moveTo>
                      <a:pt x="106" y="164"/>
                    </a:moveTo>
                    <a:cubicBezTo>
                      <a:pt x="100" y="160"/>
                      <a:pt x="94" y="156"/>
                      <a:pt x="87" y="151"/>
                    </a:cubicBezTo>
                    <a:cubicBezTo>
                      <a:pt x="80" y="146"/>
                      <a:pt x="78" y="138"/>
                      <a:pt x="81" y="131"/>
                    </a:cubicBezTo>
                    <a:cubicBezTo>
                      <a:pt x="84" y="124"/>
                      <a:pt x="91" y="121"/>
                      <a:pt x="100" y="122"/>
                    </a:cubicBezTo>
                    <a:cubicBezTo>
                      <a:pt x="107" y="123"/>
                      <a:pt x="114" y="126"/>
                      <a:pt x="120" y="130"/>
                    </a:cubicBezTo>
                    <a:cubicBezTo>
                      <a:pt x="120" y="121"/>
                      <a:pt x="120" y="113"/>
                      <a:pt x="120" y="104"/>
                    </a:cubicBezTo>
                    <a:cubicBezTo>
                      <a:pt x="120" y="102"/>
                      <a:pt x="119" y="101"/>
                      <a:pt x="117" y="101"/>
                    </a:cubicBezTo>
                    <a:cubicBezTo>
                      <a:pt x="105" y="97"/>
                      <a:pt x="93" y="97"/>
                      <a:pt x="82" y="101"/>
                    </a:cubicBezTo>
                    <a:cubicBezTo>
                      <a:pt x="56" y="109"/>
                      <a:pt x="47" y="143"/>
                      <a:pt x="64" y="166"/>
                    </a:cubicBezTo>
                    <a:cubicBezTo>
                      <a:pt x="69" y="172"/>
                      <a:pt x="75" y="176"/>
                      <a:pt x="81" y="180"/>
                    </a:cubicBezTo>
                    <a:cubicBezTo>
                      <a:pt x="87" y="184"/>
                      <a:pt x="93" y="187"/>
                      <a:pt x="96" y="193"/>
                    </a:cubicBezTo>
                    <a:cubicBezTo>
                      <a:pt x="99" y="198"/>
                      <a:pt x="100" y="203"/>
                      <a:pt x="97" y="209"/>
                    </a:cubicBezTo>
                    <a:cubicBezTo>
                      <a:pt x="95" y="214"/>
                      <a:pt x="90" y="215"/>
                      <a:pt x="84" y="215"/>
                    </a:cubicBezTo>
                    <a:cubicBezTo>
                      <a:pt x="81" y="215"/>
                      <a:pt x="78" y="215"/>
                      <a:pt x="75" y="214"/>
                    </a:cubicBezTo>
                    <a:cubicBezTo>
                      <a:pt x="68" y="212"/>
                      <a:pt x="62" y="207"/>
                      <a:pt x="56" y="201"/>
                    </a:cubicBezTo>
                    <a:cubicBezTo>
                      <a:pt x="56" y="210"/>
                      <a:pt x="57" y="218"/>
                      <a:pt x="56" y="226"/>
                    </a:cubicBezTo>
                    <a:cubicBezTo>
                      <a:pt x="56" y="229"/>
                      <a:pt x="57" y="231"/>
                      <a:pt x="60" y="233"/>
                    </a:cubicBezTo>
                    <a:cubicBezTo>
                      <a:pt x="68" y="237"/>
                      <a:pt x="77" y="239"/>
                      <a:pt x="86" y="239"/>
                    </a:cubicBezTo>
                    <a:cubicBezTo>
                      <a:pt x="105" y="240"/>
                      <a:pt x="119" y="230"/>
                      <a:pt x="123" y="213"/>
                    </a:cubicBezTo>
                    <a:cubicBezTo>
                      <a:pt x="128" y="193"/>
                      <a:pt x="123" y="176"/>
                      <a:pt x="106" y="164"/>
                    </a:cubicBezTo>
                    <a:close/>
                    <a:moveTo>
                      <a:pt x="1167" y="193"/>
                    </a:moveTo>
                    <a:cubicBezTo>
                      <a:pt x="1155" y="194"/>
                      <a:pt x="1144" y="194"/>
                      <a:pt x="1132" y="194"/>
                    </a:cubicBezTo>
                    <a:cubicBezTo>
                      <a:pt x="1129" y="194"/>
                      <a:pt x="1128" y="194"/>
                      <a:pt x="1128" y="198"/>
                    </a:cubicBezTo>
                    <a:cubicBezTo>
                      <a:pt x="1128" y="220"/>
                      <a:pt x="1128" y="243"/>
                      <a:pt x="1128" y="265"/>
                    </a:cubicBezTo>
                    <a:cubicBezTo>
                      <a:pt x="1128" y="269"/>
                      <a:pt x="1127" y="270"/>
                      <a:pt x="1123" y="270"/>
                    </a:cubicBezTo>
                    <a:cubicBezTo>
                      <a:pt x="1118" y="270"/>
                      <a:pt x="1113" y="270"/>
                      <a:pt x="1108" y="270"/>
                    </a:cubicBezTo>
                    <a:cubicBezTo>
                      <a:pt x="1104" y="270"/>
                      <a:pt x="1104" y="268"/>
                      <a:pt x="1104" y="265"/>
                    </a:cubicBezTo>
                    <a:cubicBezTo>
                      <a:pt x="1104" y="235"/>
                      <a:pt x="1104" y="206"/>
                      <a:pt x="1104" y="176"/>
                    </a:cubicBezTo>
                    <a:cubicBezTo>
                      <a:pt x="1104" y="173"/>
                      <a:pt x="1104" y="171"/>
                      <a:pt x="1104" y="169"/>
                    </a:cubicBezTo>
                    <a:cubicBezTo>
                      <a:pt x="1104" y="137"/>
                      <a:pt x="1104" y="105"/>
                      <a:pt x="1104" y="73"/>
                    </a:cubicBezTo>
                    <a:cubicBezTo>
                      <a:pt x="1104" y="69"/>
                      <a:pt x="1105" y="68"/>
                      <a:pt x="1109" y="68"/>
                    </a:cubicBezTo>
                    <a:cubicBezTo>
                      <a:pt x="1127" y="68"/>
                      <a:pt x="1144" y="68"/>
                      <a:pt x="1162" y="68"/>
                    </a:cubicBezTo>
                    <a:cubicBezTo>
                      <a:pt x="1179" y="68"/>
                      <a:pt x="1196" y="72"/>
                      <a:pt x="1209" y="83"/>
                    </a:cubicBezTo>
                    <a:cubicBezTo>
                      <a:pt x="1222" y="94"/>
                      <a:pt x="1227" y="108"/>
                      <a:pt x="1228" y="123"/>
                    </a:cubicBezTo>
                    <a:cubicBezTo>
                      <a:pt x="1230" y="161"/>
                      <a:pt x="1205" y="189"/>
                      <a:pt x="1167" y="193"/>
                    </a:cubicBezTo>
                    <a:close/>
                    <a:moveTo>
                      <a:pt x="1170" y="91"/>
                    </a:moveTo>
                    <a:cubicBezTo>
                      <a:pt x="1158" y="89"/>
                      <a:pt x="1145" y="90"/>
                      <a:pt x="1132" y="90"/>
                    </a:cubicBezTo>
                    <a:cubicBezTo>
                      <a:pt x="1129" y="90"/>
                      <a:pt x="1128" y="90"/>
                      <a:pt x="1128" y="94"/>
                    </a:cubicBezTo>
                    <a:cubicBezTo>
                      <a:pt x="1128" y="106"/>
                      <a:pt x="1128" y="119"/>
                      <a:pt x="1128" y="131"/>
                    </a:cubicBezTo>
                    <a:cubicBezTo>
                      <a:pt x="1128" y="143"/>
                      <a:pt x="1128" y="156"/>
                      <a:pt x="1128" y="168"/>
                    </a:cubicBezTo>
                    <a:cubicBezTo>
                      <a:pt x="1128" y="171"/>
                      <a:pt x="1129" y="172"/>
                      <a:pt x="1132" y="172"/>
                    </a:cubicBezTo>
                    <a:cubicBezTo>
                      <a:pt x="1141" y="172"/>
                      <a:pt x="1151" y="172"/>
                      <a:pt x="1161" y="172"/>
                    </a:cubicBezTo>
                    <a:cubicBezTo>
                      <a:pt x="1185" y="170"/>
                      <a:pt x="1200" y="158"/>
                      <a:pt x="1202" y="136"/>
                    </a:cubicBezTo>
                    <a:cubicBezTo>
                      <a:pt x="1205" y="113"/>
                      <a:pt x="1196" y="95"/>
                      <a:pt x="1170" y="91"/>
                    </a:cubicBezTo>
                    <a:close/>
                    <a:moveTo>
                      <a:pt x="1075" y="201"/>
                    </a:moveTo>
                    <a:cubicBezTo>
                      <a:pt x="1075" y="205"/>
                      <a:pt x="1073" y="204"/>
                      <a:pt x="1071" y="204"/>
                    </a:cubicBezTo>
                    <a:cubicBezTo>
                      <a:pt x="1040" y="204"/>
                      <a:pt x="1010" y="204"/>
                      <a:pt x="980" y="204"/>
                    </a:cubicBezTo>
                    <a:cubicBezTo>
                      <a:pt x="973" y="204"/>
                      <a:pt x="974" y="204"/>
                      <a:pt x="974" y="210"/>
                    </a:cubicBezTo>
                    <a:cubicBezTo>
                      <a:pt x="975" y="223"/>
                      <a:pt x="979" y="234"/>
                      <a:pt x="989" y="243"/>
                    </a:cubicBezTo>
                    <a:cubicBezTo>
                      <a:pt x="1001" y="253"/>
                      <a:pt x="1015" y="255"/>
                      <a:pt x="1030" y="253"/>
                    </a:cubicBezTo>
                    <a:cubicBezTo>
                      <a:pt x="1043" y="251"/>
                      <a:pt x="1054" y="246"/>
                      <a:pt x="1065" y="238"/>
                    </a:cubicBezTo>
                    <a:cubicBezTo>
                      <a:pt x="1065" y="245"/>
                      <a:pt x="1065" y="251"/>
                      <a:pt x="1065" y="257"/>
                    </a:cubicBezTo>
                    <a:cubicBezTo>
                      <a:pt x="1065" y="260"/>
                      <a:pt x="1063" y="261"/>
                      <a:pt x="1061" y="262"/>
                    </a:cubicBezTo>
                    <a:cubicBezTo>
                      <a:pt x="1044" y="273"/>
                      <a:pt x="1024" y="275"/>
                      <a:pt x="1004" y="273"/>
                    </a:cubicBezTo>
                    <a:cubicBezTo>
                      <a:pt x="986" y="271"/>
                      <a:pt x="972" y="262"/>
                      <a:pt x="962" y="247"/>
                    </a:cubicBezTo>
                    <a:cubicBezTo>
                      <a:pt x="956" y="237"/>
                      <a:pt x="952" y="227"/>
                      <a:pt x="951" y="216"/>
                    </a:cubicBezTo>
                    <a:cubicBezTo>
                      <a:pt x="948" y="195"/>
                      <a:pt x="950" y="175"/>
                      <a:pt x="960" y="156"/>
                    </a:cubicBezTo>
                    <a:cubicBezTo>
                      <a:pt x="980" y="119"/>
                      <a:pt x="1020" y="116"/>
                      <a:pt x="1045" y="129"/>
                    </a:cubicBezTo>
                    <a:cubicBezTo>
                      <a:pt x="1061" y="137"/>
                      <a:pt x="1069" y="152"/>
                      <a:pt x="1073" y="169"/>
                    </a:cubicBezTo>
                    <a:cubicBezTo>
                      <a:pt x="1075" y="180"/>
                      <a:pt x="1075" y="190"/>
                      <a:pt x="1075" y="201"/>
                    </a:cubicBezTo>
                    <a:close/>
                    <a:moveTo>
                      <a:pt x="1051" y="181"/>
                    </a:moveTo>
                    <a:cubicBezTo>
                      <a:pt x="1051" y="152"/>
                      <a:pt x="1031" y="137"/>
                      <a:pt x="1006" y="143"/>
                    </a:cubicBezTo>
                    <a:cubicBezTo>
                      <a:pt x="989" y="147"/>
                      <a:pt x="978" y="163"/>
                      <a:pt x="974" y="181"/>
                    </a:cubicBezTo>
                    <a:cubicBezTo>
                      <a:pt x="974" y="185"/>
                      <a:pt x="976" y="184"/>
                      <a:pt x="978" y="184"/>
                    </a:cubicBezTo>
                    <a:cubicBezTo>
                      <a:pt x="989" y="184"/>
                      <a:pt x="1001" y="184"/>
                      <a:pt x="1012" y="184"/>
                    </a:cubicBezTo>
                    <a:cubicBezTo>
                      <a:pt x="1024" y="184"/>
                      <a:pt x="1036" y="184"/>
                      <a:pt x="1047" y="184"/>
                    </a:cubicBezTo>
                    <a:cubicBezTo>
                      <a:pt x="1049" y="184"/>
                      <a:pt x="1051" y="185"/>
                      <a:pt x="1051" y="181"/>
                    </a:cubicBezTo>
                    <a:close/>
                    <a:moveTo>
                      <a:pt x="1375" y="196"/>
                    </a:moveTo>
                    <a:cubicBezTo>
                      <a:pt x="1375" y="212"/>
                      <a:pt x="1373" y="225"/>
                      <a:pt x="1366" y="238"/>
                    </a:cubicBezTo>
                    <a:cubicBezTo>
                      <a:pt x="1351" y="264"/>
                      <a:pt x="1328" y="274"/>
                      <a:pt x="1299" y="273"/>
                    </a:cubicBezTo>
                    <a:cubicBezTo>
                      <a:pt x="1261" y="272"/>
                      <a:pt x="1235" y="245"/>
                      <a:pt x="1233" y="205"/>
                    </a:cubicBezTo>
                    <a:cubicBezTo>
                      <a:pt x="1233" y="192"/>
                      <a:pt x="1234" y="179"/>
                      <a:pt x="1238" y="167"/>
                    </a:cubicBezTo>
                    <a:cubicBezTo>
                      <a:pt x="1248" y="139"/>
                      <a:pt x="1272" y="123"/>
                      <a:pt x="1303" y="122"/>
                    </a:cubicBezTo>
                    <a:cubicBezTo>
                      <a:pt x="1317" y="122"/>
                      <a:pt x="1330" y="124"/>
                      <a:pt x="1343" y="131"/>
                    </a:cubicBezTo>
                    <a:cubicBezTo>
                      <a:pt x="1361" y="142"/>
                      <a:pt x="1370" y="159"/>
                      <a:pt x="1374" y="180"/>
                    </a:cubicBezTo>
                    <a:cubicBezTo>
                      <a:pt x="1375" y="186"/>
                      <a:pt x="1375" y="191"/>
                      <a:pt x="1375" y="196"/>
                    </a:cubicBezTo>
                    <a:close/>
                    <a:moveTo>
                      <a:pt x="1351" y="197"/>
                    </a:moveTo>
                    <a:cubicBezTo>
                      <a:pt x="1351" y="191"/>
                      <a:pt x="1350" y="184"/>
                      <a:pt x="1349" y="177"/>
                    </a:cubicBezTo>
                    <a:cubicBezTo>
                      <a:pt x="1344" y="156"/>
                      <a:pt x="1330" y="144"/>
                      <a:pt x="1309" y="142"/>
                    </a:cubicBezTo>
                    <a:cubicBezTo>
                      <a:pt x="1287" y="141"/>
                      <a:pt x="1269" y="151"/>
                      <a:pt x="1261" y="171"/>
                    </a:cubicBezTo>
                    <a:cubicBezTo>
                      <a:pt x="1257" y="183"/>
                      <a:pt x="1256" y="195"/>
                      <a:pt x="1257" y="208"/>
                    </a:cubicBezTo>
                    <a:cubicBezTo>
                      <a:pt x="1260" y="238"/>
                      <a:pt x="1280" y="255"/>
                      <a:pt x="1310" y="253"/>
                    </a:cubicBezTo>
                    <a:cubicBezTo>
                      <a:pt x="1326" y="252"/>
                      <a:pt x="1338" y="245"/>
                      <a:pt x="1345" y="230"/>
                    </a:cubicBezTo>
                    <a:cubicBezTo>
                      <a:pt x="1350" y="220"/>
                      <a:pt x="1351" y="209"/>
                      <a:pt x="1351" y="197"/>
                    </a:cubicBezTo>
                    <a:close/>
                    <a:moveTo>
                      <a:pt x="836" y="265"/>
                    </a:moveTo>
                    <a:cubicBezTo>
                      <a:pt x="836" y="269"/>
                      <a:pt x="836" y="270"/>
                      <a:pt x="832" y="270"/>
                    </a:cubicBezTo>
                    <a:cubicBezTo>
                      <a:pt x="827" y="270"/>
                      <a:pt x="822" y="270"/>
                      <a:pt x="817" y="270"/>
                    </a:cubicBezTo>
                    <a:cubicBezTo>
                      <a:pt x="814" y="270"/>
                      <a:pt x="813" y="269"/>
                      <a:pt x="813" y="266"/>
                    </a:cubicBezTo>
                    <a:cubicBezTo>
                      <a:pt x="813" y="260"/>
                      <a:pt x="813" y="254"/>
                      <a:pt x="813" y="247"/>
                    </a:cubicBezTo>
                    <a:cubicBezTo>
                      <a:pt x="812" y="249"/>
                      <a:pt x="812" y="249"/>
                      <a:pt x="811" y="250"/>
                    </a:cubicBezTo>
                    <a:cubicBezTo>
                      <a:pt x="797" y="271"/>
                      <a:pt x="775" y="279"/>
                      <a:pt x="751" y="271"/>
                    </a:cubicBezTo>
                    <a:cubicBezTo>
                      <a:pt x="732" y="265"/>
                      <a:pt x="721" y="249"/>
                      <a:pt x="722" y="228"/>
                    </a:cubicBezTo>
                    <a:cubicBezTo>
                      <a:pt x="724" y="205"/>
                      <a:pt x="737" y="191"/>
                      <a:pt x="761" y="186"/>
                    </a:cubicBezTo>
                    <a:cubicBezTo>
                      <a:pt x="776" y="183"/>
                      <a:pt x="792" y="182"/>
                      <a:pt x="807" y="179"/>
                    </a:cubicBezTo>
                    <a:cubicBezTo>
                      <a:pt x="813" y="178"/>
                      <a:pt x="813" y="179"/>
                      <a:pt x="813" y="172"/>
                    </a:cubicBezTo>
                    <a:cubicBezTo>
                      <a:pt x="813" y="170"/>
                      <a:pt x="812" y="167"/>
                      <a:pt x="812" y="165"/>
                    </a:cubicBezTo>
                    <a:cubicBezTo>
                      <a:pt x="808" y="148"/>
                      <a:pt x="796" y="140"/>
                      <a:pt x="777" y="142"/>
                    </a:cubicBezTo>
                    <a:cubicBezTo>
                      <a:pt x="763" y="144"/>
                      <a:pt x="751" y="149"/>
                      <a:pt x="740" y="157"/>
                    </a:cubicBezTo>
                    <a:cubicBezTo>
                      <a:pt x="739" y="158"/>
                      <a:pt x="738" y="159"/>
                      <a:pt x="736" y="159"/>
                    </a:cubicBezTo>
                    <a:cubicBezTo>
                      <a:pt x="736" y="152"/>
                      <a:pt x="737" y="145"/>
                      <a:pt x="736" y="139"/>
                    </a:cubicBezTo>
                    <a:cubicBezTo>
                      <a:pt x="736" y="136"/>
                      <a:pt x="737" y="135"/>
                      <a:pt x="739" y="134"/>
                    </a:cubicBezTo>
                    <a:cubicBezTo>
                      <a:pt x="759" y="124"/>
                      <a:pt x="780" y="119"/>
                      <a:pt x="803" y="124"/>
                    </a:cubicBezTo>
                    <a:cubicBezTo>
                      <a:pt x="822" y="128"/>
                      <a:pt x="832" y="142"/>
                      <a:pt x="835" y="160"/>
                    </a:cubicBezTo>
                    <a:cubicBezTo>
                      <a:pt x="836" y="164"/>
                      <a:pt x="836" y="169"/>
                      <a:pt x="836" y="174"/>
                    </a:cubicBezTo>
                    <a:cubicBezTo>
                      <a:pt x="836" y="204"/>
                      <a:pt x="836" y="235"/>
                      <a:pt x="836" y="265"/>
                    </a:cubicBezTo>
                    <a:close/>
                    <a:moveTo>
                      <a:pt x="809" y="198"/>
                    </a:moveTo>
                    <a:cubicBezTo>
                      <a:pt x="804" y="198"/>
                      <a:pt x="800" y="199"/>
                      <a:pt x="795" y="200"/>
                    </a:cubicBezTo>
                    <a:cubicBezTo>
                      <a:pt x="784" y="202"/>
                      <a:pt x="772" y="202"/>
                      <a:pt x="761" y="206"/>
                    </a:cubicBezTo>
                    <a:cubicBezTo>
                      <a:pt x="752" y="210"/>
                      <a:pt x="748" y="215"/>
                      <a:pt x="747" y="224"/>
                    </a:cubicBezTo>
                    <a:cubicBezTo>
                      <a:pt x="745" y="234"/>
                      <a:pt x="747" y="242"/>
                      <a:pt x="756" y="248"/>
                    </a:cubicBezTo>
                    <a:cubicBezTo>
                      <a:pt x="767" y="256"/>
                      <a:pt x="786" y="255"/>
                      <a:pt x="798" y="245"/>
                    </a:cubicBezTo>
                    <a:cubicBezTo>
                      <a:pt x="809" y="236"/>
                      <a:pt x="814" y="223"/>
                      <a:pt x="813" y="208"/>
                    </a:cubicBezTo>
                    <a:cubicBezTo>
                      <a:pt x="813" y="206"/>
                      <a:pt x="813" y="203"/>
                      <a:pt x="813" y="201"/>
                    </a:cubicBezTo>
                    <a:cubicBezTo>
                      <a:pt x="814" y="198"/>
                      <a:pt x="812" y="197"/>
                      <a:pt x="809" y="198"/>
                    </a:cubicBezTo>
                    <a:close/>
                  </a:path>
                </a:pathLst>
              </a:custGeom>
              <a:solidFill>
                <a:srgbClr val="0072C6"/>
              </a:solidFill>
              <a:ln>
                <a:noFill/>
              </a:ln>
              <a:extLst/>
            </p:spPr>
            <p:txBody>
              <a:bodyPr vert="horz" wrap="square" lIns="89606" tIns="44803" rIns="89606" bIns="44803" numCol="1" anchor="t" anchorCtr="0" compatLnSpc="1">
                <a:prstTxWarp prst="textNoShape">
                  <a:avLst/>
                </a:prstTxWarp>
              </a:bodyPr>
              <a:lstStyle/>
              <a:p>
                <a:pPr defTabSz="914005"/>
                <a:endParaRPr lang="en-US" sz="1764">
                  <a:solidFill>
                    <a:prstClr val="black"/>
                  </a:solidFill>
                </a:endParaRPr>
              </a:p>
            </p:txBody>
          </p:sp>
        </p:grpSp>
      </p:grpSp>
      <p:sp>
        <p:nvSpPr>
          <p:cNvPr id="46" name="Rectangle 45"/>
          <p:cNvSpPr/>
          <p:nvPr/>
        </p:nvSpPr>
        <p:spPr>
          <a:xfrm>
            <a:off x="6403070" y="1964439"/>
            <a:ext cx="5122946" cy="4616168"/>
          </a:xfrm>
          <a:prstGeom prst="rect">
            <a:avLst/>
          </a:prstGeom>
          <a:solidFill>
            <a:schemeClr val="bg1">
              <a:lumMod val="85000"/>
            </a:schemeClr>
          </a:solidFill>
          <a:ln>
            <a:noFill/>
          </a:ln>
        </p:spPr>
        <p:style>
          <a:lnRef idx="1">
            <a:schemeClr val="accent5"/>
          </a:lnRef>
          <a:fillRef idx="3">
            <a:schemeClr val="accent5"/>
          </a:fillRef>
          <a:effectRef idx="2">
            <a:schemeClr val="accent5"/>
          </a:effectRef>
          <a:fontRef idx="minor">
            <a:schemeClr val="lt1"/>
          </a:fontRef>
        </p:style>
        <p:txBody>
          <a:bodyPr lIns="76100" tIns="38056" rIns="76100" bIns="38056" rtlCol="0" anchor="ctr"/>
          <a:lstStyle/>
          <a:p>
            <a:pPr algn="ctr" defTabSz="913826"/>
            <a:endParaRPr lang="en-US" sz="1799">
              <a:solidFill>
                <a:prstClr val="white"/>
              </a:solidFill>
            </a:endParaRPr>
          </a:p>
        </p:txBody>
      </p:sp>
      <p:grpSp>
        <p:nvGrpSpPr>
          <p:cNvPr id="26" name="Group 25"/>
          <p:cNvGrpSpPr/>
          <p:nvPr/>
        </p:nvGrpSpPr>
        <p:grpSpPr>
          <a:xfrm>
            <a:off x="6500740" y="2058641"/>
            <a:ext cx="4590709" cy="2831077"/>
            <a:chOff x="6632821" y="2099060"/>
            <a:chExt cx="4683982" cy="2888598"/>
          </a:xfrm>
        </p:grpSpPr>
        <p:grpSp>
          <p:nvGrpSpPr>
            <p:cNvPr id="28" name="Group 27"/>
            <p:cNvGrpSpPr/>
            <p:nvPr/>
          </p:nvGrpSpPr>
          <p:grpSpPr>
            <a:xfrm>
              <a:off x="8898157" y="2404998"/>
              <a:ext cx="2418646" cy="1066018"/>
              <a:chOff x="7906766" y="2065553"/>
              <a:chExt cx="3188763" cy="1405446"/>
            </a:xfrm>
            <a:solidFill>
              <a:srgbClr val="F2F2F2"/>
            </a:solidFill>
          </p:grpSpPr>
          <p:sp>
            <p:nvSpPr>
              <p:cNvPr id="48" name="Freeform 5"/>
              <p:cNvSpPr>
                <a:spLocks/>
              </p:cNvSpPr>
              <p:nvPr/>
            </p:nvSpPr>
            <p:spPr bwMode="auto">
              <a:xfrm>
                <a:off x="7906766" y="2065553"/>
                <a:ext cx="2447132" cy="1355072"/>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grpFill/>
              <a:ln w="38100">
                <a:solidFill>
                  <a:schemeClr val="bg2"/>
                </a:solidFill>
              </a:ln>
            </p:spPr>
            <p:txBody>
              <a:bodyPr vert="horz" wrap="square" lIns="89606" tIns="44803" rIns="89606" bIns="44803" numCol="1" anchor="t" anchorCtr="0" compatLnSpc="1">
                <a:prstTxWarp prst="textNoShape">
                  <a:avLst/>
                </a:prstTxWarp>
              </a:bodyPr>
              <a:lstStyle/>
              <a:p>
                <a:pPr defTabSz="914005"/>
                <a:endParaRPr lang="en-US" sz="1764">
                  <a:solidFill>
                    <a:srgbClr val="000000"/>
                  </a:solidFill>
                </a:endParaRPr>
              </a:p>
            </p:txBody>
          </p:sp>
          <p:sp>
            <p:nvSpPr>
              <p:cNvPr id="24" name="Freeform 5"/>
              <p:cNvSpPr>
                <a:spLocks/>
              </p:cNvSpPr>
              <p:nvPr/>
            </p:nvSpPr>
            <p:spPr bwMode="auto">
              <a:xfrm flipH="1">
                <a:off x="9213596" y="2428900"/>
                <a:ext cx="1881933" cy="1042099"/>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grpFill/>
              <a:ln w="50800">
                <a:solidFill>
                  <a:schemeClr val="bg2"/>
                </a:solidFill>
              </a:ln>
            </p:spPr>
            <p:txBody>
              <a:bodyPr vert="horz" wrap="square" lIns="89606" tIns="44803" rIns="89606" bIns="44803" numCol="1" anchor="t" anchorCtr="0" compatLnSpc="1">
                <a:prstTxWarp prst="textNoShape">
                  <a:avLst/>
                </a:prstTxWarp>
              </a:bodyPr>
              <a:lstStyle/>
              <a:p>
                <a:pPr defTabSz="914005"/>
                <a:endParaRPr lang="en-US" sz="1764">
                  <a:solidFill>
                    <a:srgbClr val="000000"/>
                  </a:solidFill>
                </a:endParaRPr>
              </a:p>
            </p:txBody>
          </p:sp>
        </p:grpSp>
        <p:pic>
          <p:nvPicPr>
            <p:cNvPr id="6" name="Picture 5"/>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7029275" y="3512695"/>
              <a:ext cx="2002506" cy="1474963"/>
            </a:xfrm>
            <a:prstGeom prst="rect">
              <a:avLst/>
            </a:prstGeom>
          </p:spPr>
        </p:pic>
        <p:grpSp>
          <p:nvGrpSpPr>
            <p:cNvPr id="10" name="Group 9"/>
            <p:cNvGrpSpPr/>
            <p:nvPr/>
          </p:nvGrpSpPr>
          <p:grpSpPr>
            <a:xfrm>
              <a:off x="9480756" y="3679564"/>
              <a:ext cx="1253448" cy="1141224"/>
              <a:chOff x="9482721" y="3928208"/>
              <a:chExt cx="1472119" cy="1340317"/>
            </a:xfrm>
          </p:grpSpPr>
          <p:pic>
            <p:nvPicPr>
              <p:cNvPr id="53" name="Picture 5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189238" y="3928208"/>
                <a:ext cx="765602" cy="1340317"/>
              </a:xfrm>
              <a:prstGeom prst="rect">
                <a:avLst/>
              </a:prstGeom>
            </p:spPr>
          </p:pic>
          <p:pic>
            <p:nvPicPr>
              <p:cNvPr id="54" name="Picture 5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482721" y="3959450"/>
                <a:ext cx="670247" cy="1309075"/>
              </a:xfrm>
              <a:prstGeom prst="rect">
                <a:avLst/>
              </a:prstGeom>
            </p:spPr>
          </p:pic>
        </p:grpSp>
        <p:grpSp>
          <p:nvGrpSpPr>
            <p:cNvPr id="9" name="Group 8"/>
            <p:cNvGrpSpPr/>
            <p:nvPr/>
          </p:nvGrpSpPr>
          <p:grpSpPr>
            <a:xfrm>
              <a:off x="6632821" y="2099060"/>
              <a:ext cx="2490614" cy="1521319"/>
              <a:chOff x="6614011" y="2261209"/>
              <a:chExt cx="2939759" cy="1795667"/>
            </a:xfrm>
          </p:grpSpPr>
          <p:pic>
            <p:nvPicPr>
              <p:cNvPr id="52" name="Picture 5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452807" y="2287877"/>
                <a:ext cx="1100963" cy="1558601"/>
              </a:xfrm>
              <a:prstGeom prst="rect">
                <a:avLst/>
              </a:prstGeom>
            </p:spPr>
          </p:pic>
          <p:pic>
            <p:nvPicPr>
              <p:cNvPr id="51" name="Picture 50"/>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592009" y="2895730"/>
                <a:ext cx="1516812" cy="1161146"/>
              </a:xfrm>
              <a:prstGeom prst="rect">
                <a:avLst/>
              </a:prstGeom>
            </p:spPr>
          </p:pic>
          <p:pic>
            <p:nvPicPr>
              <p:cNvPr id="17" name="Picture 16"/>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614011" y="2261209"/>
                <a:ext cx="1829189" cy="1230721"/>
              </a:xfrm>
              <a:prstGeom prst="rect">
                <a:avLst/>
              </a:prstGeom>
            </p:spPr>
          </p:pic>
        </p:grpSp>
      </p:grpSp>
      <p:grpSp>
        <p:nvGrpSpPr>
          <p:cNvPr id="18" name="Group 17"/>
          <p:cNvGrpSpPr/>
          <p:nvPr/>
        </p:nvGrpSpPr>
        <p:grpSpPr>
          <a:xfrm>
            <a:off x="264104" y="1195126"/>
            <a:ext cx="3165725" cy="779686"/>
            <a:chOff x="269470" y="1202760"/>
            <a:chExt cx="3230046" cy="795528"/>
          </a:xfrm>
          <a:solidFill>
            <a:srgbClr val="FF0000"/>
          </a:solidFill>
        </p:grpSpPr>
        <p:sp>
          <p:nvSpPr>
            <p:cNvPr id="12" name="TextBox 11"/>
            <p:cNvSpPr txBox="1"/>
            <p:nvPr/>
          </p:nvSpPr>
          <p:spPr>
            <a:xfrm>
              <a:off x="269470" y="1202760"/>
              <a:ext cx="3230046" cy="795528"/>
            </a:xfrm>
            <a:prstGeom prst="homePlate">
              <a:avLst/>
            </a:prstGeom>
            <a:grpFill/>
          </p:spPr>
          <p:txBody>
            <a:bodyPr wrap="square" lIns="179213" tIns="182807" rIns="179213" bIns="182807" rtlCol="0" anchor="ctr" anchorCtr="0">
              <a:noAutofit/>
            </a:bodyPr>
            <a:lstStyle/>
            <a:p>
              <a:pPr defTabSz="914005">
                <a:lnSpc>
                  <a:spcPct val="90000"/>
                </a:lnSpc>
                <a:spcAft>
                  <a:spcPts val="588"/>
                </a:spcAft>
              </a:pPr>
              <a:r>
                <a:rPr lang="en-US" sz="1960" dirty="0">
                  <a:gradFill>
                    <a:gsLst>
                      <a:gs pos="2917">
                        <a:srgbClr val="FFFFFF"/>
                      </a:gs>
                      <a:gs pos="91000">
                        <a:srgbClr val="FFFFFF"/>
                      </a:gs>
                    </a:gsLst>
                    <a:lin ang="5400000" scaled="0"/>
                  </a:gradFill>
                  <a:cs typeface="Segoe UI" panose="020B0502040204020203" pitchFamily="34" charset="0"/>
                </a:rPr>
                <a:t>PC</a:t>
              </a:r>
            </a:p>
          </p:txBody>
        </p:sp>
        <p:sp>
          <p:nvSpPr>
            <p:cNvPr id="43" name="TextBox 42"/>
            <p:cNvSpPr txBox="1"/>
            <p:nvPr/>
          </p:nvSpPr>
          <p:spPr>
            <a:xfrm>
              <a:off x="1700377" y="1202760"/>
              <a:ext cx="1799138" cy="795528"/>
            </a:xfrm>
            <a:prstGeom prst="chevron">
              <a:avLst>
                <a:gd name="adj" fmla="val 50050"/>
              </a:avLst>
            </a:prstGeom>
            <a:grpFill/>
          </p:spPr>
          <p:txBody>
            <a:bodyPr wrap="square" lIns="91403" tIns="182807" rIns="0" bIns="182807" rtlCol="0" anchor="ctr" anchorCtr="0">
              <a:noAutofit/>
            </a:bodyPr>
            <a:lstStyle>
              <a:defPPr>
                <a:defRPr lang="en-US"/>
              </a:defPPr>
              <a:lvl1pPr algn="ctr" defTabSz="914367">
                <a:lnSpc>
                  <a:spcPct val="90000"/>
                </a:lnSpc>
                <a:spcAft>
                  <a:spcPts val="588"/>
                </a:spcAft>
                <a:defRPr sz="2040">
                  <a:gradFill>
                    <a:gsLst>
                      <a:gs pos="2917">
                        <a:srgbClr val="FFFFFF"/>
                      </a:gs>
                      <a:gs pos="91000">
                        <a:srgbClr val="FFFFFF"/>
                      </a:gs>
                    </a:gsLst>
                    <a:lin ang="5400000" scaled="0"/>
                  </a:gradFill>
                  <a:latin typeface="Segoe UI" panose="020B0502040204020203" pitchFamily="34" charset="0"/>
                  <a:cs typeface="Segoe UI" panose="020B0502040204020203" pitchFamily="34" charset="0"/>
                </a:defRPr>
              </a:lvl1pPr>
            </a:lstStyle>
            <a:p>
              <a:r>
                <a:rPr lang="en-US" sz="1960" dirty="0">
                  <a:latin typeface="+mn-lt"/>
                </a:rPr>
                <a:t>1990s</a:t>
              </a:r>
            </a:p>
          </p:txBody>
        </p:sp>
      </p:grpSp>
      <p:sp>
        <p:nvSpPr>
          <p:cNvPr id="11" name="Rectangle 10"/>
          <p:cNvSpPr/>
          <p:nvPr/>
        </p:nvSpPr>
        <p:spPr bwMode="auto">
          <a:xfrm>
            <a:off x="6403070" y="5057248"/>
            <a:ext cx="5122946" cy="1526249"/>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4038"/>
            <a:r>
              <a:rPr lang="en-US" sz="1764" dirty="0">
                <a:gradFill>
                  <a:gsLst>
                    <a:gs pos="10619">
                      <a:schemeClr val="tx1"/>
                    </a:gs>
                    <a:gs pos="28000">
                      <a:schemeClr val="tx1"/>
                    </a:gs>
                  </a:gsLst>
                  <a:lin ang="5400000" scaled="0"/>
                </a:gradFill>
              </a:rPr>
              <a:t>Open standards </a:t>
            </a:r>
          </a:p>
          <a:p>
            <a:pPr defTabSz="914038"/>
            <a:r>
              <a:rPr lang="en-US" sz="1764" dirty="0">
                <a:gradFill>
                  <a:gsLst>
                    <a:gs pos="10619">
                      <a:schemeClr val="tx1"/>
                    </a:gs>
                    <a:gs pos="28000">
                      <a:schemeClr val="tx1"/>
                    </a:gs>
                  </a:gsLst>
                  <a:lin ang="5400000" scaled="0"/>
                </a:gradFill>
              </a:rPr>
              <a:t>Mobile SDK’s</a:t>
            </a:r>
          </a:p>
        </p:txBody>
      </p:sp>
      <p:sp>
        <p:nvSpPr>
          <p:cNvPr id="45" name="Rectangle 44"/>
          <p:cNvSpPr/>
          <p:nvPr/>
        </p:nvSpPr>
        <p:spPr bwMode="auto">
          <a:xfrm>
            <a:off x="264102" y="5057248"/>
            <a:ext cx="2794846" cy="1526249"/>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737" fontAlgn="base">
              <a:spcBef>
                <a:spcPct val="0"/>
              </a:spcBef>
              <a:spcAft>
                <a:spcPct val="0"/>
              </a:spcAft>
            </a:pPr>
            <a:r>
              <a:rPr lang="en-US" sz="1764" dirty="0">
                <a:gradFill>
                  <a:gsLst>
                    <a:gs pos="10619">
                      <a:schemeClr val="tx1"/>
                    </a:gs>
                    <a:gs pos="28000">
                      <a:schemeClr val="tx1"/>
                    </a:gs>
                  </a:gsLst>
                  <a:lin ang="5400000" scaled="0"/>
                </a:gradFill>
              </a:rPr>
              <a:t>VBA</a:t>
            </a:r>
          </a:p>
        </p:txBody>
      </p:sp>
      <p:grpSp>
        <p:nvGrpSpPr>
          <p:cNvPr id="27" name="Group 26"/>
          <p:cNvGrpSpPr/>
          <p:nvPr/>
        </p:nvGrpSpPr>
        <p:grpSpPr>
          <a:xfrm>
            <a:off x="3086607" y="5057248"/>
            <a:ext cx="3269390" cy="1526249"/>
            <a:chOff x="3149319" y="5158592"/>
            <a:chExt cx="3335817" cy="1557259"/>
          </a:xfrm>
        </p:grpSpPr>
        <p:sp>
          <p:nvSpPr>
            <p:cNvPr id="44" name="Rectangle 43"/>
            <p:cNvSpPr/>
            <p:nvPr/>
          </p:nvSpPr>
          <p:spPr bwMode="auto">
            <a:xfrm>
              <a:off x="3149319" y="5158592"/>
              <a:ext cx="3335817" cy="1557259"/>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4038">
                <a:lnSpc>
                  <a:spcPct val="90000"/>
                </a:lnSpc>
                <a:spcBef>
                  <a:spcPts val="294"/>
                </a:spcBef>
              </a:pPr>
              <a:r>
                <a:rPr lang="en-US" sz="1764" dirty="0">
                  <a:gradFill>
                    <a:gsLst>
                      <a:gs pos="10619">
                        <a:schemeClr val="tx1"/>
                      </a:gs>
                      <a:gs pos="28000">
                        <a:schemeClr val="tx1"/>
                      </a:gs>
                    </a:gsLst>
                    <a:lin ang="5400000" scaled="0"/>
                  </a:gradFill>
                </a:rPr>
                <a:t>VBA</a:t>
              </a:r>
            </a:p>
            <a:p>
              <a:pPr defTabSz="914038">
                <a:lnSpc>
                  <a:spcPct val="90000"/>
                </a:lnSpc>
                <a:spcBef>
                  <a:spcPts val="294"/>
                </a:spcBef>
              </a:pPr>
              <a:r>
                <a:rPr lang="en-US" sz="1764" dirty="0">
                  <a:gradFill>
                    <a:gsLst>
                      <a:gs pos="10619">
                        <a:schemeClr val="tx1"/>
                      </a:gs>
                      <a:gs pos="28000">
                        <a:schemeClr val="tx1"/>
                      </a:gs>
                    </a:gsLst>
                    <a:lin ang="5400000" scaled="0"/>
                  </a:gradFill>
                </a:rPr>
                <a:t>Com add-ins</a:t>
              </a:r>
            </a:p>
            <a:p>
              <a:pPr defTabSz="914038">
                <a:lnSpc>
                  <a:spcPct val="90000"/>
                </a:lnSpc>
                <a:spcBef>
                  <a:spcPts val="294"/>
                </a:spcBef>
              </a:pPr>
              <a:r>
                <a:rPr lang="en-US" sz="1764" dirty="0">
                  <a:gradFill>
                    <a:gsLst>
                      <a:gs pos="10619">
                        <a:schemeClr val="tx1"/>
                      </a:gs>
                      <a:gs pos="28000">
                        <a:schemeClr val="tx1"/>
                      </a:gs>
                    </a:gsLst>
                    <a:lin ang="5400000" scaled="0"/>
                  </a:gradFill>
                </a:rPr>
                <a:t>VSTO</a:t>
              </a:r>
            </a:p>
            <a:p>
              <a:pPr defTabSz="914038">
                <a:lnSpc>
                  <a:spcPct val="90000"/>
                </a:lnSpc>
                <a:spcBef>
                  <a:spcPts val="294"/>
                </a:spcBef>
              </a:pPr>
              <a:r>
                <a:rPr lang="en-US" sz="1764" dirty="0">
                  <a:gradFill>
                    <a:gsLst>
                      <a:gs pos="10619">
                        <a:schemeClr val="tx1"/>
                      </a:gs>
                      <a:gs pos="28000">
                        <a:schemeClr val="tx1"/>
                      </a:gs>
                    </a:gsLst>
                    <a:lin ang="5400000" scaled="0"/>
                  </a:gradFill>
                </a:rPr>
                <a:t>FTC</a:t>
              </a:r>
            </a:p>
          </p:txBody>
        </p:sp>
        <p:sp>
          <p:nvSpPr>
            <p:cNvPr id="47" name="MS .NET"/>
            <p:cNvSpPr>
              <a:spLocks noChangeAspect="1" noEditPoints="1"/>
            </p:cNvSpPr>
            <p:nvPr/>
          </p:nvSpPr>
          <p:spPr bwMode="auto">
            <a:xfrm>
              <a:off x="5164880" y="5298423"/>
              <a:ext cx="1014839" cy="246839"/>
            </a:xfrm>
            <a:custGeom>
              <a:avLst/>
              <a:gdLst>
                <a:gd name="T0" fmla="*/ 13531 w 19634"/>
                <a:gd name="T1" fmla="*/ 358 h 4776"/>
                <a:gd name="T2" fmla="*/ 12617 w 19634"/>
                <a:gd name="T3" fmla="*/ 477 h 4776"/>
                <a:gd name="T4" fmla="*/ 13081 w 19634"/>
                <a:gd name="T5" fmla="*/ 1046 h 4776"/>
                <a:gd name="T6" fmla="*/ 13696 w 19634"/>
                <a:gd name="T7" fmla="*/ 1256 h 4776"/>
                <a:gd name="T8" fmla="*/ 13964 w 19634"/>
                <a:gd name="T9" fmla="*/ 175 h 4776"/>
                <a:gd name="T10" fmla="*/ 14100 w 19634"/>
                <a:gd name="T11" fmla="*/ 415 h 4776"/>
                <a:gd name="T12" fmla="*/ 14926 w 19634"/>
                <a:gd name="T13" fmla="*/ 1088 h 4776"/>
                <a:gd name="T14" fmla="*/ 14926 w 19634"/>
                <a:gd name="T15" fmla="*/ 579 h 4776"/>
                <a:gd name="T16" fmla="*/ 14687 w 19634"/>
                <a:gd name="T17" fmla="*/ 1268 h 4776"/>
                <a:gd name="T18" fmla="*/ 15330 w 19634"/>
                <a:gd name="T19" fmla="*/ 444 h 4776"/>
                <a:gd name="T20" fmla="*/ 15239 w 19634"/>
                <a:gd name="T21" fmla="*/ 1256 h 4776"/>
                <a:gd name="T22" fmla="*/ 16306 w 19634"/>
                <a:gd name="T23" fmla="*/ 504 h 4776"/>
                <a:gd name="T24" fmla="*/ 16306 w 19634"/>
                <a:gd name="T25" fmla="*/ 1148 h 4776"/>
                <a:gd name="T26" fmla="*/ 15721 w 19634"/>
                <a:gd name="T27" fmla="*/ 834 h 4776"/>
                <a:gd name="T28" fmla="*/ 17010 w 19634"/>
                <a:gd name="T29" fmla="*/ 879 h 4776"/>
                <a:gd name="T30" fmla="*/ 17025 w 19634"/>
                <a:gd name="T31" fmla="*/ 564 h 4776"/>
                <a:gd name="T32" fmla="*/ 16754 w 19634"/>
                <a:gd name="T33" fmla="*/ 879 h 4776"/>
                <a:gd name="T34" fmla="*/ 16754 w 19634"/>
                <a:gd name="T35" fmla="*/ 1268 h 4776"/>
                <a:gd name="T36" fmla="*/ 17308 w 19634"/>
                <a:gd name="T37" fmla="*/ 504 h 4776"/>
                <a:gd name="T38" fmla="*/ 17865 w 19634"/>
                <a:gd name="T39" fmla="*/ 834 h 4776"/>
                <a:gd name="T40" fmla="*/ 17594 w 19634"/>
                <a:gd name="T41" fmla="*/ 504 h 4776"/>
                <a:gd name="T42" fmla="*/ 18476 w 19634"/>
                <a:gd name="T43" fmla="*/ 0 h 4776"/>
                <a:gd name="T44" fmla="*/ 18222 w 19634"/>
                <a:gd name="T45" fmla="*/ 538 h 4776"/>
                <a:gd name="T46" fmla="*/ 18356 w 19634"/>
                <a:gd name="T47" fmla="*/ 419 h 4776"/>
                <a:gd name="T48" fmla="*/ 19095 w 19634"/>
                <a:gd name="T49" fmla="*/ 1134 h 4776"/>
                <a:gd name="T50" fmla="*/ 19095 w 19634"/>
                <a:gd name="T51" fmla="*/ 418 h 4776"/>
                <a:gd name="T52" fmla="*/ 18600 w 19634"/>
                <a:gd name="T53" fmla="*/ 537 h 4776"/>
                <a:gd name="T54" fmla="*/ 11901 w 19634"/>
                <a:gd name="T55" fmla="*/ 4297 h 4776"/>
                <a:gd name="T56" fmla="*/ 11901 w 19634"/>
                <a:gd name="T57" fmla="*/ 4641 h 4776"/>
                <a:gd name="T58" fmla="*/ 14566 w 19634"/>
                <a:gd name="T59" fmla="*/ 3756 h 4776"/>
                <a:gd name="T60" fmla="*/ 12497 w 19634"/>
                <a:gd name="T61" fmla="*/ 4655 h 4776"/>
                <a:gd name="T62" fmla="*/ 14491 w 19634"/>
                <a:gd name="T63" fmla="*/ 4655 h 4776"/>
                <a:gd name="T64" fmla="*/ 15960 w 19634"/>
                <a:gd name="T65" fmla="*/ 3279 h 4776"/>
                <a:gd name="T66" fmla="*/ 17128 w 19634"/>
                <a:gd name="T67" fmla="*/ 1630 h 4776"/>
                <a:gd name="T68" fmla="*/ 19614 w 19634"/>
                <a:gd name="T69" fmla="*/ 1630 h 4776"/>
                <a:gd name="T70" fmla="*/ 18745 w 19634"/>
                <a:gd name="T71" fmla="*/ 1960 h 4776"/>
                <a:gd name="T72" fmla="*/ 9547 w 19634"/>
                <a:gd name="T73" fmla="*/ 4389 h 4776"/>
                <a:gd name="T74" fmla="*/ 10099 w 19634"/>
                <a:gd name="T75" fmla="*/ 4655 h 4776"/>
                <a:gd name="T76" fmla="*/ 9950 w 19634"/>
                <a:gd name="T77" fmla="*/ 4596 h 4776"/>
                <a:gd name="T78" fmla="*/ 9830 w 19634"/>
                <a:gd name="T79" fmla="*/ 4462 h 4776"/>
                <a:gd name="T80" fmla="*/ 10054 w 19634"/>
                <a:gd name="T81" fmla="*/ 4432 h 4776"/>
                <a:gd name="T82" fmla="*/ 19634 w 19634"/>
                <a:gd name="T83" fmla="*/ 477 h 4776"/>
                <a:gd name="T84" fmla="*/ 19407 w 19634"/>
                <a:gd name="T85" fmla="*/ 703 h 4776"/>
                <a:gd name="T86" fmla="*/ 19271 w 19634"/>
                <a:gd name="T87" fmla="*/ 628 h 4776"/>
                <a:gd name="T88" fmla="*/ 19513 w 19634"/>
                <a:gd name="T89" fmla="*/ 613 h 4776"/>
                <a:gd name="T90" fmla="*/ 19513 w 19634"/>
                <a:gd name="T91" fmla="*/ 417 h 4776"/>
                <a:gd name="T92" fmla="*/ 19362 w 19634"/>
                <a:gd name="T93" fmla="*/ 507 h 4776"/>
                <a:gd name="T94" fmla="*/ 19407 w 19634"/>
                <a:gd name="T95" fmla="*/ 462 h 4776"/>
                <a:gd name="T96" fmla="*/ 6400 w 19634"/>
                <a:gd name="T97" fmla="*/ 4449 h 4776"/>
                <a:gd name="T98" fmla="*/ 4959 w 19634"/>
                <a:gd name="T99" fmla="*/ 120 h 4776"/>
                <a:gd name="T100" fmla="*/ 7703 w 19634"/>
                <a:gd name="T101" fmla="*/ 3818 h 4776"/>
                <a:gd name="T102" fmla="*/ 8902 w 19634"/>
                <a:gd name="T103" fmla="*/ 2216 h 4776"/>
                <a:gd name="T104" fmla="*/ 4662 w 19634"/>
                <a:gd name="T105" fmla="*/ 102 h 4776"/>
                <a:gd name="T106" fmla="*/ 8348 w 19634"/>
                <a:gd name="T107" fmla="*/ 4656 h 4776"/>
                <a:gd name="T108" fmla="*/ 3523 w 19634"/>
                <a:gd name="T109" fmla="*/ 150 h 4776"/>
                <a:gd name="T110" fmla="*/ 4168 w 19634"/>
                <a:gd name="T111" fmla="*/ 988 h 4776"/>
                <a:gd name="T112" fmla="*/ 11149 w 19634"/>
                <a:gd name="T113" fmla="*/ 12 h 4776"/>
                <a:gd name="T114" fmla="*/ 0 w 19634"/>
                <a:gd name="T115" fmla="*/ 4776 h 4776"/>
                <a:gd name="T116" fmla="*/ 6699 w 19634"/>
                <a:gd name="T117" fmla="*/ 2273 h 4776"/>
                <a:gd name="T118" fmla="*/ 7031 w 19634"/>
                <a:gd name="T119" fmla="*/ 4675 h 4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634" h="4776">
                  <a:moveTo>
                    <a:pt x="13696" y="1256"/>
                  </a:moveTo>
                  <a:cubicBezTo>
                    <a:pt x="13546" y="1256"/>
                    <a:pt x="13546" y="1256"/>
                    <a:pt x="13546" y="1256"/>
                  </a:cubicBezTo>
                  <a:cubicBezTo>
                    <a:pt x="13546" y="462"/>
                    <a:pt x="13546" y="462"/>
                    <a:pt x="13546" y="462"/>
                  </a:cubicBezTo>
                  <a:cubicBezTo>
                    <a:pt x="13546" y="403"/>
                    <a:pt x="13561" y="328"/>
                    <a:pt x="13561" y="238"/>
                  </a:cubicBezTo>
                  <a:cubicBezTo>
                    <a:pt x="13561" y="238"/>
                    <a:pt x="13561" y="238"/>
                    <a:pt x="13561" y="238"/>
                  </a:cubicBezTo>
                  <a:cubicBezTo>
                    <a:pt x="13546" y="298"/>
                    <a:pt x="13531" y="328"/>
                    <a:pt x="13531" y="358"/>
                  </a:cubicBezTo>
                  <a:cubicBezTo>
                    <a:pt x="13126" y="1256"/>
                    <a:pt x="13126" y="1256"/>
                    <a:pt x="13126" y="1256"/>
                  </a:cubicBezTo>
                  <a:cubicBezTo>
                    <a:pt x="13051" y="1256"/>
                    <a:pt x="13051" y="1256"/>
                    <a:pt x="13051" y="1256"/>
                  </a:cubicBezTo>
                  <a:cubicBezTo>
                    <a:pt x="12662" y="358"/>
                    <a:pt x="12662" y="358"/>
                    <a:pt x="12662" y="358"/>
                  </a:cubicBezTo>
                  <a:cubicBezTo>
                    <a:pt x="12647" y="343"/>
                    <a:pt x="12632" y="298"/>
                    <a:pt x="12617" y="238"/>
                  </a:cubicBezTo>
                  <a:cubicBezTo>
                    <a:pt x="12617" y="238"/>
                    <a:pt x="12617" y="238"/>
                    <a:pt x="12617" y="238"/>
                  </a:cubicBezTo>
                  <a:cubicBezTo>
                    <a:pt x="12617" y="283"/>
                    <a:pt x="12617" y="358"/>
                    <a:pt x="12617" y="477"/>
                  </a:cubicBezTo>
                  <a:cubicBezTo>
                    <a:pt x="12617" y="1256"/>
                    <a:pt x="12617" y="1256"/>
                    <a:pt x="12617" y="1256"/>
                  </a:cubicBezTo>
                  <a:cubicBezTo>
                    <a:pt x="12497" y="1256"/>
                    <a:pt x="12497" y="1256"/>
                    <a:pt x="12497" y="1256"/>
                  </a:cubicBezTo>
                  <a:cubicBezTo>
                    <a:pt x="12497" y="88"/>
                    <a:pt x="12497" y="88"/>
                    <a:pt x="12497" y="88"/>
                  </a:cubicBezTo>
                  <a:cubicBezTo>
                    <a:pt x="12677" y="88"/>
                    <a:pt x="12677" y="88"/>
                    <a:pt x="12677" y="88"/>
                  </a:cubicBezTo>
                  <a:cubicBezTo>
                    <a:pt x="13037" y="897"/>
                    <a:pt x="13037" y="897"/>
                    <a:pt x="13037" y="897"/>
                  </a:cubicBezTo>
                  <a:cubicBezTo>
                    <a:pt x="13066" y="957"/>
                    <a:pt x="13081" y="1016"/>
                    <a:pt x="13081" y="1046"/>
                  </a:cubicBezTo>
                  <a:cubicBezTo>
                    <a:pt x="13096" y="1046"/>
                    <a:pt x="13096" y="1046"/>
                    <a:pt x="13096" y="1046"/>
                  </a:cubicBezTo>
                  <a:cubicBezTo>
                    <a:pt x="13111" y="971"/>
                    <a:pt x="13141" y="927"/>
                    <a:pt x="13156" y="897"/>
                  </a:cubicBezTo>
                  <a:cubicBezTo>
                    <a:pt x="13516" y="88"/>
                    <a:pt x="13516" y="88"/>
                    <a:pt x="13516" y="88"/>
                  </a:cubicBezTo>
                  <a:cubicBezTo>
                    <a:pt x="13696" y="88"/>
                    <a:pt x="13696" y="88"/>
                    <a:pt x="13696" y="88"/>
                  </a:cubicBezTo>
                  <a:cubicBezTo>
                    <a:pt x="13696" y="1256"/>
                    <a:pt x="13696" y="1256"/>
                    <a:pt x="13696" y="1256"/>
                  </a:cubicBezTo>
                  <a:cubicBezTo>
                    <a:pt x="13696" y="1256"/>
                    <a:pt x="13696" y="1256"/>
                    <a:pt x="13696" y="1256"/>
                  </a:cubicBezTo>
                  <a:close/>
                  <a:moveTo>
                    <a:pt x="14115" y="115"/>
                  </a:moveTo>
                  <a:cubicBezTo>
                    <a:pt x="14115" y="85"/>
                    <a:pt x="14115" y="69"/>
                    <a:pt x="14100" y="54"/>
                  </a:cubicBezTo>
                  <a:cubicBezTo>
                    <a:pt x="14070" y="39"/>
                    <a:pt x="14055" y="24"/>
                    <a:pt x="14024" y="24"/>
                  </a:cubicBezTo>
                  <a:cubicBezTo>
                    <a:pt x="14009" y="24"/>
                    <a:pt x="13979" y="39"/>
                    <a:pt x="13964" y="54"/>
                  </a:cubicBezTo>
                  <a:cubicBezTo>
                    <a:pt x="13949" y="69"/>
                    <a:pt x="13949" y="85"/>
                    <a:pt x="13949" y="115"/>
                  </a:cubicBezTo>
                  <a:cubicBezTo>
                    <a:pt x="13949" y="145"/>
                    <a:pt x="13949" y="160"/>
                    <a:pt x="13964" y="175"/>
                  </a:cubicBezTo>
                  <a:cubicBezTo>
                    <a:pt x="13979" y="190"/>
                    <a:pt x="14009" y="205"/>
                    <a:pt x="14024" y="205"/>
                  </a:cubicBezTo>
                  <a:cubicBezTo>
                    <a:pt x="14055" y="205"/>
                    <a:pt x="14070" y="190"/>
                    <a:pt x="14100" y="175"/>
                  </a:cubicBezTo>
                  <a:cubicBezTo>
                    <a:pt x="14115" y="160"/>
                    <a:pt x="14115" y="145"/>
                    <a:pt x="14115" y="115"/>
                  </a:cubicBezTo>
                  <a:close/>
                  <a:moveTo>
                    <a:pt x="14100" y="1256"/>
                  </a:moveTo>
                  <a:cubicBezTo>
                    <a:pt x="14100" y="1256"/>
                    <a:pt x="14100" y="1256"/>
                    <a:pt x="14100" y="1256"/>
                  </a:cubicBezTo>
                  <a:cubicBezTo>
                    <a:pt x="14100" y="415"/>
                    <a:pt x="14100" y="415"/>
                    <a:pt x="14100" y="415"/>
                  </a:cubicBezTo>
                  <a:cubicBezTo>
                    <a:pt x="14100" y="415"/>
                    <a:pt x="14100" y="415"/>
                    <a:pt x="13964" y="415"/>
                  </a:cubicBezTo>
                  <a:cubicBezTo>
                    <a:pt x="13964" y="415"/>
                    <a:pt x="13964" y="415"/>
                    <a:pt x="13964" y="1256"/>
                  </a:cubicBezTo>
                  <a:cubicBezTo>
                    <a:pt x="13964" y="1256"/>
                    <a:pt x="13964" y="1256"/>
                    <a:pt x="14100" y="1256"/>
                  </a:cubicBezTo>
                  <a:close/>
                  <a:moveTo>
                    <a:pt x="14926" y="1208"/>
                  </a:moveTo>
                  <a:cubicBezTo>
                    <a:pt x="14926" y="1208"/>
                    <a:pt x="14926" y="1208"/>
                    <a:pt x="14926" y="1208"/>
                  </a:cubicBezTo>
                  <a:cubicBezTo>
                    <a:pt x="14926" y="1088"/>
                    <a:pt x="14926" y="1088"/>
                    <a:pt x="14926" y="1088"/>
                  </a:cubicBezTo>
                  <a:cubicBezTo>
                    <a:pt x="14851" y="1133"/>
                    <a:pt x="14791" y="1163"/>
                    <a:pt x="14717" y="1163"/>
                  </a:cubicBezTo>
                  <a:cubicBezTo>
                    <a:pt x="14627" y="1163"/>
                    <a:pt x="14552" y="1133"/>
                    <a:pt x="14508" y="1073"/>
                  </a:cubicBezTo>
                  <a:cubicBezTo>
                    <a:pt x="14463" y="1014"/>
                    <a:pt x="14433" y="939"/>
                    <a:pt x="14433" y="849"/>
                  </a:cubicBezTo>
                  <a:cubicBezTo>
                    <a:pt x="14433" y="744"/>
                    <a:pt x="14463" y="654"/>
                    <a:pt x="14508" y="594"/>
                  </a:cubicBezTo>
                  <a:cubicBezTo>
                    <a:pt x="14567" y="534"/>
                    <a:pt x="14642" y="504"/>
                    <a:pt x="14717" y="504"/>
                  </a:cubicBezTo>
                  <a:cubicBezTo>
                    <a:pt x="14791" y="504"/>
                    <a:pt x="14866" y="534"/>
                    <a:pt x="14926" y="579"/>
                  </a:cubicBezTo>
                  <a:cubicBezTo>
                    <a:pt x="14926" y="579"/>
                    <a:pt x="14926" y="579"/>
                    <a:pt x="14926" y="444"/>
                  </a:cubicBezTo>
                  <a:cubicBezTo>
                    <a:pt x="14866" y="414"/>
                    <a:pt x="14806" y="399"/>
                    <a:pt x="14732" y="399"/>
                  </a:cubicBezTo>
                  <a:cubicBezTo>
                    <a:pt x="14597" y="399"/>
                    <a:pt x="14493" y="444"/>
                    <a:pt x="14418" y="519"/>
                  </a:cubicBezTo>
                  <a:cubicBezTo>
                    <a:pt x="14328" y="609"/>
                    <a:pt x="14299" y="714"/>
                    <a:pt x="14299" y="849"/>
                  </a:cubicBezTo>
                  <a:cubicBezTo>
                    <a:pt x="14299" y="984"/>
                    <a:pt x="14328" y="1073"/>
                    <a:pt x="14403" y="1148"/>
                  </a:cubicBezTo>
                  <a:cubicBezTo>
                    <a:pt x="14478" y="1238"/>
                    <a:pt x="14567" y="1268"/>
                    <a:pt x="14687" y="1268"/>
                  </a:cubicBezTo>
                  <a:cubicBezTo>
                    <a:pt x="14777" y="1268"/>
                    <a:pt x="14851" y="1253"/>
                    <a:pt x="14926" y="1208"/>
                  </a:cubicBezTo>
                  <a:close/>
                  <a:moveTo>
                    <a:pt x="15541" y="550"/>
                  </a:moveTo>
                  <a:cubicBezTo>
                    <a:pt x="15541" y="550"/>
                    <a:pt x="15541" y="550"/>
                    <a:pt x="15541" y="550"/>
                  </a:cubicBezTo>
                  <a:cubicBezTo>
                    <a:pt x="15541" y="414"/>
                    <a:pt x="15541" y="414"/>
                    <a:pt x="15541" y="414"/>
                  </a:cubicBezTo>
                  <a:cubicBezTo>
                    <a:pt x="15526" y="399"/>
                    <a:pt x="15496" y="399"/>
                    <a:pt x="15466" y="399"/>
                  </a:cubicBezTo>
                  <a:cubicBezTo>
                    <a:pt x="15420" y="399"/>
                    <a:pt x="15375" y="414"/>
                    <a:pt x="15330" y="444"/>
                  </a:cubicBezTo>
                  <a:cubicBezTo>
                    <a:pt x="15300" y="475"/>
                    <a:pt x="15270" y="535"/>
                    <a:pt x="15239" y="595"/>
                  </a:cubicBezTo>
                  <a:cubicBezTo>
                    <a:pt x="15239" y="595"/>
                    <a:pt x="15239" y="595"/>
                    <a:pt x="15239" y="595"/>
                  </a:cubicBezTo>
                  <a:cubicBezTo>
                    <a:pt x="15239" y="595"/>
                    <a:pt x="15239" y="595"/>
                    <a:pt x="15239" y="414"/>
                  </a:cubicBezTo>
                  <a:cubicBezTo>
                    <a:pt x="15239" y="414"/>
                    <a:pt x="15239" y="414"/>
                    <a:pt x="15104" y="414"/>
                  </a:cubicBezTo>
                  <a:cubicBezTo>
                    <a:pt x="15104" y="414"/>
                    <a:pt x="15104" y="414"/>
                    <a:pt x="15104" y="1256"/>
                  </a:cubicBezTo>
                  <a:cubicBezTo>
                    <a:pt x="15104" y="1256"/>
                    <a:pt x="15104" y="1256"/>
                    <a:pt x="15239" y="1256"/>
                  </a:cubicBezTo>
                  <a:cubicBezTo>
                    <a:pt x="15239" y="1256"/>
                    <a:pt x="15239" y="1256"/>
                    <a:pt x="15239" y="835"/>
                  </a:cubicBezTo>
                  <a:cubicBezTo>
                    <a:pt x="15239" y="730"/>
                    <a:pt x="15254" y="655"/>
                    <a:pt x="15300" y="595"/>
                  </a:cubicBezTo>
                  <a:cubicBezTo>
                    <a:pt x="15345" y="550"/>
                    <a:pt x="15390" y="520"/>
                    <a:pt x="15435" y="520"/>
                  </a:cubicBezTo>
                  <a:cubicBezTo>
                    <a:pt x="15481" y="520"/>
                    <a:pt x="15526" y="535"/>
                    <a:pt x="15541" y="550"/>
                  </a:cubicBezTo>
                  <a:close/>
                  <a:moveTo>
                    <a:pt x="16411" y="834"/>
                  </a:moveTo>
                  <a:cubicBezTo>
                    <a:pt x="16411" y="699"/>
                    <a:pt x="16381" y="594"/>
                    <a:pt x="16306" y="504"/>
                  </a:cubicBezTo>
                  <a:cubicBezTo>
                    <a:pt x="16246" y="429"/>
                    <a:pt x="16141" y="399"/>
                    <a:pt x="16021" y="399"/>
                  </a:cubicBezTo>
                  <a:cubicBezTo>
                    <a:pt x="15886" y="399"/>
                    <a:pt x="15781" y="429"/>
                    <a:pt x="15706" y="504"/>
                  </a:cubicBezTo>
                  <a:cubicBezTo>
                    <a:pt x="15631" y="579"/>
                    <a:pt x="15586" y="699"/>
                    <a:pt x="15586" y="849"/>
                  </a:cubicBezTo>
                  <a:cubicBezTo>
                    <a:pt x="15586" y="969"/>
                    <a:pt x="15631" y="1073"/>
                    <a:pt x="15691" y="1148"/>
                  </a:cubicBezTo>
                  <a:cubicBezTo>
                    <a:pt x="15766" y="1238"/>
                    <a:pt x="15871" y="1268"/>
                    <a:pt x="15991" y="1268"/>
                  </a:cubicBezTo>
                  <a:cubicBezTo>
                    <a:pt x="16126" y="1268"/>
                    <a:pt x="16231" y="1238"/>
                    <a:pt x="16306" y="1148"/>
                  </a:cubicBezTo>
                  <a:cubicBezTo>
                    <a:pt x="16381" y="1073"/>
                    <a:pt x="16411" y="969"/>
                    <a:pt x="16411" y="834"/>
                  </a:cubicBezTo>
                  <a:close/>
                  <a:moveTo>
                    <a:pt x="16276" y="834"/>
                  </a:moveTo>
                  <a:cubicBezTo>
                    <a:pt x="16276" y="939"/>
                    <a:pt x="16261" y="1014"/>
                    <a:pt x="16216" y="1073"/>
                  </a:cubicBezTo>
                  <a:cubicBezTo>
                    <a:pt x="16156" y="1133"/>
                    <a:pt x="16096" y="1163"/>
                    <a:pt x="16006" y="1163"/>
                  </a:cubicBezTo>
                  <a:cubicBezTo>
                    <a:pt x="15916" y="1163"/>
                    <a:pt x="15856" y="1133"/>
                    <a:pt x="15796" y="1073"/>
                  </a:cubicBezTo>
                  <a:cubicBezTo>
                    <a:pt x="15751" y="1014"/>
                    <a:pt x="15721" y="939"/>
                    <a:pt x="15721" y="834"/>
                  </a:cubicBezTo>
                  <a:cubicBezTo>
                    <a:pt x="15721" y="729"/>
                    <a:pt x="15751" y="654"/>
                    <a:pt x="15811" y="594"/>
                  </a:cubicBezTo>
                  <a:cubicBezTo>
                    <a:pt x="15856" y="534"/>
                    <a:pt x="15916" y="504"/>
                    <a:pt x="16006" y="504"/>
                  </a:cubicBezTo>
                  <a:cubicBezTo>
                    <a:pt x="16096" y="504"/>
                    <a:pt x="16156" y="534"/>
                    <a:pt x="16201" y="594"/>
                  </a:cubicBezTo>
                  <a:cubicBezTo>
                    <a:pt x="16246" y="654"/>
                    <a:pt x="16276" y="729"/>
                    <a:pt x="16276" y="834"/>
                  </a:cubicBezTo>
                  <a:close/>
                  <a:moveTo>
                    <a:pt x="17070" y="1029"/>
                  </a:moveTo>
                  <a:cubicBezTo>
                    <a:pt x="17070" y="969"/>
                    <a:pt x="17040" y="909"/>
                    <a:pt x="17010" y="879"/>
                  </a:cubicBezTo>
                  <a:cubicBezTo>
                    <a:pt x="16965" y="849"/>
                    <a:pt x="16920" y="819"/>
                    <a:pt x="16845" y="789"/>
                  </a:cubicBezTo>
                  <a:cubicBezTo>
                    <a:pt x="16784" y="759"/>
                    <a:pt x="16739" y="729"/>
                    <a:pt x="16724" y="714"/>
                  </a:cubicBezTo>
                  <a:cubicBezTo>
                    <a:pt x="16694" y="699"/>
                    <a:pt x="16694" y="669"/>
                    <a:pt x="16694" y="624"/>
                  </a:cubicBezTo>
                  <a:cubicBezTo>
                    <a:pt x="16694" y="594"/>
                    <a:pt x="16694" y="564"/>
                    <a:pt x="16724" y="549"/>
                  </a:cubicBezTo>
                  <a:cubicBezTo>
                    <a:pt x="16754" y="519"/>
                    <a:pt x="16784" y="504"/>
                    <a:pt x="16829" y="504"/>
                  </a:cubicBezTo>
                  <a:cubicBezTo>
                    <a:pt x="16905" y="504"/>
                    <a:pt x="16965" y="534"/>
                    <a:pt x="17025" y="564"/>
                  </a:cubicBezTo>
                  <a:cubicBezTo>
                    <a:pt x="17025" y="564"/>
                    <a:pt x="17025" y="564"/>
                    <a:pt x="17025" y="429"/>
                  </a:cubicBezTo>
                  <a:cubicBezTo>
                    <a:pt x="16980" y="414"/>
                    <a:pt x="16920" y="399"/>
                    <a:pt x="16845" y="399"/>
                  </a:cubicBezTo>
                  <a:cubicBezTo>
                    <a:pt x="16754" y="399"/>
                    <a:pt x="16694" y="414"/>
                    <a:pt x="16634" y="459"/>
                  </a:cubicBezTo>
                  <a:cubicBezTo>
                    <a:pt x="16574" y="504"/>
                    <a:pt x="16543" y="564"/>
                    <a:pt x="16543" y="639"/>
                  </a:cubicBezTo>
                  <a:cubicBezTo>
                    <a:pt x="16543" y="699"/>
                    <a:pt x="16574" y="744"/>
                    <a:pt x="16604" y="789"/>
                  </a:cubicBezTo>
                  <a:cubicBezTo>
                    <a:pt x="16634" y="819"/>
                    <a:pt x="16679" y="849"/>
                    <a:pt x="16754" y="879"/>
                  </a:cubicBezTo>
                  <a:cubicBezTo>
                    <a:pt x="16814" y="909"/>
                    <a:pt x="16875" y="939"/>
                    <a:pt x="16890" y="969"/>
                  </a:cubicBezTo>
                  <a:cubicBezTo>
                    <a:pt x="16920" y="984"/>
                    <a:pt x="16920" y="1014"/>
                    <a:pt x="16920" y="1044"/>
                  </a:cubicBezTo>
                  <a:cubicBezTo>
                    <a:pt x="16920" y="1118"/>
                    <a:pt x="16875" y="1163"/>
                    <a:pt x="16769" y="1163"/>
                  </a:cubicBezTo>
                  <a:cubicBezTo>
                    <a:pt x="16679" y="1163"/>
                    <a:pt x="16619" y="1133"/>
                    <a:pt x="16543" y="1073"/>
                  </a:cubicBezTo>
                  <a:cubicBezTo>
                    <a:pt x="16543" y="1073"/>
                    <a:pt x="16543" y="1073"/>
                    <a:pt x="16543" y="1223"/>
                  </a:cubicBezTo>
                  <a:cubicBezTo>
                    <a:pt x="16604" y="1253"/>
                    <a:pt x="16679" y="1268"/>
                    <a:pt x="16754" y="1268"/>
                  </a:cubicBezTo>
                  <a:cubicBezTo>
                    <a:pt x="16860" y="1268"/>
                    <a:pt x="16935" y="1253"/>
                    <a:pt x="16980" y="1208"/>
                  </a:cubicBezTo>
                  <a:cubicBezTo>
                    <a:pt x="17040" y="1148"/>
                    <a:pt x="17070" y="1103"/>
                    <a:pt x="17070" y="1029"/>
                  </a:cubicBezTo>
                  <a:close/>
                  <a:moveTo>
                    <a:pt x="18015" y="834"/>
                  </a:moveTo>
                  <a:cubicBezTo>
                    <a:pt x="18015" y="699"/>
                    <a:pt x="17970" y="594"/>
                    <a:pt x="17895" y="504"/>
                  </a:cubicBezTo>
                  <a:cubicBezTo>
                    <a:pt x="17834" y="429"/>
                    <a:pt x="17729" y="399"/>
                    <a:pt x="17609" y="399"/>
                  </a:cubicBezTo>
                  <a:cubicBezTo>
                    <a:pt x="17473" y="399"/>
                    <a:pt x="17383" y="429"/>
                    <a:pt x="17308" y="504"/>
                  </a:cubicBezTo>
                  <a:cubicBezTo>
                    <a:pt x="17217" y="579"/>
                    <a:pt x="17172" y="699"/>
                    <a:pt x="17172" y="849"/>
                  </a:cubicBezTo>
                  <a:cubicBezTo>
                    <a:pt x="17172" y="969"/>
                    <a:pt x="17217" y="1073"/>
                    <a:pt x="17292" y="1148"/>
                  </a:cubicBezTo>
                  <a:cubicBezTo>
                    <a:pt x="17368" y="1238"/>
                    <a:pt x="17458" y="1268"/>
                    <a:pt x="17594" y="1268"/>
                  </a:cubicBezTo>
                  <a:cubicBezTo>
                    <a:pt x="17714" y="1268"/>
                    <a:pt x="17819" y="1238"/>
                    <a:pt x="17895" y="1148"/>
                  </a:cubicBezTo>
                  <a:cubicBezTo>
                    <a:pt x="17970" y="1073"/>
                    <a:pt x="18015" y="969"/>
                    <a:pt x="18015" y="834"/>
                  </a:cubicBezTo>
                  <a:close/>
                  <a:moveTo>
                    <a:pt x="17865" y="834"/>
                  </a:moveTo>
                  <a:cubicBezTo>
                    <a:pt x="17865" y="939"/>
                    <a:pt x="17849" y="1014"/>
                    <a:pt x="17804" y="1073"/>
                  </a:cubicBezTo>
                  <a:cubicBezTo>
                    <a:pt x="17759" y="1133"/>
                    <a:pt x="17684" y="1163"/>
                    <a:pt x="17594" y="1163"/>
                  </a:cubicBezTo>
                  <a:cubicBezTo>
                    <a:pt x="17518" y="1163"/>
                    <a:pt x="17443" y="1133"/>
                    <a:pt x="17398" y="1073"/>
                  </a:cubicBezTo>
                  <a:cubicBezTo>
                    <a:pt x="17338" y="1014"/>
                    <a:pt x="17323" y="939"/>
                    <a:pt x="17323" y="834"/>
                  </a:cubicBezTo>
                  <a:cubicBezTo>
                    <a:pt x="17323" y="729"/>
                    <a:pt x="17338" y="654"/>
                    <a:pt x="17398" y="594"/>
                  </a:cubicBezTo>
                  <a:cubicBezTo>
                    <a:pt x="17443" y="534"/>
                    <a:pt x="17518" y="504"/>
                    <a:pt x="17594" y="504"/>
                  </a:cubicBezTo>
                  <a:cubicBezTo>
                    <a:pt x="17684" y="504"/>
                    <a:pt x="17744" y="534"/>
                    <a:pt x="17789" y="594"/>
                  </a:cubicBezTo>
                  <a:cubicBezTo>
                    <a:pt x="17849" y="654"/>
                    <a:pt x="17865" y="729"/>
                    <a:pt x="17865" y="834"/>
                  </a:cubicBezTo>
                  <a:close/>
                  <a:moveTo>
                    <a:pt x="18580" y="135"/>
                  </a:moveTo>
                  <a:cubicBezTo>
                    <a:pt x="18580" y="135"/>
                    <a:pt x="18580" y="135"/>
                    <a:pt x="18580" y="135"/>
                  </a:cubicBezTo>
                  <a:cubicBezTo>
                    <a:pt x="18580" y="15"/>
                    <a:pt x="18580" y="15"/>
                    <a:pt x="18580" y="15"/>
                  </a:cubicBezTo>
                  <a:cubicBezTo>
                    <a:pt x="18550" y="0"/>
                    <a:pt x="18520" y="0"/>
                    <a:pt x="18476" y="0"/>
                  </a:cubicBezTo>
                  <a:cubicBezTo>
                    <a:pt x="18416" y="0"/>
                    <a:pt x="18356" y="15"/>
                    <a:pt x="18297" y="60"/>
                  </a:cubicBezTo>
                  <a:cubicBezTo>
                    <a:pt x="18252" y="120"/>
                    <a:pt x="18222" y="194"/>
                    <a:pt x="18222" y="284"/>
                  </a:cubicBezTo>
                  <a:cubicBezTo>
                    <a:pt x="18222" y="284"/>
                    <a:pt x="18222" y="284"/>
                    <a:pt x="18222" y="419"/>
                  </a:cubicBezTo>
                  <a:cubicBezTo>
                    <a:pt x="18222" y="419"/>
                    <a:pt x="18222" y="419"/>
                    <a:pt x="18073" y="419"/>
                  </a:cubicBezTo>
                  <a:cubicBezTo>
                    <a:pt x="18073" y="419"/>
                    <a:pt x="18073" y="419"/>
                    <a:pt x="18073" y="538"/>
                  </a:cubicBezTo>
                  <a:cubicBezTo>
                    <a:pt x="18073" y="538"/>
                    <a:pt x="18073" y="538"/>
                    <a:pt x="18222" y="538"/>
                  </a:cubicBezTo>
                  <a:cubicBezTo>
                    <a:pt x="18222" y="538"/>
                    <a:pt x="18222" y="538"/>
                    <a:pt x="18222" y="1256"/>
                  </a:cubicBezTo>
                  <a:cubicBezTo>
                    <a:pt x="18222" y="1256"/>
                    <a:pt x="18222" y="1256"/>
                    <a:pt x="18356" y="1256"/>
                  </a:cubicBezTo>
                  <a:cubicBezTo>
                    <a:pt x="18356" y="1256"/>
                    <a:pt x="18356" y="1256"/>
                    <a:pt x="18356" y="538"/>
                  </a:cubicBezTo>
                  <a:cubicBezTo>
                    <a:pt x="18356" y="538"/>
                    <a:pt x="18356" y="538"/>
                    <a:pt x="18550" y="538"/>
                  </a:cubicBezTo>
                  <a:cubicBezTo>
                    <a:pt x="18550" y="538"/>
                    <a:pt x="18550" y="538"/>
                    <a:pt x="18550" y="419"/>
                  </a:cubicBezTo>
                  <a:cubicBezTo>
                    <a:pt x="18550" y="419"/>
                    <a:pt x="18550" y="419"/>
                    <a:pt x="18356" y="419"/>
                  </a:cubicBezTo>
                  <a:cubicBezTo>
                    <a:pt x="18356" y="419"/>
                    <a:pt x="18356" y="419"/>
                    <a:pt x="18356" y="284"/>
                  </a:cubicBezTo>
                  <a:cubicBezTo>
                    <a:pt x="18356" y="179"/>
                    <a:pt x="18401" y="120"/>
                    <a:pt x="18490" y="120"/>
                  </a:cubicBezTo>
                  <a:cubicBezTo>
                    <a:pt x="18520" y="120"/>
                    <a:pt x="18550" y="120"/>
                    <a:pt x="18580" y="135"/>
                  </a:cubicBezTo>
                  <a:close/>
                  <a:moveTo>
                    <a:pt x="19095" y="1253"/>
                  </a:moveTo>
                  <a:cubicBezTo>
                    <a:pt x="19095" y="1253"/>
                    <a:pt x="19095" y="1253"/>
                    <a:pt x="19095" y="1253"/>
                  </a:cubicBezTo>
                  <a:cubicBezTo>
                    <a:pt x="19095" y="1134"/>
                    <a:pt x="19095" y="1134"/>
                    <a:pt x="19095" y="1134"/>
                  </a:cubicBezTo>
                  <a:cubicBezTo>
                    <a:pt x="19080" y="1149"/>
                    <a:pt x="19050" y="1164"/>
                    <a:pt x="19005" y="1164"/>
                  </a:cubicBezTo>
                  <a:cubicBezTo>
                    <a:pt x="18960" y="1164"/>
                    <a:pt x="18930" y="1149"/>
                    <a:pt x="18915" y="1119"/>
                  </a:cubicBezTo>
                  <a:cubicBezTo>
                    <a:pt x="18900" y="1104"/>
                    <a:pt x="18885" y="1059"/>
                    <a:pt x="18885" y="1000"/>
                  </a:cubicBezTo>
                  <a:cubicBezTo>
                    <a:pt x="18885" y="1000"/>
                    <a:pt x="18885" y="1000"/>
                    <a:pt x="18885" y="537"/>
                  </a:cubicBezTo>
                  <a:cubicBezTo>
                    <a:pt x="18885" y="537"/>
                    <a:pt x="18885" y="537"/>
                    <a:pt x="19095" y="537"/>
                  </a:cubicBezTo>
                  <a:cubicBezTo>
                    <a:pt x="19095" y="537"/>
                    <a:pt x="19095" y="537"/>
                    <a:pt x="19095" y="418"/>
                  </a:cubicBezTo>
                  <a:cubicBezTo>
                    <a:pt x="19095" y="418"/>
                    <a:pt x="19095" y="418"/>
                    <a:pt x="18885" y="418"/>
                  </a:cubicBezTo>
                  <a:cubicBezTo>
                    <a:pt x="18885" y="418"/>
                    <a:pt x="18885" y="418"/>
                    <a:pt x="18885" y="164"/>
                  </a:cubicBezTo>
                  <a:cubicBezTo>
                    <a:pt x="18840" y="194"/>
                    <a:pt x="18795" y="194"/>
                    <a:pt x="18750" y="209"/>
                  </a:cubicBezTo>
                  <a:cubicBezTo>
                    <a:pt x="18750" y="209"/>
                    <a:pt x="18750" y="209"/>
                    <a:pt x="18750" y="418"/>
                  </a:cubicBezTo>
                  <a:cubicBezTo>
                    <a:pt x="18750" y="418"/>
                    <a:pt x="18750" y="418"/>
                    <a:pt x="18600" y="418"/>
                  </a:cubicBezTo>
                  <a:cubicBezTo>
                    <a:pt x="18600" y="418"/>
                    <a:pt x="18600" y="418"/>
                    <a:pt x="18600" y="537"/>
                  </a:cubicBezTo>
                  <a:cubicBezTo>
                    <a:pt x="18600" y="537"/>
                    <a:pt x="18600" y="537"/>
                    <a:pt x="18750" y="537"/>
                  </a:cubicBezTo>
                  <a:cubicBezTo>
                    <a:pt x="18750" y="537"/>
                    <a:pt x="18750" y="537"/>
                    <a:pt x="18750" y="1029"/>
                  </a:cubicBezTo>
                  <a:cubicBezTo>
                    <a:pt x="18750" y="1194"/>
                    <a:pt x="18825" y="1268"/>
                    <a:pt x="18975" y="1268"/>
                  </a:cubicBezTo>
                  <a:cubicBezTo>
                    <a:pt x="19020" y="1268"/>
                    <a:pt x="19065" y="1268"/>
                    <a:pt x="19095" y="1253"/>
                  </a:cubicBezTo>
                  <a:close/>
                  <a:moveTo>
                    <a:pt x="11976" y="4461"/>
                  </a:moveTo>
                  <a:cubicBezTo>
                    <a:pt x="11976" y="4402"/>
                    <a:pt x="11961" y="4342"/>
                    <a:pt x="11901" y="4297"/>
                  </a:cubicBezTo>
                  <a:cubicBezTo>
                    <a:pt x="11855" y="4252"/>
                    <a:pt x="11810" y="4237"/>
                    <a:pt x="11734" y="4237"/>
                  </a:cubicBezTo>
                  <a:cubicBezTo>
                    <a:pt x="11674" y="4237"/>
                    <a:pt x="11613" y="4252"/>
                    <a:pt x="11568" y="4297"/>
                  </a:cubicBezTo>
                  <a:cubicBezTo>
                    <a:pt x="11522" y="4342"/>
                    <a:pt x="11507" y="4402"/>
                    <a:pt x="11507" y="4461"/>
                  </a:cubicBezTo>
                  <a:cubicBezTo>
                    <a:pt x="11507" y="4536"/>
                    <a:pt x="11522" y="4581"/>
                    <a:pt x="11568" y="4641"/>
                  </a:cubicBezTo>
                  <a:cubicBezTo>
                    <a:pt x="11613" y="4686"/>
                    <a:pt x="11674" y="4700"/>
                    <a:pt x="11734" y="4700"/>
                  </a:cubicBezTo>
                  <a:cubicBezTo>
                    <a:pt x="11810" y="4700"/>
                    <a:pt x="11855" y="4686"/>
                    <a:pt x="11901" y="4641"/>
                  </a:cubicBezTo>
                  <a:cubicBezTo>
                    <a:pt x="11961" y="4581"/>
                    <a:pt x="11976" y="4536"/>
                    <a:pt x="11976" y="4461"/>
                  </a:cubicBezTo>
                  <a:close/>
                  <a:moveTo>
                    <a:pt x="14926" y="4655"/>
                  </a:moveTo>
                  <a:cubicBezTo>
                    <a:pt x="14926" y="4655"/>
                    <a:pt x="14926" y="4655"/>
                    <a:pt x="14926" y="4655"/>
                  </a:cubicBezTo>
                  <a:cubicBezTo>
                    <a:pt x="14926" y="1630"/>
                    <a:pt x="14926" y="1630"/>
                    <a:pt x="14926" y="1630"/>
                  </a:cubicBezTo>
                  <a:cubicBezTo>
                    <a:pt x="14926" y="1630"/>
                    <a:pt x="14926" y="1630"/>
                    <a:pt x="14566" y="1630"/>
                  </a:cubicBezTo>
                  <a:cubicBezTo>
                    <a:pt x="14566" y="1630"/>
                    <a:pt x="14566" y="1630"/>
                    <a:pt x="14566" y="3756"/>
                  </a:cubicBezTo>
                  <a:cubicBezTo>
                    <a:pt x="14566" y="3966"/>
                    <a:pt x="14581" y="4116"/>
                    <a:pt x="14596" y="4206"/>
                  </a:cubicBezTo>
                  <a:cubicBezTo>
                    <a:pt x="14596" y="4206"/>
                    <a:pt x="14596" y="4206"/>
                    <a:pt x="14581" y="4206"/>
                  </a:cubicBezTo>
                  <a:cubicBezTo>
                    <a:pt x="14566" y="4161"/>
                    <a:pt x="14521" y="4101"/>
                    <a:pt x="14461" y="4011"/>
                  </a:cubicBezTo>
                  <a:cubicBezTo>
                    <a:pt x="14461" y="4011"/>
                    <a:pt x="14461" y="4011"/>
                    <a:pt x="12947" y="1630"/>
                  </a:cubicBezTo>
                  <a:cubicBezTo>
                    <a:pt x="12947" y="1630"/>
                    <a:pt x="12947" y="1630"/>
                    <a:pt x="12497" y="1630"/>
                  </a:cubicBezTo>
                  <a:cubicBezTo>
                    <a:pt x="12497" y="1630"/>
                    <a:pt x="12497" y="1630"/>
                    <a:pt x="12497" y="4655"/>
                  </a:cubicBezTo>
                  <a:cubicBezTo>
                    <a:pt x="12497" y="4655"/>
                    <a:pt x="12497" y="4655"/>
                    <a:pt x="12842" y="4655"/>
                  </a:cubicBezTo>
                  <a:cubicBezTo>
                    <a:pt x="12842" y="4655"/>
                    <a:pt x="12842" y="4655"/>
                    <a:pt x="12842" y="2468"/>
                  </a:cubicBezTo>
                  <a:cubicBezTo>
                    <a:pt x="12842" y="2259"/>
                    <a:pt x="12842" y="2124"/>
                    <a:pt x="12827" y="2064"/>
                  </a:cubicBezTo>
                  <a:cubicBezTo>
                    <a:pt x="12827" y="2064"/>
                    <a:pt x="12827" y="2064"/>
                    <a:pt x="12842" y="2064"/>
                  </a:cubicBezTo>
                  <a:cubicBezTo>
                    <a:pt x="12872" y="2124"/>
                    <a:pt x="12902" y="2199"/>
                    <a:pt x="12932" y="2244"/>
                  </a:cubicBezTo>
                  <a:cubicBezTo>
                    <a:pt x="12932" y="2244"/>
                    <a:pt x="12932" y="2244"/>
                    <a:pt x="14491" y="4655"/>
                  </a:cubicBezTo>
                  <a:cubicBezTo>
                    <a:pt x="14491" y="4655"/>
                    <a:pt x="14491" y="4655"/>
                    <a:pt x="14926" y="4655"/>
                  </a:cubicBezTo>
                  <a:close/>
                  <a:moveTo>
                    <a:pt x="17204" y="4655"/>
                  </a:moveTo>
                  <a:cubicBezTo>
                    <a:pt x="17204" y="4655"/>
                    <a:pt x="17204" y="4655"/>
                    <a:pt x="17204" y="4655"/>
                  </a:cubicBezTo>
                  <a:cubicBezTo>
                    <a:pt x="17204" y="4344"/>
                    <a:pt x="17204" y="4344"/>
                    <a:pt x="17204" y="4344"/>
                  </a:cubicBezTo>
                  <a:cubicBezTo>
                    <a:pt x="15960" y="4344"/>
                    <a:pt x="15960" y="4344"/>
                    <a:pt x="15960" y="4344"/>
                  </a:cubicBezTo>
                  <a:cubicBezTo>
                    <a:pt x="15960" y="3279"/>
                    <a:pt x="15960" y="3279"/>
                    <a:pt x="15960" y="3279"/>
                  </a:cubicBezTo>
                  <a:cubicBezTo>
                    <a:pt x="17039" y="3279"/>
                    <a:pt x="17039" y="3279"/>
                    <a:pt x="17039" y="3279"/>
                  </a:cubicBezTo>
                  <a:cubicBezTo>
                    <a:pt x="17039" y="2962"/>
                    <a:pt x="17039" y="2962"/>
                    <a:pt x="17039" y="2962"/>
                  </a:cubicBezTo>
                  <a:cubicBezTo>
                    <a:pt x="15960" y="2962"/>
                    <a:pt x="15960" y="2962"/>
                    <a:pt x="15960" y="2962"/>
                  </a:cubicBezTo>
                  <a:cubicBezTo>
                    <a:pt x="15960" y="1960"/>
                    <a:pt x="15960" y="1960"/>
                    <a:pt x="15960" y="1960"/>
                  </a:cubicBezTo>
                  <a:cubicBezTo>
                    <a:pt x="17128" y="1960"/>
                    <a:pt x="17128" y="1960"/>
                    <a:pt x="17128" y="1960"/>
                  </a:cubicBezTo>
                  <a:cubicBezTo>
                    <a:pt x="17128" y="1630"/>
                    <a:pt x="17128" y="1630"/>
                    <a:pt x="17128" y="1630"/>
                  </a:cubicBezTo>
                  <a:cubicBezTo>
                    <a:pt x="15599" y="1630"/>
                    <a:pt x="15599" y="1630"/>
                    <a:pt x="15599" y="1630"/>
                  </a:cubicBezTo>
                  <a:cubicBezTo>
                    <a:pt x="15599" y="4655"/>
                    <a:pt x="15599" y="4655"/>
                    <a:pt x="15599" y="4655"/>
                  </a:cubicBezTo>
                  <a:cubicBezTo>
                    <a:pt x="17204" y="4655"/>
                    <a:pt x="17204" y="4655"/>
                    <a:pt x="17204" y="4655"/>
                  </a:cubicBezTo>
                  <a:close/>
                  <a:moveTo>
                    <a:pt x="19614" y="1960"/>
                  </a:moveTo>
                  <a:cubicBezTo>
                    <a:pt x="19614" y="1960"/>
                    <a:pt x="19614" y="1960"/>
                    <a:pt x="19614" y="1960"/>
                  </a:cubicBezTo>
                  <a:cubicBezTo>
                    <a:pt x="19614" y="1630"/>
                    <a:pt x="19614" y="1630"/>
                    <a:pt x="19614" y="1630"/>
                  </a:cubicBezTo>
                  <a:cubicBezTo>
                    <a:pt x="17521" y="1630"/>
                    <a:pt x="17521" y="1630"/>
                    <a:pt x="17521" y="1630"/>
                  </a:cubicBezTo>
                  <a:cubicBezTo>
                    <a:pt x="17521" y="1960"/>
                    <a:pt x="17521" y="1960"/>
                    <a:pt x="17521" y="1960"/>
                  </a:cubicBezTo>
                  <a:cubicBezTo>
                    <a:pt x="18403" y="1960"/>
                    <a:pt x="18403" y="1960"/>
                    <a:pt x="18403" y="1960"/>
                  </a:cubicBezTo>
                  <a:cubicBezTo>
                    <a:pt x="18403" y="4655"/>
                    <a:pt x="18403" y="4655"/>
                    <a:pt x="18403" y="4655"/>
                  </a:cubicBezTo>
                  <a:cubicBezTo>
                    <a:pt x="18745" y="4655"/>
                    <a:pt x="18745" y="4655"/>
                    <a:pt x="18745" y="4655"/>
                  </a:cubicBezTo>
                  <a:cubicBezTo>
                    <a:pt x="18745" y="1960"/>
                    <a:pt x="18745" y="1960"/>
                    <a:pt x="18745" y="1960"/>
                  </a:cubicBezTo>
                  <a:cubicBezTo>
                    <a:pt x="19614" y="1960"/>
                    <a:pt x="19614" y="1960"/>
                    <a:pt x="19614" y="1960"/>
                  </a:cubicBezTo>
                  <a:close/>
                  <a:moveTo>
                    <a:pt x="9756" y="4389"/>
                  </a:moveTo>
                  <a:cubicBezTo>
                    <a:pt x="9756" y="4389"/>
                    <a:pt x="9756" y="4389"/>
                    <a:pt x="9756" y="4389"/>
                  </a:cubicBezTo>
                  <a:cubicBezTo>
                    <a:pt x="9756" y="4357"/>
                    <a:pt x="9756" y="4357"/>
                    <a:pt x="9756" y="4357"/>
                  </a:cubicBezTo>
                  <a:cubicBezTo>
                    <a:pt x="9547" y="4357"/>
                    <a:pt x="9547" y="4357"/>
                    <a:pt x="9547" y="4357"/>
                  </a:cubicBezTo>
                  <a:cubicBezTo>
                    <a:pt x="9547" y="4389"/>
                    <a:pt x="9547" y="4389"/>
                    <a:pt x="9547" y="4389"/>
                  </a:cubicBezTo>
                  <a:cubicBezTo>
                    <a:pt x="9635" y="4389"/>
                    <a:pt x="9635" y="4389"/>
                    <a:pt x="9635" y="4389"/>
                  </a:cubicBezTo>
                  <a:cubicBezTo>
                    <a:pt x="9635" y="4655"/>
                    <a:pt x="9635" y="4655"/>
                    <a:pt x="9635" y="4655"/>
                  </a:cubicBezTo>
                  <a:cubicBezTo>
                    <a:pt x="9667" y="4655"/>
                    <a:pt x="9667" y="4655"/>
                    <a:pt x="9667" y="4655"/>
                  </a:cubicBezTo>
                  <a:cubicBezTo>
                    <a:pt x="9667" y="4389"/>
                    <a:pt x="9667" y="4389"/>
                    <a:pt x="9667" y="4389"/>
                  </a:cubicBezTo>
                  <a:cubicBezTo>
                    <a:pt x="9756" y="4389"/>
                    <a:pt x="9756" y="4389"/>
                    <a:pt x="9756" y="4389"/>
                  </a:cubicBezTo>
                  <a:close/>
                  <a:moveTo>
                    <a:pt x="10099" y="4655"/>
                  </a:moveTo>
                  <a:cubicBezTo>
                    <a:pt x="10099" y="4655"/>
                    <a:pt x="10099" y="4655"/>
                    <a:pt x="10099" y="4655"/>
                  </a:cubicBezTo>
                  <a:cubicBezTo>
                    <a:pt x="10099" y="4357"/>
                    <a:pt x="10099" y="4357"/>
                    <a:pt x="10099" y="4357"/>
                  </a:cubicBezTo>
                  <a:cubicBezTo>
                    <a:pt x="10099" y="4357"/>
                    <a:pt x="10099" y="4357"/>
                    <a:pt x="10054" y="4357"/>
                  </a:cubicBezTo>
                  <a:cubicBezTo>
                    <a:pt x="10054" y="4357"/>
                    <a:pt x="10054" y="4357"/>
                    <a:pt x="9965" y="4566"/>
                  </a:cubicBezTo>
                  <a:cubicBezTo>
                    <a:pt x="9950" y="4581"/>
                    <a:pt x="9950" y="4581"/>
                    <a:pt x="9950" y="4596"/>
                  </a:cubicBezTo>
                  <a:cubicBezTo>
                    <a:pt x="9950" y="4596"/>
                    <a:pt x="9950" y="4596"/>
                    <a:pt x="9950" y="4596"/>
                  </a:cubicBezTo>
                  <a:cubicBezTo>
                    <a:pt x="9935" y="4596"/>
                    <a:pt x="9935" y="4581"/>
                    <a:pt x="9935" y="4566"/>
                  </a:cubicBezTo>
                  <a:cubicBezTo>
                    <a:pt x="9935" y="4566"/>
                    <a:pt x="9935" y="4566"/>
                    <a:pt x="9845" y="4357"/>
                  </a:cubicBezTo>
                  <a:cubicBezTo>
                    <a:pt x="9845" y="4357"/>
                    <a:pt x="9845" y="4357"/>
                    <a:pt x="9800" y="4357"/>
                  </a:cubicBezTo>
                  <a:cubicBezTo>
                    <a:pt x="9800" y="4357"/>
                    <a:pt x="9800" y="4357"/>
                    <a:pt x="9800" y="4655"/>
                  </a:cubicBezTo>
                  <a:cubicBezTo>
                    <a:pt x="9800" y="4655"/>
                    <a:pt x="9800" y="4655"/>
                    <a:pt x="9830" y="4655"/>
                  </a:cubicBezTo>
                  <a:cubicBezTo>
                    <a:pt x="9830" y="4655"/>
                    <a:pt x="9830" y="4655"/>
                    <a:pt x="9830" y="4462"/>
                  </a:cubicBezTo>
                  <a:cubicBezTo>
                    <a:pt x="9830" y="4432"/>
                    <a:pt x="9830" y="4417"/>
                    <a:pt x="9830" y="4402"/>
                  </a:cubicBezTo>
                  <a:cubicBezTo>
                    <a:pt x="9830" y="4402"/>
                    <a:pt x="9830" y="4402"/>
                    <a:pt x="9830" y="4402"/>
                  </a:cubicBezTo>
                  <a:cubicBezTo>
                    <a:pt x="9830" y="4417"/>
                    <a:pt x="9830" y="4432"/>
                    <a:pt x="9830" y="4432"/>
                  </a:cubicBezTo>
                  <a:cubicBezTo>
                    <a:pt x="9830" y="4432"/>
                    <a:pt x="9830" y="4432"/>
                    <a:pt x="9935" y="4655"/>
                  </a:cubicBezTo>
                  <a:cubicBezTo>
                    <a:pt x="9935" y="4655"/>
                    <a:pt x="9935" y="4655"/>
                    <a:pt x="9950" y="4655"/>
                  </a:cubicBezTo>
                  <a:cubicBezTo>
                    <a:pt x="9950" y="4655"/>
                    <a:pt x="9950" y="4655"/>
                    <a:pt x="10054" y="4432"/>
                  </a:cubicBezTo>
                  <a:cubicBezTo>
                    <a:pt x="10054" y="4432"/>
                    <a:pt x="10054" y="4417"/>
                    <a:pt x="10054" y="4402"/>
                  </a:cubicBezTo>
                  <a:cubicBezTo>
                    <a:pt x="10054" y="4402"/>
                    <a:pt x="10054" y="4402"/>
                    <a:pt x="10069" y="4402"/>
                  </a:cubicBezTo>
                  <a:cubicBezTo>
                    <a:pt x="10054" y="4417"/>
                    <a:pt x="10054" y="4447"/>
                    <a:pt x="10054" y="4462"/>
                  </a:cubicBezTo>
                  <a:cubicBezTo>
                    <a:pt x="10054" y="4462"/>
                    <a:pt x="10054" y="4462"/>
                    <a:pt x="10054" y="4655"/>
                  </a:cubicBezTo>
                  <a:cubicBezTo>
                    <a:pt x="10054" y="4655"/>
                    <a:pt x="10054" y="4655"/>
                    <a:pt x="10099" y="4655"/>
                  </a:cubicBezTo>
                  <a:close/>
                  <a:moveTo>
                    <a:pt x="19634" y="477"/>
                  </a:moveTo>
                  <a:cubicBezTo>
                    <a:pt x="19634" y="417"/>
                    <a:pt x="19619" y="371"/>
                    <a:pt x="19573" y="326"/>
                  </a:cubicBezTo>
                  <a:cubicBezTo>
                    <a:pt x="19528" y="281"/>
                    <a:pt x="19467" y="266"/>
                    <a:pt x="19407" y="266"/>
                  </a:cubicBezTo>
                  <a:cubicBezTo>
                    <a:pt x="19346" y="266"/>
                    <a:pt x="19301" y="281"/>
                    <a:pt x="19256" y="326"/>
                  </a:cubicBezTo>
                  <a:cubicBezTo>
                    <a:pt x="19210" y="371"/>
                    <a:pt x="19195" y="417"/>
                    <a:pt x="19195" y="477"/>
                  </a:cubicBezTo>
                  <a:cubicBezTo>
                    <a:pt x="19195" y="537"/>
                    <a:pt x="19210" y="598"/>
                    <a:pt x="19256" y="643"/>
                  </a:cubicBezTo>
                  <a:cubicBezTo>
                    <a:pt x="19301" y="673"/>
                    <a:pt x="19346" y="703"/>
                    <a:pt x="19407" y="703"/>
                  </a:cubicBezTo>
                  <a:cubicBezTo>
                    <a:pt x="19467" y="703"/>
                    <a:pt x="19528" y="673"/>
                    <a:pt x="19573" y="643"/>
                  </a:cubicBezTo>
                  <a:cubicBezTo>
                    <a:pt x="19619" y="598"/>
                    <a:pt x="19634" y="537"/>
                    <a:pt x="19634" y="477"/>
                  </a:cubicBezTo>
                  <a:close/>
                  <a:moveTo>
                    <a:pt x="19604" y="477"/>
                  </a:moveTo>
                  <a:cubicBezTo>
                    <a:pt x="19604" y="537"/>
                    <a:pt x="19588" y="583"/>
                    <a:pt x="19543" y="628"/>
                  </a:cubicBezTo>
                  <a:cubicBezTo>
                    <a:pt x="19513" y="658"/>
                    <a:pt x="19467" y="673"/>
                    <a:pt x="19407" y="673"/>
                  </a:cubicBezTo>
                  <a:cubicBezTo>
                    <a:pt x="19362" y="673"/>
                    <a:pt x="19316" y="658"/>
                    <a:pt x="19271" y="628"/>
                  </a:cubicBezTo>
                  <a:cubicBezTo>
                    <a:pt x="19241" y="583"/>
                    <a:pt x="19210" y="537"/>
                    <a:pt x="19210" y="477"/>
                  </a:cubicBezTo>
                  <a:cubicBezTo>
                    <a:pt x="19210" y="432"/>
                    <a:pt x="19241" y="387"/>
                    <a:pt x="19271" y="341"/>
                  </a:cubicBezTo>
                  <a:cubicBezTo>
                    <a:pt x="19301" y="311"/>
                    <a:pt x="19362" y="281"/>
                    <a:pt x="19407" y="281"/>
                  </a:cubicBezTo>
                  <a:cubicBezTo>
                    <a:pt x="19467" y="281"/>
                    <a:pt x="19513" y="311"/>
                    <a:pt x="19543" y="341"/>
                  </a:cubicBezTo>
                  <a:cubicBezTo>
                    <a:pt x="19588" y="387"/>
                    <a:pt x="19604" y="432"/>
                    <a:pt x="19604" y="477"/>
                  </a:cubicBezTo>
                  <a:close/>
                  <a:moveTo>
                    <a:pt x="19513" y="613"/>
                  </a:moveTo>
                  <a:cubicBezTo>
                    <a:pt x="19513" y="613"/>
                    <a:pt x="19513" y="613"/>
                    <a:pt x="19513" y="613"/>
                  </a:cubicBezTo>
                  <a:cubicBezTo>
                    <a:pt x="19483" y="537"/>
                    <a:pt x="19483" y="537"/>
                    <a:pt x="19483" y="537"/>
                  </a:cubicBezTo>
                  <a:cubicBezTo>
                    <a:pt x="19467" y="507"/>
                    <a:pt x="19452" y="492"/>
                    <a:pt x="19437" y="492"/>
                  </a:cubicBezTo>
                  <a:cubicBezTo>
                    <a:pt x="19437" y="492"/>
                    <a:pt x="19437" y="492"/>
                    <a:pt x="19437" y="492"/>
                  </a:cubicBezTo>
                  <a:cubicBezTo>
                    <a:pt x="19452" y="492"/>
                    <a:pt x="19483" y="477"/>
                    <a:pt x="19483" y="462"/>
                  </a:cubicBezTo>
                  <a:cubicBezTo>
                    <a:pt x="19498" y="447"/>
                    <a:pt x="19513" y="432"/>
                    <a:pt x="19513" y="417"/>
                  </a:cubicBezTo>
                  <a:cubicBezTo>
                    <a:pt x="19513" y="387"/>
                    <a:pt x="19498" y="371"/>
                    <a:pt x="19483" y="356"/>
                  </a:cubicBezTo>
                  <a:cubicBezTo>
                    <a:pt x="19467" y="341"/>
                    <a:pt x="19437" y="341"/>
                    <a:pt x="19407" y="341"/>
                  </a:cubicBezTo>
                  <a:cubicBezTo>
                    <a:pt x="19407" y="341"/>
                    <a:pt x="19407" y="341"/>
                    <a:pt x="19331" y="341"/>
                  </a:cubicBezTo>
                  <a:cubicBezTo>
                    <a:pt x="19331" y="341"/>
                    <a:pt x="19331" y="341"/>
                    <a:pt x="19331" y="613"/>
                  </a:cubicBezTo>
                  <a:cubicBezTo>
                    <a:pt x="19331" y="613"/>
                    <a:pt x="19331" y="613"/>
                    <a:pt x="19362" y="613"/>
                  </a:cubicBezTo>
                  <a:cubicBezTo>
                    <a:pt x="19362" y="613"/>
                    <a:pt x="19362" y="613"/>
                    <a:pt x="19362" y="507"/>
                  </a:cubicBezTo>
                  <a:cubicBezTo>
                    <a:pt x="19362" y="507"/>
                    <a:pt x="19362" y="507"/>
                    <a:pt x="19392" y="507"/>
                  </a:cubicBezTo>
                  <a:cubicBezTo>
                    <a:pt x="19407" y="507"/>
                    <a:pt x="19422" y="522"/>
                    <a:pt x="19437" y="552"/>
                  </a:cubicBezTo>
                  <a:cubicBezTo>
                    <a:pt x="19437" y="552"/>
                    <a:pt x="19437" y="552"/>
                    <a:pt x="19467" y="613"/>
                  </a:cubicBezTo>
                  <a:cubicBezTo>
                    <a:pt x="19467" y="613"/>
                    <a:pt x="19467" y="613"/>
                    <a:pt x="19513" y="613"/>
                  </a:cubicBezTo>
                  <a:close/>
                  <a:moveTo>
                    <a:pt x="19467" y="417"/>
                  </a:moveTo>
                  <a:cubicBezTo>
                    <a:pt x="19467" y="447"/>
                    <a:pt x="19452" y="462"/>
                    <a:pt x="19407" y="462"/>
                  </a:cubicBezTo>
                  <a:cubicBezTo>
                    <a:pt x="19407" y="462"/>
                    <a:pt x="19407" y="462"/>
                    <a:pt x="19362" y="462"/>
                  </a:cubicBezTo>
                  <a:cubicBezTo>
                    <a:pt x="19362" y="462"/>
                    <a:pt x="19362" y="462"/>
                    <a:pt x="19362" y="371"/>
                  </a:cubicBezTo>
                  <a:cubicBezTo>
                    <a:pt x="19362" y="371"/>
                    <a:pt x="19362" y="371"/>
                    <a:pt x="19392" y="371"/>
                  </a:cubicBezTo>
                  <a:cubicBezTo>
                    <a:pt x="19422" y="371"/>
                    <a:pt x="19437" y="371"/>
                    <a:pt x="19452" y="387"/>
                  </a:cubicBezTo>
                  <a:cubicBezTo>
                    <a:pt x="19467" y="387"/>
                    <a:pt x="19467" y="402"/>
                    <a:pt x="19467" y="417"/>
                  </a:cubicBezTo>
                  <a:close/>
                  <a:moveTo>
                    <a:pt x="6400" y="4449"/>
                  </a:moveTo>
                  <a:cubicBezTo>
                    <a:pt x="6490" y="4524"/>
                    <a:pt x="6580" y="4569"/>
                    <a:pt x="6685" y="4584"/>
                  </a:cubicBezTo>
                  <a:cubicBezTo>
                    <a:pt x="6805" y="4599"/>
                    <a:pt x="6940" y="4524"/>
                    <a:pt x="7030" y="4449"/>
                  </a:cubicBezTo>
                  <a:cubicBezTo>
                    <a:pt x="7106" y="4389"/>
                    <a:pt x="7166" y="4314"/>
                    <a:pt x="7226" y="4239"/>
                  </a:cubicBezTo>
                  <a:cubicBezTo>
                    <a:pt x="6910" y="3805"/>
                    <a:pt x="6625" y="3101"/>
                    <a:pt x="6400" y="2322"/>
                  </a:cubicBezTo>
                  <a:cubicBezTo>
                    <a:pt x="6085" y="1258"/>
                    <a:pt x="5799" y="569"/>
                    <a:pt x="5424" y="285"/>
                  </a:cubicBezTo>
                  <a:cubicBezTo>
                    <a:pt x="5229" y="135"/>
                    <a:pt x="5079" y="120"/>
                    <a:pt x="4959" y="120"/>
                  </a:cubicBezTo>
                  <a:cubicBezTo>
                    <a:pt x="4793" y="120"/>
                    <a:pt x="4553" y="165"/>
                    <a:pt x="4193" y="345"/>
                  </a:cubicBezTo>
                  <a:cubicBezTo>
                    <a:pt x="5199" y="1199"/>
                    <a:pt x="5394" y="3700"/>
                    <a:pt x="6400" y="4449"/>
                  </a:cubicBezTo>
                  <a:close/>
                  <a:moveTo>
                    <a:pt x="7673" y="4447"/>
                  </a:moveTo>
                  <a:cubicBezTo>
                    <a:pt x="7749" y="4387"/>
                    <a:pt x="7809" y="4327"/>
                    <a:pt x="7885" y="4252"/>
                  </a:cubicBezTo>
                  <a:cubicBezTo>
                    <a:pt x="7824" y="4118"/>
                    <a:pt x="7764" y="3983"/>
                    <a:pt x="7703" y="3818"/>
                  </a:cubicBezTo>
                  <a:cubicBezTo>
                    <a:pt x="7703" y="3818"/>
                    <a:pt x="7703" y="3818"/>
                    <a:pt x="7703" y="3818"/>
                  </a:cubicBezTo>
                  <a:cubicBezTo>
                    <a:pt x="7703" y="3818"/>
                    <a:pt x="7703" y="3818"/>
                    <a:pt x="7703" y="3818"/>
                  </a:cubicBezTo>
                  <a:cubicBezTo>
                    <a:pt x="7628" y="3968"/>
                    <a:pt x="7567" y="4103"/>
                    <a:pt x="7492" y="4207"/>
                  </a:cubicBezTo>
                  <a:cubicBezTo>
                    <a:pt x="7552" y="4297"/>
                    <a:pt x="7613" y="4387"/>
                    <a:pt x="7673" y="4447"/>
                  </a:cubicBezTo>
                  <a:close/>
                  <a:moveTo>
                    <a:pt x="7821" y="3503"/>
                  </a:moveTo>
                  <a:cubicBezTo>
                    <a:pt x="7851" y="3608"/>
                    <a:pt x="7911" y="3832"/>
                    <a:pt x="8031" y="4072"/>
                  </a:cubicBezTo>
                  <a:cubicBezTo>
                    <a:pt x="8361" y="3608"/>
                    <a:pt x="8631" y="2949"/>
                    <a:pt x="8902" y="2216"/>
                  </a:cubicBezTo>
                  <a:cubicBezTo>
                    <a:pt x="9472" y="554"/>
                    <a:pt x="9847" y="90"/>
                    <a:pt x="10822" y="0"/>
                  </a:cubicBezTo>
                  <a:cubicBezTo>
                    <a:pt x="10687" y="0"/>
                    <a:pt x="10522" y="0"/>
                    <a:pt x="10357" y="0"/>
                  </a:cubicBezTo>
                  <a:cubicBezTo>
                    <a:pt x="9277" y="0"/>
                    <a:pt x="8781" y="509"/>
                    <a:pt x="8556" y="1257"/>
                  </a:cubicBezTo>
                  <a:cubicBezTo>
                    <a:pt x="8241" y="2275"/>
                    <a:pt x="8016" y="2994"/>
                    <a:pt x="7821" y="3503"/>
                  </a:cubicBezTo>
                  <a:close/>
                  <a:moveTo>
                    <a:pt x="4076" y="266"/>
                  </a:moveTo>
                  <a:cubicBezTo>
                    <a:pt x="4256" y="191"/>
                    <a:pt x="4452" y="146"/>
                    <a:pt x="4662" y="102"/>
                  </a:cubicBezTo>
                  <a:cubicBezTo>
                    <a:pt x="3730" y="102"/>
                    <a:pt x="3730" y="102"/>
                    <a:pt x="3730" y="102"/>
                  </a:cubicBezTo>
                  <a:cubicBezTo>
                    <a:pt x="3850" y="131"/>
                    <a:pt x="3970" y="191"/>
                    <a:pt x="4076" y="266"/>
                  </a:cubicBezTo>
                  <a:close/>
                  <a:moveTo>
                    <a:pt x="8348" y="4656"/>
                  </a:moveTo>
                  <a:cubicBezTo>
                    <a:pt x="8213" y="4641"/>
                    <a:pt x="8107" y="4566"/>
                    <a:pt x="8002" y="4447"/>
                  </a:cubicBezTo>
                  <a:cubicBezTo>
                    <a:pt x="7942" y="4492"/>
                    <a:pt x="7881" y="4536"/>
                    <a:pt x="7821" y="4566"/>
                  </a:cubicBezTo>
                  <a:cubicBezTo>
                    <a:pt x="7942" y="4656"/>
                    <a:pt x="8077" y="4700"/>
                    <a:pt x="8348" y="4656"/>
                  </a:cubicBezTo>
                  <a:close/>
                  <a:moveTo>
                    <a:pt x="4033" y="434"/>
                  </a:moveTo>
                  <a:cubicBezTo>
                    <a:pt x="4018" y="449"/>
                    <a:pt x="4003" y="464"/>
                    <a:pt x="3988" y="479"/>
                  </a:cubicBezTo>
                  <a:cubicBezTo>
                    <a:pt x="3299" y="884"/>
                    <a:pt x="2429" y="2111"/>
                    <a:pt x="1785" y="4073"/>
                  </a:cubicBezTo>
                  <a:cubicBezTo>
                    <a:pt x="2145" y="2411"/>
                    <a:pt x="2669" y="914"/>
                    <a:pt x="3928" y="330"/>
                  </a:cubicBezTo>
                  <a:cubicBezTo>
                    <a:pt x="3898" y="300"/>
                    <a:pt x="3853" y="270"/>
                    <a:pt x="3808" y="240"/>
                  </a:cubicBezTo>
                  <a:cubicBezTo>
                    <a:pt x="3763" y="195"/>
                    <a:pt x="3628" y="120"/>
                    <a:pt x="3523" y="150"/>
                  </a:cubicBezTo>
                  <a:cubicBezTo>
                    <a:pt x="3419" y="165"/>
                    <a:pt x="3314" y="210"/>
                    <a:pt x="3269" y="240"/>
                  </a:cubicBezTo>
                  <a:cubicBezTo>
                    <a:pt x="2279" y="749"/>
                    <a:pt x="1245" y="2441"/>
                    <a:pt x="946" y="4776"/>
                  </a:cubicBezTo>
                  <a:cubicBezTo>
                    <a:pt x="961" y="4776"/>
                    <a:pt x="976" y="4776"/>
                    <a:pt x="1006" y="4776"/>
                  </a:cubicBezTo>
                  <a:cubicBezTo>
                    <a:pt x="1021" y="4776"/>
                    <a:pt x="1125" y="4776"/>
                    <a:pt x="1125" y="4776"/>
                  </a:cubicBezTo>
                  <a:cubicBezTo>
                    <a:pt x="2115" y="4732"/>
                    <a:pt x="2579" y="4237"/>
                    <a:pt x="2804" y="3504"/>
                  </a:cubicBezTo>
                  <a:cubicBezTo>
                    <a:pt x="3284" y="1977"/>
                    <a:pt x="3763" y="1333"/>
                    <a:pt x="4168" y="988"/>
                  </a:cubicBezTo>
                  <a:cubicBezTo>
                    <a:pt x="4588" y="2321"/>
                    <a:pt x="4752" y="4657"/>
                    <a:pt x="6026" y="4657"/>
                  </a:cubicBezTo>
                  <a:cubicBezTo>
                    <a:pt x="6401" y="4657"/>
                    <a:pt x="6401" y="4657"/>
                    <a:pt x="6401" y="4657"/>
                  </a:cubicBezTo>
                  <a:cubicBezTo>
                    <a:pt x="5037" y="4477"/>
                    <a:pt x="5007" y="1497"/>
                    <a:pt x="4033" y="434"/>
                  </a:cubicBezTo>
                  <a:close/>
                  <a:moveTo>
                    <a:pt x="11494" y="12"/>
                  </a:moveTo>
                  <a:cubicBezTo>
                    <a:pt x="11224" y="507"/>
                    <a:pt x="10025" y="2680"/>
                    <a:pt x="9440" y="3519"/>
                  </a:cubicBezTo>
                  <a:cubicBezTo>
                    <a:pt x="9440" y="3519"/>
                    <a:pt x="11164" y="12"/>
                    <a:pt x="11149" y="12"/>
                  </a:cubicBezTo>
                  <a:cubicBezTo>
                    <a:pt x="10190" y="102"/>
                    <a:pt x="9815" y="552"/>
                    <a:pt x="9245" y="2215"/>
                  </a:cubicBezTo>
                  <a:cubicBezTo>
                    <a:pt x="8945" y="3084"/>
                    <a:pt x="8571" y="3864"/>
                    <a:pt x="8151" y="4298"/>
                  </a:cubicBezTo>
                  <a:cubicBezTo>
                    <a:pt x="8256" y="4463"/>
                    <a:pt x="8391" y="4598"/>
                    <a:pt x="8556" y="4643"/>
                  </a:cubicBezTo>
                  <a:cubicBezTo>
                    <a:pt x="9485" y="4478"/>
                    <a:pt x="10445" y="2755"/>
                    <a:pt x="11989" y="12"/>
                  </a:cubicBezTo>
                  <a:cubicBezTo>
                    <a:pt x="11989" y="12"/>
                    <a:pt x="11764" y="12"/>
                    <a:pt x="11494" y="12"/>
                  </a:cubicBezTo>
                  <a:close/>
                  <a:moveTo>
                    <a:pt x="0" y="4776"/>
                  </a:moveTo>
                  <a:cubicBezTo>
                    <a:pt x="0" y="4776"/>
                    <a:pt x="0" y="4776"/>
                    <a:pt x="0" y="4776"/>
                  </a:cubicBezTo>
                  <a:cubicBezTo>
                    <a:pt x="645" y="4776"/>
                    <a:pt x="645" y="4776"/>
                    <a:pt x="645" y="4776"/>
                  </a:cubicBezTo>
                  <a:cubicBezTo>
                    <a:pt x="990" y="2124"/>
                    <a:pt x="2309" y="341"/>
                    <a:pt x="3374" y="102"/>
                  </a:cubicBezTo>
                  <a:cubicBezTo>
                    <a:pt x="3374" y="102"/>
                    <a:pt x="3374" y="102"/>
                    <a:pt x="3284" y="102"/>
                  </a:cubicBezTo>
                  <a:cubicBezTo>
                    <a:pt x="2189" y="102"/>
                    <a:pt x="675" y="2139"/>
                    <a:pt x="0" y="4776"/>
                  </a:cubicBezTo>
                  <a:close/>
                  <a:moveTo>
                    <a:pt x="6699" y="2273"/>
                  </a:moveTo>
                  <a:cubicBezTo>
                    <a:pt x="6909" y="2947"/>
                    <a:pt x="7119" y="3562"/>
                    <a:pt x="7359" y="3996"/>
                  </a:cubicBezTo>
                  <a:cubicBezTo>
                    <a:pt x="7434" y="3846"/>
                    <a:pt x="7509" y="3666"/>
                    <a:pt x="7599" y="3442"/>
                  </a:cubicBezTo>
                  <a:cubicBezTo>
                    <a:pt x="7224" y="2094"/>
                    <a:pt x="6999" y="102"/>
                    <a:pt x="5829" y="102"/>
                  </a:cubicBezTo>
                  <a:cubicBezTo>
                    <a:pt x="5259" y="102"/>
                    <a:pt x="5259" y="102"/>
                    <a:pt x="5259" y="102"/>
                  </a:cubicBezTo>
                  <a:cubicBezTo>
                    <a:pt x="5964" y="236"/>
                    <a:pt x="6264" y="731"/>
                    <a:pt x="6699" y="2273"/>
                  </a:cubicBezTo>
                  <a:close/>
                  <a:moveTo>
                    <a:pt x="7031" y="4675"/>
                  </a:moveTo>
                  <a:cubicBezTo>
                    <a:pt x="7299" y="4675"/>
                    <a:pt x="7404" y="4630"/>
                    <a:pt x="7523" y="4555"/>
                  </a:cubicBezTo>
                  <a:cubicBezTo>
                    <a:pt x="7464" y="4509"/>
                    <a:pt x="7404" y="4464"/>
                    <a:pt x="7344" y="4389"/>
                  </a:cubicBezTo>
                  <a:cubicBezTo>
                    <a:pt x="7195" y="4539"/>
                    <a:pt x="7031" y="4615"/>
                    <a:pt x="6807" y="4645"/>
                  </a:cubicBezTo>
                  <a:cubicBezTo>
                    <a:pt x="6881" y="4660"/>
                    <a:pt x="6956" y="4675"/>
                    <a:pt x="7031" y="4675"/>
                  </a:cubicBezTo>
                  <a:close/>
                </a:path>
              </a:pathLst>
            </a:custGeom>
            <a:solidFill>
              <a:schemeClr val="tx1"/>
            </a:solidFill>
            <a:ln>
              <a:noFill/>
            </a:ln>
            <a:extLst/>
          </p:spPr>
          <p:txBody>
            <a:bodyPr vert="horz" wrap="square" lIns="89619" tIns="44810" rIns="89619" bIns="44810" numCol="1" anchor="t" anchorCtr="0" compatLnSpc="1">
              <a:prstTxWarp prst="textNoShape">
                <a:avLst/>
              </a:prstTxWarp>
            </a:bodyPr>
            <a:lstStyle/>
            <a:p>
              <a:endParaRPr lang="en-US" sz="1764">
                <a:solidFill>
                  <a:srgbClr val="FFFFFF"/>
                </a:solidFill>
              </a:endParaRPr>
            </a:p>
          </p:txBody>
        </p:sp>
      </p:grpSp>
      <p:sp>
        <p:nvSpPr>
          <p:cNvPr id="15" name="Rectangle 14"/>
          <p:cNvSpPr/>
          <p:nvPr/>
        </p:nvSpPr>
        <p:spPr bwMode="auto">
          <a:xfrm>
            <a:off x="1" y="1022043"/>
            <a:ext cx="269170" cy="5834579"/>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grpSp>
        <p:nvGrpSpPr>
          <p:cNvPr id="41" name="Group 40"/>
          <p:cNvGrpSpPr/>
          <p:nvPr/>
        </p:nvGrpSpPr>
        <p:grpSpPr>
          <a:xfrm>
            <a:off x="3238888" y="1080456"/>
            <a:ext cx="54725" cy="981036"/>
            <a:chOff x="3295170" y="1101001"/>
            <a:chExt cx="55837" cy="1000968"/>
          </a:xfrm>
          <a:solidFill>
            <a:schemeClr val="bg1"/>
          </a:solidFill>
        </p:grpSpPr>
        <p:sp>
          <p:nvSpPr>
            <p:cNvPr id="40" name="Rectangle 39"/>
            <p:cNvSpPr/>
            <p:nvPr/>
          </p:nvSpPr>
          <p:spPr bwMode="auto">
            <a:xfrm rot="2706655">
              <a:off x="3012755" y="1383416"/>
              <a:ext cx="610550" cy="45719"/>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61" name="Rectangle 60"/>
            <p:cNvSpPr/>
            <p:nvPr/>
          </p:nvSpPr>
          <p:spPr bwMode="auto">
            <a:xfrm rot="18893345" flipH="1">
              <a:off x="3031186" y="1782148"/>
              <a:ext cx="593923" cy="45719"/>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grpSp>
      <p:sp>
        <p:nvSpPr>
          <p:cNvPr id="60" name="Rectangle 59"/>
          <p:cNvSpPr/>
          <p:nvPr/>
        </p:nvSpPr>
        <p:spPr bwMode="auto">
          <a:xfrm>
            <a:off x="3045776" y="1963371"/>
            <a:ext cx="44809" cy="4616301"/>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67" name="Rectangle 66"/>
          <p:cNvSpPr/>
          <p:nvPr/>
        </p:nvSpPr>
        <p:spPr bwMode="auto">
          <a:xfrm>
            <a:off x="6362962" y="1961038"/>
            <a:ext cx="44809" cy="4616301"/>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grpSp>
        <p:nvGrpSpPr>
          <p:cNvPr id="68" name="Group 67"/>
          <p:cNvGrpSpPr/>
          <p:nvPr/>
        </p:nvGrpSpPr>
        <p:grpSpPr>
          <a:xfrm>
            <a:off x="6553235" y="1080456"/>
            <a:ext cx="54725" cy="981036"/>
            <a:chOff x="3295170" y="1101001"/>
            <a:chExt cx="55837" cy="1000968"/>
          </a:xfrm>
          <a:solidFill>
            <a:schemeClr val="bg1"/>
          </a:solidFill>
        </p:grpSpPr>
        <p:sp>
          <p:nvSpPr>
            <p:cNvPr id="69" name="Rectangle 68"/>
            <p:cNvSpPr/>
            <p:nvPr/>
          </p:nvSpPr>
          <p:spPr bwMode="auto">
            <a:xfrm rot="2706655">
              <a:off x="3012755" y="1383416"/>
              <a:ext cx="610550" cy="45719"/>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70" name="Rectangle 69"/>
            <p:cNvSpPr/>
            <p:nvPr/>
          </p:nvSpPr>
          <p:spPr bwMode="auto">
            <a:xfrm rot="18893345" flipH="1">
              <a:off x="3031186" y="1782148"/>
              <a:ext cx="593923" cy="45719"/>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2110730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700" fill="hold"/>
                                        <p:tgtEl>
                                          <p:spTgt spid="18"/>
                                        </p:tgtEl>
                                        <p:attrNameLst>
                                          <p:attrName>ppt_x</p:attrName>
                                        </p:attrNameLst>
                                      </p:cBhvr>
                                      <p:tavLst>
                                        <p:tav tm="0">
                                          <p:val>
                                            <p:strVal val="0-#ppt_w/2"/>
                                          </p:val>
                                        </p:tav>
                                        <p:tav tm="100000">
                                          <p:val>
                                            <p:strVal val="#ppt_x"/>
                                          </p:val>
                                        </p:tav>
                                      </p:tavLst>
                                    </p:anim>
                                    <p:anim calcmode="lin" valueType="num">
                                      <p:cBhvr additive="base">
                                        <p:cTn id="8" dur="700" fill="hold"/>
                                        <p:tgtEl>
                                          <p:spTgt spid="18"/>
                                        </p:tgtEl>
                                        <p:attrNameLst>
                                          <p:attrName>ppt_y</p:attrName>
                                        </p:attrNameLst>
                                      </p:cBhvr>
                                      <p:tavLst>
                                        <p:tav tm="0">
                                          <p:val>
                                            <p:strVal val="#ppt_y"/>
                                          </p:val>
                                        </p:tav>
                                        <p:tav tm="100000">
                                          <p:val>
                                            <p:strVal val="#ppt_y"/>
                                          </p:val>
                                        </p:tav>
                                      </p:tavLst>
                                    </p:anim>
                                  </p:childTnLst>
                                </p:cTn>
                              </p:par>
                            </p:childTnLst>
                          </p:cTn>
                        </p:par>
                        <p:par>
                          <p:cTn id="9" fill="hold">
                            <p:stCondLst>
                              <p:cond delay="700"/>
                            </p:stCondLst>
                            <p:childTnLst>
                              <p:par>
                                <p:cTn id="10" presetID="10" presetClass="entr" presetSubtype="0" fill="hold" grpId="0" nodeType="afterEffect">
                                  <p:stCondLst>
                                    <p:cond delay="0"/>
                                  </p:stCondLst>
                                  <p:childTnLst>
                                    <p:set>
                                      <p:cBhvr>
                                        <p:cTn id="11" dur="1" fill="hold">
                                          <p:stCondLst>
                                            <p:cond delay="0"/>
                                          </p:stCondLst>
                                        </p:cTn>
                                        <p:tgtEl>
                                          <p:spTgt spid="64"/>
                                        </p:tgtEl>
                                        <p:attrNameLst>
                                          <p:attrName>style.visibility</p:attrName>
                                        </p:attrNameLst>
                                      </p:cBhvr>
                                      <p:to>
                                        <p:strVal val="visible"/>
                                      </p:to>
                                    </p:set>
                                    <p:animEffect transition="in" filter="fade">
                                      <p:cBhvr>
                                        <p:cTn id="12" dur="500"/>
                                        <p:tgtEl>
                                          <p:spTgt spid="64"/>
                                        </p:tgtEl>
                                      </p:cBhvr>
                                    </p:animEffect>
                                  </p:childTnLst>
                                </p:cTn>
                              </p:par>
                              <p:par>
                                <p:cTn id="13" presetID="10" presetClass="entr" presetSubtype="0" fill="hold" nodeType="with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fade">
                                      <p:cBhvr>
                                        <p:cTn id="15" dur="500"/>
                                        <p:tgtEl>
                                          <p:spTgt spid="14"/>
                                        </p:tgtEl>
                                      </p:cBhvr>
                                    </p:animEffect>
                                  </p:childTnLst>
                                </p:cTn>
                              </p:par>
                              <p:par>
                                <p:cTn id="16" presetID="2" presetClass="entr" presetSubtype="8" decel="100000" fill="hold" nodeType="withEffect">
                                  <p:stCondLst>
                                    <p:cond delay="0"/>
                                  </p:stCondLst>
                                  <p:childTnLst>
                                    <p:set>
                                      <p:cBhvr>
                                        <p:cTn id="17" dur="1" fill="hold">
                                          <p:stCondLst>
                                            <p:cond delay="0"/>
                                          </p:stCondLst>
                                        </p:cTn>
                                        <p:tgtEl>
                                          <p:spTgt spid="19"/>
                                        </p:tgtEl>
                                        <p:attrNameLst>
                                          <p:attrName>style.visibility</p:attrName>
                                        </p:attrNameLst>
                                      </p:cBhvr>
                                      <p:to>
                                        <p:strVal val="visible"/>
                                      </p:to>
                                    </p:set>
                                    <p:anim calcmode="lin" valueType="num">
                                      <p:cBhvr additive="base">
                                        <p:cTn id="18" dur="700" fill="hold"/>
                                        <p:tgtEl>
                                          <p:spTgt spid="19"/>
                                        </p:tgtEl>
                                        <p:attrNameLst>
                                          <p:attrName>ppt_x</p:attrName>
                                        </p:attrNameLst>
                                      </p:cBhvr>
                                      <p:tavLst>
                                        <p:tav tm="0">
                                          <p:val>
                                            <p:strVal val="0-#ppt_w/2"/>
                                          </p:val>
                                        </p:tav>
                                        <p:tav tm="100000">
                                          <p:val>
                                            <p:strVal val="#ppt_x"/>
                                          </p:val>
                                        </p:tav>
                                      </p:tavLst>
                                    </p:anim>
                                    <p:anim calcmode="lin" valueType="num">
                                      <p:cBhvr additive="base">
                                        <p:cTn id="19" dur="700" fill="hold"/>
                                        <p:tgtEl>
                                          <p:spTgt spid="19"/>
                                        </p:tgtEl>
                                        <p:attrNameLst>
                                          <p:attrName>ppt_y</p:attrName>
                                        </p:attrNameLst>
                                      </p:cBhvr>
                                      <p:tavLst>
                                        <p:tav tm="0">
                                          <p:val>
                                            <p:strVal val="#ppt_y"/>
                                          </p:val>
                                        </p:tav>
                                        <p:tav tm="100000">
                                          <p:val>
                                            <p:strVal val="#ppt_y"/>
                                          </p:val>
                                        </p:tav>
                                      </p:tavLst>
                                    </p:anim>
                                  </p:childTnLst>
                                </p:cTn>
                              </p:par>
                            </p:childTnLst>
                          </p:cTn>
                        </p:par>
                        <p:par>
                          <p:cTn id="20" fill="hold">
                            <p:stCondLst>
                              <p:cond delay="1400"/>
                            </p:stCondLst>
                            <p:childTnLst>
                              <p:par>
                                <p:cTn id="21" presetID="10" presetClass="entr" presetSubtype="0" fill="hold" nodeType="afterEffect">
                                  <p:stCondLst>
                                    <p:cond delay="0"/>
                                  </p:stCondLst>
                                  <p:childTnLst>
                                    <p:set>
                                      <p:cBhvr>
                                        <p:cTn id="22" dur="1" fill="hold">
                                          <p:stCondLst>
                                            <p:cond delay="0"/>
                                          </p:stCondLst>
                                        </p:cTn>
                                        <p:tgtEl>
                                          <p:spTgt spid="23"/>
                                        </p:tgtEl>
                                        <p:attrNameLst>
                                          <p:attrName>style.visibility</p:attrName>
                                        </p:attrNameLst>
                                      </p:cBhvr>
                                      <p:to>
                                        <p:strVal val="visible"/>
                                      </p:to>
                                    </p:set>
                                    <p:animEffect transition="in" filter="fade">
                                      <p:cBhvr>
                                        <p:cTn id="23" dur="500"/>
                                        <p:tgtEl>
                                          <p:spTgt spid="23"/>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74"/>
                                        </p:tgtEl>
                                        <p:attrNameLst>
                                          <p:attrName>style.visibility</p:attrName>
                                        </p:attrNameLst>
                                      </p:cBhvr>
                                      <p:to>
                                        <p:strVal val="visible"/>
                                      </p:to>
                                    </p:set>
                                    <p:animEffect transition="in" filter="fade">
                                      <p:cBhvr>
                                        <p:cTn id="26" dur="500"/>
                                        <p:tgtEl>
                                          <p:spTgt spid="74"/>
                                        </p:tgtEl>
                                      </p:cBhvr>
                                    </p:animEffect>
                                  </p:childTnLst>
                                </p:cTn>
                              </p:par>
                              <p:par>
                                <p:cTn id="27" presetID="2" presetClass="entr" presetSubtype="8" decel="100000" fill="hold" nodeType="withEffect">
                                  <p:stCondLst>
                                    <p:cond delay="0"/>
                                  </p:stCondLst>
                                  <p:childTnLst>
                                    <p:set>
                                      <p:cBhvr>
                                        <p:cTn id="28" dur="1" fill="hold">
                                          <p:stCondLst>
                                            <p:cond delay="0"/>
                                          </p:stCondLst>
                                        </p:cTn>
                                        <p:tgtEl>
                                          <p:spTgt spid="25"/>
                                        </p:tgtEl>
                                        <p:attrNameLst>
                                          <p:attrName>style.visibility</p:attrName>
                                        </p:attrNameLst>
                                      </p:cBhvr>
                                      <p:to>
                                        <p:strVal val="visible"/>
                                      </p:to>
                                    </p:set>
                                    <p:anim calcmode="lin" valueType="num">
                                      <p:cBhvr additive="base">
                                        <p:cTn id="29" dur="700" fill="hold"/>
                                        <p:tgtEl>
                                          <p:spTgt spid="25"/>
                                        </p:tgtEl>
                                        <p:attrNameLst>
                                          <p:attrName>ppt_x</p:attrName>
                                        </p:attrNameLst>
                                      </p:cBhvr>
                                      <p:tavLst>
                                        <p:tav tm="0">
                                          <p:val>
                                            <p:strVal val="0-#ppt_w/2"/>
                                          </p:val>
                                        </p:tav>
                                        <p:tav tm="100000">
                                          <p:val>
                                            <p:strVal val="#ppt_x"/>
                                          </p:val>
                                        </p:tav>
                                      </p:tavLst>
                                    </p:anim>
                                    <p:anim calcmode="lin" valueType="num">
                                      <p:cBhvr additive="base">
                                        <p:cTn id="30" dur="700" fill="hold"/>
                                        <p:tgtEl>
                                          <p:spTgt spid="25"/>
                                        </p:tgtEl>
                                        <p:attrNameLst>
                                          <p:attrName>ppt_y</p:attrName>
                                        </p:attrNameLst>
                                      </p:cBhvr>
                                      <p:tavLst>
                                        <p:tav tm="0">
                                          <p:val>
                                            <p:strVal val="#ppt_y"/>
                                          </p:val>
                                        </p:tav>
                                        <p:tav tm="100000">
                                          <p:val>
                                            <p:strVal val="#ppt_y"/>
                                          </p:val>
                                        </p:tav>
                                      </p:tavLst>
                                    </p:anim>
                                  </p:childTnLst>
                                </p:cTn>
                              </p:par>
                            </p:childTnLst>
                          </p:cTn>
                        </p:par>
                        <p:par>
                          <p:cTn id="31" fill="hold">
                            <p:stCondLst>
                              <p:cond delay="2100"/>
                            </p:stCondLst>
                            <p:childTnLst>
                              <p:par>
                                <p:cTn id="32" presetID="10" presetClass="entr" presetSubtype="0" fill="hold" grpId="0" nodeType="afterEffect">
                                  <p:stCondLst>
                                    <p:cond delay="0"/>
                                  </p:stCondLst>
                                  <p:childTnLst>
                                    <p:set>
                                      <p:cBhvr>
                                        <p:cTn id="33" dur="1" fill="hold">
                                          <p:stCondLst>
                                            <p:cond delay="0"/>
                                          </p:stCondLst>
                                        </p:cTn>
                                        <p:tgtEl>
                                          <p:spTgt spid="46"/>
                                        </p:tgtEl>
                                        <p:attrNameLst>
                                          <p:attrName>style.visibility</p:attrName>
                                        </p:attrNameLst>
                                      </p:cBhvr>
                                      <p:to>
                                        <p:strVal val="visible"/>
                                      </p:to>
                                    </p:set>
                                    <p:animEffect transition="in" filter="fade">
                                      <p:cBhvr>
                                        <p:cTn id="34" dur="500"/>
                                        <p:tgtEl>
                                          <p:spTgt spid="46"/>
                                        </p:tgtEl>
                                      </p:cBhvr>
                                    </p:animEffect>
                                  </p:childTnLst>
                                </p:cTn>
                              </p:par>
                              <p:par>
                                <p:cTn id="35" presetID="10" presetClass="entr" presetSubtype="0" fill="hold" nodeType="withEffect">
                                  <p:stCondLst>
                                    <p:cond delay="0"/>
                                  </p:stCondLst>
                                  <p:childTnLst>
                                    <p:set>
                                      <p:cBhvr>
                                        <p:cTn id="36" dur="1" fill="hold">
                                          <p:stCondLst>
                                            <p:cond delay="0"/>
                                          </p:stCondLst>
                                        </p:cTn>
                                        <p:tgtEl>
                                          <p:spTgt spid="26"/>
                                        </p:tgtEl>
                                        <p:attrNameLst>
                                          <p:attrName>style.visibility</p:attrName>
                                        </p:attrNameLst>
                                      </p:cBhvr>
                                      <p:to>
                                        <p:strVal val="visible"/>
                                      </p:to>
                                    </p:set>
                                    <p:animEffect transition="in" filter="fade">
                                      <p:cBhvr>
                                        <p:cTn id="37" dur="500"/>
                                        <p:tgtEl>
                                          <p:spTgt spid="26"/>
                                        </p:tgtEl>
                                      </p:cBhvr>
                                    </p:animEffect>
                                  </p:childTnLst>
                                </p:cTn>
                              </p:par>
                            </p:childTnLst>
                          </p:cTn>
                        </p:par>
                        <p:par>
                          <p:cTn id="38" fill="hold">
                            <p:stCondLst>
                              <p:cond delay="2600"/>
                            </p:stCondLst>
                            <p:childTnLst>
                              <p:par>
                                <p:cTn id="39" presetID="10" presetClass="entr" presetSubtype="0" fill="hold" grpId="0" nodeType="afterEffect">
                                  <p:stCondLst>
                                    <p:cond delay="0"/>
                                  </p:stCondLst>
                                  <p:childTnLst>
                                    <p:set>
                                      <p:cBhvr>
                                        <p:cTn id="40" dur="1" fill="hold">
                                          <p:stCondLst>
                                            <p:cond delay="0"/>
                                          </p:stCondLst>
                                        </p:cTn>
                                        <p:tgtEl>
                                          <p:spTgt spid="45"/>
                                        </p:tgtEl>
                                        <p:attrNameLst>
                                          <p:attrName>style.visibility</p:attrName>
                                        </p:attrNameLst>
                                      </p:cBhvr>
                                      <p:to>
                                        <p:strVal val="visible"/>
                                      </p:to>
                                    </p:set>
                                    <p:animEffect transition="in" filter="fade">
                                      <p:cBhvr>
                                        <p:cTn id="41" dur="500"/>
                                        <p:tgtEl>
                                          <p:spTgt spid="45"/>
                                        </p:tgtEl>
                                      </p:cBhvr>
                                    </p:animEffect>
                                  </p:childTnLst>
                                </p:cTn>
                              </p:par>
                              <p:par>
                                <p:cTn id="42" presetID="10" presetClass="entr" presetSubtype="0" fill="hold" nodeType="withEffect">
                                  <p:stCondLst>
                                    <p:cond delay="100"/>
                                  </p:stCondLst>
                                  <p:childTnLst>
                                    <p:set>
                                      <p:cBhvr>
                                        <p:cTn id="43" dur="1" fill="hold">
                                          <p:stCondLst>
                                            <p:cond delay="0"/>
                                          </p:stCondLst>
                                        </p:cTn>
                                        <p:tgtEl>
                                          <p:spTgt spid="27"/>
                                        </p:tgtEl>
                                        <p:attrNameLst>
                                          <p:attrName>style.visibility</p:attrName>
                                        </p:attrNameLst>
                                      </p:cBhvr>
                                      <p:to>
                                        <p:strVal val="visible"/>
                                      </p:to>
                                    </p:set>
                                    <p:animEffect transition="in" filter="fade">
                                      <p:cBhvr>
                                        <p:cTn id="44" dur="500"/>
                                        <p:tgtEl>
                                          <p:spTgt spid="27"/>
                                        </p:tgtEl>
                                      </p:cBhvr>
                                    </p:animEffect>
                                  </p:childTnLst>
                                </p:cTn>
                              </p:par>
                              <p:par>
                                <p:cTn id="45" presetID="10" presetClass="entr" presetSubtype="0" fill="hold" grpId="0" nodeType="withEffect">
                                  <p:stCondLst>
                                    <p:cond delay="200"/>
                                  </p:stCondLst>
                                  <p:childTnLst>
                                    <p:set>
                                      <p:cBhvr>
                                        <p:cTn id="46" dur="1" fill="hold">
                                          <p:stCondLst>
                                            <p:cond delay="0"/>
                                          </p:stCondLst>
                                        </p:cTn>
                                        <p:tgtEl>
                                          <p:spTgt spid="11"/>
                                        </p:tgtEl>
                                        <p:attrNameLst>
                                          <p:attrName>style.visibility</p:attrName>
                                        </p:attrNameLst>
                                      </p:cBhvr>
                                      <p:to>
                                        <p:strVal val="visible"/>
                                      </p:to>
                                    </p:set>
                                    <p:animEffect transition="in" filter="fade">
                                      <p:cBhvr>
                                        <p:cTn id="4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animBg="1"/>
      <p:bldP spid="74" grpId="0" animBg="1"/>
      <p:bldP spid="46" grpId="0" animBg="1"/>
      <p:bldP spid="11" grpId="0" animBg="1"/>
      <p:bldP spid="45"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536782" y="209304"/>
            <a:ext cx="11652043" cy="899303"/>
          </a:xfrm>
        </p:spPr>
        <p:txBody>
          <a:bodyPr/>
          <a:lstStyle/>
          <a:p>
            <a:r>
              <a:rPr lang="en-US" dirty="0" smtClean="0">
                <a:solidFill>
                  <a:schemeClr val="tx1"/>
                </a:solidFill>
              </a:rPr>
              <a:t>The Opportunity</a:t>
            </a:r>
            <a:br>
              <a:rPr lang="en-US" dirty="0" smtClean="0">
                <a:solidFill>
                  <a:schemeClr val="tx1"/>
                </a:solidFill>
              </a:rPr>
            </a:br>
            <a:endParaRPr lang="en-US" sz="4704" dirty="0">
              <a:solidFill>
                <a:schemeClr val="tx1"/>
              </a:solidFill>
            </a:endParaRPr>
          </a:p>
        </p:txBody>
      </p:sp>
      <p:grpSp>
        <p:nvGrpSpPr>
          <p:cNvPr id="22" name="Group 21"/>
          <p:cNvGrpSpPr/>
          <p:nvPr/>
        </p:nvGrpSpPr>
        <p:grpSpPr>
          <a:xfrm>
            <a:off x="1594694" y="1493418"/>
            <a:ext cx="9436236" cy="4920485"/>
            <a:chOff x="2207711" y="1940904"/>
            <a:chExt cx="9627959" cy="5020458"/>
          </a:xfrm>
        </p:grpSpPr>
        <p:sp>
          <p:nvSpPr>
            <p:cNvPr id="23" name="Oval 22"/>
            <p:cNvSpPr/>
            <p:nvPr/>
          </p:nvSpPr>
          <p:spPr bwMode="auto">
            <a:xfrm>
              <a:off x="4806300" y="2470036"/>
              <a:ext cx="3486488" cy="3486488"/>
            </a:xfrm>
            <a:prstGeom prst="ellipse">
              <a:avLst/>
            </a:prstGeom>
            <a:noFill/>
            <a:ln w="508000" cap="flat" cmpd="sng" algn="ctr">
              <a:solidFill>
                <a:srgbClr val="0072C6"/>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37" name="Oval 36"/>
            <p:cNvSpPr/>
            <p:nvPr/>
          </p:nvSpPr>
          <p:spPr bwMode="auto">
            <a:xfrm>
              <a:off x="5487162" y="3137758"/>
              <a:ext cx="2107562" cy="2151005"/>
            </a:xfrm>
            <a:prstGeom prst="ellipse">
              <a:avLst/>
            </a:prstGeom>
            <a:solidFill>
              <a:srgbClr val="0072C6"/>
            </a:solidFill>
            <a:ln w="28575" cap="flat" cmpd="sng" algn="ctr">
              <a:solidFill>
                <a:srgbClr val="FFFFFF"/>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6" name="TextBox 25"/>
            <p:cNvSpPr txBox="1"/>
            <p:nvPr/>
          </p:nvSpPr>
          <p:spPr>
            <a:xfrm>
              <a:off x="8383587" y="5676327"/>
              <a:ext cx="2706510" cy="960263"/>
            </a:xfrm>
            <a:prstGeom prst="rect">
              <a:avLst/>
            </a:prstGeom>
            <a:noFill/>
          </p:spPr>
          <p:txBody>
            <a:bodyPr wrap="none" lIns="179238" tIns="143391" rIns="179238" bIns="143391" rtlCol="0">
              <a:spAutoFit/>
            </a:bodyPr>
            <a:lstStyle/>
            <a:p>
              <a:pPr defTabSz="896203">
                <a:lnSpc>
                  <a:spcPct val="90000"/>
                </a:lnSpc>
                <a:spcAft>
                  <a:spcPts val="588"/>
                </a:spcAft>
                <a:defRPr/>
              </a:pPr>
              <a:r>
                <a:rPr lang="en-US" sz="2352" kern="0" dirty="0">
                  <a:solidFill>
                    <a:srgbClr val="505050"/>
                  </a:solidFill>
                </a:rPr>
                <a:t>2-3 hours/day in </a:t>
              </a:r>
              <a:br>
                <a:rPr lang="en-US" sz="2352" kern="0" dirty="0">
                  <a:solidFill>
                    <a:srgbClr val="505050"/>
                  </a:solidFill>
                </a:rPr>
              </a:br>
              <a:r>
                <a:rPr lang="en-US" sz="2352" kern="0" dirty="0">
                  <a:solidFill>
                    <a:srgbClr val="505050"/>
                  </a:solidFill>
                </a:rPr>
                <a:t>Office Apps</a:t>
              </a:r>
            </a:p>
          </p:txBody>
        </p:sp>
        <p:sp>
          <p:nvSpPr>
            <p:cNvPr id="27" name="TextBox 26"/>
            <p:cNvSpPr txBox="1"/>
            <p:nvPr/>
          </p:nvSpPr>
          <p:spPr>
            <a:xfrm>
              <a:off x="9400067" y="2155150"/>
              <a:ext cx="2435603" cy="2188291"/>
            </a:xfrm>
            <a:prstGeom prst="rect">
              <a:avLst/>
            </a:prstGeom>
            <a:noFill/>
          </p:spPr>
          <p:txBody>
            <a:bodyPr wrap="none" lIns="179238" tIns="143391" rIns="179238" bIns="143391" rtlCol="0">
              <a:spAutoFit/>
            </a:bodyPr>
            <a:lstStyle/>
            <a:p>
              <a:pPr defTabSz="896203">
                <a:lnSpc>
                  <a:spcPct val="90000"/>
                </a:lnSpc>
                <a:spcAft>
                  <a:spcPts val="588"/>
                </a:spcAft>
                <a:defRPr/>
              </a:pPr>
              <a:r>
                <a:rPr lang="en-US" sz="2352" kern="0" dirty="0">
                  <a:solidFill>
                    <a:srgbClr val="505050"/>
                  </a:solidFill>
                </a:rPr>
                <a:t>Mobile Devices</a:t>
              </a:r>
            </a:p>
            <a:p>
              <a:pPr defTabSz="896203">
                <a:lnSpc>
                  <a:spcPct val="90000"/>
                </a:lnSpc>
                <a:spcAft>
                  <a:spcPts val="588"/>
                </a:spcAft>
                <a:defRPr/>
              </a:pPr>
              <a:r>
                <a:rPr lang="en-US" sz="2352" kern="0" dirty="0">
                  <a:solidFill>
                    <a:srgbClr val="505050"/>
                  </a:solidFill>
                </a:rPr>
                <a:t>1.2B in 2014</a:t>
              </a:r>
            </a:p>
            <a:p>
              <a:pPr defTabSz="896203">
                <a:lnSpc>
                  <a:spcPct val="90000"/>
                </a:lnSpc>
                <a:spcAft>
                  <a:spcPts val="588"/>
                </a:spcAft>
                <a:defRPr/>
              </a:pPr>
              <a:r>
                <a:rPr lang="en-US" sz="2352" kern="0" dirty="0">
                  <a:solidFill>
                    <a:srgbClr val="505050"/>
                  </a:solidFill>
                </a:rPr>
                <a:t>1.8B in 2018</a:t>
              </a:r>
            </a:p>
            <a:p>
              <a:pPr defTabSz="896203">
                <a:lnSpc>
                  <a:spcPct val="90000"/>
                </a:lnSpc>
                <a:spcAft>
                  <a:spcPts val="588"/>
                </a:spcAft>
                <a:defRPr/>
              </a:pPr>
              <a:r>
                <a:rPr lang="en-US" sz="2352" kern="0" dirty="0">
                  <a:solidFill>
                    <a:srgbClr val="505050"/>
                  </a:solidFill>
                </a:rPr>
                <a:t/>
              </a:r>
              <a:br>
                <a:rPr lang="en-US" sz="2352" kern="0" dirty="0">
                  <a:solidFill>
                    <a:srgbClr val="505050"/>
                  </a:solidFill>
                </a:rPr>
              </a:br>
              <a:endParaRPr lang="en-US" sz="2352" kern="0" dirty="0">
                <a:solidFill>
                  <a:srgbClr val="505050"/>
                </a:solidFill>
              </a:endParaRPr>
            </a:p>
          </p:txBody>
        </p:sp>
        <p:sp>
          <p:nvSpPr>
            <p:cNvPr id="28" name="Oval 27"/>
            <p:cNvSpPr/>
            <p:nvPr/>
          </p:nvSpPr>
          <p:spPr bwMode="auto">
            <a:xfrm>
              <a:off x="4760900" y="2464792"/>
              <a:ext cx="3577288" cy="3577288"/>
            </a:xfrm>
            <a:prstGeom prst="ellipse">
              <a:avLst/>
            </a:prstGeom>
            <a:noFill/>
            <a:ln w="19050" cap="flat" cmpd="sng" algn="ctr">
              <a:solidFill>
                <a:srgbClr val="FFFFFF"/>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9" name="Oval 28"/>
            <p:cNvSpPr/>
            <p:nvPr/>
          </p:nvSpPr>
          <p:spPr bwMode="auto">
            <a:xfrm>
              <a:off x="2207711" y="1940904"/>
              <a:ext cx="3023369" cy="3023369"/>
            </a:xfrm>
            <a:prstGeom prst="ellipse">
              <a:avLst/>
            </a:prstGeom>
            <a:solidFill>
              <a:srgbClr val="0072C6"/>
            </a:solidFill>
            <a:ln w="28575" cap="flat" cmpd="sng" algn="ctr">
              <a:solidFill>
                <a:srgbClr val="FFFFFF"/>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b" anchorCtr="0" forceAA="0" compatLnSpc="1">
              <a:prstTxWarp prst="textNoShape">
                <a:avLst/>
              </a:prstTxWarp>
              <a:noAutofit/>
            </a:bodyPr>
            <a:lstStyle/>
            <a:p>
              <a:pPr algn="ctr" defTabSz="913916" fontAlgn="base">
                <a:lnSpc>
                  <a:spcPct val="90000"/>
                </a:lnSpc>
                <a:spcBef>
                  <a:spcPct val="0"/>
                </a:spcBef>
                <a:spcAft>
                  <a:spcPct val="0"/>
                </a:spcAft>
                <a:defRPr/>
              </a:pPr>
              <a:endParaRPr lang="en-US" sz="4312" kern="0" dirty="0">
                <a:gradFill>
                  <a:gsLst>
                    <a:gs pos="0">
                      <a:srgbClr val="FFFFFF"/>
                    </a:gs>
                    <a:gs pos="100000">
                      <a:srgbClr val="FFFFFF"/>
                    </a:gs>
                  </a:gsLst>
                  <a:lin ang="5400000" scaled="0"/>
                </a:gradFill>
                <a:ea typeface="Segoe UI" pitchFamily="34" charset="0"/>
                <a:cs typeface="Segoe UI" pitchFamily="34" charset="0"/>
              </a:endParaRPr>
            </a:p>
          </p:txBody>
        </p:sp>
        <p:sp>
          <p:nvSpPr>
            <p:cNvPr id="30" name="Oval 29"/>
            <p:cNvSpPr/>
            <p:nvPr/>
          </p:nvSpPr>
          <p:spPr bwMode="auto">
            <a:xfrm>
              <a:off x="7510761" y="1940904"/>
              <a:ext cx="1985256" cy="1985256"/>
            </a:xfrm>
            <a:prstGeom prst="ellipse">
              <a:avLst/>
            </a:prstGeom>
            <a:solidFill>
              <a:srgbClr val="0072C6"/>
            </a:solidFill>
            <a:ln w="28575" cap="flat" cmpd="sng" algn="ctr">
              <a:solidFill>
                <a:srgbClr val="FFFFFF"/>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31" name="Oval 30"/>
            <p:cNvSpPr/>
            <p:nvPr/>
          </p:nvSpPr>
          <p:spPr bwMode="auto">
            <a:xfrm>
              <a:off x="6773782" y="5351557"/>
              <a:ext cx="1609805" cy="1609805"/>
            </a:xfrm>
            <a:prstGeom prst="ellipse">
              <a:avLst/>
            </a:prstGeom>
            <a:solidFill>
              <a:srgbClr val="0072C6"/>
            </a:solidFill>
            <a:ln w="28575" cap="flat" cmpd="sng" algn="ctr">
              <a:solidFill>
                <a:srgbClr val="FFFFFF"/>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43" name="Freeform 5"/>
          <p:cNvSpPr>
            <a:spLocks noChangeAspect="1" noEditPoints="1"/>
          </p:cNvSpPr>
          <p:nvPr/>
        </p:nvSpPr>
        <p:spPr bwMode="auto">
          <a:xfrm>
            <a:off x="7086840" y="2266931"/>
            <a:ext cx="858335" cy="639605"/>
          </a:xfrm>
          <a:custGeom>
            <a:avLst/>
            <a:gdLst>
              <a:gd name="T0" fmla="*/ 209 w 216"/>
              <a:gd name="T1" fmla="*/ 0 h 160"/>
              <a:gd name="T2" fmla="*/ 7 w 216"/>
              <a:gd name="T3" fmla="*/ 0 h 160"/>
              <a:gd name="T4" fmla="*/ 0 w 216"/>
              <a:gd name="T5" fmla="*/ 7 h 160"/>
              <a:gd name="T6" fmla="*/ 0 w 216"/>
              <a:gd name="T7" fmla="*/ 153 h 160"/>
              <a:gd name="T8" fmla="*/ 7 w 216"/>
              <a:gd name="T9" fmla="*/ 160 h 160"/>
              <a:gd name="T10" fmla="*/ 209 w 216"/>
              <a:gd name="T11" fmla="*/ 160 h 160"/>
              <a:gd name="T12" fmla="*/ 216 w 216"/>
              <a:gd name="T13" fmla="*/ 153 h 160"/>
              <a:gd name="T14" fmla="*/ 216 w 216"/>
              <a:gd name="T15" fmla="*/ 7 h 160"/>
              <a:gd name="T16" fmla="*/ 209 w 216"/>
              <a:gd name="T17" fmla="*/ 0 h 160"/>
              <a:gd name="T18" fmla="*/ 107 w 216"/>
              <a:gd name="T19" fmla="*/ 154 h 160"/>
              <a:gd name="T20" fmla="*/ 103 w 216"/>
              <a:gd name="T21" fmla="*/ 153 h 160"/>
              <a:gd name="T22" fmla="*/ 103 w 216"/>
              <a:gd name="T23" fmla="*/ 150 h 160"/>
              <a:gd name="T24" fmla="*/ 107 w 216"/>
              <a:gd name="T25" fmla="*/ 150 h 160"/>
              <a:gd name="T26" fmla="*/ 107 w 216"/>
              <a:gd name="T27" fmla="*/ 154 h 160"/>
              <a:gd name="T28" fmla="*/ 107 w 216"/>
              <a:gd name="T29" fmla="*/ 149 h 160"/>
              <a:gd name="T30" fmla="*/ 103 w 216"/>
              <a:gd name="T31" fmla="*/ 149 h 160"/>
              <a:gd name="T32" fmla="*/ 103 w 216"/>
              <a:gd name="T33" fmla="*/ 146 h 160"/>
              <a:gd name="T34" fmla="*/ 107 w 216"/>
              <a:gd name="T35" fmla="*/ 145 h 160"/>
              <a:gd name="T36" fmla="*/ 107 w 216"/>
              <a:gd name="T37" fmla="*/ 149 h 160"/>
              <a:gd name="T38" fmla="*/ 114 w 216"/>
              <a:gd name="T39" fmla="*/ 155 h 160"/>
              <a:gd name="T40" fmla="*/ 108 w 216"/>
              <a:gd name="T41" fmla="*/ 154 h 160"/>
              <a:gd name="T42" fmla="*/ 108 w 216"/>
              <a:gd name="T43" fmla="*/ 150 h 160"/>
              <a:gd name="T44" fmla="*/ 114 w 216"/>
              <a:gd name="T45" fmla="*/ 150 h 160"/>
              <a:gd name="T46" fmla="*/ 114 w 216"/>
              <a:gd name="T47" fmla="*/ 155 h 160"/>
              <a:gd name="T48" fmla="*/ 114 w 216"/>
              <a:gd name="T49" fmla="*/ 149 h 160"/>
              <a:gd name="T50" fmla="*/ 108 w 216"/>
              <a:gd name="T51" fmla="*/ 149 h 160"/>
              <a:gd name="T52" fmla="*/ 108 w 216"/>
              <a:gd name="T53" fmla="*/ 145 h 160"/>
              <a:gd name="T54" fmla="*/ 114 w 216"/>
              <a:gd name="T55" fmla="*/ 144 h 160"/>
              <a:gd name="T56" fmla="*/ 114 w 216"/>
              <a:gd name="T57" fmla="*/ 149 h 160"/>
              <a:gd name="T58" fmla="*/ 204 w 216"/>
              <a:gd name="T59" fmla="*/ 134 h 160"/>
              <a:gd name="T60" fmla="*/ 198 w 216"/>
              <a:gd name="T61" fmla="*/ 140 h 160"/>
              <a:gd name="T62" fmla="*/ 19 w 216"/>
              <a:gd name="T63" fmla="*/ 140 h 160"/>
              <a:gd name="T64" fmla="*/ 12 w 216"/>
              <a:gd name="T65" fmla="*/ 134 h 160"/>
              <a:gd name="T66" fmla="*/ 12 w 216"/>
              <a:gd name="T67" fmla="*/ 19 h 160"/>
              <a:gd name="T68" fmla="*/ 19 w 216"/>
              <a:gd name="T69" fmla="*/ 12 h 160"/>
              <a:gd name="T70" fmla="*/ 198 w 216"/>
              <a:gd name="T71" fmla="*/ 12 h 160"/>
              <a:gd name="T72" fmla="*/ 204 w 216"/>
              <a:gd name="T73" fmla="*/ 19 h 160"/>
              <a:gd name="T74" fmla="*/ 204 w 216"/>
              <a:gd name="T75" fmla="*/ 134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160">
                <a:moveTo>
                  <a:pt x="209" y="0"/>
                </a:moveTo>
                <a:cubicBezTo>
                  <a:pt x="7" y="0"/>
                  <a:pt x="7" y="0"/>
                  <a:pt x="7" y="0"/>
                </a:cubicBezTo>
                <a:cubicBezTo>
                  <a:pt x="3" y="0"/>
                  <a:pt x="0" y="4"/>
                  <a:pt x="0" y="7"/>
                </a:cubicBezTo>
                <a:cubicBezTo>
                  <a:pt x="0" y="145"/>
                  <a:pt x="0" y="153"/>
                  <a:pt x="0" y="153"/>
                </a:cubicBezTo>
                <a:cubicBezTo>
                  <a:pt x="0" y="157"/>
                  <a:pt x="3" y="160"/>
                  <a:pt x="7" y="160"/>
                </a:cubicBezTo>
                <a:cubicBezTo>
                  <a:pt x="209" y="160"/>
                  <a:pt x="209" y="160"/>
                  <a:pt x="209" y="160"/>
                </a:cubicBezTo>
                <a:cubicBezTo>
                  <a:pt x="213" y="160"/>
                  <a:pt x="216" y="157"/>
                  <a:pt x="216" y="153"/>
                </a:cubicBezTo>
                <a:cubicBezTo>
                  <a:pt x="216" y="15"/>
                  <a:pt x="216" y="7"/>
                  <a:pt x="216" y="7"/>
                </a:cubicBezTo>
                <a:cubicBezTo>
                  <a:pt x="216" y="4"/>
                  <a:pt x="213" y="0"/>
                  <a:pt x="209" y="0"/>
                </a:cubicBezTo>
                <a:close/>
                <a:moveTo>
                  <a:pt x="107" y="154"/>
                </a:moveTo>
                <a:cubicBezTo>
                  <a:pt x="103" y="153"/>
                  <a:pt x="103" y="153"/>
                  <a:pt x="103" y="153"/>
                </a:cubicBezTo>
                <a:cubicBezTo>
                  <a:pt x="103" y="150"/>
                  <a:pt x="103" y="150"/>
                  <a:pt x="103" y="150"/>
                </a:cubicBezTo>
                <a:cubicBezTo>
                  <a:pt x="107" y="150"/>
                  <a:pt x="107" y="150"/>
                  <a:pt x="107" y="150"/>
                </a:cubicBezTo>
                <a:lnTo>
                  <a:pt x="107" y="154"/>
                </a:lnTo>
                <a:close/>
                <a:moveTo>
                  <a:pt x="107" y="149"/>
                </a:moveTo>
                <a:cubicBezTo>
                  <a:pt x="103" y="149"/>
                  <a:pt x="103" y="149"/>
                  <a:pt x="103" y="149"/>
                </a:cubicBezTo>
                <a:cubicBezTo>
                  <a:pt x="103" y="146"/>
                  <a:pt x="103" y="146"/>
                  <a:pt x="103" y="146"/>
                </a:cubicBezTo>
                <a:cubicBezTo>
                  <a:pt x="107" y="145"/>
                  <a:pt x="107" y="145"/>
                  <a:pt x="107" y="145"/>
                </a:cubicBezTo>
                <a:lnTo>
                  <a:pt x="107" y="149"/>
                </a:lnTo>
                <a:close/>
                <a:moveTo>
                  <a:pt x="114" y="155"/>
                </a:moveTo>
                <a:cubicBezTo>
                  <a:pt x="108" y="154"/>
                  <a:pt x="108" y="154"/>
                  <a:pt x="108" y="154"/>
                </a:cubicBezTo>
                <a:cubicBezTo>
                  <a:pt x="108" y="150"/>
                  <a:pt x="108" y="150"/>
                  <a:pt x="108" y="150"/>
                </a:cubicBezTo>
                <a:cubicBezTo>
                  <a:pt x="114" y="150"/>
                  <a:pt x="114" y="150"/>
                  <a:pt x="114" y="150"/>
                </a:cubicBezTo>
                <a:lnTo>
                  <a:pt x="114" y="155"/>
                </a:lnTo>
                <a:close/>
                <a:moveTo>
                  <a:pt x="114" y="149"/>
                </a:moveTo>
                <a:cubicBezTo>
                  <a:pt x="108" y="149"/>
                  <a:pt x="108" y="149"/>
                  <a:pt x="108" y="149"/>
                </a:cubicBezTo>
                <a:cubicBezTo>
                  <a:pt x="108" y="145"/>
                  <a:pt x="108" y="145"/>
                  <a:pt x="108" y="145"/>
                </a:cubicBezTo>
                <a:cubicBezTo>
                  <a:pt x="114" y="144"/>
                  <a:pt x="114" y="144"/>
                  <a:pt x="114" y="144"/>
                </a:cubicBezTo>
                <a:lnTo>
                  <a:pt x="114" y="149"/>
                </a:lnTo>
                <a:close/>
                <a:moveTo>
                  <a:pt x="204" y="134"/>
                </a:moveTo>
                <a:cubicBezTo>
                  <a:pt x="204" y="137"/>
                  <a:pt x="201" y="140"/>
                  <a:pt x="198" y="140"/>
                </a:cubicBezTo>
                <a:cubicBezTo>
                  <a:pt x="19" y="140"/>
                  <a:pt x="19" y="140"/>
                  <a:pt x="19" y="140"/>
                </a:cubicBezTo>
                <a:cubicBezTo>
                  <a:pt x="16" y="140"/>
                  <a:pt x="12" y="137"/>
                  <a:pt x="12" y="134"/>
                </a:cubicBezTo>
                <a:cubicBezTo>
                  <a:pt x="12" y="19"/>
                  <a:pt x="12" y="19"/>
                  <a:pt x="12" y="19"/>
                </a:cubicBezTo>
                <a:cubicBezTo>
                  <a:pt x="12" y="15"/>
                  <a:pt x="16" y="12"/>
                  <a:pt x="19" y="12"/>
                </a:cubicBezTo>
                <a:cubicBezTo>
                  <a:pt x="198" y="12"/>
                  <a:pt x="198" y="12"/>
                  <a:pt x="198" y="12"/>
                </a:cubicBezTo>
                <a:cubicBezTo>
                  <a:pt x="201" y="12"/>
                  <a:pt x="204" y="15"/>
                  <a:pt x="204" y="19"/>
                </a:cubicBezTo>
                <a:lnTo>
                  <a:pt x="204" y="134"/>
                </a:lnTo>
                <a:close/>
              </a:path>
            </a:pathLst>
          </a:custGeom>
          <a:solidFill>
            <a:schemeClr val="bg1"/>
          </a:solidFill>
          <a:ln>
            <a:noFill/>
          </a:ln>
          <a:extLst/>
        </p:spPr>
        <p:txBody>
          <a:bodyPr vert="horz" wrap="square" lIns="89619" tIns="44810" rIns="89619" bIns="44810" numCol="1" anchor="t" anchorCtr="0" compatLnSpc="1">
            <a:prstTxWarp prst="textNoShape">
              <a:avLst/>
            </a:prstTxWarp>
          </a:bodyPr>
          <a:lstStyle/>
          <a:p>
            <a:pPr defTabSz="914180">
              <a:lnSpc>
                <a:spcPct val="90000"/>
              </a:lnSpc>
            </a:pPr>
            <a:endParaRPr lang="en-US" sz="1764">
              <a:solidFill>
                <a:srgbClr val="505050"/>
              </a:solidFill>
            </a:endParaRPr>
          </a:p>
        </p:txBody>
      </p:sp>
      <p:sp>
        <p:nvSpPr>
          <p:cNvPr id="41" name="Freeform 5"/>
          <p:cNvSpPr>
            <a:spLocks noEditPoints="1"/>
          </p:cNvSpPr>
          <p:nvPr/>
        </p:nvSpPr>
        <p:spPr bwMode="auto">
          <a:xfrm>
            <a:off x="8012793" y="2010986"/>
            <a:ext cx="456368" cy="895550"/>
          </a:xfrm>
          <a:custGeom>
            <a:avLst/>
            <a:gdLst>
              <a:gd name="T0" fmla="*/ 196 w 200"/>
              <a:gd name="T1" fmla="*/ 294 h 394"/>
              <a:gd name="T2" fmla="*/ 196 w 200"/>
              <a:gd name="T3" fmla="*/ 8 h 394"/>
              <a:gd name="T4" fmla="*/ 188 w 200"/>
              <a:gd name="T5" fmla="*/ 0 h 394"/>
              <a:gd name="T6" fmla="*/ 8 w 200"/>
              <a:gd name="T7" fmla="*/ 0 h 394"/>
              <a:gd name="T8" fmla="*/ 0 w 200"/>
              <a:gd name="T9" fmla="*/ 8 h 394"/>
              <a:gd name="T10" fmla="*/ 0 w 200"/>
              <a:gd name="T11" fmla="*/ 386 h 394"/>
              <a:gd name="T12" fmla="*/ 8 w 200"/>
              <a:gd name="T13" fmla="*/ 394 h 394"/>
              <a:gd name="T14" fmla="*/ 188 w 200"/>
              <a:gd name="T15" fmla="*/ 394 h 394"/>
              <a:gd name="T16" fmla="*/ 196 w 200"/>
              <a:gd name="T17" fmla="*/ 386 h 394"/>
              <a:gd name="T18" fmla="*/ 196 w 200"/>
              <a:gd name="T19" fmla="*/ 339 h 394"/>
              <a:gd name="T20" fmla="*/ 200 w 200"/>
              <a:gd name="T21" fmla="*/ 339 h 394"/>
              <a:gd name="T22" fmla="*/ 200 w 200"/>
              <a:gd name="T23" fmla="*/ 294 h 394"/>
              <a:gd name="T24" fmla="*/ 196 w 200"/>
              <a:gd name="T25" fmla="*/ 294 h 394"/>
              <a:gd name="T26" fmla="*/ 77 w 200"/>
              <a:gd name="T27" fmla="*/ 22 h 394"/>
              <a:gd name="T28" fmla="*/ 123 w 200"/>
              <a:gd name="T29" fmla="*/ 22 h 394"/>
              <a:gd name="T30" fmla="*/ 127 w 200"/>
              <a:gd name="T31" fmla="*/ 26 h 394"/>
              <a:gd name="T32" fmla="*/ 123 w 200"/>
              <a:gd name="T33" fmla="*/ 30 h 394"/>
              <a:gd name="T34" fmla="*/ 77 w 200"/>
              <a:gd name="T35" fmla="*/ 30 h 394"/>
              <a:gd name="T36" fmla="*/ 73 w 200"/>
              <a:gd name="T37" fmla="*/ 26 h 394"/>
              <a:gd name="T38" fmla="*/ 77 w 200"/>
              <a:gd name="T39" fmla="*/ 22 h 394"/>
              <a:gd name="T40" fmla="*/ 106 w 200"/>
              <a:gd name="T41" fmla="*/ 370 h 394"/>
              <a:gd name="T42" fmla="*/ 88 w 200"/>
              <a:gd name="T43" fmla="*/ 368 h 394"/>
              <a:gd name="T44" fmla="*/ 88 w 200"/>
              <a:gd name="T45" fmla="*/ 354 h 394"/>
              <a:gd name="T46" fmla="*/ 106 w 200"/>
              <a:gd name="T47" fmla="*/ 352 h 394"/>
              <a:gd name="T48" fmla="*/ 106 w 200"/>
              <a:gd name="T49" fmla="*/ 370 h 394"/>
              <a:gd name="T50" fmla="*/ 176 w 200"/>
              <a:gd name="T51" fmla="*/ 331 h 394"/>
              <a:gd name="T52" fmla="*/ 20 w 200"/>
              <a:gd name="T53" fmla="*/ 331 h 394"/>
              <a:gd name="T54" fmla="*/ 20 w 200"/>
              <a:gd name="T55" fmla="*/ 63 h 394"/>
              <a:gd name="T56" fmla="*/ 176 w 200"/>
              <a:gd name="T57" fmla="*/ 63 h 394"/>
              <a:gd name="T58" fmla="*/ 176 w 200"/>
              <a:gd name="T59" fmla="*/ 331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0" h="394">
                <a:moveTo>
                  <a:pt x="196" y="294"/>
                </a:moveTo>
                <a:cubicBezTo>
                  <a:pt x="196" y="8"/>
                  <a:pt x="196" y="8"/>
                  <a:pt x="196" y="8"/>
                </a:cubicBezTo>
                <a:cubicBezTo>
                  <a:pt x="196" y="4"/>
                  <a:pt x="192" y="0"/>
                  <a:pt x="188" y="0"/>
                </a:cubicBezTo>
                <a:cubicBezTo>
                  <a:pt x="8" y="0"/>
                  <a:pt x="8" y="0"/>
                  <a:pt x="8" y="0"/>
                </a:cubicBezTo>
                <a:cubicBezTo>
                  <a:pt x="4" y="0"/>
                  <a:pt x="0" y="4"/>
                  <a:pt x="0" y="8"/>
                </a:cubicBezTo>
                <a:cubicBezTo>
                  <a:pt x="0" y="386"/>
                  <a:pt x="0" y="386"/>
                  <a:pt x="0" y="386"/>
                </a:cubicBezTo>
                <a:cubicBezTo>
                  <a:pt x="0" y="391"/>
                  <a:pt x="4" y="394"/>
                  <a:pt x="8" y="394"/>
                </a:cubicBezTo>
                <a:cubicBezTo>
                  <a:pt x="188" y="394"/>
                  <a:pt x="188" y="394"/>
                  <a:pt x="188" y="394"/>
                </a:cubicBezTo>
                <a:cubicBezTo>
                  <a:pt x="192" y="394"/>
                  <a:pt x="196" y="391"/>
                  <a:pt x="196" y="386"/>
                </a:cubicBezTo>
                <a:cubicBezTo>
                  <a:pt x="196" y="339"/>
                  <a:pt x="196" y="339"/>
                  <a:pt x="196" y="339"/>
                </a:cubicBezTo>
                <a:cubicBezTo>
                  <a:pt x="200" y="339"/>
                  <a:pt x="200" y="339"/>
                  <a:pt x="200" y="339"/>
                </a:cubicBezTo>
                <a:cubicBezTo>
                  <a:pt x="200" y="294"/>
                  <a:pt x="200" y="294"/>
                  <a:pt x="200" y="294"/>
                </a:cubicBezTo>
                <a:cubicBezTo>
                  <a:pt x="196" y="294"/>
                  <a:pt x="196" y="294"/>
                  <a:pt x="196" y="294"/>
                </a:cubicBezTo>
                <a:moveTo>
                  <a:pt x="77" y="22"/>
                </a:moveTo>
                <a:cubicBezTo>
                  <a:pt x="123" y="22"/>
                  <a:pt x="123" y="22"/>
                  <a:pt x="123" y="22"/>
                </a:cubicBezTo>
                <a:cubicBezTo>
                  <a:pt x="125" y="22"/>
                  <a:pt x="127" y="24"/>
                  <a:pt x="127" y="26"/>
                </a:cubicBezTo>
                <a:cubicBezTo>
                  <a:pt x="127" y="28"/>
                  <a:pt x="125" y="30"/>
                  <a:pt x="123" y="30"/>
                </a:cubicBezTo>
                <a:cubicBezTo>
                  <a:pt x="77" y="30"/>
                  <a:pt x="77" y="30"/>
                  <a:pt x="77" y="30"/>
                </a:cubicBezTo>
                <a:cubicBezTo>
                  <a:pt x="75" y="30"/>
                  <a:pt x="73" y="28"/>
                  <a:pt x="73" y="26"/>
                </a:cubicBezTo>
                <a:cubicBezTo>
                  <a:pt x="73" y="24"/>
                  <a:pt x="75" y="22"/>
                  <a:pt x="77" y="22"/>
                </a:cubicBezTo>
                <a:moveTo>
                  <a:pt x="106" y="370"/>
                </a:moveTo>
                <a:cubicBezTo>
                  <a:pt x="88" y="368"/>
                  <a:pt x="88" y="368"/>
                  <a:pt x="88" y="368"/>
                </a:cubicBezTo>
                <a:cubicBezTo>
                  <a:pt x="88" y="354"/>
                  <a:pt x="88" y="354"/>
                  <a:pt x="88" y="354"/>
                </a:cubicBezTo>
                <a:cubicBezTo>
                  <a:pt x="106" y="352"/>
                  <a:pt x="106" y="352"/>
                  <a:pt x="106" y="352"/>
                </a:cubicBezTo>
                <a:cubicBezTo>
                  <a:pt x="106" y="370"/>
                  <a:pt x="106" y="370"/>
                  <a:pt x="106" y="370"/>
                </a:cubicBezTo>
                <a:moveTo>
                  <a:pt x="176" y="331"/>
                </a:moveTo>
                <a:cubicBezTo>
                  <a:pt x="20" y="331"/>
                  <a:pt x="20" y="331"/>
                  <a:pt x="20" y="331"/>
                </a:cubicBezTo>
                <a:cubicBezTo>
                  <a:pt x="20" y="63"/>
                  <a:pt x="20" y="63"/>
                  <a:pt x="20" y="63"/>
                </a:cubicBezTo>
                <a:cubicBezTo>
                  <a:pt x="176" y="63"/>
                  <a:pt x="176" y="63"/>
                  <a:pt x="176" y="63"/>
                </a:cubicBezTo>
                <a:cubicBezTo>
                  <a:pt x="176" y="331"/>
                  <a:pt x="176" y="331"/>
                  <a:pt x="176" y="331"/>
                </a:cubicBezTo>
              </a:path>
            </a:pathLst>
          </a:custGeom>
          <a:solidFill>
            <a:schemeClr val="bg1"/>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a:gradFill>
                <a:gsLst>
                  <a:gs pos="0">
                    <a:srgbClr val="FFFFFF"/>
                  </a:gs>
                  <a:gs pos="100000">
                    <a:srgbClr val="FFFFFF"/>
                  </a:gs>
                </a:gsLst>
                <a:lin ang="5400000" scaled="0"/>
              </a:gradFill>
              <a:ea typeface="Segoe UI" pitchFamily="34" charset="0"/>
              <a:cs typeface="Segoe UI" pitchFamily="34" charset="0"/>
            </a:endParaRPr>
          </a:p>
        </p:txBody>
      </p:sp>
      <p:sp>
        <p:nvSpPr>
          <p:cNvPr id="57" name="Freeform 108"/>
          <p:cNvSpPr>
            <a:spLocks noEditPoints="1"/>
          </p:cNvSpPr>
          <p:nvPr/>
        </p:nvSpPr>
        <p:spPr bwMode="black">
          <a:xfrm>
            <a:off x="6560095" y="5290060"/>
            <a:ext cx="597237" cy="669936"/>
          </a:xfrm>
          <a:custGeom>
            <a:avLst/>
            <a:gdLst>
              <a:gd name="T0" fmla="*/ 29 w 70"/>
              <a:gd name="T1" fmla="*/ 9 h 78"/>
              <a:gd name="T2" fmla="*/ 9 w 70"/>
              <a:gd name="T3" fmla="*/ 6 h 78"/>
              <a:gd name="T4" fmla="*/ 5 w 70"/>
              <a:gd name="T5" fmla="*/ 26 h 78"/>
              <a:gd name="T6" fmla="*/ 29 w 70"/>
              <a:gd name="T7" fmla="*/ 9 h 78"/>
              <a:gd name="T8" fmla="*/ 50 w 70"/>
              <a:gd name="T9" fmla="*/ 49 h 78"/>
              <a:gd name="T10" fmla="*/ 54 w 70"/>
              <a:gd name="T11" fmla="*/ 46 h 78"/>
              <a:gd name="T12" fmla="*/ 50 w 70"/>
              <a:gd name="T13" fmla="*/ 42 h 78"/>
              <a:gd name="T14" fmla="*/ 40 w 70"/>
              <a:gd name="T15" fmla="*/ 42 h 78"/>
              <a:gd name="T16" fmla="*/ 40 w 70"/>
              <a:gd name="T17" fmla="*/ 29 h 78"/>
              <a:gd name="T18" fmla="*/ 36 w 70"/>
              <a:gd name="T19" fmla="*/ 25 h 78"/>
              <a:gd name="T20" fmla="*/ 33 w 70"/>
              <a:gd name="T21" fmla="*/ 29 h 78"/>
              <a:gd name="T22" fmla="*/ 33 w 70"/>
              <a:gd name="T23" fmla="*/ 46 h 78"/>
              <a:gd name="T24" fmla="*/ 36 w 70"/>
              <a:gd name="T25" fmla="*/ 49 h 78"/>
              <a:gd name="T26" fmla="*/ 50 w 70"/>
              <a:gd name="T27" fmla="*/ 49 h 78"/>
              <a:gd name="T28" fmla="*/ 36 w 70"/>
              <a:gd name="T29" fmla="*/ 20 h 78"/>
              <a:gd name="T30" fmla="*/ 62 w 70"/>
              <a:gd name="T31" fmla="*/ 46 h 78"/>
              <a:gd name="T32" fmla="*/ 36 w 70"/>
              <a:gd name="T33" fmla="*/ 71 h 78"/>
              <a:gd name="T34" fmla="*/ 11 w 70"/>
              <a:gd name="T35" fmla="*/ 46 h 78"/>
              <a:gd name="T36" fmla="*/ 36 w 70"/>
              <a:gd name="T37" fmla="*/ 20 h 78"/>
              <a:gd name="T38" fmla="*/ 36 w 70"/>
              <a:gd name="T39" fmla="*/ 78 h 78"/>
              <a:gd name="T40" fmla="*/ 69 w 70"/>
              <a:gd name="T41" fmla="*/ 46 h 78"/>
              <a:gd name="T42" fmla="*/ 36 w 70"/>
              <a:gd name="T43" fmla="*/ 13 h 78"/>
              <a:gd name="T44" fmla="*/ 4 w 70"/>
              <a:gd name="T45" fmla="*/ 46 h 78"/>
              <a:gd name="T46" fmla="*/ 36 w 70"/>
              <a:gd name="T47" fmla="*/ 78 h 78"/>
              <a:gd name="T48" fmla="*/ 42 w 70"/>
              <a:gd name="T49" fmla="*/ 9 h 78"/>
              <a:gd name="T50" fmla="*/ 62 w 70"/>
              <a:gd name="T51" fmla="*/ 6 h 78"/>
              <a:gd name="T52" fmla="*/ 67 w 70"/>
              <a:gd name="T53" fmla="*/ 24 h 78"/>
              <a:gd name="T54" fmla="*/ 42 w 70"/>
              <a:gd name="T55" fmla="*/ 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0" h="78">
                <a:moveTo>
                  <a:pt x="29" y="9"/>
                </a:moveTo>
                <a:cubicBezTo>
                  <a:pt x="24" y="3"/>
                  <a:pt x="17" y="0"/>
                  <a:pt x="9" y="6"/>
                </a:cubicBezTo>
                <a:cubicBezTo>
                  <a:pt x="0" y="11"/>
                  <a:pt x="0" y="19"/>
                  <a:pt x="5" y="26"/>
                </a:cubicBezTo>
                <a:cubicBezTo>
                  <a:pt x="10" y="17"/>
                  <a:pt x="19" y="11"/>
                  <a:pt x="29" y="9"/>
                </a:cubicBezTo>
                <a:moveTo>
                  <a:pt x="50" y="49"/>
                </a:moveTo>
                <a:cubicBezTo>
                  <a:pt x="52" y="49"/>
                  <a:pt x="54" y="48"/>
                  <a:pt x="54" y="46"/>
                </a:cubicBezTo>
                <a:cubicBezTo>
                  <a:pt x="54" y="44"/>
                  <a:pt x="52" y="42"/>
                  <a:pt x="50" y="42"/>
                </a:cubicBezTo>
                <a:cubicBezTo>
                  <a:pt x="40" y="42"/>
                  <a:pt x="40" y="42"/>
                  <a:pt x="40" y="42"/>
                </a:cubicBezTo>
                <a:cubicBezTo>
                  <a:pt x="40" y="29"/>
                  <a:pt x="40" y="29"/>
                  <a:pt x="40" y="29"/>
                </a:cubicBezTo>
                <a:cubicBezTo>
                  <a:pt x="40" y="27"/>
                  <a:pt x="38" y="25"/>
                  <a:pt x="36" y="25"/>
                </a:cubicBezTo>
                <a:cubicBezTo>
                  <a:pt x="34" y="25"/>
                  <a:pt x="33" y="27"/>
                  <a:pt x="33" y="29"/>
                </a:cubicBezTo>
                <a:cubicBezTo>
                  <a:pt x="33" y="46"/>
                  <a:pt x="33" y="46"/>
                  <a:pt x="33" y="46"/>
                </a:cubicBezTo>
                <a:cubicBezTo>
                  <a:pt x="33" y="48"/>
                  <a:pt x="34" y="49"/>
                  <a:pt x="36" y="49"/>
                </a:cubicBezTo>
                <a:lnTo>
                  <a:pt x="50" y="49"/>
                </a:lnTo>
                <a:close/>
                <a:moveTo>
                  <a:pt x="36" y="20"/>
                </a:moveTo>
                <a:cubicBezTo>
                  <a:pt x="50" y="20"/>
                  <a:pt x="62" y="32"/>
                  <a:pt x="62" y="46"/>
                </a:cubicBezTo>
                <a:cubicBezTo>
                  <a:pt x="62" y="60"/>
                  <a:pt x="50" y="71"/>
                  <a:pt x="36" y="71"/>
                </a:cubicBezTo>
                <a:cubicBezTo>
                  <a:pt x="22" y="71"/>
                  <a:pt x="11" y="60"/>
                  <a:pt x="11" y="46"/>
                </a:cubicBezTo>
                <a:cubicBezTo>
                  <a:pt x="11" y="32"/>
                  <a:pt x="22" y="20"/>
                  <a:pt x="36" y="20"/>
                </a:cubicBezTo>
                <a:moveTo>
                  <a:pt x="36" y="78"/>
                </a:moveTo>
                <a:cubicBezTo>
                  <a:pt x="54" y="78"/>
                  <a:pt x="69" y="64"/>
                  <a:pt x="69" y="46"/>
                </a:cubicBezTo>
                <a:cubicBezTo>
                  <a:pt x="69" y="28"/>
                  <a:pt x="54" y="13"/>
                  <a:pt x="36" y="13"/>
                </a:cubicBezTo>
                <a:cubicBezTo>
                  <a:pt x="18" y="13"/>
                  <a:pt x="4" y="28"/>
                  <a:pt x="4" y="46"/>
                </a:cubicBezTo>
                <a:cubicBezTo>
                  <a:pt x="4" y="64"/>
                  <a:pt x="18" y="78"/>
                  <a:pt x="36" y="78"/>
                </a:cubicBezTo>
                <a:moveTo>
                  <a:pt x="42" y="9"/>
                </a:moveTo>
                <a:cubicBezTo>
                  <a:pt x="47" y="3"/>
                  <a:pt x="54" y="0"/>
                  <a:pt x="62" y="6"/>
                </a:cubicBezTo>
                <a:cubicBezTo>
                  <a:pt x="70" y="11"/>
                  <a:pt x="70" y="18"/>
                  <a:pt x="67" y="24"/>
                </a:cubicBezTo>
                <a:cubicBezTo>
                  <a:pt x="61" y="16"/>
                  <a:pt x="52" y="10"/>
                  <a:pt x="42" y="9"/>
                </a:cubicBezTo>
              </a:path>
            </a:pathLst>
          </a:custGeom>
          <a:solidFill>
            <a:schemeClr val="bg1"/>
          </a:solidFill>
          <a:ln>
            <a:noFill/>
          </a:ln>
          <a:extLst/>
        </p:spPr>
        <p:txBody>
          <a:bodyPr vert="horz" wrap="square" lIns="91421" tIns="45710" rIns="91421" bIns="45710" numCol="1" anchor="t" anchorCtr="0" compatLnSpc="1">
            <a:prstTxWarp prst="textNoShape">
              <a:avLst/>
            </a:prstTxWarp>
          </a:bodyPr>
          <a:lstStyle/>
          <a:p>
            <a:pPr defTabSz="914180"/>
            <a:endParaRPr lang="en-US" sz="1764" dirty="0">
              <a:solidFill>
                <a:srgbClr val="000000"/>
              </a:solidFill>
            </a:endParaRPr>
          </a:p>
        </p:txBody>
      </p:sp>
      <p:sp>
        <p:nvSpPr>
          <p:cNvPr id="58" name="Freeform 57"/>
          <p:cNvSpPr>
            <a:spLocks noEditPoints="1"/>
          </p:cNvSpPr>
          <p:nvPr/>
        </p:nvSpPr>
        <p:spPr bwMode="auto">
          <a:xfrm>
            <a:off x="5017030" y="3466651"/>
            <a:ext cx="1666073" cy="506802"/>
          </a:xfrm>
          <a:custGeom>
            <a:avLst/>
            <a:gdLst>
              <a:gd name="T0" fmla="*/ 0 w 1922"/>
              <a:gd name="T1" fmla="*/ 122 h 606"/>
              <a:gd name="T2" fmla="*/ 324 w 1922"/>
              <a:gd name="T3" fmla="*/ 0 h 606"/>
              <a:gd name="T4" fmla="*/ 502 w 1922"/>
              <a:gd name="T5" fmla="*/ 51 h 606"/>
              <a:gd name="T6" fmla="*/ 503 w 1922"/>
              <a:gd name="T7" fmla="*/ 557 h 606"/>
              <a:gd name="T8" fmla="*/ 17 w 1922"/>
              <a:gd name="T9" fmla="*/ 492 h 606"/>
              <a:gd name="T10" fmla="*/ 22 w 1922"/>
              <a:gd name="T11" fmla="*/ 489 h 606"/>
              <a:gd name="T12" fmla="*/ 244 w 1922"/>
              <a:gd name="T13" fmla="*/ 520 h 606"/>
              <a:gd name="T14" fmla="*/ 325 w 1922"/>
              <a:gd name="T15" fmla="*/ 99 h 606"/>
              <a:gd name="T16" fmla="*/ 299 w 1922"/>
              <a:gd name="T17" fmla="*/ 101 h 606"/>
              <a:gd name="T18" fmla="*/ 111 w 1922"/>
              <a:gd name="T19" fmla="*/ 439 h 606"/>
              <a:gd name="T20" fmla="*/ 2 w 1922"/>
              <a:gd name="T21" fmla="*/ 486 h 606"/>
              <a:gd name="T22" fmla="*/ 1356 w 1922"/>
              <a:gd name="T23" fmla="*/ 99 h 606"/>
              <a:gd name="T24" fmla="*/ 1246 w 1922"/>
              <a:gd name="T25" fmla="*/ 178 h 606"/>
              <a:gd name="T26" fmla="*/ 1148 w 1922"/>
              <a:gd name="T27" fmla="*/ 225 h 606"/>
              <a:gd name="T28" fmla="*/ 1147 w 1922"/>
              <a:gd name="T29" fmla="*/ 164 h 606"/>
              <a:gd name="T30" fmla="*/ 1216 w 1922"/>
              <a:gd name="T31" fmla="*/ 135 h 606"/>
              <a:gd name="T32" fmla="*/ 1192 w 1922"/>
              <a:gd name="T33" fmla="*/ 95 h 606"/>
              <a:gd name="T34" fmla="*/ 1103 w 1922"/>
              <a:gd name="T35" fmla="*/ 222 h 606"/>
              <a:gd name="T36" fmla="*/ 1059 w 1922"/>
              <a:gd name="T37" fmla="*/ 228 h 606"/>
              <a:gd name="T38" fmla="*/ 1099 w 1922"/>
              <a:gd name="T39" fmla="*/ 261 h 606"/>
              <a:gd name="T40" fmla="*/ 1106 w 1922"/>
              <a:gd name="T41" fmla="*/ 485 h 606"/>
              <a:gd name="T42" fmla="*/ 1145 w 1922"/>
              <a:gd name="T43" fmla="*/ 265 h 606"/>
              <a:gd name="T44" fmla="*/ 1246 w 1922"/>
              <a:gd name="T45" fmla="*/ 265 h 606"/>
              <a:gd name="T46" fmla="*/ 1284 w 1922"/>
              <a:gd name="T47" fmla="*/ 485 h 606"/>
              <a:gd name="T48" fmla="*/ 1291 w 1922"/>
              <a:gd name="T49" fmla="*/ 261 h 606"/>
              <a:gd name="T50" fmla="*/ 1349 w 1922"/>
              <a:gd name="T51" fmla="*/ 229 h 606"/>
              <a:gd name="T52" fmla="*/ 1287 w 1922"/>
              <a:gd name="T53" fmla="*/ 222 h 606"/>
              <a:gd name="T54" fmla="*/ 1335 w 1922"/>
              <a:gd name="T55" fmla="*/ 131 h 606"/>
              <a:gd name="T56" fmla="*/ 688 w 1922"/>
              <a:gd name="T57" fmla="*/ 319 h 606"/>
              <a:gd name="T58" fmla="*/ 908 w 1922"/>
              <a:gd name="T59" fmla="*/ 485 h 606"/>
              <a:gd name="T60" fmla="*/ 1032 w 1922"/>
              <a:gd name="T61" fmla="*/ 287 h 606"/>
              <a:gd name="T62" fmla="*/ 826 w 1922"/>
              <a:gd name="T63" fmla="*/ 119 h 606"/>
              <a:gd name="T64" fmla="*/ 688 w 1922"/>
              <a:gd name="T65" fmla="*/ 307 h 606"/>
              <a:gd name="T66" fmla="*/ 887 w 1922"/>
              <a:gd name="T67" fmla="*/ 450 h 606"/>
              <a:gd name="T68" fmla="*/ 750 w 1922"/>
              <a:gd name="T69" fmla="*/ 224 h 606"/>
              <a:gd name="T70" fmla="*/ 977 w 1922"/>
              <a:gd name="T71" fmla="*/ 236 h 606"/>
              <a:gd name="T72" fmla="*/ 974 w 1922"/>
              <a:gd name="T73" fmla="*/ 380 h 606"/>
              <a:gd name="T74" fmla="*/ 1751 w 1922"/>
              <a:gd name="T75" fmla="*/ 417 h 606"/>
              <a:gd name="T76" fmla="*/ 1919 w 1922"/>
              <a:gd name="T77" fmla="*/ 366 h 606"/>
              <a:gd name="T78" fmla="*/ 1915 w 1922"/>
              <a:gd name="T79" fmla="*/ 291 h 606"/>
              <a:gd name="T80" fmla="*/ 1710 w 1922"/>
              <a:gd name="T81" fmla="*/ 289 h 606"/>
              <a:gd name="T82" fmla="*/ 1787 w 1922"/>
              <a:gd name="T83" fmla="*/ 489 h 606"/>
              <a:gd name="T84" fmla="*/ 1904 w 1922"/>
              <a:gd name="T85" fmla="*/ 465 h 606"/>
              <a:gd name="T86" fmla="*/ 1742 w 1922"/>
              <a:gd name="T87" fmla="*/ 330 h 606"/>
              <a:gd name="T88" fmla="*/ 1847 w 1922"/>
              <a:gd name="T89" fmla="*/ 262 h 606"/>
              <a:gd name="T90" fmla="*/ 1876 w 1922"/>
              <a:gd name="T91" fmla="*/ 330 h 606"/>
              <a:gd name="T92" fmla="*/ 1667 w 1922"/>
              <a:gd name="T93" fmla="*/ 234 h 606"/>
              <a:gd name="T94" fmla="*/ 1576 w 1922"/>
              <a:gd name="T95" fmla="*/ 222 h 606"/>
              <a:gd name="T96" fmla="*/ 1550 w 1922"/>
              <a:gd name="T97" fmla="*/ 484 h 606"/>
              <a:gd name="T98" fmla="*/ 1666 w 1922"/>
              <a:gd name="T99" fmla="*/ 470 h 606"/>
              <a:gd name="T100" fmla="*/ 1663 w 1922"/>
              <a:gd name="T101" fmla="*/ 436 h 606"/>
              <a:gd name="T102" fmla="*/ 1518 w 1922"/>
              <a:gd name="T103" fmla="*/ 323 h 606"/>
              <a:gd name="T104" fmla="*/ 1667 w 1922"/>
              <a:gd name="T105" fmla="*/ 275 h 606"/>
              <a:gd name="T106" fmla="*/ 1391 w 1922"/>
              <a:gd name="T107" fmla="*/ 485 h 606"/>
              <a:gd name="T108" fmla="*/ 1429 w 1922"/>
              <a:gd name="T109" fmla="*/ 385 h 606"/>
              <a:gd name="T110" fmla="*/ 1391 w 1922"/>
              <a:gd name="T111" fmla="*/ 225 h 606"/>
              <a:gd name="T112" fmla="*/ 1387 w 1922"/>
              <a:gd name="T113" fmla="*/ 481 h 606"/>
              <a:gd name="T114" fmla="*/ 1381 w 1922"/>
              <a:gd name="T115" fmla="*/ 133 h 606"/>
              <a:gd name="T116" fmla="*/ 1 w 1922"/>
              <a:gd name="T117" fmla="*/ 486 h 606"/>
              <a:gd name="T118" fmla="*/ 2 w 1922"/>
              <a:gd name="T119" fmla="*/ 48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22" h="606">
                <a:moveTo>
                  <a:pt x="1" y="486"/>
                </a:moveTo>
                <a:cubicBezTo>
                  <a:pt x="1" y="486"/>
                  <a:pt x="0" y="486"/>
                  <a:pt x="0" y="486"/>
                </a:cubicBezTo>
                <a:cubicBezTo>
                  <a:pt x="0" y="365"/>
                  <a:pt x="0" y="243"/>
                  <a:pt x="0" y="122"/>
                </a:cubicBezTo>
                <a:cubicBezTo>
                  <a:pt x="1" y="121"/>
                  <a:pt x="2" y="121"/>
                  <a:pt x="3" y="121"/>
                </a:cubicBezTo>
                <a:cubicBezTo>
                  <a:pt x="98" y="85"/>
                  <a:pt x="194" y="49"/>
                  <a:pt x="289" y="13"/>
                </a:cubicBezTo>
                <a:cubicBezTo>
                  <a:pt x="301" y="9"/>
                  <a:pt x="313" y="4"/>
                  <a:pt x="324" y="0"/>
                </a:cubicBezTo>
                <a:cubicBezTo>
                  <a:pt x="325" y="0"/>
                  <a:pt x="326" y="0"/>
                  <a:pt x="327" y="0"/>
                </a:cubicBezTo>
                <a:cubicBezTo>
                  <a:pt x="335" y="3"/>
                  <a:pt x="343" y="5"/>
                  <a:pt x="351" y="7"/>
                </a:cubicBezTo>
                <a:cubicBezTo>
                  <a:pt x="402" y="22"/>
                  <a:pt x="452" y="36"/>
                  <a:pt x="502" y="51"/>
                </a:cubicBezTo>
                <a:cubicBezTo>
                  <a:pt x="505" y="51"/>
                  <a:pt x="506" y="52"/>
                  <a:pt x="506" y="55"/>
                </a:cubicBezTo>
                <a:cubicBezTo>
                  <a:pt x="506" y="221"/>
                  <a:pt x="506" y="387"/>
                  <a:pt x="506" y="553"/>
                </a:cubicBezTo>
                <a:cubicBezTo>
                  <a:pt x="506" y="556"/>
                  <a:pt x="505" y="557"/>
                  <a:pt x="503" y="557"/>
                </a:cubicBezTo>
                <a:cubicBezTo>
                  <a:pt x="444" y="573"/>
                  <a:pt x="386" y="590"/>
                  <a:pt x="327" y="606"/>
                </a:cubicBezTo>
                <a:cubicBezTo>
                  <a:pt x="326" y="606"/>
                  <a:pt x="324" y="606"/>
                  <a:pt x="323" y="605"/>
                </a:cubicBezTo>
                <a:cubicBezTo>
                  <a:pt x="221" y="568"/>
                  <a:pt x="119" y="530"/>
                  <a:pt x="17" y="492"/>
                </a:cubicBezTo>
                <a:cubicBezTo>
                  <a:pt x="12" y="490"/>
                  <a:pt x="6" y="488"/>
                  <a:pt x="1" y="486"/>
                </a:cubicBezTo>
                <a:cubicBezTo>
                  <a:pt x="1" y="486"/>
                  <a:pt x="1" y="486"/>
                  <a:pt x="2" y="486"/>
                </a:cubicBezTo>
                <a:cubicBezTo>
                  <a:pt x="8" y="487"/>
                  <a:pt x="15" y="488"/>
                  <a:pt x="22" y="489"/>
                </a:cubicBezTo>
                <a:cubicBezTo>
                  <a:pt x="46" y="492"/>
                  <a:pt x="70" y="496"/>
                  <a:pt x="94" y="499"/>
                </a:cubicBezTo>
                <a:cubicBezTo>
                  <a:pt x="119" y="502"/>
                  <a:pt x="144" y="506"/>
                  <a:pt x="168" y="509"/>
                </a:cubicBezTo>
                <a:cubicBezTo>
                  <a:pt x="194" y="513"/>
                  <a:pt x="219" y="516"/>
                  <a:pt x="244" y="520"/>
                </a:cubicBezTo>
                <a:cubicBezTo>
                  <a:pt x="270" y="523"/>
                  <a:pt x="295" y="527"/>
                  <a:pt x="321" y="530"/>
                </a:cubicBezTo>
                <a:cubicBezTo>
                  <a:pt x="325" y="531"/>
                  <a:pt x="325" y="530"/>
                  <a:pt x="325" y="527"/>
                </a:cubicBezTo>
                <a:cubicBezTo>
                  <a:pt x="325" y="384"/>
                  <a:pt x="325" y="242"/>
                  <a:pt x="325" y="99"/>
                </a:cubicBezTo>
                <a:cubicBezTo>
                  <a:pt x="325" y="99"/>
                  <a:pt x="325" y="98"/>
                  <a:pt x="325" y="98"/>
                </a:cubicBezTo>
                <a:cubicBezTo>
                  <a:pt x="325" y="96"/>
                  <a:pt x="325" y="95"/>
                  <a:pt x="322" y="96"/>
                </a:cubicBezTo>
                <a:cubicBezTo>
                  <a:pt x="314" y="98"/>
                  <a:pt x="306" y="99"/>
                  <a:pt x="299" y="101"/>
                </a:cubicBezTo>
                <a:cubicBezTo>
                  <a:pt x="237" y="116"/>
                  <a:pt x="176" y="131"/>
                  <a:pt x="114" y="145"/>
                </a:cubicBezTo>
                <a:cubicBezTo>
                  <a:pt x="111" y="146"/>
                  <a:pt x="111" y="147"/>
                  <a:pt x="111" y="150"/>
                </a:cubicBezTo>
                <a:cubicBezTo>
                  <a:pt x="111" y="247"/>
                  <a:pt x="111" y="343"/>
                  <a:pt x="111" y="439"/>
                </a:cubicBezTo>
                <a:cubicBezTo>
                  <a:pt x="111" y="442"/>
                  <a:pt x="110" y="443"/>
                  <a:pt x="107" y="444"/>
                </a:cubicBezTo>
                <a:cubicBezTo>
                  <a:pt x="79" y="455"/>
                  <a:pt x="50" y="467"/>
                  <a:pt x="21" y="478"/>
                </a:cubicBezTo>
                <a:cubicBezTo>
                  <a:pt x="15" y="480"/>
                  <a:pt x="8" y="482"/>
                  <a:pt x="2" y="486"/>
                </a:cubicBezTo>
                <a:cubicBezTo>
                  <a:pt x="1" y="486"/>
                  <a:pt x="1" y="486"/>
                  <a:pt x="1" y="486"/>
                </a:cubicBezTo>
                <a:close/>
                <a:moveTo>
                  <a:pt x="1359" y="102"/>
                </a:moveTo>
                <a:cubicBezTo>
                  <a:pt x="1359" y="100"/>
                  <a:pt x="1358" y="99"/>
                  <a:pt x="1356" y="99"/>
                </a:cubicBezTo>
                <a:cubicBezTo>
                  <a:pt x="1349" y="96"/>
                  <a:pt x="1342" y="95"/>
                  <a:pt x="1334" y="95"/>
                </a:cubicBezTo>
                <a:cubicBezTo>
                  <a:pt x="1318" y="95"/>
                  <a:pt x="1302" y="97"/>
                  <a:pt x="1287" y="105"/>
                </a:cubicBezTo>
                <a:cubicBezTo>
                  <a:pt x="1260" y="122"/>
                  <a:pt x="1247" y="147"/>
                  <a:pt x="1246" y="178"/>
                </a:cubicBezTo>
                <a:cubicBezTo>
                  <a:pt x="1245" y="193"/>
                  <a:pt x="1246" y="207"/>
                  <a:pt x="1246" y="222"/>
                </a:cubicBezTo>
                <a:cubicBezTo>
                  <a:pt x="1246" y="224"/>
                  <a:pt x="1246" y="225"/>
                  <a:pt x="1243" y="225"/>
                </a:cubicBezTo>
                <a:cubicBezTo>
                  <a:pt x="1211" y="225"/>
                  <a:pt x="1179" y="225"/>
                  <a:pt x="1148" y="225"/>
                </a:cubicBezTo>
                <a:cubicBezTo>
                  <a:pt x="1145" y="225"/>
                  <a:pt x="1145" y="225"/>
                  <a:pt x="1145" y="222"/>
                </a:cubicBezTo>
                <a:cubicBezTo>
                  <a:pt x="1145" y="210"/>
                  <a:pt x="1145" y="197"/>
                  <a:pt x="1145" y="185"/>
                </a:cubicBezTo>
                <a:cubicBezTo>
                  <a:pt x="1145" y="178"/>
                  <a:pt x="1145" y="171"/>
                  <a:pt x="1147" y="164"/>
                </a:cubicBezTo>
                <a:cubicBezTo>
                  <a:pt x="1151" y="145"/>
                  <a:pt x="1162" y="134"/>
                  <a:pt x="1179" y="131"/>
                </a:cubicBezTo>
                <a:cubicBezTo>
                  <a:pt x="1191" y="129"/>
                  <a:pt x="1203" y="131"/>
                  <a:pt x="1213" y="136"/>
                </a:cubicBezTo>
                <a:cubicBezTo>
                  <a:pt x="1215" y="137"/>
                  <a:pt x="1216" y="137"/>
                  <a:pt x="1216" y="135"/>
                </a:cubicBezTo>
                <a:cubicBezTo>
                  <a:pt x="1216" y="124"/>
                  <a:pt x="1216" y="113"/>
                  <a:pt x="1216" y="102"/>
                </a:cubicBezTo>
                <a:cubicBezTo>
                  <a:pt x="1216" y="100"/>
                  <a:pt x="1215" y="99"/>
                  <a:pt x="1214" y="99"/>
                </a:cubicBezTo>
                <a:cubicBezTo>
                  <a:pt x="1207" y="96"/>
                  <a:pt x="1199" y="96"/>
                  <a:pt x="1192" y="95"/>
                </a:cubicBezTo>
                <a:cubicBezTo>
                  <a:pt x="1176" y="95"/>
                  <a:pt x="1161" y="96"/>
                  <a:pt x="1147" y="104"/>
                </a:cubicBezTo>
                <a:cubicBezTo>
                  <a:pt x="1118" y="120"/>
                  <a:pt x="1104" y="145"/>
                  <a:pt x="1103" y="178"/>
                </a:cubicBezTo>
                <a:cubicBezTo>
                  <a:pt x="1103" y="192"/>
                  <a:pt x="1103" y="207"/>
                  <a:pt x="1103" y="222"/>
                </a:cubicBezTo>
                <a:cubicBezTo>
                  <a:pt x="1103" y="225"/>
                  <a:pt x="1102" y="225"/>
                  <a:pt x="1100" y="225"/>
                </a:cubicBezTo>
                <a:cubicBezTo>
                  <a:pt x="1087" y="225"/>
                  <a:pt x="1074" y="225"/>
                  <a:pt x="1062" y="225"/>
                </a:cubicBezTo>
                <a:cubicBezTo>
                  <a:pt x="1060" y="225"/>
                  <a:pt x="1059" y="226"/>
                  <a:pt x="1059" y="228"/>
                </a:cubicBezTo>
                <a:cubicBezTo>
                  <a:pt x="1059" y="238"/>
                  <a:pt x="1059" y="248"/>
                  <a:pt x="1059" y="258"/>
                </a:cubicBezTo>
                <a:cubicBezTo>
                  <a:pt x="1059" y="260"/>
                  <a:pt x="1059" y="261"/>
                  <a:pt x="1062" y="261"/>
                </a:cubicBezTo>
                <a:cubicBezTo>
                  <a:pt x="1074" y="261"/>
                  <a:pt x="1086" y="261"/>
                  <a:pt x="1099" y="261"/>
                </a:cubicBezTo>
                <a:cubicBezTo>
                  <a:pt x="1102" y="261"/>
                  <a:pt x="1103" y="262"/>
                  <a:pt x="1103" y="265"/>
                </a:cubicBezTo>
                <a:cubicBezTo>
                  <a:pt x="1103" y="337"/>
                  <a:pt x="1103" y="409"/>
                  <a:pt x="1103" y="482"/>
                </a:cubicBezTo>
                <a:cubicBezTo>
                  <a:pt x="1103" y="484"/>
                  <a:pt x="1103" y="485"/>
                  <a:pt x="1106" y="485"/>
                </a:cubicBezTo>
                <a:cubicBezTo>
                  <a:pt x="1118" y="485"/>
                  <a:pt x="1129" y="485"/>
                  <a:pt x="1140" y="485"/>
                </a:cubicBezTo>
                <a:cubicBezTo>
                  <a:pt x="1145" y="485"/>
                  <a:pt x="1145" y="486"/>
                  <a:pt x="1145" y="481"/>
                </a:cubicBezTo>
                <a:cubicBezTo>
                  <a:pt x="1145" y="409"/>
                  <a:pt x="1145" y="337"/>
                  <a:pt x="1145" y="265"/>
                </a:cubicBezTo>
                <a:cubicBezTo>
                  <a:pt x="1145" y="261"/>
                  <a:pt x="1146" y="261"/>
                  <a:pt x="1149" y="261"/>
                </a:cubicBezTo>
                <a:cubicBezTo>
                  <a:pt x="1180" y="261"/>
                  <a:pt x="1211" y="261"/>
                  <a:pt x="1242" y="261"/>
                </a:cubicBezTo>
                <a:cubicBezTo>
                  <a:pt x="1245" y="261"/>
                  <a:pt x="1246" y="262"/>
                  <a:pt x="1246" y="265"/>
                </a:cubicBezTo>
                <a:cubicBezTo>
                  <a:pt x="1246" y="337"/>
                  <a:pt x="1246" y="410"/>
                  <a:pt x="1246" y="482"/>
                </a:cubicBezTo>
                <a:cubicBezTo>
                  <a:pt x="1246" y="484"/>
                  <a:pt x="1246" y="485"/>
                  <a:pt x="1249" y="485"/>
                </a:cubicBezTo>
                <a:cubicBezTo>
                  <a:pt x="1261" y="485"/>
                  <a:pt x="1272" y="485"/>
                  <a:pt x="1284" y="485"/>
                </a:cubicBezTo>
                <a:cubicBezTo>
                  <a:pt x="1287" y="485"/>
                  <a:pt x="1288" y="484"/>
                  <a:pt x="1288" y="481"/>
                </a:cubicBezTo>
                <a:cubicBezTo>
                  <a:pt x="1287" y="409"/>
                  <a:pt x="1288" y="337"/>
                  <a:pt x="1287" y="264"/>
                </a:cubicBezTo>
                <a:cubicBezTo>
                  <a:pt x="1287" y="262"/>
                  <a:pt x="1288" y="261"/>
                  <a:pt x="1291" y="261"/>
                </a:cubicBezTo>
                <a:cubicBezTo>
                  <a:pt x="1309" y="261"/>
                  <a:pt x="1327" y="261"/>
                  <a:pt x="1346" y="261"/>
                </a:cubicBezTo>
                <a:cubicBezTo>
                  <a:pt x="1348" y="261"/>
                  <a:pt x="1349" y="260"/>
                  <a:pt x="1349" y="258"/>
                </a:cubicBezTo>
                <a:cubicBezTo>
                  <a:pt x="1348" y="248"/>
                  <a:pt x="1348" y="239"/>
                  <a:pt x="1349" y="229"/>
                </a:cubicBezTo>
                <a:cubicBezTo>
                  <a:pt x="1349" y="226"/>
                  <a:pt x="1348" y="225"/>
                  <a:pt x="1345" y="225"/>
                </a:cubicBezTo>
                <a:cubicBezTo>
                  <a:pt x="1327" y="225"/>
                  <a:pt x="1309" y="225"/>
                  <a:pt x="1291" y="225"/>
                </a:cubicBezTo>
                <a:cubicBezTo>
                  <a:pt x="1288" y="225"/>
                  <a:pt x="1287" y="225"/>
                  <a:pt x="1287" y="222"/>
                </a:cubicBezTo>
                <a:cubicBezTo>
                  <a:pt x="1288" y="210"/>
                  <a:pt x="1287" y="198"/>
                  <a:pt x="1288" y="186"/>
                </a:cubicBezTo>
                <a:cubicBezTo>
                  <a:pt x="1288" y="179"/>
                  <a:pt x="1288" y="171"/>
                  <a:pt x="1290" y="164"/>
                </a:cubicBezTo>
                <a:cubicBezTo>
                  <a:pt x="1294" y="141"/>
                  <a:pt x="1311" y="129"/>
                  <a:pt x="1335" y="131"/>
                </a:cubicBezTo>
                <a:cubicBezTo>
                  <a:pt x="1343" y="131"/>
                  <a:pt x="1351" y="133"/>
                  <a:pt x="1359" y="137"/>
                </a:cubicBezTo>
                <a:cubicBezTo>
                  <a:pt x="1359" y="125"/>
                  <a:pt x="1359" y="113"/>
                  <a:pt x="1359" y="102"/>
                </a:cubicBezTo>
                <a:close/>
                <a:moveTo>
                  <a:pt x="688" y="319"/>
                </a:moveTo>
                <a:cubicBezTo>
                  <a:pt x="689" y="341"/>
                  <a:pt x="693" y="363"/>
                  <a:pt x="700" y="383"/>
                </a:cubicBezTo>
                <a:cubicBezTo>
                  <a:pt x="717" y="428"/>
                  <a:pt x="746" y="461"/>
                  <a:pt x="791" y="479"/>
                </a:cubicBezTo>
                <a:cubicBezTo>
                  <a:pt x="829" y="494"/>
                  <a:pt x="869" y="495"/>
                  <a:pt x="908" y="485"/>
                </a:cubicBezTo>
                <a:cubicBezTo>
                  <a:pt x="937" y="478"/>
                  <a:pt x="962" y="464"/>
                  <a:pt x="983" y="442"/>
                </a:cubicBezTo>
                <a:cubicBezTo>
                  <a:pt x="1002" y="422"/>
                  <a:pt x="1014" y="398"/>
                  <a:pt x="1022" y="371"/>
                </a:cubicBezTo>
                <a:cubicBezTo>
                  <a:pt x="1030" y="344"/>
                  <a:pt x="1033" y="316"/>
                  <a:pt x="1032" y="287"/>
                </a:cubicBezTo>
                <a:cubicBezTo>
                  <a:pt x="1031" y="261"/>
                  <a:pt x="1026" y="236"/>
                  <a:pt x="1015" y="211"/>
                </a:cubicBezTo>
                <a:cubicBezTo>
                  <a:pt x="994" y="165"/>
                  <a:pt x="960" y="135"/>
                  <a:pt x="911" y="121"/>
                </a:cubicBezTo>
                <a:cubicBezTo>
                  <a:pt x="883" y="113"/>
                  <a:pt x="854" y="114"/>
                  <a:pt x="826" y="119"/>
                </a:cubicBezTo>
                <a:cubicBezTo>
                  <a:pt x="789" y="126"/>
                  <a:pt x="758" y="142"/>
                  <a:pt x="734" y="170"/>
                </a:cubicBezTo>
                <a:cubicBezTo>
                  <a:pt x="712" y="194"/>
                  <a:pt x="700" y="223"/>
                  <a:pt x="693" y="255"/>
                </a:cubicBezTo>
                <a:cubicBezTo>
                  <a:pt x="689" y="272"/>
                  <a:pt x="688" y="289"/>
                  <a:pt x="688" y="307"/>
                </a:cubicBezTo>
                <a:cubicBezTo>
                  <a:pt x="688" y="311"/>
                  <a:pt x="688" y="315"/>
                  <a:pt x="688" y="319"/>
                </a:cubicBezTo>
                <a:close/>
                <a:moveTo>
                  <a:pt x="974" y="380"/>
                </a:moveTo>
                <a:cubicBezTo>
                  <a:pt x="957" y="418"/>
                  <a:pt x="928" y="443"/>
                  <a:pt x="887" y="450"/>
                </a:cubicBezTo>
                <a:cubicBezTo>
                  <a:pt x="854" y="456"/>
                  <a:pt x="823" y="453"/>
                  <a:pt x="794" y="435"/>
                </a:cubicBezTo>
                <a:cubicBezTo>
                  <a:pt x="769" y="419"/>
                  <a:pt x="752" y="396"/>
                  <a:pt x="743" y="367"/>
                </a:cubicBezTo>
                <a:cubicBezTo>
                  <a:pt x="727" y="319"/>
                  <a:pt x="728" y="271"/>
                  <a:pt x="750" y="224"/>
                </a:cubicBezTo>
                <a:cubicBezTo>
                  <a:pt x="768" y="186"/>
                  <a:pt x="798" y="162"/>
                  <a:pt x="840" y="156"/>
                </a:cubicBezTo>
                <a:cubicBezTo>
                  <a:pt x="873" y="150"/>
                  <a:pt x="904" y="155"/>
                  <a:pt x="932" y="174"/>
                </a:cubicBezTo>
                <a:cubicBezTo>
                  <a:pt x="955" y="189"/>
                  <a:pt x="968" y="211"/>
                  <a:pt x="977" y="236"/>
                </a:cubicBezTo>
                <a:cubicBezTo>
                  <a:pt x="983" y="254"/>
                  <a:pt x="986" y="273"/>
                  <a:pt x="987" y="292"/>
                </a:cubicBezTo>
                <a:cubicBezTo>
                  <a:pt x="987" y="296"/>
                  <a:pt x="987" y="300"/>
                  <a:pt x="987" y="304"/>
                </a:cubicBezTo>
                <a:cubicBezTo>
                  <a:pt x="987" y="330"/>
                  <a:pt x="984" y="356"/>
                  <a:pt x="974" y="380"/>
                </a:cubicBezTo>
                <a:close/>
                <a:moveTo>
                  <a:pt x="1901" y="429"/>
                </a:moveTo>
                <a:cubicBezTo>
                  <a:pt x="1873" y="450"/>
                  <a:pt x="1842" y="459"/>
                  <a:pt x="1807" y="455"/>
                </a:cubicBezTo>
                <a:cubicBezTo>
                  <a:pt x="1782" y="451"/>
                  <a:pt x="1763" y="439"/>
                  <a:pt x="1751" y="417"/>
                </a:cubicBezTo>
                <a:cubicBezTo>
                  <a:pt x="1743" y="402"/>
                  <a:pt x="1740" y="386"/>
                  <a:pt x="1739" y="370"/>
                </a:cubicBezTo>
                <a:cubicBezTo>
                  <a:pt x="1739" y="366"/>
                  <a:pt x="1739" y="366"/>
                  <a:pt x="1743" y="366"/>
                </a:cubicBezTo>
                <a:cubicBezTo>
                  <a:pt x="1801" y="366"/>
                  <a:pt x="1860" y="366"/>
                  <a:pt x="1919" y="366"/>
                </a:cubicBezTo>
                <a:cubicBezTo>
                  <a:pt x="1921" y="366"/>
                  <a:pt x="1922" y="365"/>
                  <a:pt x="1922" y="363"/>
                </a:cubicBezTo>
                <a:cubicBezTo>
                  <a:pt x="1922" y="355"/>
                  <a:pt x="1922" y="347"/>
                  <a:pt x="1922" y="339"/>
                </a:cubicBezTo>
                <a:cubicBezTo>
                  <a:pt x="1922" y="322"/>
                  <a:pt x="1920" y="306"/>
                  <a:pt x="1915" y="291"/>
                </a:cubicBezTo>
                <a:cubicBezTo>
                  <a:pt x="1907" y="267"/>
                  <a:pt x="1894" y="246"/>
                  <a:pt x="1872" y="234"/>
                </a:cubicBezTo>
                <a:cubicBezTo>
                  <a:pt x="1842" y="216"/>
                  <a:pt x="1809" y="215"/>
                  <a:pt x="1777" y="226"/>
                </a:cubicBezTo>
                <a:cubicBezTo>
                  <a:pt x="1745" y="236"/>
                  <a:pt x="1724" y="259"/>
                  <a:pt x="1710" y="289"/>
                </a:cubicBezTo>
                <a:cubicBezTo>
                  <a:pt x="1699" y="311"/>
                  <a:pt x="1695" y="335"/>
                  <a:pt x="1695" y="359"/>
                </a:cubicBezTo>
                <a:cubicBezTo>
                  <a:pt x="1696" y="381"/>
                  <a:pt x="1698" y="403"/>
                  <a:pt x="1707" y="423"/>
                </a:cubicBezTo>
                <a:cubicBezTo>
                  <a:pt x="1722" y="459"/>
                  <a:pt x="1748" y="482"/>
                  <a:pt x="1787" y="489"/>
                </a:cubicBezTo>
                <a:cubicBezTo>
                  <a:pt x="1810" y="494"/>
                  <a:pt x="1833" y="492"/>
                  <a:pt x="1856" y="487"/>
                </a:cubicBezTo>
                <a:cubicBezTo>
                  <a:pt x="1873" y="484"/>
                  <a:pt x="1888" y="478"/>
                  <a:pt x="1902" y="468"/>
                </a:cubicBezTo>
                <a:cubicBezTo>
                  <a:pt x="1903" y="467"/>
                  <a:pt x="1904" y="467"/>
                  <a:pt x="1904" y="465"/>
                </a:cubicBezTo>
                <a:cubicBezTo>
                  <a:pt x="1904" y="453"/>
                  <a:pt x="1904" y="441"/>
                  <a:pt x="1904" y="428"/>
                </a:cubicBezTo>
                <a:cubicBezTo>
                  <a:pt x="1903" y="428"/>
                  <a:pt x="1902" y="429"/>
                  <a:pt x="1901" y="429"/>
                </a:cubicBezTo>
                <a:close/>
                <a:moveTo>
                  <a:pt x="1742" y="330"/>
                </a:moveTo>
                <a:cubicBezTo>
                  <a:pt x="1740" y="330"/>
                  <a:pt x="1739" y="330"/>
                  <a:pt x="1740" y="327"/>
                </a:cubicBezTo>
                <a:cubicBezTo>
                  <a:pt x="1744" y="304"/>
                  <a:pt x="1754" y="284"/>
                  <a:pt x="1773" y="269"/>
                </a:cubicBezTo>
                <a:cubicBezTo>
                  <a:pt x="1793" y="253"/>
                  <a:pt x="1825" y="250"/>
                  <a:pt x="1847" y="262"/>
                </a:cubicBezTo>
                <a:cubicBezTo>
                  <a:pt x="1863" y="271"/>
                  <a:pt x="1871" y="285"/>
                  <a:pt x="1876" y="302"/>
                </a:cubicBezTo>
                <a:cubicBezTo>
                  <a:pt x="1878" y="310"/>
                  <a:pt x="1879" y="319"/>
                  <a:pt x="1879" y="327"/>
                </a:cubicBezTo>
                <a:cubicBezTo>
                  <a:pt x="1879" y="330"/>
                  <a:pt x="1879" y="330"/>
                  <a:pt x="1876" y="330"/>
                </a:cubicBezTo>
                <a:cubicBezTo>
                  <a:pt x="1854" y="330"/>
                  <a:pt x="1832" y="330"/>
                  <a:pt x="1809" y="330"/>
                </a:cubicBezTo>
                <a:cubicBezTo>
                  <a:pt x="1787" y="330"/>
                  <a:pt x="1765" y="330"/>
                  <a:pt x="1742" y="330"/>
                </a:cubicBezTo>
                <a:close/>
                <a:moveTo>
                  <a:pt x="1667" y="234"/>
                </a:moveTo>
                <a:cubicBezTo>
                  <a:pt x="1667" y="233"/>
                  <a:pt x="1666" y="232"/>
                  <a:pt x="1665" y="231"/>
                </a:cubicBezTo>
                <a:cubicBezTo>
                  <a:pt x="1660" y="229"/>
                  <a:pt x="1655" y="227"/>
                  <a:pt x="1649" y="225"/>
                </a:cubicBezTo>
                <a:cubicBezTo>
                  <a:pt x="1625" y="218"/>
                  <a:pt x="1600" y="217"/>
                  <a:pt x="1576" y="222"/>
                </a:cubicBezTo>
                <a:cubicBezTo>
                  <a:pt x="1535" y="229"/>
                  <a:pt x="1504" y="252"/>
                  <a:pt x="1486" y="290"/>
                </a:cubicBezTo>
                <a:cubicBezTo>
                  <a:pt x="1469" y="325"/>
                  <a:pt x="1466" y="362"/>
                  <a:pt x="1476" y="400"/>
                </a:cubicBezTo>
                <a:cubicBezTo>
                  <a:pt x="1486" y="440"/>
                  <a:pt x="1510" y="469"/>
                  <a:pt x="1550" y="484"/>
                </a:cubicBezTo>
                <a:cubicBezTo>
                  <a:pt x="1569" y="491"/>
                  <a:pt x="1589" y="493"/>
                  <a:pt x="1609" y="491"/>
                </a:cubicBezTo>
                <a:cubicBezTo>
                  <a:pt x="1629" y="489"/>
                  <a:pt x="1647" y="484"/>
                  <a:pt x="1663" y="475"/>
                </a:cubicBezTo>
                <a:cubicBezTo>
                  <a:pt x="1665" y="474"/>
                  <a:pt x="1666" y="473"/>
                  <a:pt x="1666" y="470"/>
                </a:cubicBezTo>
                <a:cubicBezTo>
                  <a:pt x="1666" y="459"/>
                  <a:pt x="1666" y="448"/>
                  <a:pt x="1666" y="437"/>
                </a:cubicBezTo>
                <a:cubicBezTo>
                  <a:pt x="1666" y="436"/>
                  <a:pt x="1666" y="435"/>
                  <a:pt x="1665" y="434"/>
                </a:cubicBezTo>
                <a:cubicBezTo>
                  <a:pt x="1665" y="435"/>
                  <a:pt x="1664" y="435"/>
                  <a:pt x="1663" y="436"/>
                </a:cubicBezTo>
                <a:cubicBezTo>
                  <a:pt x="1642" y="450"/>
                  <a:pt x="1619" y="458"/>
                  <a:pt x="1593" y="456"/>
                </a:cubicBezTo>
                <a:cubicBezTo>
                  <a:pt x="1558" y="453"/>
                  <a:pt x="1534" y="435"/>
                  <a:pt x="1521" y="402"/>
                </a:cubicBezTo>
                <a:cubicBezTo>
                  <a:pt x="1511" y="376"/>
                  <a:pt x="1511" y="349"/>
                  <a:pt x="1518" y="323"/>
                </a:cubicBezTo>
                <a:cubicBezTo>
                  <a:pt x="1524" y="301"/>
                  <a:pt x="1535" y="284"/>
                  <a:pt x="1553" y="271"/>
                </a:cubicBezTo>
                <a:cubicBezTo>
                  <a:pt x="1576" y="254"/>
                  <a:pt x="1602" y="252"/>
                  <a:pt x="1630" y="258"/>
                </a:cubicBezTo>
                <a:cubicBezTo>
                  <a:pt x="1643" y="261"/>
                  <a:pt x="1655" y="267"/>
                  <a:pt x="1667" y="275"/>
                </a:cubicBezTo>
                <a:cubicBezTo>
                  <a:pt x="1667" y="261"/>
                  <a:pt x="1666" y="247"/>
                  <a:pt x="1667" y="234"/>
                </a:cubicBezTo>
                <a:close/>
                <a:moveTo>
                  <a:pt x="1387" y="481"/>
                </a:moveTo>
                <a:cubicBezTo>
                  <a:pt x="1387" y="484"/>
                  <a:pt x="1387" y="485"/>
                  <a:pt x="1391" y="485"/>
                </a:cubicBezTo>
                <a:cubicBezTo>
                  <a:pt x="1402" y="485"/>
                  <a:pt x="1413" y="485"/>
                  <a:pt x="1425" y="485"/>
                </a:cubicBezTo>
                <a:cubicBezTo>
                  <a:pt x="1428" y="485"/>
                  <a:pt x="1429" y="485"/>
                  <a:pt x="1429" y="481"/>
                </a:cubicBezTo>
                <a:cubicBezTo>
                  <a:pt x="1428" y="449"/>
                  <a:pt x="1429" y="417"/>
                  <a:pt x="1429" y="385"/>
                </a:cubicBezTo>
                <a:cubicBezTo>
                  <a:pt x="1429" y="333"/>
                  <a:pt x="1429" y="281"/>
                  <a:pt x="1429" y="230"/>
                </a:cubicBezTo>
                <a:cubicBezTo>
                  <a:pt x="1429" y="225"/>
                  <a:pt x="1429" y="225"/>
                  <a:pt x="1424" y="225"/>
                </a:cubicBezTo>
                <a:cubicBezTo>
                  <a:pt x="1413" y="225"/>
                  <a:pt x="1402" y="225"/>
                  <a:pt x="1391" y="225"/>
                </a:cubicBezTo>
                <a:cubicBezTo>
                  <a:pt x="1388" y="225"/>
                  <a:pt x="1387" y="226"/>
                  <a:pt x="1387" y="229"/>
                </a:cubicBezTo>
                <a:cubicBezTo>
                  <a:pt x="1387" y="271"/>
                  <a:pt x="1387" y="313"/>
                  <a:pt x="1387" y="355"/>
                </a:cubicBezTo>
                <a:cubicBezTo>
                  <a:pt x="1387" y="397"/>
                  <a:pt x="1387" y="439"/>
                  <a:pt x="1387" y="481"/>
                </a:cubicBezTo>
                <a:close/>
                <a:moveTo>
                  <a:pt x="1436" y="132"/>
                </a:moveTo>
                <a:cubicBezTo>
                  <a:pt x="1436" y="117"/>
                  <a:pt x="1424" y="105"/>
                  <a:pt x="1408" y="105"/>
                </a:cubicBezTo>
                <a:cubicBezTo>
                  <a:pt x="1393" y="105"/>
                  <a:pt x="1381" y="117"/>
                  <a:pt x="1381" y="133"/>
                </a:cubicBezTo>
                <a:cubicBezTo>
                  <a:pt x="1381" y="148"/>
                  <a:pt x="1392" y="160"/>
                  <a:pt x="1408" y="160"/>
                </a:cubicBezTo>
                <a:cubicBezTo>
                  <a:pt x="1424" y="160"/>
                  <a:pt x="1436" y="148"/>
                  <a:pt x="1436" y="132"/>
                </a:cubicBezTo>
                <a:close/>
                <a:moveTo>
                  <a:pt x="1" y="486"/>
                </a:moveTo>
                <a:cubicBezTo>
                  <a:pt x="1" y="486"/>
                  <a:pt x="1" y="486"/>
                  <a:pt x="1" y="486"/>
                </a:cubicBezTo>
                <a:cubicBezTo>
                  <a:pt x="1" y="486"/>
                  <a:pt x="1" y="486"/>
                  <a:pt x="2" y="486"/>
                </a:cubicBezTo>
                <a:cubicBezTo>
                  <a:pt x="2" y="486"/>
                  <a:pt x="2" y="486"/>
                  <a:pt x="2" y="486"/>
                </a:cubicBezTo>
                <a:cubicBezTo>
                  <a:pt x="1" y="486"/>
                  <a:pt x="1" y="486"/>
                  <a:pt x="1" y="486"/>
                </a:cubicBezTo>
                <a:close/>
              </a:path>
            </a:pathLst>
          </a:custGeom>
          <a:solidFill>
            <a:schemeClr val="bg1"/>
          </a:solidFill>
          <a:ln>
            <a:noFill/>
          </a:ln>
          <a:extLst/>
        </p:spPr>
        <p:txBody>
          <a:bodyPr vert="horz" wrap="square" lIns="89606" tIns="44803" rIns="89606" bIns="44803" numCol="1" anchor="t" anchorCtr="0" compatLnSpc="1">
            <a:prstTxWarp prst="textNoShape">
              <a:avLst/>
            </a:prstTxWarp>
          </a:bodyPr>
          <a:lstStyle/>
          <a:p>
            <a:pPr defTabSz="914005"/>
            <a:endParaRPr lang="en-US" sz="1764">
              <a:solidFill>
                <a:prstClr val="black"/>
              </a:solidFill>
            </a:endParaRPr>
          </a:p>
        </p:txBody>
      </p:sp>
      <p:grpSp>
        <p:nvGrpSpPr>
          <p:cNvPr id="186" name="Group 185"/>
          <p:cNvGrpSpPr/>
          <p:nvPr/>
        </p:nvGrpSpPr>
        <p:grpSpPr>
          <a:xfrm>
            <a:off x="1725931" y="2354205"/>
            <a:ext cx="1323098" cy="1104663"/>
            <a:chOff x="9076571" y="3191652"/>
            <a:chExt cx="977059" cy="815753"/>
          </a:xfrm>
          <a:solidFill>
            <a:schemeClr val="bg1"/>
          </a:solidFill>
        </p:grpSpPr>
        <p:grpSp>
          <p:nvGrpSpPr>
            <p:cNvPr id="187" name="Group 186"/>
            <p:cNvGrpSpPr/>
            <p:nvPr/>
          </p:nvGrpSpPr>
          <p:grpSpPr>
            <a:xfrm>
              <a:off x="9878477" y="3633625"/>
              <a:ext cx="175153" cy="373780"/>
              <a:chOff x="5011546" y="2165469"/>
              <a:chExt cx="206707" cy="441118"/>
            </a:xfrm>
            <a:grpFill/>
          </p:grpSpPr>
          <p:sp>
            <p:nvSpPr>
              <p:cNvPr id="215" name="Freeform 36"/>
              <p:cNvSpPr>
                <a:spLocks/>
              </p:cNvSpPr>
              <p:nvPr/>
            </p:nvSpPr>
            <p:spPr bwMode="auto">
              <a:xfrm>
                <a:off x="5080093" y="2165469"/>
                <a:ext cx="72099" cy="72099"/>
              </a:xfrm>
              <a:custGeom>
                <a:avLst/>
                <a:gdLst>
                  <a:gd name="T0" fmla="*/ 0 w 329"/>
                  <a:gd name="T1" fmla="*/ 169 h 330"/>
                  <a:gd name="T2" fmla="*/ 160 w 329"/>
                  <a:gd name="T3" fmla="*/ 330 h 330"/>
                  <a:gd name="T4" fmla="*/ 329 w 329"/>
                  <a:gd name="T5" fmla="*/ 169 h 330"/>
                  <a:gd name="T6" fmla="*/ 160 w 329"/>
                  <a:gd name="T7" fmla="*/ 0 h 330"/>
                  <a:gd name="T8" fmla="*/ 0 w 329"/>
                  <a:gd name="T9" fmla="*/ 169 h 330"/>
                </a:gdLst>
                <a:ahLst/>
                <a:cxnLst>
                  <a:cxn ang="0">
                    <a:pos x="T0" y="T1"/>
                  </a:cxn>
                  <a:cxn ang="0">
                    <a:pos x="T2" y="T3"/>
                  </a:cxn>
                  <a:cxn ang="0">
                    <a:pos x="T4" y="T5"/>
                  </a:cxn>
                  <a:cxn ang="0">
                    <a:pos x="T6" y="T7"/>
                  </a:cxn>
                  <a:cxn ang="0">
                    <a:pos x="T8" y="T9"/>
                  </a:cxn>
                </a:cxnLst>
                <a:rect l="0" t="0" r="r" b="b"/>
                <a:pathLst>
                  <a:path w="329" h="330">
                    <a:moveTo>
                      <a:pt x="0" y="169"/>
                    </a:moveTo>
                    <a:cubicBezTo>
                      <a:pt x="0" y="259"/>
                      <a:pt x="71" y="330"/>
                      <a:pt x="160" y="330"/>
                    </a:cubicBezTo>
                    <a:cubicBezTo>
                      <a:pt x="258" y="330"/>
                      <a:pt x="329" y="259"/>
                      <a:pt x="329" y="169"/>
                    </a:cubicBezTo>
                    <a:cubicBezTo>
                      <a:pt x="329" y="71"/>
                      <a:pt x="258" y="0"/>
                      <a:pt x="160" y="0"/>
                    </a:cubicBezTo>
                    <a:cubicBezTo>
                      <a:pt x="71" y="0"/>
                      <a:pt x="0" y="71"/>
                      <a:pt x="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16" name="Freeform 37"/>
              <p:cNvSpPr>
                <a:spLocks/>
              </p:cNvSpPr>
              <p:nvPr/>
            </p:nvSpPr>
            <p:spPr bwMode="auto">
              <a:xfrm>
                <a:off x="5011546" y="2247513"/>
                <a:ext cx="206707" cy="359074"/>
              </a:xfrm>
              <a:custGeom>
                <a:avLst/>
                <a:gdLst>
                  <a:gd name="T0" fmla="*/ 935 w 944"/>
                  <a:gd name="T1" fmla="*/ 641 h 1640"/>
                  <a:gd name="T2" fmla="*/ 793 w 944"/>
                  <a:gd name="T3" fmla="*/ 151 h 1640"/>
                  <a:gd name="T4" fmla="*/ 606 w 944"/>
                  <a:gd name="T5" fmla="*/ 0 h 1640"/>
                  <a:gd name="T6" fmla="*/ 338 w 944"/>
                  <a:gd name="T7" fmla="*/ 0 h 1640"/>
                  <a:gd name="T8" fmla="*/ 151 w 944"/>
                  <a:gd name="T9" fmla="*/ 151 h 1640"/>
                  <a:gd name="T10" fmla="*/ 8 w 944"/>
                  <a:gd name="T11" fmla="*/ 641 h 1640"/>
                  <a:gd name="T12" fmla="*/ 53 w 944"/>
                  <a:gd name="T13" fmla="*/ 722 h 1640"/>
                  <a:gd name="T14" fmla="*/ 133 w 944"/>
                  <a:gd name="T15" fmla="*/ 677 h 1640"/>
                  <a:gd name="T16" fmla="*/ 267 w 944"/>
                  <a:gd name="T17" fmla="*/ 222 h 1640"/>
                  <a:gd name="T18" fmla="*/ 312 w 944"/>
                  <a:gd name="T19" fmla="*/ 222 h 1640"/>
                  <a:gd name="T20" fmla="*/ 80 w 944"/>
                  <a:gd name="T21" fmla="*/ 980 h 1640"/>
                  <a:gd name="T22" fmla="*/ 294 w 944"/>
                  <a:gd name="T23" fmla="*/ 980 h 1640"/>
                  <a:gd name="T24" fmla="*/ 294 w 944"/>
                  <a:gd name="T25" fmla="*/ 1560 h 1640"/>
                  <a:gd name="T26" fmla="*/ 374 w 944"/>
                  <a:gd name="T27" fmla="*/ 1640 h 1640"/>
                  <a:gd name="T28" fmla="*/ 454 w 944"/>
                  <a:gd name="T29" fmla="*/ 1560 h 1640"/>
                  <a:gd name="T30" fmla="*/ 454 w 944"/>
                  <a:gd name="T31" fmla="*/ 980 h 1640"/>
                  <a:gd name="T32" fmla="*/ 490 w 944"/>
                  <a:gd name="T33" fmla="*/ 980 h 1640"/>
                  <a:gd name="T34" fmla="*/ 490 w 944"/>
                  <a:gd name="T35" fmla="*/ 1560 h 1640"/>
                  <a:gd name="T36" fmla="*/ 570 w 944"/>
                  <a:gd name="T37" fmla="*/ 1640 h 1640"/>
                  <a:gd name="T38" fmla="*/ 650 w 944"/>
                  <a:gd name="T39" fmla="*/ 1560 h 1640"/>
                  <a:gd name="T40" fmla="*/ 650 w 944"/>
                  <a:gd name="T41" fmla="*/ 980 h 1640"/>
                  <a:gd name="T42" fmla="*/ 864 w 944"/>
                  <a:gd name="T43" fmla="*/ 980 h 1640"/>
                  <a:gd name="T44" fmla="*/ 641 w 944"/>
                  <a:gd name="T45" fmla="*/ 222 h 1640"/>
                  <a:gd name="T46" fmla="*/ 677 w 944"/>
                  <a:gd name="T47" fmla="*/ 222 h 1640"/>
                  <a:gd name="T48" fmla="*/ 811 w 944"/>
                  <a:gd name="T49" fmla="*/ 677 h 1640"/>
                  <a:gd name="T50" fmla="*/ 891 w 944"/>
                  <a:gd name="T51" fmla="*/ 722 h 1640"/>
                  <a:gd name="T52" fmla="*/ 935 w 944"/>
                  <a:gd name="T53" fmla="*/ 641 h 1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4" h="1640">
                    <a:moveTo>
                      <a:pt x="935" y="641"/>
                    </a:moveTo>
                    <a:cubicBezTo>
                      <a:pt x="926" y="615"/>
                      <a:pt x="855" y="356"/>
                      <a:pt x="793" y="151"/>
                    </a:cubicBezTo>
                    <a:cubicBezTo>
                      <a:pt x="775" y="80"/>
                      <a:pt x="686" y="0"/>
                      <a:pt x="606" y="0"/>
                    </a:cubicBezTo>
                    <a:cubicBezTo>
                      <a:pt x="570" y="0"/>
                      <a:pt x="374" y="0"/>
                      <a:pt x="338" y="0"/>
                    </a:cubicBezTo>
                    <a:cubicBezTo>
                      <a:pt x="258" y="0"/>
                      <a:pt x="178" y="80"/>
                      <a:pt x="151" y="151"/>
                    </a:cubicBezTo>
                    <a:cubicBezTo>
                      <a:pt x="89" y="356"/>
                      <a:pt x="17" y="615"/>
                      <a:pt x="8" y="641"/>
                    </a:cubicBezTo>
                    <a:cubicBezTo>
                      <a:pt x="0" y="677"/>
                      <a:pt x="17" y="713"/>
                      <a:pt x="53" y="722"/>
                    </a:cubicBezTo>
                    <a:cubicBezTo>
                      <a:pt x="89" y="731"/>
                      <a:pt x="124" y="713"/>
                      <a:pt x="133" y="677"/>
                    </a:cubicBezTo>
                    <a:cubicBezTo>
                      <a:pt x="151" y="624"/>
                      <a:pt x="267" y="222"/>
                      <a:pt x="267" y="222"/>
                    </a:cubicBezTo>
                    <a:cubicBezTo>
                      <a:pt x="312" y="222"/>
                      <a:pt x="312" y="222"/>
                      <a:pt x="312" y="222"/>
                    </a:cubicBezTo>
                    <a:cubicBezTo>
                      <a:pt x="80" y="980"/>
                      <a:pt x="80" y="980"/>
                      <a:pt x="80" y="980"/>
                    </a:cubicBezTo>
                    <a:cubicBezTo>
                      <a:pt x="294" y="980"/>
                      <a:pt x="294" y="980"/>
                      <a:pt x="294" y="980"/>
                    </a:cubicBezTo>
                    <a:cubicBezTo>
                      <a:pt x="294" y="1248"/>
                      <a:pt x="294" y="1524"/>
                      <a:pt x="294" y="1560"/>
                    </a:cubicBezTo>
                    <a:cubicBezTo>
                      <a:pt x="294" y="1604"/>
                      <a:pt x="329" y="1640"/>
                      <a:pt x="374" y="1640"/>
                    </a:cubicBezTo>
                    <a:cubicBezTo>
                      <a:pt x="418" y="1640"/>
                      <a:pt x="454" y="1604"/>
                      <a:pt x="454" y="1560"/>
                    </a:cubicBezTo>
                    <a:cubicBezTo>
                      <a:pt x="454" y="1497"/>
                      <a:pt x="454" y="980"/>
                      <a:pt x="454" y="980"/>
                    </a:cubicBezTo>
                    <a:cubicBezTo>
                      <a:pt x="490" y="980"/>
                      <a:pt x="490" y="980"/>
                      <a:pt x="490" y="980"/>
                    </a:cubicBezTo>
                    <a:cubicBezTo>
                      <a:pt x="490" y="980"/>
                      <a:pt x="490" y="1497"/>
                      <a:pt x="490" y="1560"/>
                    </a:cubicBezTo>
                    <a:cubicBezTo>
                      <a:pt x="490" y="1604"/>
                      <a:pt x="525" y="1640"/>
                      <a:pt x="570" y="1640"/>
                    </a:cubicBezTo>
                    <a:cubicBezTo>
                      <a:pt x="615" y="1640"/>
                      <a:pt x="650" y="1604"/>
                      <a:pt x="650" y="1560"/>
                    </a:cubicBezTo>
                    <a:cubicBezTo>
                      <a:pt x="650" y="1524"/>
                      <a:pt x="650" y="1248"/>
                      <a:pt x="650" y="980"/>
                    </a:cubicBezTo>
                    <a:cubicBezTo>
                      <a:pt x="864" y="980"/>
                      <a:pt x="864" y="980"/>
                      <a:pt x="864" y="980"/>
                    </a:cubicBezTo>
                    <a:cubicBezTo>
                      <a:pt x="641" y="222"/>
                      <a:pt x="641" y="222"/>
                      <a:pt x="641" y="222"/>
                    </a:cubicBezTo>
                    <a:cubicBezTo>
                      <a:pt x="677" y="222"/>
                      <a:pt x="677" y="222"/>
                      <a:pt x="677" y="222"/>
                    </a:cubicBezTo>
                    <a:cubicBezTo>
                      <a:pt x="677" y="222"/>
                      <a:pt x="793" y="624"/>
                      <a:pt x="811" y="677"/>
                    </a:cubicBezTo>
                    <a:cubicBezTo>
                      <a:pt x="820" y="713"/>
                      <a:pt x="855" y="731"/>
                      <a:pt x="891" y="722"/>
                    </a:cubicBezTo>
                    <a:cubicBezTo>
                      <a:pt x="926" y="713"/>
                      <a:pt x="944" y="677"/>
                      <a:pt x="935" y="6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nvGrpSpPr>
            <p:cNvPr id="188" name="Group 187"/>
            <p:cNvGrpSpPr/>
            <p:nvPr/>
          </p:nvGrpSpPr>
          <p:grpSpPr>
            <a:xfrm>
              <a:off x="9890492" y="3191652"/>
              <a:ext cx="147165" cy="372276"/>
              <a:chOff x="4816559" y="2165469"/>
              <a:chExt cx="173677" cy="439342"/>
            </a:xfrm>
            <a:grpFill/>
          </p:grpSpPr>
          <p:sp>
            <p:nvSpPr>
              <p:cNvPr id="213" name="Freeform 34"/>
              <p:cNvSpPr>
                <a:spLocks/>
              </p:cNvSpPr>
              <p:nvPr/>
            </p:nvSpPr>
            <p:spPr bwMode="auto">
              <a:xfrm>
                <a:off x="4816559" y="2247513"/>
                <a:ext cx="173677" cy="357298"/>
              </a:xfrm>
              <a:custGeom>
                <a:avLst/>
                <a:gdLst>
                  <a:gd name="T0" fmla="*/ 580 w 794"/>
                  <a:gd name="T1" fmla="*/ 0 h 1631"/>
                  <a:gd name="T2" fmla="*/ 794 w 794"/>
                  <a:gd name="T3" fmla="*/ 213 h 1631"/>
                  <a:gd name="T4" fmla="*/ 794 w 794"/>
                  <a:gd name="T5" fmla="*/ 722 h 1631"/>
                  <a:gd name="T6" fmla="*/ 722 w 794"/>
                  <a:gd name="T7" fmla="*/ 793 h 1631"/>
                  <a:gd name="T8" fmla="*/ 651 w 794"/>
                  <a:gd name="T9" fmla="*/ 722 h 1631"/>
                  <a:gd name="T10" fmla="*/ 651 w 794"/>
                  <a:gd name="T11" fmla="*/ 258 h 1631"/>
                  <a:gd name="T12" fmla="*/ 615 w 794"/>
                  <a:gd name="T13" fmla="*/ 258 h 1631"/>
                  <a:gd name="T14" fmla="*/ 615 w 794"/>
                  <a:gd name="T15" fmla="*/ 1533 h 1631"/>
                  <a:gd name="T16" fmla="*/ 508 w 794"/>
                  <a:gd name="T17" fmla="*/ 1631 h 1631"/>
                  <a:gd name="T18" fmla="*/ 419 w 794"/>
                  <a:gd name="T19" fmla="*/ 1533 h 1631"/>
                  <a:gd name="T20" fmla="*/ 419 w 794"/>
                  <a:gd name="T21" fmla="*/ 793 h 1631"/>
                  <a:gd name="T22" fmla="*/ 375 w 794"/>
                  <a:gd name="T23" fmla="*/ 793 h 1631"/>
                  <a:gd name="T24" fmla="*/ 375 w 794"/>
                  <a:gd name="T25" fmla="*/ 1533 h 1631"/>
                  <a:gd name="T26" fmla="*/ 277 w 794"/>
                  <a:gd name="T27" fmla="*/ 1631 h 1631"/>
                  <a:gd name="T28" fmla="*/ 187 w 794"/>
                  <a:gd name="T29" fmla="*/ 1533 h 1631"/>
                  <a:gd name="T30" fmla="*/ 187 w 794"/>
                  <a:gd name="T31" fmla="*/ 258 h 1631"/>
                  <a:gd name="T32" fmla="*/ 143 w 794"/>
                  <a:gd name="T33" fmla="*/ 258 h 1631"/>
                  <a:gd name="T34" fmla="*/ 143 w 794"/>
                  <a:gd name="T35" fmla="*/ 722 h 1631"/>
                  <a:gd name="T36" fmla="*/ 72 w 794"/>
                  <a:gd name="T37" fmla="*/ 793 h 1631"/>
                  <a:gd name="T38" fmla="*/ 0 w 794"/>
                  <a:gd name="T39" fmla="*/ 722 h 1631"/>
                  <a:gd name="T40" fmla="*/ 0 w 794"/>
                  <a:gd name="T41" fmla="*/ 213 h 1631"/>
                  <a:gd name="T42" fmla="*/ 214 w 794"/>
                  <a:gd name="T43" fmla="*/ 0 h 1631"/>
                  <a:gd name="T44" fmla="*/ 580 w 794"/>
                  <a:gd name="T45" fmla="*/ 0 h 1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94" h="1631">
                    <a:moveTo>
                      <a:pt x="580" y="0"/>
                    </a:moveTo>
                    <a:cubicBezTo>
                      <a:pt x="696" y="0"/>
                      <a:pt x="794" y="98"/>
                      <a:pt x="794" y="213"/>
                    </a:cubicBezTo>
                    <a:cubicBezTo>
                      <a:pt x="794" y="267"/>
                      <a:pt x="794" y="677"/>
                      <a:pt x="794" y="722"/>
                    </a:cubicBezTo>
                    <a:cubicBezTo>
                      <a:pt x="794" y="757"/>
                      <a:pt x="758" y="793"/>
                      <a:pt x="722" y="793"/>
                    </a:cubicBezTo>
                    <a:cubicBezTo>
                      <a:pt x="678" y="793"/>
                      <a:pt x="651" y="757"/>
                      <a:pt x="651" y="722"/>
                    </a:cubicBezTo>
                    <a:cubicBezTo>
                      <a:pt x="651" y="677"/>
                      <a:pt x="651" y="258"/>
                      <a:pt x="651" y="258"/>
                    </a:cubicBezTo>
                    <a:cubicBezTo>
                      <a:pt x="615" y="258"/>
                      <a:pt x="615" y="258"/>
                      <a:pt x="615" y="258"/>
                    </a:cubicBezTo>
                    <a:cubicBezTo>
                      <a:pt x="615" y="258"/>
                      <a:pt x="615" y="1453"/>
                      <a:pt x="615" y="1533"/>
                    </a:cubicBezTo>
                    <a:cubicBezTo>
                      <a:pt x="615" y="1586"/>
                      <a:pt x="562" y="1631"/>
                      <a:pt x="508" y="1631"/>
                    </a:cubicBezTo>
                    <a:cubicBezTo>
                      <a:pt x="464" y="1631"/>
                      <a:pt x="419" y="1586"/>
                      <a:pt x="419" y="1533"/>
                    </a:cubicBezTo>
                    <a:cubicBezTo>
                      <a:pt x="419" y="1453"/>
                      <a:pt x="419" y="793"/>
                      <a:pt x="419" y="793"/>
                    </a:cubicBezTo>
                    <a:cubicBezTo>
                      <a:pt x="375" y="793"/>
                      <a:pt x="375" y="793"/>
                      <a:pt x="375" y="793"/>
                    </a:cubicBezTo>
                    <a:cubicBezTo>
                      <a:pt x="375" y="793"/>
                      <a:pt x="375" y="1453"/>
                      <a:pt x="375" y="1533"/>
                    </a:cubicBezTo>
                    <a:cubicBezTo>
                      <a:pt x="375" y="1586"/>
                      <a:pt x="330" y="1631"/>
                      <a:pt x="277" y="1631"/>
                    </a:cubicBezTo>
                    <a:cubicBezTo>
                      <a:pt x="223" y="1631"/>
                      <a:pt x="187" y="1586"/>
                      <a:pt x="187" y="1533"/>
                    </a:cubicBezTo>
                    <a:cubicBezTo>
                      <a:pt x="187" y="1453"/>
                      <a:pt x="187" y="258"/>
                      <a:pt x="187" y="258"/>
                    </a:cubicBezTo>
                    <a:cubicBezTo>
                      <a:pt x="143" y="258"/>
                      <a:pt x="143" y="258"/>
                      <a:pt x="143" y="258"/>
                    </a:cubicBezTo>
                    <a:cubicBezTo>
                      <a:pt x="143" y="258"/>
                      <a:pt x="143" y="677"/>
                      <a:pt x="143" y="722"/>
                    </a:cubicBezTo>
                    <a:cubicBezTo>
                      <a:pt x="143" y="757"/>
                      <a:pt x="116" y="793"/>
                      <a:pt x="72" y="793"/>
                    </a:cubicBezTo>
                    <a:cubicBezTo>
                      <a:pt x="36" y="793"/>
                      <a:pt x="0" y="757"/>
                      <a:pt x="0" y="722"/>
                    </a:cubicBezTo>
                    <a:cubicBezTo>
                      <a:pt x="0" y="677"/>
                      <a:pt x="0" y="267"/>
                      <a:pt x="0" y="213"/>
                    </a:cubicBezTo>
                    <a:cubicBezTo>
                      <a:pt x="0" y="98"/>
                      <a:pt x="98" y="0"/>
                      <a:pt x="214" y="0"/>
                    </a:cubicBezTo>
                    <a:cubicBezTo>
                      <a:pt x="277" y="0"/>
                      <a:pt x="517" y="0"/>
                      <a:pt x="5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14" name="Freeform 35"/>
              <p:cNvSpPr>
                <a:spLocks/>
              </p:cNvSpPr>
              <p:nvPr/>
            </p:nvSpPr>
            <p:spPr bwMode="auto">
              <a:xfrm>
                <a:off x="4867348" y="2165469"/>
                <a:ext cx="72099" cy="72099"/>
              </a:xfrm>
              <a:custGeom>
                <a:avLst/>
                <a:gdLst>
                  <a:gd name="T0" fmla="*/ 0 w 330"/>
                  <a:gd name="T1" fmla="*/ 169 h 330"/>
                  <a:gd name="T2" fmla="*/ 169 w 330"/>
                  <a:gd name="T3" fmla="*/ 330 h 330"/>
                  <a:gd name="T4" fmla="*/ 330 w 330"/>
                  <a:gd name="T5" fmla="*/ 169 h 330"/>
                  <a:gd name="T6" fmla="*/ 169 w 330"/>
                  <a:gd name="T7" fmla="*/ 0 h 330"/>
                  <a:gd name="T8" fmla="*/ 0 w 330"/>
                  <a:gd name="T9" fmla="*/ 169 h 330"/>
                </a:gdLst>
                <a:ahLst/>
                <a:cxnLst>
                  <a:cxn ang="0">
                    <a:pos x="T0" y="T1"/>
                  </a:cxn>
                  <a:cxn ang="0">
                    <a:pos x="T2" y="T3"/>
                  </a:cxn>
                  <a:cxn ang="0">
                    <a:pos x="T4" y="T5"/>
                  </a:cxn>
                  <a:cxn ang="0">
                    <a:pos x="T6" y="T7"/>
                  </a:cxn>
                  <a:cxn ang="0">
                    <a:pos x="T8" y="T9"/>
                  </a:cxn>
                </a:cxnLst>
                <a:rect l="0" t="0" r="r" b="b"/>
                <a:pathLst>
                  <a:path w="330" h="330">
                    <a:moveTo>
                      <a:pt x="0" y="169"/>
                    </a:moveTo>
                    <a:cubicBezTo>
                      <a:pt x="0" y="259"/>
                      <a:pt x="71" y="330"/>
                      <a:pt x="169" y="330"/>
                    </a:cubicBezTo>
                    <a:cubicBezTo>
                      <a:pt x="259" y="330"/>
                      <a:pt x="330" y="259"/>
                      <a:pt x="330" y="169"/>
                    </a:cubicBezTo>
                    <a:cubicBezTo>
                      <a:pt x="330" y="71"/>
                      <a:pt x="259" y="0"/>
                      <a:pt x="169" y="0"/>
                    </a:cubicBezTo>
                    <a:cubicBezTo>
                      <a:pt x="71" y="0"/>
                      <a:pt x="0" y="71"/>
                      <a:pt x="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nvGrpSpPr>
            <p:cNvPr id="189" name="Group 188"/>
            <p:cNvGrpSpPr/>
            <p:nvPr/>
          </p:nvGrpSpPr>
          <p:grpSpPr>
            <a:xfrm>
              <a:off x="9690909" y="3633625"/>
              <a:ext cx="147165" cy="372276"/>
              <a:chOff x="4816559" y="2165469"/>
              <a:chExt cx="173677" cy="439342"/>
            </a:xfrm>
            <a:grpFill/>
          </p:grpSpPr>
          <p:sp>
            <p:nvSpPr>
              <p:cNvPr id="211" name="Freeform 34"/>
              <p:cNvSpPr>
                <a:spLocks/>
              </p:cNvSpPr>
              <p:nvPr/>
            </p:nvSpPr>
            <p:spPr bwMode="auto">
              <a:xfrm>
                <a:off x="4816559" y="2247513"/>
                <a:ext cx="173677" cy="357298"/>
              </a:xfrm>
              <a:custGeom>
                <a:avLst/>
                <a:gdLst>
                  <a:gd name="T0" fmla="*/ 580 w 794"/>
                  <a:gd name="T1" fmla="*/ 0 h 1631"/>
                  <a:gd name="T2" fmla="*/ 794 w 794"/>
                  <a:gd name="T3" fmla="*/ 213 h 1631"/>
                  <a:gd name="T4" fmla="*/ 794 w 794"/>
                  <a:gd name="T5" fmla="*/ 722 h 1631"/>
                  <a:gd name="T6" fmla="*/ 722 w 794"/>
                  <a:gd name="T7" fmla="*/ 793 h 1631"/>
                  <a:gd name="T8" fmla="*/ 651 w 794"/>
                  <a:gd name="T9" fmla="*/ 722 h 1631"/>
                  <a:gd name="T10" fmla="*/ 651 w 794"/>
                  <a:gd name="T11" fmla="*/ 258 h 1631"/>
                  <a:gd name="T12" fmla="*/ 615 w 794"/>
                  <a:gd name="T13" fmla="*/ 258 h 1631"/>
                  <a:gd name="T14" fmla="*/ 615 w 794"/>
                  <a:gd name="T15" fmla="*/ 1533 h 1631"/>
                  <a:gd name="T16" fmla="*/ 508 w 794"/>
                  <a:gd name="T17" fmla="*/ 1631 h 1631"/>
                  <a:gd name="T18" fmla="*/ 419 w 794"/>
                  <a:gd name="T19" fmla="*/ 1533 h 1631"/>
                  <a:gd name="T20" fmla="*/ 419 w 794"/>
                  <a:gd name="T21" fmla="*/ 793 h 1631"/>
                  <a:gd name="T22" fmla="*/ 375 w 794"/>
                  <a:gd name="T23" fmla="*/ 793 h 1631"/>
                  <a:gd name="T24" fmla="*/ 375 w 794"/>
                  <a:gd name="T25" fmla="*/ 1533 h 1631"/>
                  <a:gd name="T26" fmla="*/ 277 w 794"/>
                  <a:gd name="T27" fmla="*/ 1631 h 1631"/>
                  <a:gd name="T28" fmla="*/ 187 w 794"/>
                  <a:gd name="T29" fmla="*/ 1533 h 1631"/>
                  <a:gd name="T30" fmla="*/ 187 w 794"/>
                  <a:gd name="T31" fmla="*/ 258 h 1631"/>
                  <a:gd name="T32" fmla="*/ 143 w 794"/>
                  <a:gd name="T33" fmla="*/ 258 h 1631"/>
                  <a:gd name="T34" fmla="*/ 143 w 794"/>
                  <a:gd name="T35" fmla="*/ 722 h 1631"/>
                  <a:gd name="T36" fmla="*/ 72 w 794"/>
                  <a:gd name="T37" fmla="*/ 793 h 1631"/>
                  <a:gd name="T38" fmla="*/ 0 w 794"/>
                  <a:gd name="T39" fmla="*/ 722 h 1631"/>
                  <a:gd name="T40" fmla="*/ 0 w 794"/>
                  <a:gd name="T41" fmla="*/ 213 h 1631"/>
                  <a:gd name="T42" fmla="*/ 214 w 794"/>
                  <a:gd name="T43" fmla="*/ 0 h 1631"/>
                  <a:gd name="T44" fmla="*/ 580 w 794"/>
                  <a:gd name="T45" fmla="*/ 0 h 1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94" h="1631">
                    <a:moveTo>
                      <a:pt x="580" y="0"/>
                    </a:moveTo>
                    <a:cubicBezTo>
                      <a:pt x="696" y="0"/>
                      <a:pt x="794" y="98"/>
                      <a:pt x="794" y="213"/>
                    </a:cubicBezTo>
                    <a:cubicBezTo>
                      <a:pt x="794" y="267"/>
                      <a:pt x="794" y="677"/>
                      <a:pt x="794" y="722"/>
                    </a:cubicBezTo>
                    <a:cubicBezTo>
                      <a:pt x="794" y="757"/>
                      <a:pt x="758" y="793"/>
                      <a:pt x="722" y="793"/>
                    </a:cubicBezTo>
                    <a:cubicBezTo>
                      <a:pt x="678" y="793"/>
                      <a:pt x="651" y="757"/>
                      <a:pt x="651" y="722"/>
                    </a:cubicBezTo>
                    <a:cubicBezTo>
                      <a:pt x="651" y="677"/>
                      <a:pt x="651" y="258"/>
                      <a:pt x="651" y="258"/>
                    </a:cubicBezTo>
                    <a:cubicBezTo>
                      <a:pt x="615" y="258"/>
                      <a:pt x="615" y="258"/>
                      <a:pt x="615" y="258"/>
                    </a:cubicBezTo>
                    <a:cubicBezTo>
                      <a:pt x="615" y="258"/>
                      <a:pt x="615" y="1453"/>
                      <a:pt x="615" y="1533"/>
                    </a:cubicBezTo>
                    <a:cubicBezTo>
                      <a:pt x="615" y="1586"/>
                      <a:pt x="562" y="1631"/>
                      <a:pt x="508" y="1631"/>
                    </a:cubicBezTo>
                    <a:cubicBezTo>
                      <a:pt x="464" y="1631"/>
                      <a:pt x="419" y="1586"/>
                      <a:pt x="419" y="1533"/>
                    </a:cubicBezTo>
                    <a:cubicBezTo>
                      <a:pt x="419" y="1453"/>
                      <a:pt x="419" y="793"/>
                      <a:pt x="419" y="793"/>
                    </a:cubicBezTo>
                    <a:cubicBezTo>
                      <a:pt x="375" y="793"/>
                      <a:pt x="375" y="793"/>
                      <a:pt x="375" y="793"/>
                    </a:cubicBezTo>
                    <a:cubicBezTo>
                      <a:pt x="375" y="793"/>
                      <a:pt x="375" y="1453"/>
                      <a:pt x="375" y="1533"/>
                    </a:cubicBezTo>
                    <a:cubicBezTo>
                      <a:pt x="375" y="1586"/>
                      <a:pt x="330" y="1631"/>
                      <a:pt x="277" y="1631"/>
                    </a:cubicBezTo>
                    <a:cubicBezTo>
                      <a:pt x="223" y="1631"/>
                      <a:pt x="187" y="1586"/>
                      <a:pt x="187" y="1533"/>
                    </a:cubicBezTo>
                    <a:cubicBezTo>
                      <a:pt x="187" y="1453"/>
                      <a:pt x="187" y="258"/>
                      <a:pt x="187" y="258"/>
                    </a:cubicBezTo>
                    <a:cubicBezTo>
                      <a:pt x="143" y="258"/>
                      <a:pt x="143" y="258"/>
                      <a:pt x="143" y="258"/>
                    </a:cubicBezTo>
                    <a:cubicBezTo>
                      <a:pt x="143" y="258"/>
                      <a:pt x="143" y="677"/>
                      <a:pt x="143" y="722"/>
                    </a:cubicBezTo>
                    <a:cubicBezTo>
                      <a:pt x="143" y="757"/>
                      <a:pt x="116" y="793"/>
                      <a:pt x="72" y="793"/>
                    </a:cubicBezTo>
                    <a:cubicBezTo>
                      <a:pt x="36" y="793"/>
                      <a:pt x="0" y="757"/>
                      <a:pt x="0" y="722"/>
                    </a:cubicBezTo>
                    <a:cubicBezTo>
                      <a:pt x="0" y="677"/>
                      <a:pt x="0" y="267"/>
                      <a:pt x="0" y="213"/>
                    </a:cubicBezTo>
                    <a:cubicBezTo>
                      <a:pt x="0" y="98"/>
                      <a:pt x="98" y="0"/>
                      <a:pt x="214" y="0"/>
                    </a:cubicBezTo>
                    <a:cubicBezTo>
                      <a:pt x="277" y="0"/>
                      <a:pt x="517" y="0"/>
                      <a:pt x="5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12" name="Freeform 35"/>
              <p:cNvSpPr>
                <a:spLocks/>
              </p:cNvSpPr>
              <p:nvPr/>
            </p:nvSpPr>
            <p:spPr bwMode="auto">
              <a:xfrm>
                <a:off x="4867348" y="2165469"/>
                <a:ext cx="72099" cy="72099"/>
              </a:xfrm>
              <a:custGeom>
                <a:avLst/>
                <a:gdLst>
                  <a:gd name="T0" fmla="*/ 0 w 330"/>
                  <a:gd name="T1" fmla="*/ 169 h 330"/>
                  <a:gd name="T2" fmla="*/ 169 w 330"/>
                  <a:gd name="T3" fmla="*/ 330 h 330"/>
                  <a:gd name="T4" fmla="*/ 330 w 330"/>
                  <a:gd name="T5" fmla="*/ 169 h 330"/>
                  <a:gd name="T6" fmla="*/ 169 w 330"/>
                  <a:gd name="T7" fmla="*/ 0 h 330"/>
                  <a:gd name="T8" fmla="*/ 0 w 330"/>
                  <a:gd name="T9" fmla="*/ 169 h 330"/>
                </a:gdLst>
                <a:ahLst/>
                <a:cxnLst>
                  <a:cxn ang="0">
                    <a:pos x="T0" y="T1"/>
                  </a:cxn>
                  <a:cxn ang="0">
                    <a:pos x="T2" y="T3"/>
                  </a:cxn>
                  <a:cxn ang="0">
                    <a:pos x="T4" y="T5"/>
                  </a:cxn>
                  <a:cxn ang="0">
                    <a:pos x="T6" y="T7"/>
                  </a:cxn>
                  <a:cxn ang="0">
                    <a:pos x="T8" y="T9"/>
                  </a:cxn>
                </a:cxnLst>
                <a:rect l="0" t="0" r="r" b="b"/>
                <a:pathLst>
                  <a:path w="330" h="330">
                    <a:moveTo>
                      <a:pt x="0" y="169"/>
                    </a:moveTo>
                    <a:cubicBezTo>
                      <a:pt x="0" y="259"/>
                      <a:pt x="71" y="330"/>
                      <a:pt x="169" y="330"/>
                    </a:cubicBezTo>
                    <a:cubicBezTo>
                      <a:pt x="259" y="330"/>
                      <a:pt x="330" y="259"/>
                      <a:pt x="330" y="169"/>
                    </a:cubicBezTo>
                    <a:cubicBezTo>
                      <a:pt x="330" y="71"/>
                      <a:pt x="259" y="0"/>
                      <a:pt x="169" y="0"/>
                    </a:cubicBezTo>
                    <a:cubicBezTo>
                      <a:pt x="71" y="0"/>
                      <a:pt x="0" y="71"/>
                      <a:pt x="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nvGrpSpPr>
            <p:cNvPr id="190" name="Group 189"/>
            <p:cNvGrpSpPr/>
            <p:nvPr/>
          </p:nvGrpSpPr>
          <p:grpSpPr>
            <a:xfrm>
              <a:off x="9290680" y="3633625"/>
              <a:ext cx="147165" cy="372276"/>
              <a:chOff x="4348935" y="2165469"/>
              <a:chExt cx="173677" cy="439342"/>
            </a:xfrm>
            <a:grpFill/>
          </p:grpSpPr>
          <p:sp>
            <p:nvSpPr>
              <p:cNvPr id="209" name="Freeform 34"/>
              <p:cNvSpPr>
                <a:spLocks/>
              </p:cNvSpPr>
              <p:nvPr/>
            </p:nvSpPr>
            <p:spPr bwMode="auto">
              <a:xfrm>
                <a:off x="4348935" y="2247513"/>
                <a:ext cx="173677" cy="357298"/>
              </a:xfrm>
              <a:custGeom>
                <a:avLst/>
                <a:gdLst>
                  <a:gd name="T0" fmla="*/ 580 w 794"/>
                  <a:gd name="T1" fmla="*/ 0 h 1631"/>
                  <a:gd name="T2" fmla="*/ 794 w 794"/>
                  <a:gd name="T3" fmla="*/ 213 h 1631"/>
                  <a:gd name="T4" fmla="*/ 794 w 794"/>
                  <a:gd name="T5" fmla="*/ 722 h 1631"/>
                  <a:gd name="T6" fmla="*/ 722 w 794"/>
                  <a:gd name="T7" fmla="*/ 793 h 1631"/>
                  <a:gd name="T8" fmla="*/ 651 w 794"/>
                  <a:gd name="T9" fmla="*/ 722 h 1631"/>
                  <a:gd name="T10" fmla="*/ 651 w 794"/>
                  <a:gd name="T11" fmla="*/ 258 h 1631"/>
                  <a:gd name="T12" fmla="*/ 615 w 794"/>
                  <a:gd name="T13" fmla="*/ 258 h 1631"/>
                  <a:gd name="T14" fmla="*/ 615 w 794"/>
                  <a:gd name="T15" fmla="*/ 1533 h 1631"/>
                  <a:gd name="T16" fmla="*/ 508 w 794"/>
                  <a:gd name="T17" fmla="*/ 1631 h 1631"/>
                  <a:gd name="T18" fmla="*/ 419 w 794"/>
                  <a:gd name="T19" fmla="*/ 1533 h 1631"/>
                  <a:gd name="T20" fmla="*/ 419 w 794"/>
                  <a:gd name="T21" fmla="*/ 793 h 1631"/>
                  <a:gd name="T22" fmla="*/ 375 w 794"/>
                  <a:gd name="T23" fmla="*/ 793 h 1631"/>
                  <a:gd name="T24" fmla="*/ 375 w 794"/>
                  <a:gd name="T25" fmla="*/ 1533 h 1631"/>
                  <a:gd name="T26" fmla="*/ 277 w 794"/>
                  <a:gd name="T27" fmla="*/ 1631 h 1631"/>
                  <a:gd name="T28" fmla="*/ 187 w 794"/>
                  <a:gd name="T29" fmla="*/ 1533 h 1631"/>
                  <a:gd name="T30" fmla="*/ 187 w 794"/>
                  <a:gd name="T31" fmla="*/ 258 h 1631"/>
                  <a:gd name="T32" fmla="*/ 143 w 794"/>
                  <a:gd name="T33" fmla="*/ 258 h 1631"/>
                  <a:gd name="T34" fmla="*/ 143 w 794"/>
                  <a:gd name="T35" fmla="*/ 722 h 1631"/>
                  <a:gd name="T36" fmla="*/ 72 w 794"/>
                  <a:gd name="T37" fmla="*/ 793 h 1631"/>
                  <a:gd name="T38" fmla="*/ 0 w 794"/>
                  <a:gd name="T39" fmla="*/ 722 h 1631"/>
                  <a:gd name="T40" fmla="*/ 0 w 794"/>
                  <a:gd name="T41" fmla="*/ 213 h 1631"/>
                  <a:gd name="T42" fmla="*/ 214 w 794"/>
                  <a:gd name="T43" fmla="*/ 0 h 1631"/>
                  <a:gd name="T44" fmla="*/ 580 w 794"/>
                  <a:gd name="T45" fmla="*/ 0 h 1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94" h="1631">
                    <a:moveTo>
                      <a:pt x="580" y="0"/>
                    </a:moveTo>
                    <a:cubicBezTo>
                      <a:pt x="696" y="0"/>
                      <a:pt x="794" y="98"/>
                      <a:pt x="794" y="213"/>
                    </a:cubicBezTo>
                    <a:cubicBezTo>
                      <a:pt x="794" y="267"/>
                      <a:pt x="794" y="677"/>
                      <a:pt x="794" y="722"/>
                    </a:cubicBezTo>
                    <a:cubicBezTo>
                      <a:pt x="794" y="757"/>
                      <a:pt x="758" y="793"/>
                      <a:pt x="722" y="793"/>
                    </a:cubicBezTo>
                    <a:cubicBezTo>
                      <a:pt x="678" y="793"/>
                      <a:pt x="651" y="757"/>
                      <a:pt x="651" y="722"/>
                    </a:cubicBezTo>
                    <a:cubicBezTo>
                      <a:pt x="651" y="677"/>
                      <a:pt x="651" y="258"/>
                      <a:pt x="651" y="258"/>
                    </a:cubicBezTo>
                    <a:cubicBezTo>
                      <a:pt x="615" y="258"/>
                      <a:pt x="615" y="258"/>
                      <a:pt x="615" y="258"/>
                    </a:cubicBezTo>
                    <a:cubicBezTo>
                      <a:pt x="615" y="258"/>
                      <a:pt x="615" y="1453"/>
                      <a:pt x="615" y="1533"/>
                    </a:cubicBezTo>
                    <a:cubicBezTo>
                      <a:pt x="615" y="1586"/>
                      <a:pt x="562" y="1631"/>
                      <a:pt x="508" y="1631"/>
                    </a:cubicBezTo>
                    <a:cubicBezTo>
                      <a:pt x="464" y="1631"/>
                      <a:pt x="419" y="1586"/>
                      <a:pt x="419" y="1533"/>
                    </a:cubicBezTo>
                    <a:cubicBezTo>
                      <a:pt x="419" y="1453"/>
                      <a:pt x="419" y="793"/>
                      <a:pt x="419" y="793"/>
                    </a:cubicBezTo>
                    <a:cubicBezTo>
                      <a:pt x="375" y="793"/>
                      <a:pt x="375" y="793"/>
                      <a:pt x="375" y="793"/>
                    </a:cubicBezTo>
                    <a:cubicBezTo>
                      <a:pt x="375" y="793"/>
                      <a:pt x="375" y="1453"/>
                      <a:pt x="375" y="1533"/>
                    </a:cubicBezTo>
                    <a:cubicBezTo>
                      <a:pt x="375" y="1586"/>
                      <a:pt x="330" y="1631"/>
                      <a:pt x="277" y="1631"/>
                    </a:cubicBezTo>
                    <a:cubicBezTo>
                      <a:pt x="223" y="1631"/>
                      <a:pt x="187" y="1586"/>
                      <a:pt x="187" y="1533"/>
                    </a:cubicBezTo>
                    <a:cubicBezTo>
                      <a:pt x="187" y="1453"/>
                      <a:pt x="187" y="258"/>
                      <a:pt x="187" y="258"/>
                    </a:cubicBezTo>
                    <a:cubicBezTo>
                      <a:pt x="143" y="258"/>
                      <a:pt x="143" y="258"/>
                      <a:pt x="143" y="258"/>
                    </a:cubicBezTo>
                    <a:cubicBezTo>
                      <a:pt x="143" y="258"/>
                      <a:pt x="143" y="677"/>
                      <a:pt x="143" y="722"/>
                    </a:cubicBezTo>
                    <a:cubicBezTo>
                      <a:pt x="143" y="757"/>
                      <a:pt x="116" y="793"/>
                      <a:pt x="72" y="793"/>
                    </a:cubicBezTo>
                    <a:cubicBezTo>
                      <a:pt x="36" y="793"/>
                      <a:pt x="0" y="757"/>
                      <a:pt x="0" y="722"/>
                    </a:cubicBezTo>
                    <a:cubicBezTo>
                      <a:pt x="0" y="677"/>
                      <a:pt x="0" y="267"/>
                      <a:pt x="0" y="213"/>
                    </a:cubicBezTo>
                    <a:cubicBezTo>
                      <a:pt x="0" y="98"/>
                      <a:pt x="98" y="0"/>
                      <a:pt x="214" y="0"/>
                    </a:cubicBezTo>
                    <a:cubicBezTo>
                      <a:pt x="277" y="0"/>
                      <a:pt x="517" y="0"/>
                      <a:pt x="5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10" name="Freeform 35"/>
              <p:cNvSpPr>
                <a:spLocks/>
              </p:cNvSpPr>
              <p:nvPr/>
            </p:nvSpPr>
            <p:spPr bwMode="auto">
              <a:xfrm>
                <a:off x="4399724" y="2165469"/>
                <a:ext cx="72099" cy="72099"/>
              </a:xfrm>
              <a:custGeom>
                <a:avLst/>
                <a:gdLst>
                  <a:gd name="T0" fmla="*/ 0 w 330"/>
                  <a:gd name="T1" fmla="*/ 169 h 330"/>
                  <a:gd name="T2" fmla="*/ 169 w 330"/>
                  <a:gd name="T3" fmla="*/ 330 h 330"/>
                  <a:gd name="T4" fmla="*/ 330 w 330"/>
                  <a:gd name="T5" fmla="*/ 169 h 330"/>
                  <a:gd name="T6" fmla="*/ 169 w 330"/>
                  <a:gd name="T7" fmla="*/ 0 h 330"/>
                  <a:gd name="T8" fmla="*/ 0 w 330"/>
                  <a:gd name="T9" fmla="*/ 169 h 330"/>
                </a:gdLst>
                <a:ahLst/>
                <a:cxnLst>
                  <a:cxn ang="0">
                    <a:pos x="T0" y="T1"/>
                  </a:cxn>
                  <a:cxn ang="0">
                    <a:pos x="T2" y="T3"/>
                  </a:cxn>
                  <a:cxn ang="0">
                    <a:pos x="T4" y="T5"/>
                  </a:cxn>
                  <a:cxn ang="0">
                    <a:pos x="T6" y="T7"/>
                  </a:cxn>
                  <a:cxn ang="0">
                    <a:pos x="T8" y="T9"/>
                  </a:cxn>
                </a:cxnLst>
                <a:rect l="0" t="0" r="r" b="b"/>
                <a:pathLst>
                  <a:path w="330" h="330">
                    <a:moveTo>
                      <a:pt x="0" y="169"/>
                    </a:moveTo>
                    <a:cubicBezTo>
                      <a:pt x="0" y="259"/>
                      <a:pt x="71" y="330"/>
                      <a:pt x="169" y="330"/>
                    </a:cubicBezTo>
                    <a:cubicBezTo>
                      <a:pt x="259" y="330"/>
                      <a:pt x="330" y="259"/>
                      <a:pt x="330" y="169"/>
                    </a:cubicBezTo>
                    <a:cubicBezTo>
                      <a:pt x="330" y="71"/>
                      <a:pt x="259" y="0"/>
                      <a:pt x="169" y="0"/>
                    </a:cubicBezTo>
                    <a:cubicBezTo>
                      <a:pt x="71" y="0"/>
                      <a:pt x="0" y="71"/>
                      <a:pt x="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nvGrpSpPr>
            <p:cNvPr id="191" name="Group 190"/>
            <p:cNvGrpSpPr/>
            <p:nvPr/>
          </p:nvGrpSpPr>
          <p:grpSpPr>
            <a:xfrm>
              <a:off x="9476800" y="3633625"/>
              <a:ext cx="175153" cy="373780"/>
              <a:chOff x="4543922" y="2165469"/>
              <a:chExt cx="206707" cy="441118"/>
            </a:xfrm>
            <a:grpFill/>
          </p:grpSpPr>
          <p:sp>
            <p:nvSpPr>
              <p:cNvPr id="207" name="Freeform 36"/>
              <p:cNvSpPr>
                <a:spLocks/>
              </p:cNvSpPr>
              <p:nvPr/>
            </p:nvSpPr>
            <p:spPr bwMode="auto">
              <a:xfrm>
                <a:off x="4612469" y="2165469"/>
                <a:ext cx="72099" cy="72099"/>
              </a:xfrm>
              <a:custGeom>
                <a:avLst/>
                <a:gdLst>
                  <a:gd name="T0" fmla="*/ 0 w 329"/>
                  <a:gd name="T1" fmla="*/ 169 h 330"/>
                  <a:gd name="T2" fmla="*/ 160 w 329"/>
                  <a:gd name="T3" fmla="*/ 330 h 330"/>
                  <a:gd name="T4" fmla="*/ 329 w 329"/>
                  <a:gd name="T5" fmla="*/ 169 h 330"/>
                  <a:gd name="T6" fmla="*/ 160 w 329"/>
                  <a:gd name="T7" fmla="*/ 0 h 330"/>
                  <a:gd name="T8" fmla="*/ 0 w 329"/>
                  <a:gd name="T9" fmla="*/ 169 h 330"/>
                </a:gdLst>
                <a:ahLst/>
                <a:cxnLst>
                  <a:cxn ang="0">
                    <a:pos x="T0" y="T1"/>
                  </a:cxn>
                  <a:cxn ang="0">
                    <a:pos x="T2" y="T3"/>
                  </a:cxn>
                  <a:cxn ang="0">
                    <a:pos x="T4" y="T5"/>
                  </a:cxn>
                  <a:cxn ang="0">
                    <a:pos x="T6" y="T7"/>
                  </a:cxn>
                  <a:cxn ang="0">
                    <a:pos x="T8" y="T9"/>
                  </a:cxn>
                </a:cxnLst>
                <a:rect l="0" t="0" r="r" b="b"/>
                <a:pathLst>
                  <a:path w="329" h="330">
                    <a:moveTo>
                      <a:pt x="0" y="169"/>
                    </a:moveTo>
                    <a:cubicBezTo>
                      <a:pt x="0" y="259"/>
                      <a:pt x="71" y="330"/>
                      <a:pt x="160" y="330"/>
                    </a:cubicBezTo>
                    <a:cubicBezTo>
                      <a:pt x="258" y="330"/>
                      <a:pt x="329" y="259"/>
                      <a:pt x="329" y="169"/>
                    </a:cubicBezTo>
                    <a:cubicBezTo>
                      <a:pt x="329" y="71"/>
                      <a:pt x="258" y="0"/>
                      <a:pt x="160" y="0"/>
                    </a:cubicBezTo>
                    <a:cubicBezTo>
                      <a:pt x="71" y="0"/>
                      <a:pt x="0" y="71"/>
                      <a:pt x="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08" name="Freeform 37"/>
              <p:cNvSpPr>
                <a:spLocks/>
              </p:cNvSpPr>
              <p:nvPr/>
            </p:nvSpPr>
            <p:spPr bwMode="auto">
              <a:xfrm>
                <a:off x="4543922" y="2247513"/>
                <a:ext cx="206707" cy="359074"/>
              </a:xfrm>
              <a:custGeom>
                <a:avLst/>
                <a:gdLst>
                  <a:gd name="T0" fmla="*/ 935 w 944"/>
                  <a:gd name="T1" fmla="*/ 641 h 1640"/>
                  <a:gd name="T2" fmla="*/ 793 w 944"/>
                  <a:gd name="T3" fmla="*/ 151 h 1640"/>
                  <a:gd name="T4" fmla="*/ 606 w 944"/>
                  <a:gd name="T5" fmla="*/ 0 h 1640"/>
                  <a:gd name="T6" fmla="*/ 338 w 944"/>
                  <a:gd name="T7" fmla="*/ 0 h 1640"/>
                  <a:gd name="T8" fmla="*/ 151 w 944"/>
                  <a:gd name="T9" fmla="*/ 151 h 1640"/>
                  <a:gd name="T10" fmla="*/ 8 w 944"/>
                  <a:gd name="T11" fmla="*/ 641 h 1640"/>
                  <a:gd name="T12" fmla="*/ 53 w 944"/>
                  <a:gd name="T13" fmla="*/ 722 h 1640"/>
                  <a:gd name="T14" fmla="*/ 133 w 944"/>
                  <a:gd name="T15" fmla="*/ 677 h 1640"/>
                  <a:gd name="T16" fmla="*/ 267 w 944"/>
                  <a:gd name="T17" fmla="*/ 222 h 1640"/>
                  <a:gd name="T18" fmla="*/ 312 w 944"/>
                  <a:gd name="T19" fmla="*/ 222 h 1640"/>
                  <a:gd name="T20" fmla="*/ 80 w 944"/>
                  <a:gd name="T21" fmla="*/ 980 h 1640"/>
                  <a:gd name="T22" fmla="*/ 294 w 944"/>
                  <a:gd name="T23" fmla="*/ 980 h 1640"/>
                  <a:gd name="T24" fmla="*/ 294 w 944"/>
                  <a:gd name="T25" fmla="*/ 1560 h 1640"/>
                  <a:gd name="T26" fmla="*/ 374 w 944"/>
                  <a:gd name="T27" fmla="*/ 1640 h 1640"/>
                  <a:gd name="T28" fmla="*/ 454 w 944"/>
                  <a:gd name="T29" fmla="*/ 1560 h 1640"/>
                  <a:gd name="T30" fmla="*/ 454 w 944"/>
                  <a:gd name="T31" fmla="*/ 980 h 1640"/>
                  <a:gd name="T32" fmla="*/ 490 w 944"/>
                  <a:gd name="T33" fmla="*/ 980 h 1640"/>
                  <a:gd name="T34" fmla="*/ 490 w 944"/>
                  <a:gd name="T35" fmla="*/ 1560 h 1640"/>
                  <a:gd name="T36" fmla="*/ 570 w 944"/>
                  <a:gd name="T37" fmla="*/ 1640 h 1640"/>
                  <a:gd name="T38" fmla="*/ 650 w 944"/>
                  <a:gd name="T39" fmla="*/ 1560 h 1640"/>
                  <a:gd name="T40" fmla="*/ 650 w 944"/>
                  <a:gd name="T41" fmla="*/ 980 h 1640"/>
                  <a:gd name="T42" fmla="*/ 864 w 944"/>
                  <a:gd name="T43" fmla="*/ 980 h 1640"/>
                  <a:gd name="T44" fmla="*/ 641 w 944"/>
                  <a:gd name="T45" fmla="*/ 222 h 1640"/>
                  <a:gd name="T46" fmla="*/ 677 w 944"/>
                  <a:gd name="T47" fmla="*/ 222 h 1640"/>
                  <a:gd name="T48" fmla="*/ 811 w 944"/>
                  <a:gd name="T49" fmla="*/ 677 h 1640"/>
                  <a:gd name="T50" fmla="*/ 891 w 944"/>
                  <a:gd name="T51" fmla="*/ 722 h 1640"/>
                  <a:gd name="T52" fmla="*/ 935 w 944"/>
                  <a:gd name="T53" fmla="*/ 641 h 1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4" h="1640">
                    <a:moveTo>
                      <a:pt x="935" y="641"/>
                    </a:moveTo>
                    <a:cubicBezTo>
                      <a:pt x="926" y="615"/>
                      <a:pt x="855" y="356"/>
                      <a:pt x="793" y="151"/>
                    </a:cubicBezTo>
                    <a:cubicBezTo>
                      <a:pt x="775" y="80"/>
                      <a:pt x="686" y="0"/>
                      <a:pt x="606" y="0"/>
                    </a:cubicBezTo>
                    <a:cubicBezTo>
                      <a:pt x="570" y="0"/>
                      <a:pt x="374" y="0"/>
                      <a:pt x="338" y="0"/>
                    </a:cubicBezTo>
                    <a:cubicBezTo>
                      <a:pt x="258" y="0"/>
                      <a:pt x="178" y="80"/>
                      <a:pt x="151" y="151"/>
                    </a:cubicBezTo>
                    <a:cubicBezTo>
                      <a:pt x="89" y="356"/>
                      <a:pt x="17" y="615"/>
                      <a:pt x="8" y="641"/>
                    </a:cubicBezTo>
                    <a:cubicBezTo>
                      <a:pt x="0" y="677"/>
                      <a:pt x="17" y="713"/>
                      <a:pt x="53" y="722"/>
                    </a:cubicBezTo>
                    <a:cubicBezTo>
                      <a:pt x="89" y="731"/>
                      <a:pt x="124" y="713"/>
                      <a:pt x="133" y="677"/>
                    </a:cubicBezTo>
                    <a:cubicBezTo>
                      <a:pt x="151" y="624"/>
                      <a:pt x="267" y="222"/>
                      <a:pt x="267" y="222"/>
                    </a:cubicBezTo>
                    <a:cubicBezTo>
                      <a:pt x="312" y="222"/>
                      <a:pt x="312" y="222"/>
                      <a:pt x="312" y="222"/>
                    </a:cubicBezTo>
                    <a:cubicBezTo>
                      <a:pt x="80" y="980"/>
                      <a:pt x="80" y="980"/>
                      <a:pt x="80" y="980"/>
                    </a:cubicBezTo>
                    <a:cubicBezTo>
                      <a:pt x="294" y="980"/>
                      <a:pt x="294" y="980"/>
                      <a:pt x="294" y="980"/>
                    </a:cubicBezTo>
                    <a:cubicBezTo>
                      <a:pt x="294" y="1248"/>
                      <a:pt x="294" y="1524"/>
                      <a:pt x="294" y="1560"/>
                    </a:cubicBezTo>
                    <a:cubicBezTo>
                      <a:pt x="294" y="1604"/>
                      <a:pt x="329" y="1640"/>
                      <a:pt x="374" y="1640"/>
                    </a:cubicBezTo>
                    <a:cubicBezTo>
                      <a:pt x="418" y="1640"/>
                      <a:pt x="454" y="1604"/>
                      <a:pt x="454" y="1560"/>
                    </a:cubicBezTo>
                    <a:cubicBezTo>
                      <a:pt x="454" y="1497"/>
                      <a:pt x="454" y="980"/>
                      <a:pt x="454" y="980"/>
                    </a:cubicBezTo>
                    <a:cubicBezTo>
                      <a:pt x="490" y="980"/>
                      <a:pt x="490" y="980"/>
                      <a:pt x="490" y="980"/>
                    </a:cubicBezTo>
                    <a:cubicBezTo>
                      <a:pt x="490" y="980"/>
                      <a:pt x="490" y="1497"/>
                      <a:pt x="490" y="1560"/>
                    </a:cubicBezTo>
                    <a:cubicBezTo>
                      <a:pt x="490" y="1604"/>
                      <a:pt x="525" y="1640"/>
                      <a:pt x="570" y="1640"/>
                    </a:cubicBezTo>
                    <a:cubicBezTo>
                      <a:pt x="615" y="1640"/>
                      <a:pt x="650" y="1604"/>
                      <a:pt x="650" y="1560"/>
                    </a:cubicBezTo>
                    <a:cubicBezTo>
                      <a:pt x="650" y="1524"/>
                      <a:pt x="650" y="1248"/>
                      <a:pt x="650" y="980"/>
                    </a:cubicBezTo>
                    <a:cubicBezTo>
                      <a:pt x="864" y="980"/>
                      <a:pt x="864" y="980"/>
                      <a:pt x="864" y="980"/>
                    </a:cubicBezTo>
                    <a:cubicBezTo>
                      <a:pt x="641" y="222"/>
                      <a:pt x="641" y="222"/>
                      <a:pt x="641" y="222"/>
                    </a:cubicBezTo>
                    <a:cubicBezTo>
                      <a:pt x="677" y="222"/>
                      <a:pt x="677" y="222"/>
                      <a:pt x="677" y="222"/>
                    </a:cubicBezTo>
                    <a:cubicBezTo>
                      <a:pt x="677" y="222"/>
                      <a:pt x="793" y="624"/>
                      <a:pt x="811" y="677"/>
                    </a:cubicBezTo>
                    <a:cubicBezTo>
                      <a:pt x="820" y="713"/>
                      <a:pt x="855" y="731"/>
                      <a:pt x="891" y="722"/>
                    </a:cubicBezTo>
                    <a:cubicBezTo>
                      <a:pt x="926" y="713"/>
                      <a:pt x="944" y="677"/>
                      <a:pt x="935" y="6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nvGrpSpPr>
            <p:cNvPr id="192" name="Group 191"/>
            <p:cNvGrpSpPr/>
            <p:nvPr/>
          </p:nvGrpSpPr>
          <p:grpSpPr>
            <a:xfrm>
              <a:off x="9076571" y="3633625"/>
              <a:ext cx="175153" cy="373780"/>
              <a:chOff x="4543922" y="2165469"/>
              <a:chExt cx="206707" cy="441118"/>
            </a:xfrm>
            <a:grpFill/>
          </p:grpSpPr>
          <p:sp>
            <p:nvSpPr>
              <p:cNvPr id="205" name="Freeform 36"/>
              <p:cNvSpPr>
                <a:spLocks/>
              </p:cNvSpPr>
              <p:nvPr/>
            </p:nvSpPr>
            <p:spPr bwMode="auto">
              <a:xfrm>
                <a:off x="4612469" y="2165469"/>
                <a:ext cx="72099" cy="72099"/>
              </a:xfrm>
              <a:custGeom>
                <a:avLst/>
                <a:gdLst>
                  <a:gd name="T0" fmla="*/ 0 w 329"/>
                  <a:gd name="T1" fmla="*/ 169 h 330"/>
                  <a:gd name="T2" fmla="*/ 160 w 329"/>
                  <a:gd name="T3" fmla="*/ 330 h 330"/>
                  <a:gd name="T4" fmla="*/ 329 w 329"/>
                  <a:gd name="T5" fmla="*/ 169 h 330"/>
                  <a:gd name="T6" fmla="*/ 160 w 329"/>
                  <a:gd name="T7" fmla="*/ 0 h 330"/>
                  <a:gd name="T8" fmla="*/ 0 w 329"/>
                  <a:gd name="T9" fmla="*/ 169 h 330"/>
                </a:gdLst>
                <a:ahLst/>
                <a:cxnLst>
                  <a:cxn ang="0">
                    <a:pos x="T0" y="T1"/>
                  </a:cxn>
                  <a:cxn ang="0">
                    <a:pos x="T2" y="T3"/>
                  </a:cxn>
                  <a:cxn ang="0">
                    <a:pos x="T4" y="T5"/>
                  </a:cxn>
                  <a:cxn ang="0">
                    <a:pos x="T6" y="T7"/>
                  </a:cxn>
                  <a:cxn ang="0">
                    <a:pos x="T8" y="T9"/>
                  </a:cxn>
                </a:cxnLst>
                <a:rect l="0" t="0" r="r" b="b"/>
                <a:pathLst>
                  <a:path w="329" h="330">
                    <a:moveTo>
                      <a:pt x="0" y="169"/>
                    </a:moveTo>
                    <a:cubicBezTo>
                      <a:pt x="0" y="259"/>
                      <a:pt x="71" y="330"/>
                      <a:pt x="160" y="330"/>
                    </a:cubicBezTo>
                    <a:cubicBezTo>
                      <a:pt x="258" y="330"/>
                      <a:pt x="329" y="259"/>
                      <a:pt x="329" y="169"/>
                    </a:cubicBezTo>
                    <a:cubicBezTo>
                      <a:pt x="329" y="71"/>
                      <a:pt x="258" y="0"/>
                      <a:pt x="160" y="0"/>
                    </a:cubicBezTo>
                    <a:cubicBezTo>
                      <a:pt x="71" y="0"/>
                      <a:pt x="0" y="71"/>
                      <a:pt x="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06" name="Freeform 37"/>
              <p:cNvSpPr>
                <a:spLocks/>
              </p:cNvSpPr>
              <p:nvPr/>
            </p:nvSpPr>
            <p:spPr bwMode="auto">
              <a:xfrm>
                <a:off x="4543922" y="2247513"/>
                <a:ext cx="206707" cy="359074"/>
              </a:xfrm>
              <a:custGeom>
                <a:avLst/>
                <a:gdLst>
                  <a:gd name="T0" fmla="*/ 935 w 944"/>
                  <a:gd name="T1" fmla="*/ 641 h 1640"/>
                  <a:gd name="T2" fmla="*/ 793 w 944"/>
                  <a:gd name="T3" fmla="*/ 151 h 1640"/>
                  <a:gd name="T4" fmla="*/ 606 w 944"/>
                  <a:gd name="T5" fmla="*/ 0 h 1640"/>
                  <a:gd name="T6" fmla="*/ 338 w 944"/>
                  <a:gd name="T7" fmla="*/ 0 h 1640"/>
                  <a:gd name="T8" fmla="*/ 151 w 944"/>
                  <a:gd name="T9" fmla="*/ 151 h 1640"/>
                  <a:gd name="T10" fmla="*/ 8 w 944"/>
                  <a:gd name="T11" fmla="*/ 641 h 1640"/>
                  <a:gd name="T12" fmla="*/ 53 w 944"/>
                  <a:gd name="T13" fmla="*/ 722 h 1640"/>
                  <a:gd name="T14" fmla="*/ 133 w 944"/>
                  <a:gd name="T15" fmla="*/ 677 h 1640"/>
                  <a:gd name="T16" fmla="*/ 267 w 944"/>
                  <a:gd name="T17" fmla="*/ 222 h 1640"/>
                  <a:gd name="T18" fmla="*/ 312 w 944"/>
                  <a:gd name="T19" fmla="*/ 222 h 1640"/>
                  <a:gd name="T20" fmla="*/ 80 w 944"/>
                  <a:gd name="T21" fmla="*/ 980 h 1640"/>
                  <a:gd name="T22" fmla="*/ 294 w 944"/>
                  <a:gd name="T23" fmla="*/ 980 h 1640"/>
                  <a:gd name="T24" fmla="*/ 294 w 944"/>
                  <a:gd name="T25" fmla="*/ 1560 h 1640"/>
                  <a:gd name="T26" fmla="*/ 374 w 944"/>
                  <a:gd name="T27" fmla="*/ 1640 h 1640"/>
                  <a:gd name="T28" fmla="*/ 454 w 944"/>
                  <a:gd name="T29" fmla="*/ 1560 h 1640"/>
                  <a:gd name="T30" fmla="*/ 454 w 944"/>
                  <a:gd name="T31" fmla="*/ 980 h 1640"/>
                  <a:gd name="T32" fmla="*/ 490 w 944"/>
                  <a:gd name="T33" fmla="*/ 980 h 1640"/>
                  <a:gd name="T34" fmla="*/ 490 w 944"/>
                  <a:gd name="T35" fmla="*/ 1560 h 1640"/>
                  <a:gd name="T36" fmla="*/ 570 w 944"/>
                  <a:gd name="T37" fmla="*/ 1640 h 1640"/>
                  <a:gd name="T38" fmla="*/ 650 w 944"/>
                  <a:gd name="T39" fmla="*/ 1560 h 1640"/>
                  <a:gd name="T40" fmla="*/ 650 w 944"/>
                  <a:gd name="T41" fmla="*/ 980 h 1640"/>
                  <a:gd name="T42" fmla="*/ 864 w 944"/>
                  <a:gd name="T43" fmla="*/ 980 h 1640"/>
                  <a:gd name="T44" fmla="*/ 641 w 944"/>
                  <a:gd name="T45" fmla="*/ 222 h 1640"/>
                  <a:gd name="T46" fmla="*/ 677 w 944"/>
                  <a:gd name="T47" fmla="*/ 222 h 1640"/>
                  <a:gd name="T48" fmla="*/ 811 w 944"/>
                  <a:gd name="T49" fmla="*/ 677 h 1640"/>
                  <a:gd name="T50" fmla="*/ 891 w 944"/>
                  <a:gd name="T51" fmla="*/ 722 h 1640"/>
                  <a:gd name="T52" fmla="*/ 935 w 944"/>
                  <a:gd name="T53" fmla="*/ 641 h 1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4" h="1640">
                    <a:moveTo>
                      <a:pt x="935" y="641"/>
                    </a:moveTo>
                    <a:cubicBezTo>
                      <a:pt x="926" y="615"/>
                      <a:pt x="855" y="356"/>
                      <a:pt x="793" y="151"/>
                    </a:cubicBezTo>
                    <a:cubicBezTo>
                      <a:pt x="775" y="80"/>
                      <a:pt x="686" y="0"/>
                      <a:pt x="606" y="0"/>
                    </a:cubicBezTo>
                    <a:cubicBezTo>
                      <a:pt x="570" y="0"/>
                      <a:pt x="374" y="0"/>
                      <a:pt x="338" y="0"/>
                    </a:cubicBezTo>
                    <a:cubicBezTo>
                      <a:pt x="258" y="0"/>
                      <a:pt x="178" y="80"/>
                      <a:pt x="151" y="151"/>
                    </a:cubicBezTo>
                    <a:cubicBezTo>
                      <a:pt x="89" y="356"/>
                      <a:pt x="17" y="615"/>
                      <a:pt x="8" y="641"/>
                    </a:cubicBezTo>
                    <a:cubicBezTo>
                      <a:pt x="0" y="677"/>
                      <a:pt x="17" y="713"/>
                      <a:pt x="53" y="722"/>
                    </a:cubicBezTo>
                    <a:cubicBezTo>
                      <a:pt x="89" y="731"/>
                      <a:pt x="124" y="713"/>
                      <a:pt x="133" y="677"/>
                    </a:cubicBezTo>
                    <a:cubicBezTo>
                      <a:pt x="151" y="624"/>
                      <a:pt x="267" y="222"/>
                      <a:pt x="267" y="222"/>
                    </a:cubicBezTo>
                    <a:cubicBezTo>
                      <a:pt x="312" y="222"/>
                      <a:pt x="312" y="222"/>
                      <a:pt x="312" y="222"/>
                    </a:cubicBezTo>
                    <a:cubicBezTo>
                      <a:pt x="80" y="980"/>
                      <a:pt x="80" y="980"/>
                      <a:pt x="80" y="980"/>
                    </a:cubicBezTo>
                    <a:cubicBezTo>
                      <a:pt x="294" y="980"/>
                      <a:pt x="294" y="980"/>
                      <a:pt x="294" y="980"/>
                    </a:cubicBezTo>
                    <a:cubicBezTo>
                      <a:pt x="294" y="1248"/>
                      <a:pt x="294" y="1524"/>
                      <a:pt x="294" y="1560"/>
                    </a:cubicBezTo>
                    <a:cubicBezTo>
                      <a:pt x="294" y="1604"/>
                      <a:pt x="329" y="1640"/>
                      <a:pt x="374" y="1640"/>
                    </a:cubicBezTo>
                    <a:cubicBezTo>
                      <a:pt x="418" y="1640"/>
                      <a:pt x="454" y="1604"/>
                      <a:pt x="454" y="1560"/>
                    </a:cubicBezTo>
                    <a:cubicBezTo>
                      <a:pt x="454" y="1497"/>
                      <a:pt x="454" y="980"/>
                      <a:pt x="454" y="980"/>
                    </a:cubicBezTo>
                    <a:cubicBezTo>
                      <a:pt x="490" y="980"/>
                      <a:pt x="490" y="980"/>
                      <a:pt x="490" y="980"/>
                    </a:cubicBezTo>
                    <a:cubicBezTo>
                      <a:pt x="490" y="980"/>
                      <a:pt x="490" y="1497"/>
                      <a:pt x="490" y="1560"/>
                    </a:cubicBezTo>
                    <a:cubicBezTo>
                      <a:pt x="490" y="1604"/>
                      <a:pt x="525" y="1640"/>
                      <a:pt x="570" y="1640"/>
                    </a:cubicBezTo>
                    <a:cubicBezTo>
                      <a:pt x="615" y="1640"/>
                      <a:pt x="650" y="1604"/>
                      <a:pt x="650" y="1560"/>
                    </a:cubicBezTo>
                    <a:cubicBezTo>
                      <a:pt x="650" y="1524"/>
                      <a:pt x="650" y="1248"/>
                      <a:pt x="650" y="980"/>
                    </a:cubicBezTo>
                    <a:cubicBezTo>
                      <a:pt x="864" y="980"/>
                      <a:pt x="864" y="980"/>
                      <a:pt x="864" y="980"/>
                    </a:cubicBezTo>
                    <a:cubicBezTo>
                      <a:pt x="641" y="222"/>
                      <a:pt x="641" y="222"/>
                      <a:pt x="641" y="222"/>
                    </a:cubicBezTo>
                    <a:cubicBezTo>
                      <a:pt x="677" y="222"/>
                      <a:pt x="677" y="222"/>
                      <a:pt x="677" y="222"/>
                    </a:cubicBezTo>
                    <a:cubicBezTo>
                      <a:pt x="677" y="222"/>
                      <a:pt x="793" y="624"/>
                      <a:pt x="811" y="677"/>
                    </a:cubicBezTo>
                    <a:cubicBezTo>
                      <a:pt x="820" y="713"/>
                      <a:pt x="855" y="731"/>
                      <a:pt x="891" y="722"/>
                    </a:cubicBezTo>
                    <a:cubicBezTo>
                      <a:pt x="926" y="713"/>
                      <a:pt x="944" y="677"/>
                      <a:pt x="935" y="6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nvGrpSpPr>
            <p:cNvPr id="193" name="Group 192"/>
            <p:cNvGrpSpPr/>
            <p:nvPr/>
          </p:nvGrpSpPr>
          <p:grpSpPr>
            <a:xfrm>
              <a:off x="9086620" y="3191652"/>
              <a:ext cx="147165" cy="372276"/>
              <a:chOff x="6240737" y="2165469"/>
              <a:chExt cx="173677" cy="439342"/>
            </a:xfrm>
            <a:grpFill/>
          </p:grpSpPr>
          <p:sp>
            <p:nvSpPr>
              <p:cNvPr id="203" name="Freeform 34"/>
              <p:cNvSpPr>
                <a:spLocks/>
              </p:cNvSpPr>
              <p:nvPr/>
            </p:nvSpPr>
            <p:spPr bwMode="auto">
              <a:xfrm>
                <a:off x="6240737" y="2247513"/>
                <a:ext cx="173677" cy="357298"/>
              </a:xfrm>
              <a:custGeom>
                <a:avLst/>
                <a:gdLst>
                  <a:gd name="T0" fmla="*/ 580 w 794"/>
                  <a:gd name="T1" fmla="*/ 0 h 1631"/>
                  <a:gd name="T2" fmla="*/ 794 w 794"/>
                  <a:gd name="T3" fmla="*/ 213 h 1631"/>
                  <a:gd name="T4" fmla="*/ 794 w 794"/>
                  <a:gd name="T5" fmla="*/ 722 h 1631"/>
                  <a:gd name="T6" fmla="*/ 722 w 794"/>
                  <a:gd name="T7" fmla="*/ 793 h 1631"/>
                  <a:gd name="T8" fmla="*/ 651 w 794"/>
                  <a:gd name="T9" fmla="*/ 722 h 1631"/>
                  <a:gd name="T10" fmla="*/ 651 w 794"/>
                  <a:gd name="T11" fmla="*/ 258 h 1631"/>
                  <a:gd name="T12" fmla="*/ 615 w 794"/>
                  <a:gd name="T13" fmla="*/ 258 h 1631"/>
                  <a:gd name="T14" fmla="*/ 615 w 794"/>
                  <a:gd name="T15" fmla="*/ 1533 h 1631"/>
                  <a:gd name="T16" fmla="*/ 508 w 794"/>
                  <a:gd name="T17" fmla="*/ 1631 h 1631"/>
                  <a:gd name="T18" fmla="*/ 419 w 794"/>
                  <a:gd name="T19" fmla="*/ 1533 h 1631"/>
                  <a:gd name="T20" fmla="*/ 419 w 794"/>
                  <a:gd name="T21" fmla="*/ 793 h 1631"/>
                  <a:gd name="T22" fmla="*/ 375 w 794"/>
                  <a:gd name="T23" fmla="*/ 793 h 1631"/>
                  <a:gd name="T24" fmla="*/ 375 w 794"/>
                  <a:gd name="T25" fmla="*/ 1533 h 1631"/>
                  <a:gd name="T26" fmla="*/ 277 w 794"/>
                  <a:gd name="T27" fmla="*/ 1631 h 1631"/>
                  <a:gd name="T28" fmla="*/ 187 w 794"/>
                  <a:gd name="T29" fmla="*/ 1533 h 1631"/>
                  <a:gd name="T30" fmla="*/ 187 w 794"/>
                  <a:gd name="T31" fmla="*/ 258 h 1631"/>
                  <a:gd name="T32" fmla="*/ 143 w 794"/>
                  <a:gd name="T33" fmla="*/ 258 h 1631"/>
                  <a:gd name="T34" fmla="*/ 143 w 794"/>
                  <a:gd name="T35" fmla="*/ 722 h 1631"/>
                  <a:gd name="T36" fmla="*/ 72 w 794"/>
                  <a:gd name="T37" fmla="*/ 793 h 1631"/>
                  <a:gd name="T38" fmla="*/ 0 w 794"/>
                  <a:gd name="T39" fmla="*/ 722 h 1631"/>
                  <a:gd name="T40" fmla="*/ 0 w 794"/>
                  <a:gd name="T41" fmla="*/ 213 h 1631"/>
                  <a:gd name="T42" fmla="*/ 214 w 794"/>
                  <a:gd name="T43" fmla="*/ 0 h 1631"/>
                  <a:gd name="T44" fmla="*/ 580 w 794"/>
                  <a:gd name="T45" fmla="*/ 0 h 1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94" h="1631">
                    <a:moveTo>
                      <a:pt x="580" y="0"/>
                    </a:moveTo>
                    <a:cubicBezTo>
                      <a:pt x="696" y="0"/>
                      <a:pt x="794" y="98"/>
                      <a:pt x="794" y="213"/>
                    </a:cubicBezTo>
                    <a:cubicBezTo>
                      <a:pt x="794" y="267"/>
                      <a:pt x="794" y="677"/>
                      <a:pt x="794" y="722"/>
                    </a:cubicBezTo>
                    <a:cubicBezTo>
                      <a:pt x="794" y="757"/>
                      <a:pt x="758" y="793"/>
                      <a:pt x="722" y="793"/>
                    </a:cubicBezTo>
                    <a:cubicBezTo>
                      <a:pt x="678" y="793"/>
                      <a:pt x="651" y="757"/>
                      <a:pt x="651" y="722"/>
                    </a:cubicBezTo>
                    <a:cubicBezTo>
                      <a:pt x="651" y="677"/>
                      <a:pt x="651" y="258"/>
                      <a:pt x="651" y="258"/>
                    </a:cubicBezTo>
                    <a:cubicBezTo>
                      <a:pt x="615" y="258"/>
                      <a:pt x="615" y="258"/>
                      <a:pt x="615" y="258"/>
                    </a:cubicBezTo>
                    <a:cubicBezTo>
                      <a:pt x="615" y="258"/>
                      <a:pt x="615" y="1453"/>
                      <a:pt x="615" y="1533"/>
                    </a:cubicBezTo>
                    <a:cubicBezTo>
                      <a:pt x="615" y="1586"/>
                      <a:pt x="562" y="1631"/>
                      <a:pt x="508" y="1631"/>
                    </a:cubicBezTo>
                    <a:cubicBezTo>
                      <a:pt x="464" y="1631"/>
                      <a:pt x="419" y="1586"/>
                      <a:pt x="419" y="1533"/>
                    </a:cubicBezTo>
                    <a:cubicBezTo>
                      <a:pt x="419" y="1453"/>
                      <a:pt x="419" y="793"/>
                      <a:pt x="419" y="793"/>
                    </a:cubicBezTo>
                    <a:cubicBezTo>
                      <a:pt x="375" y="793"/>
                      <a:pt x="375" y="793"/>
                      <a:pt x="375" y="793"/>
                    </a:cubicBezTo>
                    <a:cubicBezTo>
                      <a:pt x="375" y="793"/>
                      <a:pt x="375" y="1453"/>
                      <a:pt x="375" y="1533"/>
                    </a:cubicBezTo>
                    <a:cubicBezTo>
                      <a:pt x="375" y="1586"/>
                      <a:pt x="330" y="1631"/>
                      <a:pt x="277" y="1631"/>
                    </a:cubicBezTo>
                    <a:cubicBezTo>
                      <a:pt x="223" y="1631"/>
                      <a:pt x="187" y="1586"/>
                      <a:pt x="187" y="1533"/>
                    </a:cubicBezTo>
                    <a:cubicBezTo>
                      <a:pt x="187" y="1453"/>
                      <a:pt x="187" y="258"/>
                      <a:pt x="187" y="258"/>
                    </a:cubicBezTo>
                    <a:cubicBezTo>
                      <a:pt x="143" y="258"/>
                      <a:pt x="143" y="258"/>
                      <a:pt x="143" y="258"/>
                    </a:cubicBezTo>
                    <a:cubicBezTo>
                      <a:pt x="143" y="258"/>
                      <a:pt x="143" y="677"/>
                      <a:pt x="143" y="722"/>
                    </a:cubicBezTo>
                    <a:cubicBezTo>
                      <a:pt x="143" y="757"/>
                      <a:pt x="116" y="793"/>
                      <a:pt x="72" y="793"/>
                    </a:cubicBezTo>
                    <a:cubicBezTo>
                      <a:pt x="36" y="793"/>
                      <a:pt x="0" y="757"/>
                      <a:pt x="0" y="722"/>
                    </a:cubicBezTo>
                    <a:cubicBezTo>
                      <a:pt x="0" y="677"/>
                      <a:pt x="0" y="267"/>
                      <a:pt x="0" y="213"/>
                    </a:cubicBezTo>
                    <a:cubicBezTo>
                      <a:pt x="0" y="98"/>
                      <a:pt x="98" y="0"/>
                      <a:pt x="214" y="0"/>
                    </a:cubicBezTo>
                    <a:cubicBezTo>
                      <a:pt x="277" y="0"/>
                      <a:pt x="517" y="0"/>
                      <a:pt x="5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04" name="Freeform 35"/>
              <p:cNvSpPr>
                <a:spLocks/>
              </p:cNvSpPr>
              <p:nvPr/>
            </p:nvSpPr>
            <p:spPr bwMode="auto">
              <a:xfrm>
                <a:off x="6291526" y="2165469"/>
                <a:ext cx="72099" cy="72099"/>
              </a:xfrm>
              <a:custGeom>
                <a:avLst/>
                <a:gdLst>
                  <a:gd name="T0" fmla="*/ 0 w 330"/>
                  <a:gd name="T1" fmla="*/ 169 h 330"/>
                  <a:gd name="T2" fmla="*/ 169 w 330"/>
                  <a:gd name="T3" fmla="*/ 330 h 330"/>
                  <a:gd name="T4" fmla="*/ 330 w 330"/>
                  <a:gd name="T5" fmla="*/ 169 h 330"/>
                  <a:gd name="T6" fmla="*/ 169 w 330"/>
                  <a:gd name="T7" fmla="*/ 0 h 330"/>
                  <a:gd name="T8" fmla="*/ 0 w 330"/>
                  <a:gd name="T9" fmla="*/ 169 h 330"/>
                </a:gdLst>
                <a:ahLst/>
                <a:cxnLst>
                  <a:cxn ang="0">
                    <a:pos x="T0" y="T1"/>
                  </a:cxn>
                  <a:cxn ang="0">
                    <a:pos x="T2" y="T3"/>
                  </a:cxn>
                  <a:cxn ang="0">
                    <a:pos x="T4" y="T5"/>
                  </a:cxn>
                  <a:cxn ang="0">
                    <a:pos x="T6" y="T7"/>
                  </a:cxn>
                  <a:cxn ang="0">
                    <a:pos x="T8" y="T9"/>
                  </a:cxn>
                </a:cxnLst>
                <a:rect l="0" t="0" r="r" b="b"/>
                <a:pathLst>
                  <a:path w="330" h="330">
                    <a:moveTo>
                      <a:pt x="0" y="169"/>
                    </a:moveTo>
                    <a:cubicBezTo>
                      <a:pt x="0" y="259"/>
                      <a:pt x="71" y="330"/>
                      <a:pt x="169" y="330"/>
                    </a:cubicBezTo>
                    <a:cubicBezTo>
                      <a:pt x="259" y="330"/>
                      <a:pt x="330" y="259"/>
                      <a:pt x="330" y="169"/>
                    </a:cubicBezTo>
                    <a:cubicBezTo>
                      <a:pt x="330" y="71"/>
                      <a:pt x="259" y="0"/>
                      <a:pt x="169" y="0"/>
                    </a:cubicBezTo>
                    <a:cubicBezTo>
                      <a:pt x="71" y="0"/>
                      <a:pt x="0" y="71"/>
                      <a:pt x="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nvGrpSpPr>
            <p:cNvPr id="194" name="Group 193"/>
            <p:cNvGrpSpPr/>
            <p:nvPr/>
          </p:nvGrpSpPr>
          <p:grpSpPr>
            <a:xfrm>
              <a:off x="9487832" y="3191652"/>
              <a:ext cx="147165" cy="372276"/>
              <a:chOff x="4348935" y="2165469"/>
              <a:chExt cx="173677" cy="439342"/>
            </a:xfrm>
            <a:grpFill/>
          </p:grpSpPr>
          <p:sp>
            <p:nvSpPr>
              <p:cNvPr id="201" name="Freeform 34"/>
              <p:cNvSpPr>
                <a:spLocks/>
              </p:cNvSpPr>
              <p:nvPr/>
            </p:nvSpPr>
            <p:spPr bwMode="auto">
              <a:xfrm>
                <a:off x="4348935" y="2247513"/>
                <a:ext cx="173677" cy="357298"/>
              </a:xfrm>
              <a:custGeom>
                <a:avLst/>
                <a:gdLst>
                  <a:gd name="T0" fmla="*/ 580 w 794"/>
                  <a:gd name="T1" fmla="*/ 0 h 1631"/>
                  <a:gd name="T2" fmla="*/ 794 w 794"/>
                  <a:gd name="T3" fmla="*/ 213 h 1631"/>
                  <a:gd name="T4" fmla="*/ 794 w 794"/>
                  <a:gd name="T5" fmla="*/ 722 h 1631"/>
                  <a:gd name="T6" fmla="*/ 722 w 794"/>
                  <a:gd name="T7" fmla="*/ 793 h 1631"/>
                  <a:gd name="T8" fmla="*/ 651 w 794"/>
                  <a:gd name="T9" fmla="*/ 722 h 1631"/>
                  <a:gd name="T10" fmla="*/ 651 w 794"/>
                  <a:gd name="T11" fmla="*/ 258 h 1631"/>
                  <a:gd name="T12" fmla="*/ 615 w 794"/>
                  <a:gd name="T13" fmla="*/ 258 h 1631"/>
                  <a:gd name="T14" fmla="*/ 615 w 794"/>
                  <a:gd name="T15" fmla="*/ 1533 h 1631"/>
                  <a:gd name="T16" fmla="*/ 508 w 794"/>
                  <a:gd name="T17" fmla="*/ 1631 h 1631"/>
                  <a:gd name="T18" fmla="*/ 419 w 794"/>
                  <a:gd name="T19" fmla="*/ 1533 h 1631"/>
                  <a:gd name="T20" fmla="*/ 419 w 794"/>
                  <a:gd name="T21" fmla="*/ 793 h 1631"/>
                  <a:gd name="T22" fmla="*/ 375 w 794"/>
                  <a:gd name="T23" fmla="*/ 793 h 1631"/>
                  <a:gd name="T24" fmla="*/ 375 w 794"/>
                  <a:gd name="T25" fmla="*/ 1533 h 1631"/>
                  <a:gd name="T26" fmla="*/ 277 w 794"/>
                  <a:gd name="T27" fmla="*/ 1631 h 1631"/>
                  <a:gd name="T28" fmla="*/ 187 w 794"/>
                  <a:gd name="T29" fmla="*/ 1533 h 1631"/>
                  <a:gd name="T30" fmla="*/ 187 w 794"/>
                  <a:gd name="T31" fmla="*/ 258 h 1631"/>
                  <a:gd name="T32" fmla="*/ 143 w 794"/>
                  <a:gd name="T33" fmla="*/ 258 h 1631"/>
                  <a:gd name="T34" fmla="*/ 143 w 794"/>
                  <a:gd name="T35" fmla="*/ 722 h 1631"/>
                  <a:gd name="T36" fmla="*/ 72 w 794"/>
                  <a:gd name="T37" fmla="*/ 793 h 1631"/>
                  <a:gd name="T38" fmla="*/ 0 w 794"/>
                  <a:gd name="T39" fmla="*/ 722 h 1631"/>
                  <a:gd name="T40" fmla="*/ 0 w 794"/>
                  <a:gd name="T41" fmla="*/ 213 h 1631"/>
                  <a:gd name="T42" fmla="*/ 214 w 794"/>
                  <a:gd name="T43" fmla="*/ 0 h 1631"/>
                  <a:gd name="T44" fmla="*/ 580 w 794"/>
                  <a:gd name="T45" fmla="*/ 0 h 1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94" h="1631">
                    <a:moveTo>
                      <a:pt x="580" y="0"/>
                    </a:moveTo>
                    <a:cubicBezTo>
                      <a:pt x="696" y="0"/>
                      <a:pt x="794" y="98"/>
                      <a:pt x="794" y="213"/>
                    </a:cubicBezTo>
                    <a:cubicBezTo>
                      <a:pt x="794" y="267"/>
                      <a:pt x="794" y="677"/>
                      <a:pt x="794" y="722"/>
                    </a:cubicBezTo>
                    <a:cubicBezTo>
                      <a:pt x="794" y="757"/>
                      <a:pt x="758" y="793"/>
                      <a:pt x="722" y="793"/>
                    </a:cubicBezTo>
                    <a:cubicBezTo>
                      <a:pt x="678" y="793"/>
                      <a:pt x="651" y="757"/>
                      <a:pt x="651" y="722"/>
                    </a:cubicBezTo>
                    <a:cubicBezTo>
                      <a:pt x="651" y="677"/>
                      <a:pt x="651" y="258"/>
                      <a:pt x="651" y="258"/>
                    </a:cubicBezTo>
                    <a:cubicBezTo>
                      <a:pt x="615" y="258"/>
                      <a:pt x="615" y="258"/>
                      <a:pt x="615" y="258"/>
                    </a:cubicBezTo>
                    <a:cubicBezTo>
                      <a:pt x="615" y="258"/>
                      <a:pt x="615" y="1453"/>
                      <a:pt x="615" y="1533"/>
                    </a:cubicBezTo>
                    <a:cubicBezTo>
                      <a:pt x="615" y="1586"/>
                      <a:pt x="562" y="1631"/>
                      <a:pt x="508" y="1631"/>
                    </a:cubicBezTo>
                    <a:cubicBezTo>
                      <a:pt x="464" y="1631"/>
                      <a:pt x="419" y="1586"/>
                      <a:pt x="419" y="1533"/>
                    </a:cubicBezTo>
                    <a:cubicBezTo>
                      <a:pt x="419" y="1453"/>
                      <a:pt x="419" y="793"/>
                      <a:pt x="419" y="793"/>
                    </a:cubicBezTo>
                    <a:cubicBezTo>
                      <a:pt x="375" y="793"/>
                      <a:pt x="375" y="793"/>
                      <a:pt x="375" y="793"/>
                    </a:cubicBezTo>
                    <a:cubicBezTo>
                      <a:pt x="375" y="793"/>
                      <a:pt x="375" y="1453"/>
                      <a:pt x="375" y="1533"/>
                    </a:cubicBezTo>
                    <a:cubicBezTo>
                      <a:pt x="375" y="1586"/>
                      <a:pt x="330" y="1631"/>
                      <a:pt x="277" y="1631"/>
                    </a:cubicBezTo>
                    <a:cubicBezTo>
                      <a:pt x="223" y="1631"/>
                      <a:pt x="187" y="1586"/>
                      <a:pt x="187" y="1533"/>
                    </a:cubicBezTo>
                    <a:cubicBezTo>
                      <a:pt x="187" y="1453"/>
                      <a:pt x="187" y="258"/>
                      <a:pt x="187" y="258"/>
                    </a:cubicBezTo>
                    <a:cubicBezTo>
                      <a:pt x="143" y="258"/>
                      <a:pt x="143" y="258"/>
                      <a:pt x="143" y="258"/>
                    </a:cubicBezTo>
                    <a:cubicBezTo>
                      <a:pt x="143" y="258"/>
                      <a:pt x="143" y="677"/>
                      <a:pt x="143" y="722"/>
                    </a:cubicBezTo>
                    <a:cubicBezTo>
                      <a:pt x="143" y="757"/>
                      <a:pt x="116" y="793"/>
                      <a:pt x="72" y="793"/>
                    </a:cubicBezTo>
                    <a:cubicBezTo>
                      <a:pt x="36" y="793"/>
                      <a:pt x="0" y="757"/>
                      <a:pt x="0" y="722"/>
                    </a:cubicBezTo>
                    <a:cubicBezTo>
                      <a:pt x="0" y="677"/>
                      <a:pt x="0" y="267"/>
                      <a:pt x="0" y="213"/>
                    </a:cubicBezTo>
                    <a:cubicBezTo>
                      <a:pt x="0" y="98"/>
                      <a:pt x="98" y="0"/>
                      <a:pt x="214" y="0"/>
                    </a:cubicBezTo>
                    <a:cubicBezTo>
                      <a:pt x="277" y="0"/>
                      <a:pt x="517" y="0"/>
                      <a:pt x="5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02" name="Freeform 35"/>
              <p:cNvSpPr>
                <a:spLocks/>
              </p:cNvSpPr>
              <p:nvPr/>
            </p:nvSpPr>
            <p:spPr bwMode="auto">
              <a:xfrm>
                <a:off x="4399724" y="2165469"/>
                <a:ext cx="72099" cy="72099"/>
              </a:xfrm>
              <a:custGeom>
                <a:avLst/>
                <a:gdLst>
                  <a:gd name="T0" fmla="*/ 0 w 330"/>
                  <a:gd name="T1" fmla="*/ 169 h 330"/>
                  <a:gd name="T2" fmla="*/ 169 w 330"/>
                  <a:gd name="T3" fmla="*/ 330 h 330"/>
                  <a:gd name="T4" fmla="*/ 330 w 330"/>
                  <a:gd name="T5" fmla="*/ 169 h 330"/>
                  <a:gd name="T6" fmla="*/ 169 w 330"/>
                  <a:gd name="T7" fmla="*/ 0 h 330"/>
                  <a:gd name="T8" fmla="*/ 0 w 330"/>
                  <a:gd name="T9" fmla="*/ 169 h 330"/>
                </a:gdLst>
                <a:ahLst/>
                <a:cxnLst>
                  <a:cxn ang="0">
                    <a:pos x="T0" y="T1"/>
                  </a:cxn>
                  <a:cxn ang="0">
                    <a:pos x="T2" y="T3"/>
                  </a:cxn>
                  <a:cxn ang="0">
                    <a:pos x="T4" y="T5"/>
                  </a:cxn>
                  <a:cxn ang="0">
                    <a:pos x="T6" y="T7"/>
                  </a:cxn>
                  <a:cxn ang="0">
                    <a:pos x="T8" y="T9"/>
                  </a:cxn>
                </a:cxnLst>
                <a:rect l="0" t="0" r="r" b="b"/>
                <a:pathLst>
                  <a:path w="330" h="330">
                    <a:moveTo>
                      <a:pt x="0" y="169"/>
                    </a:moveTo>
                    <a:cubicBezTo>
                      <a:pt x="0" y="259"/>
                      <a:pt x="71" y="330"/>
                      <a:pt x="169" y="330"/>
                    </a:cubicBezTo>
                    <a:cubicBezTo>
                      <a:pt x="259" y="330"/>
                      <a:pt x="330" y="259"/>
                      <a:pt x="330" y="169"/>
                    </a:cubicBezTo>
                    <a:cubicBezTo>
                      <a:pt x="330" y="71"/>
                      <a:pt x="259" y="0"/>
                      <a:pt x="169" y="0"/>
                    </a:cubicBezTo>
                    <a:cubicBezTo>
                      <a:pt x="71" y="0"/>
                      <a:pt x="0" y="71"/>
                      <a:pt x="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nvGrpSpPr>
            <p:cNvPr id="195" name="Group 194"/>
            <p:cNvGrpSpPr/>
            <p:nvPr/>
          </p:nvGrpSpPr>
          <p:grpSpPr>
            <a:xfrm>
              <a:off x="9273232" y="3191652"/>
              <a:ext cx="175153" cy="373780"/>
              <a:chOff x="4543922" y="2165469"/>
              <a:chExt cx="206707" cy="441118"/>
            </a:xfrm>
            <a:grpFill/>
          </p:grpSpPr>
          <p:sp>
            <p:nvSpPr>
              <p:cNvPr id="199" name="Freeform 36"/>
              <p:cNvSpPr>
                <a:spLocks/>
              </p:cNvSpPr>
              <p:nvPr/>
            </p:nvSpPr>
            <p:spPr bwMode="auto">
              <a:xfrm>
                <a:off x="4612469" y="2165469"/>
                <a:ext cx="72099" cy="72099"/>
              </a:xfrm>
              <a:custGeom>
                <a:avLst/>
                <a:gdLst>
                  <a:gd name="T0" fmla="*/ 0 w 329"/>
                  <a:gd name="T1" fmla="*/ 169 h 330"/>
                  <a:gd name="T2" fmla="*/ 160 w 329"/>
                  <a:gd name="T3" fmla="*/ 330 h 330"/>
                  <a:gd name="T4" fmla="*/ 329 w 329"/>
                  <a:gd name="T5" fmla="*/ 169 h 330"/>
                  <a:gd name="T6" fmla="*/ 160 w 329"/>
                  <a:gd name="T7" fmla="*/ 0 h 330"/>
                  <a:gd name="T8" fmla="*/ 0 w 329"/>
                  <a:gd name="T9" fmla="*/ 169 h 330"/>
                </a:gdLst>
                <a:ahLst/>
                <a:cxnLst>
                  <a:cxn ang="0">
                    <a:pos x="T0" y="T1"/>
                  </a:cxn>
                  <a:cxn ang="0">
                    <a:pos x="T2" y="T3"/>
                  </a:cxn>
                  <a:cxn ang="0">
                    <a:pos x="T4" y="T5"/>
                  </a:cxn>
                  <a:cxn ang="0">
                    <a:pos x="T6" y="T7"/>
                  </a:cxn>
                  <a:cxn ang="0">
                    <a:pos x="T8" y="T9"/>
                  </a:cxn>
                </a:cxnLst>
                <a:rect l="0" t="0" r="r" b="b"/>
                <a:pathLst>
                  <a:path w="329" h="330">
                    <a:moveTo>
                      <a:pt x="0" y="169"/>
                    </a:moveTo>
                    <a:cubicBezTo>
                      <a:pt x="0" y="259"/>
                      <a:pt x="71" y="330"/>
                      <a:pt x="160" y="330"/>
                    </a:cubicBezTo>
                    <a:cubicBezTo>
                      <a:pt x="258" y="330"/>
                      <a:pt x="329" y="259"/>
                      <a:pt x="329" y="169"/>
                    </a:cubicBezTo>
                    <a:cubicBezTo>
                      <a:pt x="329" y="71"/>
                      <a:pt x="258" y="0"/>
                      <a:pt x="160" y="0"/>
                    </a:cubicBezTo>
                    <a:cubicBezTo>
                      <a:pt x="71" y="0"/>
                      <a:pt x="0" y="71"/>
                      <a:pt x="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00" name="Freeform 37"/>
              <p:cNvSpPr>
                <a:spLocks/>
              </p:cNvSpPr>
              <p:nvPr/>
            </p:nvSpPr>
            <p:spPr bwMode="auto">
              <a:xfrm>
                <a:off x="4543922" y="2247513"/>
                <a:ext cx="206707" cy="359074"/>
              </a:xfrm>
              <a:custGeom>
                <a:avLst/>
                <a:gdLst>
                  <a:gd name="T0" fmla="*/ 935 w 944"/>
                  <a:gd name="T1" fmla="*/ 641 h 1640"/>
                  <a:gd name="T2" fmla="*/ 793 w 944"/>
                  <a:gd name="T3" fmla="*/ 151 h 1640"/>
                  <a:gd name="T4" fmla="*/ 606 w 944"/>
                  <a:gd name="T5" fmla="*/ 0 h 1640"/>
                  <a:gd name="T6" fmla="*/ 338 w 944"/>
                  <a:gd name="T7" fmla="*/ 0 h 1640"/>
                  <a:gd name="T8" fmla="*/ 151 w 944"/>
                  <a:gd name="T9" fmla="*/ 151 h 1640"/>
                  <a:gd name="T10" fmla="*/ 8 w 944"/>
                  <a:gd name="T11" fmla="*/ 641 h 1640"/>
                  <a:gd name="T12" fmla="*/ 53 w 944"/>
                  <a:gd name="T13" fmla="*/ 722 h 1640"/>
                  <a:gd name="T14" fmla="*/ 133 w 944"/>
                  <a:gd name="T15" fmla="*/ 677 h 1640"/>
                  <a:gd name="T16" fmla="*/ 267 w 944"/>
                  <a:gd name="T17" fmla="*/ 222 h 1640"/>
                  <a:gd name="T18" fmla="*/ 312 w 944"/>
                  <a:gd name="T19" fmla="*/ 222 h 1640"/>
                  <a:gd name="T20" fmla="*/ 80 w 944"/>
                  <a:gd name="T21" fmla="*/ 980 h 1640"/>
                  <a:gd name="T22" fmla="*/ 294 w 944"/>
                  <a:gd name="T23" fmla="*/ 980 h 1640"/>
                  <a:gd name="T24" fmla="*/ 294 w 944"/>
                  <a:gd name="T25" fmla="*/ 1560 h 1640"/>
                  <a:gd name="T26" fmla="*/ 374 w 944"/>
                  <a:gd name="T27" fmla="*/ 1640 h 1640"/>
                  <a:gd name="T28" fmla="*/ 454 w 944"/>
                  <a:gd name="T29" fmla="*/ 1560 h 1640"/>
                  <a:gd name="T30" fmla="*/ 454 w 944"/>
                  <a:gd name="T31" fmla="*/ 980 h 1640"/>
                  <a:gd name="T32" fmla="*/ 490 w 944"/>
                  <a:gd name="T33" fmla="*/ 980 h 1640"/>
                  <a:gd name="T34" fmla="*/ 490 w 944"/>
                  <a:gd name="T35" fmla="*/ 1560 h 1640"/>
                  <a:gd name="T36" fmla="*/ 570 w 944"/>
                  <a:gd name="T37" fmla="*/ 1640 h 1640"/>
                  <a:gd name="T38" fmla="*/ 650 w 944"/>
                  <a:gd name="T39" fmla="*/ 1560 h 1640"/>
                  <a:gd name="T40" fmla="*/ 650 w 944"/>
                  <a:gd name="T41" fmla="*/ 980 h 1640"/>
                  <a:gd name="T42" fmla="*/ 864 w 944"/>
                  <a:gd name="T43" fmla="*/ 980 h 1640"/>
                  <a:gd name="T44" fmla="*/ 641 w 944"/>
                  <a:gd name="T45" fmla="*/ 222 h 1640"/>
                  <a:gd name="T46" fmla="*/ 677 w 944"/>
                  <a:gd name="T47" fmla="*/ 222 h 1640"/>
                  <a:gd name="T48" fmla="*/ 811 w 944"/>
                  <a:gd name="T49" fmla="*/ 677 h 1640"/>
                  <a:gd name="T50" fmla="*/ 891 w 944"/>
                  <a:gd name="T51" fmla="*/ 722 h 1640"/>
                  <a:gd name="T52" fmla="*/ 935 w 944"/>
                  <a:gd name="T53" fmla="*/ 641 h 1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4" h="1640">
                    <a:moveTo>
                      <a:pt x="935" y="641"/>
                    </a:moveTo>
                    <a:cubicBezTo>
                      <a:pt x="926" y="615"/>
                      <a:pt x="855" y="356"/>
                      <a:pt x="793" y="151"/>
                    </a:cubicBezTo>
                    <a:cubicBezTo>
                      <a:pt x="775" y="80"/>
                      <a:pt x="686" y="0"/>
                      <a:pt x="606" y="0"/>
                    </a:cubicBezTo>
                    <a:cubicBezTo>
                      <a:pt x="570" y="0"/>
                      <a:pt x="374" y="0"/>
                      <a:pt x="338" y="0"/>
                    </a:cubicBezTo>
                    <a:cubicBezTo>
                      <a:pt x="258" y="0"/>
                      <a:pt x="178" y="80"/>
                      <a:pt x="151" y="151"/>
                    </a:cubicBezTo>
                    <a:cubicBezTo>
                      <a:pt x="89" y="356"/>
                      <a:pt x="17" y="615"/>
                      <a:pt x="8" y="641"/>
                    </a:cubicBezTo>
                    <a:cubicBezTo>
                      <a:pt x="0" y="677"/>
                      <a:pt x="17" y="713"/>
                      <a:pt x="53" y="722"/>
                    </a:cubicBezTo>
                    <a:cubicBezTo>
                      <a:pt x="89" y="731"/>
                      <a:pt x="124" y="713"/>
                      <a:pt x="133" y="677"/>
                    </a:cubicBezTo>
                    <a:cubicBezTo>
                      <a:pt x="151" y="624"/>
                      <a:pt x="267" y="222"/>
                      <a:pt x="267" y="222"/>
                    </a:cubicBezTo>
                    <a:cubicBezTo>
                      <a:pt x="312" y="222"/>
                      <a:pt x="312" y="222"/>
                      <a:pt x="312" y="222"/>
                    </a:cubicBezTo>
                    <a:cubicBezTo>
                      <a:pt x="80" y="980"/>
                      <a:pt x="80" y="980"/>
                      <a:pt x="80" y="980"/>
                    </a:cubicBezTo>
                    <a:cubicBezTo>
                      <a:pt x="294" y="980"/>
                      <a:pt x="294" y="980"/>
                      <a:pt x="294" y="980"/>
                    </a:cubicBezTo>
                    <a:cubicBezTo>
                      <a:pt x="294" y="1248"/>
                      <a:pt x="294" y="1524"/>
                      <a:pt x="294" y="1560"/>
                    </a:cubicBezTo>
                    <a:cubicBezTo>
                      <a:pt x="294" y="1604"/>
                      <a:pt x="329" y="1640"/>
                      <a:pt x="374" y="1640"/>
                    </a:cubicBezTo>
                    <a:cubicBezTo>
                      <a:pt x="418" y="1640"/>
                      <a:pt x="454" y="1604"/>
                      <a:pt x="454" y="1560"/>
                    </a:cubicBezTo>
                    <a:cubicBezTo>
                      <a:pt x="454" y="1497"/>
                      <a:pt x="454" y="980"/>
                      <a:pt x="454" y="980"/>
                    </a:cubicBezTo>
                    <a:cubicBezTo>
                      <a:pt x="490" y="980"/>
                      <a:pt x="490" y="980"/>
                      <a:pt x="490" y="980"/>
                    </a:cubicBezTo>
                    <a:cubicBezTo>
                      <a:pt x="490" y="980"/>
                      <a:pt x="490" y="1497"/>
                      <a:pt x="490" y="1560"/>
                    </a:cubicBezTo>
                    <a:cubicBezTo>
                      <a:pt x="490" y="1604"/>
                      <a:pt x="525" y="1640"/>
                      <a:pt x="570" y="1640"/>
                    </a:cubicBezTo>
                    <a:cubicBezTo>
                      <a:pt x="615" y="1640"/>
                      <a:pt x="650" y="1604"/>
                      <a:pt x="650" y="1560"/>
                    </a:cubicBezTo>
                    <a:cubicBezTo>
                      <a:pt x="650" y="1524"/>
                      <a:pt x="650" y="1248"/>
                      <a:pt x="650" y="980"/>
                    </a:cubicBezTo>
                    <a:cubicBezTo>
                      <a:pt x="864" y="980"/>
                      <a:pt x="864" y="980"/>
                      <a:pt x="864" y="980"/>
                    </a:cubicBezTo>
                    <a:cubicBezTo>
                      <a:pt x="641" y="222"/>
                      <a:pt x="641" y="222"/>
                      <a:pt x="641" y="222"/>
                    </a:cubicBezTo>
                    <a:cubicBezTo>
                      <a:pt x="677" y="222"/>
                      <a:pt x="677" y="222"/>
                      <a:pt x="677" y="222"/>
                    </a:cubicBezTo>
                    <a:cubicBezTo>
                      <a:pt x="677" y="222"/>
                      <a:pt x="793" y="624"/>
                      <a:pt x="811" y="677"/>
                    </a:cubicBezTo>
                    <a:cubicBezTo>
                      <a:pt x="820" y="713"/>
                      <a:pt x="855" y="731"/>
                      <a:pt x="891" y="722"/>
                    </a:cubicBezTo>
                    <a:cubicBezTo>
                      <a:pt x="926" y="713"/>
                      <a:pt x="944" y="677"/>
                      <a:pt x="935" y="6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nvGrpSpPr>
            <p:cNvPr id="196" name="Group 195"/>
            <p:cNvGrpSpPr/>
            <p:nvPr/>
          </p:nvGrpSpPr>
          <p:grpSpPr>
            <a:xfrm>
              <a:off x="9674444" y="3191652"/>
              <a:ext cx="175153" cy="373780"/>
              <a:chOff x="4543922" y="2165469"/>
              <a:chExt cx="206707" cy="441118"/>
            </a:xfrm>
            <a:grpFill/>
          </p:grpSpPr>
          <p:sp>
            <p:nvSpPr>
              <p:cNvPr id="197" name="Freeform 36"/>
              <p:cNvSpPr>
                <a:spLocks/>
              </p:cNvSpPr>
              <p:nvPr/>
            </p:nvSpPr>
            <p:spPr bwMode="auto">
              <a:xfrm>
                <a:off x="4612469" y="2165469"/>
                <a:ext cx="72099" cy="72099"/>
              </a:xfrm>
              <a:custGeom>
                <a:avLst/>
                <a:gdLst>
                  <a:gd name="T0" fmla="*/ 0 w 329"/>
                  <a:gd name="T1" fmla="*/ 169 h 330"/>
                  <a:gd name="T2" fmla="*/ 160 w 329"/>
                  <a:gd name="T3" fmla="*/ 330 h 330"/>
                  <a:gd name="T4" fmla="*/ 329 w 329"/>
                  <a:gd name="T5" fmla="*/ 169 h 330"/>
                  <a:gd name="T6" fmla="*/ 160 w 329"/>
                  <a:gd name="T7" fmla="*/ 0 h 330"/>
                  <a:gd name="T8" fmla="*/ 0 w 329"/>
                  <a:gd name="T9" fmla="*/ 169 h 330"/>
                </a:gdLst>
                <a:ahLst/>
                <a:cxnLst>
                  <a:cxn ang="0">
                    <a:pos x="T0" y="T1"/>
                  </a:cxn>
                  <a:cxn ang="0">
                    <a:pos x="T2" y="T3"/>
                  </a:cxn>
                  <a:cxn ang="0">
                    <a:pos x="T4" y="T5"/>
                  </a:cxn>
                  <a:cxn ang="0">
                    <a:pos x="T6" y="T7"/>
                  </a:cxn>
                  <a:cxn ang="0">
                    <a:pos x="T8" y="T9"/>
                  </a:cxn>
                </a:cxnLst>
                <a:rect l="0" t="0" r="r" b="b"/>
                <a:pathLst>
                  <a:path w="329" h="330">
                    <a:moveTo>
                      <a:pt x="0" y="169"/>
                    </a:moveTo>
                    <a:cubicBezTo>
                      <a:pt x="0" y="259"/>
                      <a:pt x="71" y="330"/>
                      <a:pt x="160" y="330"/>
                    </a:cubicBezTo>
                    <a:cubicBezTo>
                      <a:pt x="258" y="330"/>
                      <a:pt x="329" y="259"/>
                      <a:pt x="329" y="169"/>
                    </a:cubicBezTo>
                    <a:cubicBezTo>
                      <a:pt x="329" y="71"/>
                      <a:pt x="258" y="0"/>
                      <a:pt x="160" y="0"/>
                    </a:cubicBezTo>
                    <a:cubicBezTo>
                      <a:pt x="71" y="0"/>
                      <a:pt x="0" y="71"/>
                      <a:pt x="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198" name="Freeform 37"/>
              <p:cNvSpPr>
                <a:spLocks/>
              </p:cNvSpPr>
              <p:nvPr/>
            </p:nvSpPr>
            <p:spPr bwMode="auto">
              <a:xfrm>
                <a:off x="4543922" y="2247513"/>
                <a:ext cx="206707" cy="359074"/>
              </a:xfrm>
              <a:custGeom>
                <a:avLst/>
                <a:gdLst>
                  <a:gd name="T0" fmla="*/ 935 w 944"/>
                  <a:gd name="T1" fmla="*/ 641 h 1640"/>
                  <a:gd name="T2" fmla="*/ 793 w 944"/>
                  <a:gd name="T3" fmla="*/ 151 h 1640"/>
                  <a:gd name="T4" fmla="*/ 606 w 944"/>
                  <a:gd name="T5" fmla="*/ 0 h 1640"/>
                  <a:gd name="T6" fmla="*/ 338 w 944"/>
                  <a:gd name="T7" fmla="*/ 0 h 1640"/>
                  <a:gd name="T8" fmla="*/ 151 w 944"/>
                  <a:gd name="T9" fmla="*/ 151 h 1640"/>
                  <a:gd name="T10" fmla="*/ 8 w 944"/>
                  <a:gd name="T11" fmla="*/ 641 h 1640"/>
                  <a:gd name="T12" fmla="*/ 53 w 944"/>
                  <a:gd name="T13" fmla="*/ 722 h 1640"/>
                  <a:gd name="T14" fmla="*/ 133 w 944"/>
                  <a:gd name="T15" fmla="*/ 677 h 1640"/>
                  <a:gd name="T16" fmla="*/ 267 w 944"/>
                  <a:gd name="T17" fmla="*/ 222 h 1640"/>
                  <a:gd name="T18" fmla="*/ 312 w 944"/>
                  <a:gd name="T19" fmla="*/ 222 h 1640"/>
                  <a:gd name="T20" fmla="*/ 80 w 944"/>
                  <a:gd name="T21" fmla="*/ 980 h 1640"/>
                  <a:gd name="T22" fmla="*/ 294 w 944"/>
                  <a:gd name="T23" fmla="*/ 980 h 1640"/>
                  <a:gd name="T24" fmla="*/ 294 w 944"/>
                  <a:gd name="T25" fmla="*/ 1560 h 1640"/>
                  <a:gd name="T26" fmla="*/ 374 w 944"/>
                  <a:gd name="T27" fmla="*/ 1640 h 1640"/>
                  <a:gd name="T28" fmla="*/ 454 w 944"/>
                  <a:gd name="T29" fmla="*/ 1560 h 1640"/>
                  <a:gd name="T30" fmla="*/ 454 w 944"/>
                  <a:gd name="T31" fmla="*/ 980 h 1640"/>
                  <a:gd name="T32" fmla="*/ 490 w 944"/>
                  <a:gd name="T33" fmla="*/ 980 h 1640"/>
                  <a:gd name="T34" fmla="*/ 490 w 944"/>
                  <a:gd name="T35" fmla="*/ 1560 h 1640"/>
                  <a:gd name="T36" fmla="*/ 570 w 944"/>
                  <a:gd name="T37" fmla="*/ 1640 h 1640"/>
                  <a:gd name="T38" fmla="*/ 650 w 944"/>
                  <a:gd name="T39" fmla="*/ 1560 h 1640"/>
                  <a:gd name="T40" fmla="*/ 650 w 944"/>
                  <a:gd name="T41" fmla="*/ 980 h 1640"/>
                  <a:gd name="T42" fmla="*/ 864 w 944"/>
                  <a:gd name="T43" fmla="*/ 980 h 1640"/>
                  <a:gd name="T44" fmla="*/ 641 w 944"/>
                  <a:gd name="T45" fmla="*/ 222 h 1640"/>
                  <a:gd name="T46" fmla="*/ 677 w 944"/>
                  <a:gd name="T47" fmla="*/ 222 h 1640"/>
                  <a:gd name="T48" fmla="*/ 811 w 944"/>
                  <a:gd name="T49" fmla="*/ 677 h 1640"/>
                  <a:gd name="T50" fmla="*/ 891 w 944"/>
                  <a:gd name="T51" fmla="*/ 722 h 1640"/>
                  <a:gd name="T52" fmla="*/ 935 w 944"/>
                  <a:gd name="T53" fmla="*/ 641 h 1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4" h="1640">
                    <a:moveTo>
                      <a:pt x="935" y="641"/>
                    </a:moveTo>
                    <a:cubicBezTo>
                      <a:pt x="926" y="615"/>
                      <a:pt x="855" y="356"/>
                      <a:pt x="793" y="151"/>
                    </a:cubicBezTo>
                    <a:cubicBezTo>
                      <a:pt x="775" y="80"/>
                      <a:pt x="686" y="0"/>
                      <a:pt x="606" y="0"/>
                    </a:cubicBezTo>
                    <a:cubicBezTo>
                      <a:pt x="570" y="0"/>
                      <a:pt x="374" y="0"/>
                      <a:pt x="338" y="0"/>
                    </a:cubicBezTo>
                    <a:cubicBezTo>
                      <a:pt x="258" y="0"/>
                      <a:pt x="178" y="80"/>
                      <a:pt x="151" y="151"/>
                    </a:cubicBezTo>
                    <a:cubicBezTo>
                      <a:pt x="89" y="356"/>
                      <a:pt x="17" y="615"/>
                      <a:pt x="8" y="641"/>
                    </a:cubicBezTo>
                    <a:cubicBezTo>
                      <a:pt x="0" y="677"/>
                      <a:pt x="17" y="713"/>
                      <a:pt x="53" y="722"/>
                    </a:cubicBezTo>
                    <a:cubicBezTo>
                      <a:pt x="89" y="731"/>
                      <a:pt x="124" y="713"/>
                      <a:pt x="133" y="677"/>
                    </a:cubicBezTo>
                    <a:cubicBezTo>
                      <a:pt x="151" y="624"/>
                      <a:pt x="267" y="222"/>
                      <a:pt x="267" y="222"/>
                    </a:cubicBezTo>
                    <a:cubicBezTo>
                      <a:pt x="312" y="222"/>
                      <a:pt x="312" y="222"/>
                      <a:pt x="312" y="222"/>
                    </a:cubicBezTo>
                    <a:cubicBezTo>
                      <a:pt x="80" y="980"/>
                      <a:pt x="80" y="980"/>
                      <a:pt x="80" y="980"/>
                    </a:cubicBezTo>
                    <a:cubicBezTo>
                      <a:pt x="294" y="980"/>
                      <a:pt x="294" y="980"/>
                      <a:pt x="294" y="980"/>
                    </a:cubicBezTo>
                    <a:cubicBezTo>
                      <a:pt x="294" y="1248"/>
                      <a:pt x="294" y="1524"/>
                      <a:pt x="294" y="1560"/>
                    </a:cubicBezTo>
                    <a:cubicBezTo>
                      <a:pt x="294" y="1604"/>
                      <a:pt x="329" y="1640"/>
                      <a:pt x="374" y="1640"/>
                    </a:cubicBezTo>
                    <a:cubicBezTo>
                      <a:pt x="418" y="1640"/>
                      <a:pt x="454" y="1604"/>
                      <a:pt x="454" y="1560"/>
                    </a:cubicBezTo>
                    <a:cubicBezTo>
                      <a:pt x="454" y="1497"/>
                      <a:pt x="454" y="980"/>
                      <a:pt x="454" y="980"/>
                    </a:cubicBezTo>
                    <a:cubicBezTo>
                      <a:pt x="490" y="980"/>
                      <a:pt x="490" y="980"/>
                      <a:pt x="490" y="980"/>
                    </a:cubicBezTo>
                    <a:cubicBezTo>
                      <a:pt x="490" y="980"/>
                      <a:pt x="490" y="1497"/>
                      <a:pt x="490" y="1560"/>
                    </a:cubicBezTo>
                    <a:cubicBezTo>
                      <a:pt x="490" y="1604"/>
                      <a:pt x="525" y="1640"/>
                      <a:pt x="570" y="1640"/>
                    </a:cubicBezTo>
                    <a:cubicBezTo>
                      <a:pt x="615" y="1640"/>
                      <a:pt x="650" y="1604"/>
                      <a:pt x="650" y="1560"/>
                    </a:cubicBezTo>
                    <a:cubicBezTo>
                      <a:pt x="650" y="1524"/>
                      <a:pt x="650" y="1248"/>
                      <a:pt x="650" y="980"/>
                    </a:cubicBezTo>
                    <a:cubicBezTo>
                      <a:pt x="864" y="980"/>
                      <a:pt x="864" y="980"/>
                      <a:pt x="864" y="980"/>
                    </a:cubicBezTo>
                    <a:cubicBezTo>
                      <a:pt x="641" y="222"/>
                      <a:pt x="641" y="222"/>
                      <a:pt x="641" y="222"/>
                    </a:cubicBezTo>
                    <a:cubicBezTo>
                      <a:pt x="677" y="222"/>
                      <a:pt x="677" y="222"/>
                      <a:pt x="677" y="222"/>
                    </a:cubicBezTo>
                    <a:cubicBezTo>
                      <a:pt x="677" y="222"/>
                      <a:pt x="793" y="624"/>
                      <a:pt x="811" y="677"/>
                    </a:cubicBezTo>
                    <a:cubicBezTo>
                      <a:pt x="820" y="713"/>
                      <a:pt x="855" y="731"/>
                      <a:pt x="891" y="722"/>
                    </a:cubicBezTo>
                    <a:cubicBezTo>
                      <a:pt x="926" y="713"/>
                      <a:pt x="944" y="677"/>
                      <a:pt x="935" y="6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grpSp>
        <p:nvGrpSpPr>
          <p:cNvPr id="217" name="Group 216"/>
          <p:cNvGrpSpPr/>
          <p:nvPr/>
        </p:nvGrpSpPr>
        <p:grpSpPr>
          <a:xfrm>
            <a:off x="3118018" y="2356241"/>
            <a:ext cx="1323098" cy="1104663"/>
            <a:chOff x="9076571" y="3191652"/>
            <a:chExt cx="977059" cy="815753"/>
          </a:xfrm>
          <a:solidFill>
            <a:schemeClr val="bg1"/>
          </a:solidFill>
        </p:grpSpPr>
        <p:grpSp>
          <p:nvGrpSpPr>
            <p:cNvPr id="218" name="Group 217"/>
            <p:cNvGrpSpPr/>
            <p:nvPr/>
          </p:nvGrpSpPr>
          <p:grpSpPr>
            <a:xfrm>
              <a:off x="9878477" y="3633625"/>
              <a:ext cx="175153" cy="373780"/>
              <a:chOff x="5011546" y="2165469"/>
              <a:chExt cx="206707" cy="441118"/>
            </a:xfrm>
            <a:grpFill/>
          </p:grpSpPr>
          <p:sp>
            <p:nvSpPr>
              <p:cNvPr id="246" name="Freeform 36"/>
              <p:cNvSpPr>
                <a:spLocks/>
              </p:cNvSpPr>
              <p:nvPr/>
            </p:nvSpPr>
            <p:spPr bwMode="auto">
              <a:xfrm>
                <a:off x="5080093" y="2165469"/>
                <a:ext cx="72099" cy="72099"/>
              </a:xfrm>
              <a:custGeom>
                <a:avLst/>
                <a:gdLst>
                  <a:gd name="T0" fmla="*/ 0 w 329"/>
                  <a:gd name="T1" fmla="*/ 169 h 330"/>
                  <a:gd name="T2" fmla="*/ 160 w 329"/>
                  <a:gd name="T3" fmla="*/ 330 h 330"/>
                  <a:gd name="T4" fmla="*/ 329 w 329"/>
                  <a:gd name="T5" fmla="*/ 169 h 330"/>
                  <a:gd name="T6" fmla="*/ 160 w 329"/>
                  <a:gd name="T7" fmla="*/ 0 h 330"/>
                  <a:gd name="T8" fmla="*/ 0 w 329"/>
                  <a:gd name="T9" fmla="*/ 169 h 330"/>
                </a:gdLst>
                <a:ahLst/>
                <a:cxnLst>
                  <a:cxn ang="0">
                    <a:pos x="T0" y="T1"/>
                  </a:cxn>
                  <a:cxn ang="0">
                    <a:pos x="T2" y="T3"/>
                  </a:cxn>
                  <a:cxn ang="0">
                    <a:pos x="T4" y="T5"/>
                  </a:cxn>
                  <a:cxn ang="0">
                    <a:pos x="T6" y="T7"/>
                  </a:cxn>
                  <a:cxn ang="0">
                    <a:pos x="T8" y="T9"/>
                  </a:cxn>
                </a:cxnLst>
                <a:rect l="0" t="0" r="r" b="b"/>
                <a:pathLst>
                  <a:path w="329" h="330">
                    <a:moveTo>
                      <a:pt x="0" y="169"/>
                    </a:moveTo>
                    <a:cubicBezTo>
                      <a:pt x="0" y="259"/>
                      <a:pt x="71" y="330"/>
                      <a:pt x="160" y="330"/>
                    </a:cubicBezTo>
                    <a:cubicBezTo>
                      <a:pt x="258" y="330"/>
                      <a:pt x="329" y="259"/>
                      <a:pt x="329" y="169"/>
                    </a:cubicBezTo>
                    <a:cubicBezTo>
                      <a:pt x="329" y="71"/>
                      <a:pt x="258" y="0"/>
                      <a:pt x="160" y="0"/>
                    </a:cubicBezTo>
                    <a:cubicBezTo>
                      <a:pt x="71" y="0"/>
                      <a:pt x="0" y="71"/>
                      <a:pt x="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47" name="Freeform 37"/>
              <p:cNvSpPr>
                <a:spLocks/>
              </p:cNvSpPr>
              <p:nvPr/>
            </p:nvSpPr>
            <p:spPr bwMode="auto">
              <a:xfrm>
                <a:off x="5011546" y="2247513"/>
                <a:ext cx="206707" cy="359074"/>
              </a:xfrm>
              <a:custGeom>
                <a:avLst/>
                <a:gdLst>
                  <a:gd name="T0" fmla="*/ 935 w 944"/>
                  <a:gd name="T1" fmla="*/ 641 h 1640"/>
                  <a:gd name="T2" fmla="*/ 793 w 944"/>
                  <a:gd name="T3" fmla="*/ 151 h 1640"/>
                  <a:gd name="T4" fmla="*/ 606 w 944"/>
                  <a:gd name="T5" fmla="*/ 0 h 1640"/>
                  <a:gd name="T6" fmla="*/ 338 w 944"/>
                  <a:gd name="T7" fmla="*/ 0 h 1640"/>
                  <a:gd name="T8" fmla="*/ 151 w 944"/>
                  <a:gd name="T9" fmla="*/ 151 h 1640"/>
                  <a:gd name="T10" fmla="*/ 8 w 944"/>
                  <a:gd name="T11" fmla="*/ 641 h 1640"/>
                  <a:gd name="T12" fmla="*/ 53 w 944"/>
                  <a:gd name="T13" fmla="*/ 722 h 1640"/>
                  <a:gd name="T14" fmla="*/ 133 w 944"/>
                  <a:gd name="T15" fmla="*/ 677 h 1640"/>
                  <a:gd name="T16" fmla="*/ 267 w 944"/>
                  <a:gd name="T17" fmla="*/ 222 h 1640"/>
                  <a:gd name="T18" fmla="*/ 312 w 944"/>
                  <a:gd name="T19" fmla="*/ 222 h 1640"/>
                  <a:gd name="T20" fmla="*/ 80 w 944"/>
                  <a:gd name="T21" fmla="*/ 980 h 1640"/>
                  <a:gd name="T22" fmla="*/ 294 w 944"/>
                  <a:gd name="T23" fmla="*/ 980 h 1640"/>
                  <a:gd name="T24" fmla="*/ 294 w 944"/>
                  <a:gd name="T25" fmla="*/ 1560 h 1640"/>
                  <a:gd name="T26" fmla="*/ 374 w 944"/>
                  <a:gd name="T27" fmla="*/ 1640 h 1640"/>
                  <a:gd name="T28" fmla="*/ 454 w 944"/>
                  <a:gd name="T29" fmla="*/ 1560 h 1640"/>
                  <a:gd name="T30" fmla="*/ 454 w 944"/>
                  <a:gd name="T31" fmla="*/ 980 h 1640"/>
                  <a:gd name="T32" fmla="*/ 490 w 944"/>
                  <a:gd name="T33" fmla="*/ 980 h 1640"/>
                  <a:gd name="T34" fmla="*/ 490 w 944"/>
                  <a:gd name="T35" fmla="*/ 1560 h 1640"/>
                  <a:gd name="T36" fmla="*/ 570 w 944"/>
                  <a:gd name="T37" fmla="*/ 1640 h 1640"/>
                  <a:gd name="T38" fmla="*/ 650 w 944"/>
                  <a:gd name="T39" fmla="*/ 1560 h 1640"/>
                  <a:gd name="T40" fmla="*/ 650 w 944"/>
                  <a:gd name="T41" fmla="*/ 980 h 1640"/>
                  <a:gd name="T42" fmla="*/ 864 w 944"/>
                  <a:gd name="T43" fmla="*/ 980 h 1640"/>
                  <a:gd name="T44" fmla="*/ 641 w 944"/>
                  <a:gd name="T45" fmla="*/ 222 h 1640"/>
                  <a:gd name="T46" fmla="*/ 677 w 944"/>
                  <a:gd name="T47" fmla="*/ 222 h 1640"/>
                  <a:gd name="T48" fmla="*/ 811 w 944"/>
                  <a:gd name="T49" fmla="*/ 677 h 1640"/>
                  <a:gd name="T50" fmla="*/ 891 w 944"/>
                  <a:gd name="T51" fmla="*/ 722 h 1640"/>
                  <a:gd name="T52" fmla="*/ 935 w 944"/>
                  <a:gd name="T53" fmla="*/ 641 h 1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4" h="1640">
                    <a:moveTo>
                      <a:pt x="935" y="641"/>
                    </a:moveTo>
                    <a:cubicBezTo>
                      <a:pt x="926" y="615"/>
                      <a:pt x="855" y="356"/>
                      <a:pt x="793" y="151"/>
                    </a:cubicBezTo>
                    <a:cubicBezTo>
                      <a:pt x="775" y="80"/>
                      <a:pt x="686" y="0"/>
                      <a:pt x="606" y="0"/>
                    </a:cubicBezTo>
                    <a:cubicBezTo>
                      <a:pt x="570" y="0"/>
                      <a:pt x="374" y="0"/>
                      <a:pt x="338" y="0"/>
                    </a:cubicBezTo>
                    <a:cubicBezTo>
                      <a:pt x="258" y="0"/>
                      <a:pt x="178" y="80"/>
                      <a:pt x="151" y="151"/>
                    </a:cubicBezTo>
                    <a:cubicBezTo>
                      <a:pt x="89" y="356"/>
                      <a:pt x="17" y="615"/>
                      <a:pt x="8" y="641"/>
                    </a:cubicBezTo>
                    <a:cubicBezTo>
                      <a:pt x="0" y="677"/>
                      <a:pt x="17" y="713"/>
                      <a:pt x="53" y="722"/>
                    </a:cubicBezTo>
                    <a:cubicBezTo>
                      <a:pt x="89" y="731"/>
                      <a:pt x="124" y="713"/>
                      <a:pt x="133" y="677"/>
                    </a:cubicBezTo>
                    <a:cubicBezTo>
                      <a:pt x="151" y="624"/>
                      <a:pt x="267" y="222"/>
                      <a:pt x="267" y="222"/>
                    </a:cubicBezTo>
                    <a:cubicBezTo>
                      <a:pt x="312" y="222"/>
                      <a:pt x="312" y="222"/>
                      <a:pt x="312" y="222"/>
                    </a:cubicBezTo>
                    <a:cubicBezTo>
                      <a:pt x="80" y="980"/>
                      <a:pt x="80" y="980"/>
                      <a:pt x="80" y="980"/>
                    </a:cubicBezTo>
                    <a:cubicBezTo>
                      <a:pt x="294" y="980"/>
                      <a:pt x="294" y="980"/>
                      <a:pt x="294" y="980"/>
                    </a:cubicBezTo>
                    <a:cubicBezTo>
                      <a:pt x="294" y="1248"/>
                      <a:pt x="294" y="1524"/>
                      <a:pt x="294" y="1560"/>
                    </a:cubicBezTo>
                    <a:cubicBezTo>
                      <a:pt x="294" y="1604"/>
                      <a:pt x="329" y="1640"/>
                      <a:pt x="374" y="1640"/>
                    </a:cubicBezTo>
                    <a:cubicBezTo>
                      <a:pt x="418" y="1640"/>
                      <a:pt x="454" y="1604"/>
                      <a:pt x="454" y="1560"/>
                    </a:cubicBezTo>
                    <a:cubicBezTo>
                      <a:pt x="454" y="1497"/>
                      <a:pt x="454" y="980"/>
                      <a:pt x="454" y="980"/>
                    </a:cubicBezTo>
                    <a:cubicBezTo>
                      <a:pt x="490" y="980"/>
                      <a:pt x="490" y="980"/>
                      <a:pt x="490" y="980"/>
                    </a:cubicBezTo>
                    <a:cubicBezTo>
                      <a:pt x="490" y="980"/>
                      <a:pt x="490" y="1497"/>
                      <a:pt x="490" y="1560"/>
                    </a:cubicBezTo>
                    <a:cubicBezTo>
                      <a:pt x="490" y="1604"/>
                      <a:pt x="525" y="1640"/>
                      <a:pt x="570" y="1640"/>
                    </a:cubicBezTo>
                    <a:cubicBezTo>
                      <a:pt x="615" y="1640"/>
                      <a:pt x="650" y="1604"/>
                      <a:pt x="650" y="1560"/>
                    </a:cubicBezTo>
                    <a:cubicBezTo>
                      <a:pt x="650" y="1524"/>
                      <a:pt x="650" y="1248"/>
                      <a:pt x="650" y="980"/>
                    </a:cubicBezTo>
                    <a:cubicBezTo>
                      <a:pt x="864" y="980"/>
                      <a:pt x="864" y="980"/>
                      <a:pt x="864" y="980"/>
                    </a:cubicBezTo>
                    <a:cubicBezTo>
                      <a:pt x="641" y="222"/>
                      <a:pt x="641" y="222"/>
                      <a:pt x="641" y="222"/>
                    </a:cubicBezTo>
                    <a:cubicBezTo>
                      <a:pt x="677" y="222"/>
                      <a:pt x="677" y="222"/>
                      <a:pt x="677" y="222"/>
                    </a:cubicBezTo>
                    <a:cubicBezTo>
                      <a:pt x="677" y="222"/>
                      <a:pt x="793" y="624"/>
                      <a:pt x="811" y="677"/>
                    </a:cubicBezTo>
                    <a:cubicBezTo>
                      <a:pt x="820" y="713"/>
                      <a:pt x="855" y="731"/>
                      <a:pt x="891" y="722"/>
                    </a:cubicBezTo>
                    <a:cubicBezTo>
                      <a:pt x="926" y="713"/>
                      <a:pt x="944" y="677"/>
                      <a:pt x="935" y="6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nvGrpSpPr>
            <p:cNvPr id="219" name="Group 218"/>
            <p:cNvGrpSpPr/>
            <p:nvPr/>
          </p:nvGrpSpPr>
          <p:grpSpPr>
            <a:xfrm>
              <a:off x="9890492" y="3191652"/>
              <a:ext cx="147165" cy="372276"/>
              <a:chOff x="4816559" y="2165469"/>
              <a:chExt cx="173677" cy="439342"/>
            </a:xfrm>
            <a:grpFill/>
          </p:grpSpPr>
          <p:sp>
            <p:nvSpPr>
              <p:cNvPr id="244" name="Freeform 34"/>
              <p:cNvSpPr>
                <a:spLocks/>
              </p:cNvSpPr>
              <p:nvPr/>
            </p:nvSpPr>
            <p:spPr bwMode="auto">
              <a:xfrm>
                <a:off x="4816559" y="2247513"/>
                <a:ext cx="173677" cy="357298"/>
              </a:xfrm>
              <a:custGeom>
                <a:avLst/>
                <a:gdLst>
                  <a:gd name="T0" fmla="*/ 580 w 794"/>
                  <a:gd name="T1" fmla="*/ 0 h 1631"/>
                  <a:gd name="T2" fmla="*/ 794 w 794"/>
                  <a:gd name="T3" fmla="*/ 213 h 1631"/>
                  <a:gd name="T4" fmla="*/ 794 w 794"/>
                  <a:gd name="T5" fmla="*/ 722 h 1631"/>
                  <a:gd name="T6" fmla="*/ 722 w 794"/>
                  <a:gd name="T7" fmla="*/ 793 h 1631"/>
                  <a:gd name="T8" fmla="*/ 651 w 794"/>
                  <a:gd name="T9" fmla="*/ 722 h 1631"/>
                  <a:gd name="T10" fmla="*/ 651 w 794"/>
                  <a:gd name="T11" fmla="*/ 258 h 1631"/>
                  <a:gd name="T12" fmla="*/ 615 w 794"/>
                  <a:gd name="T13" fmla="*/ 258 h 1631"/>
                  <a:gd name="T14" fmla="*/ 615 w 794"/>
                  <a:gd name="T15" fmla="*/ 1533 h 1631"/>
                  <a:gd name="T16" fmla="*/ 508 w 794"/>
                  <a:gd name="T17" fmla="*/ 1631 h 1631"/>
                  <a:gd name="T18" fmla="*/ 419 w 794"/>
                  <a:gd name="T19" fmla="*/ 1533 h 1631"/>
                  <a:gd name="T20" fmla="*/ 419 w 794"/>
                  <a:gd name="T21" fmla="*/ 793 h 1631"/>
                  <a:gd name="T22" fmla="*/ 375 w 794"/>
                  <a:gd name="T23" fmla="*/ 793 h 1631"/>
                  <a:gd name="T24" fmla="*/ 375 w 794"/>
                  <a:gd name="T25" fmla="*/ 1533 h 1631"/>
                  <a:gd name="T26" fmla="*/ 277 w 794"/>
                  <a:gd name="T27" fmla="*/ 1631 h 1631"/>
                  <a:gd name="T28" fmla="*/ 187 w 794"/>
                  <a:gd name="T29" fmla="*/ 1533 h 1631"/>
                  <a:gd name="T30" fmla="*/ 187 w 794"/>
                  <a:gd name="T31" fmla="*/ 258 h 1631"/>
                  <a:gd name="T32" fmla="*/ 143 w 794"/>
                  <a:gd name="T33" fmla="*/ 258 h 1631"/>
                  <a:gd name="T34" fmla="*/ 143 w 794"/>
                  <a:gd name="T35" fmla="*/ 722 h 1631"/>
                  <a:gd name="T36" fmla="*/ 72 w 794"/>
                  <a:gd name="T37" fmla="*/ 793 h 1631"/>
                  <a:gd name="T38" fmla="*/ 0 w 794"/>
                  <a:gd name="T39" fmla="*/ 722 h 1631"/>
                  <a:gd name="T40" fmla="*/ 0 w 794"/>
                  <a:gd name="T41" fmla="*/ 213 h 1631"/>
                  <a:gd name="T42" fmla="*/ 214 w 794"/>
                  <a:gd name="T43" fmla="*/ 0 h 1631"/>
                  <a:gd name="T44" fmla="*/ 580 w 794"/>
                  <a:gd name="T45" fmla="*/ 0 h 1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94" h="1631">
                    <a:moveTo>
                      <a:pt x="580" y="0"/>
                    </a:moveTo>
                    <a:cubicBezTo>
                      <a:pt x="696" y="0"/>
                      <a:pt x="794" y="98"/>
                      <a:pt x="794" y="213"/>
                    </a:cubicBezTo>
                    <a:cubicBezTo>
                      <a:pt x="794" y="267"/>
                      <a:pt x="794" y="677"/>
                      <a:pt x="794" y="722"/>
                    </a:cubicBezTo>
                    <a:cubicBezTo>
                      <a:pt x="794" y="757"/>
                      <a:pt x="758" y="793"/>
                      <a:pt x="722" y="793"/>
                    </a:cubicBezTo>
                    <a:cubicBezTo>
                      <a:pt x="678" y="793"/>
                      <a:pt x="651" y="757"/>
                      <a:pt x="651" y="722"/>
                    </a:cubicBezTo>
                    <a:cubicBezTo>
                      <a:pt x="651" y="677"/>
                      <a:pt x="651" y="258"/>
                      <a:pt x="651" y="258"/>
                    </a:cubicBezTo>
                    <a:cubicBezTo>
                      <a:pt x="615" y="258"/>
                      <a:pt x="615" y="258"/>
                      <a:pt x="615" y="258"/>
                    </a:cubicBezTo>
                    <a:cubicBezTo>
                      <a:pt x="615" y="258"/>
                      <a:pt x="615" y="1453"/>
                      <a:pt x="615" y="1533"/>
                    </a:cubicBezTo>
                    <a:cubicBezTo>
                      <a:pt x="615" y="1586"/>
                      <a:pt x="562" y="1631"/>
                      <a:pt x="508" y="1631"/>
                    </a:cubicBezTo>
                    <a:cubicBezTo>
                      <a:pt x="464" y="1631"/>
                      <a:pt x="419" y="1586"/>
                      <a:pt x="419" y="1533"/>
                    </a:cubicBezTo>
                    <a:cubicBezTo>
                      <a:pt x="419" y="1453"/>
                      <a:pt x="419" y="793"/>
                      <a:pt x="419" y="793"/>
                    </a:cubicBezTo>
                    <a:cubicBezTo>
                      <a:pt x="375" y="793"/>
                      <a:pt x="375" y="793"/>
                      <a:pt x="375" y="793"/>
                    </a:cubicBezTo>
                    <a:cubicBezTo>
                      <a:pt x="375" y="793"/>
                      <a:pt x="375" y="1453"/>
                      <a:pt x="375" y="1533"/>
                    </a:cubicBezTo>
                    <a:cubicBezTo>
                      <a:pt x="375" y="1586"/>
                      <a:pt x="330" y="1631"/>
                      <a:pt x="277" y="1631"/>
                    </a:cubicBezTo>
                    <a:cubicBezTo>
                      <a:pt x="223" y="1631"/>
                      <a:pt x="187" y="1586"/>
                      <a:pt x="187" y="1533"/>
                    </a:cubicBezTo>
                    <a:cubicBezTo>
                      <a:pt x="187" y="1453"/>
                      <a:pt x="187" y="258"/>
                      <a:pt x="187" y="258"/>
                    </a:cubicBezTo>
                    <a:cubicBezTo>
                      <a:pt x="143" y="258"/>
                      <a:pt x="143" y="258"/>
                      <a:pt x="143" y="258"/>
                    </a:cubicBezTo>
                    <a:cubicBezTo>
                      <a:pt x="143" y="258"/>
                      <a:pt x="143" y="677"/>
                      <a:pt x="143" y="722"/>
                    </a:cubicBezTo>
                    <a:cubicBezTo>
                      <a:pt x="143" y="757"/>
                      <a:pt x="116" y="793"/>
                      <a:pt x="72" y="793"/>
                    </a:cubicBezTo>
                    <a:cubicBezTo>
                      <a:pt x="36" y="793"/>
                      <a:pt x="0" y="757"/>
                      <a:pt x="0" y="722"/>
                    </a:cubicBezTo>
                    <a:cubicBezTo>
                      <a:pt x="0" y="677"/>
                      <a:pt x="0" y="267"/>
                      <a:pt x="0" y="213"/>
                    </a:cubicBezTo>
                    <a:cubicBezTo>
                      <a:pt x="0" y="98"/>
                      <a:pt x="98" y="0"/>
                      <a:pt x="214" y="0"/>
                    </a:cubicBezTo>
                    <a:cubicBezTo>
                      <a:pt x="277" y="0"/>
                      <a:pt x="517" y="0"/>
                      <a:pt x="5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45" name="Freeform 35"/>
              <p:cNvSpPr>
                <a:spLocks/>
              </p:cNvSpPr>
              <p:nvPr/>
            </p:nvSpPr>
            <p:spPr bwMode="auto">
              <a:xfrm>
                <a:off x="4867348" y="2165469"/>
                <a:ext cx="72099" cy="72099"/>
              </a:xfrm>
              <a:custGeom>
                <a:avLst/>
                <a:gdLst>
                  <a:gd name="T0" fmla="*/ 0 w 330"/>
                  <a:gd name="T1" fmla="*/ 169 h 330"/>
                  <a:gd name="T2" fmla="*/ 169 w 330"/>
                  <a:gd name="T3" fmla="*/ 330 h 330"/>
                  <a:gd name="T4" fmla="*/ 330 w 330"/>
                  <a:gd name="T5" fmla="*/ 169 h 330"/>
                  <a:gd name="T6" fmla="*/ 169 w 330"/>
                  <a:gd name="T7" fmla="*/ 0 h 330"/>
                  <a:gd name="T8" fmla="*/ 0 w 330"/>
                  <a:gd name="T9" fmla="*/ 169 h 330"/>
                </a:gdLst>
                <a:ahLst/>
                <a:cxnLst>
                  <a:cxn ang="0">
                    <a:pos x="T0" y="T1"/>
                  </a:cxn>
                  <a:cxn ang="0">
                    <a:pos x="T2" y="T3"/>
                  </a:cxn>
                  <a:cxn ang="0">
                    <a:pos x="T4" y="T5"/>
                  </a:cxn>
                  <a:cxn ang="0">
                    <a:pos x="T6" y="T7"/>
                  </a:cxn>
                  <a:cxn ang="0">
                    <a:pos x="T8" y="T9"/>
                  </a:cxn>
                </a:cxnLst>
                <a:rect l="0" t="0" r="r" b="b"/>
                <a:pathLst>
                  <a:path w="330" h="330">
                    <a:moveTo>
                      <a:pt x="0" y="169"/>
                    </a:moveTo>
                    <a:cubicBezTo>
                      <a:pt x="0" y="259"/>
                      <a:pt x="71" y="330"/>
                      <a:pt x="169" y="330"/>
                    </a:cubicBezTo>
                    <a:cubicBezTo>
                      <a:pt x="259" y="330"/>
                      <a:pt x="330" y="259"/>
                      <a:pt x="330" y="169"/>
                    </a:cubicBezTo>
                    <a:cubicBezTo>
                      <a:pt x="330" y="71"/>
                      <a:pt x="259" y="0"/>
                      <a:pt x="169" y="0"/>
                    </a:cubicBezTo>
                    <a:cubicBezTo>
                      <a:pt x="71" y="0"/>
                      <a:pt x="0" y="71"/>
                      <a:pt x="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nvGrpSpPr>
            <p:cNvPr id="220" name="Group 219"/>
            <p:cNvGrpSpPr/>
            <p:nvPr/>
          </p:nvGrpSpPr>
          <p:grpSpPr>
            <a:xfrm>
              <a:off x="9690909" y="3633625"/>
              <a:ext cx="147165" cy="372276"/>
              <a:chOff x="4816559" y="2165469"/>
              <a:chExt cx="173677" cy="439342"/>
            </a:xfrm>
            <a:grpFill/>
          </p:grpSpPr>
          <p:sp>
            <p:nvSpPr>
              <p:cNvPr id="242" name="Freeform 34"/>
              <p:cNvSpPr>
                <a:spLocks/>
              </p:cNvSpPr>
              <p:nvPr/>
            </p:nvSpPr>
            <p:spPr bwMode="auto">
              <a:xfrm>
                <a:off x="4816559" y="2247513"/>
                <a:ext cx="173677" cy="357298"/>
              </a:xfrm>
              <a:custGeom>
                <a:avLst/>
                <a:gdLst>
                  <a:gd name="T0" fmla="*/ 580 w 794"/>
                  <a:gd name="T1" fmla="*/ 0 h 1631"/>
                  <a:gd name="T2" fmla="*/ 794 w 794"/>
                  <a:gd name="T3" fmla="*/ 213 h 1631"/>
                  <a:gd name="T4" fmla="*/ 794 w 794"/>
                  <a:gd name="T5" fmla="*/ 722 h 1631"/>
                  <a:gd name="T6" fmla="*/ 722 w 794"/>
                  <a:gd name="T7" fmla="*/ 793 h 1631"/>
                  <a:gd name="T8" fmla="*/ 651 w 794"/>
                  <a:gd name="T9" fmla="*/ 722 h 1631"/>
                  <a:gd name="T10" fmla="*/ 651 w 794"/>
                  <a:gd name="T11" fmla="*/ 258 h 1631"/>
                  <a:gd name="T12" fmla="*/ 615 w 794"/>
                  <a:gd name="T13" fmla="*/ 258 h 1631"/>
                  <a:gd name="T14" fmla="*/ 615 w 794"/>
                  <a:gd name="T15" fmla="*/ 1533 h 1631"/>
                  <a:gd name="T16" fmla="*/ 508 w 794"/>
                  <a:gd name="T17" fmla="*/ 1631 h 1631"/>
                  <a:gd name="T18" fmla="*/ 419 w 794"/>
                  <a:gd name="T19" fmla="*/ 1533 h 1631"/>
                  <a:gd name="T20" fmla="*/ 419 w 794"/>
                  <a:gd name="T21" fmla="*/ 793 h 1631"/>
                  <a:gd name="T22" fmla="*/ 375 w 794"/>
                  <a:gd name="T23" fmla="*/ 793 h 1631"/>
                  <a:gd name="T24" fmla="*/ 375 w 794"/>
                  <a:gd name="T25" fmla="*/ 1533 h 1631"/>
                  <a:gd name="T26" fmla="*/ 277 w 794"/>
                  <a:gd name="T27" fmla="*/ 1631 h 1631"/>
                  <a:gd name="T28" fmla="*/ 187 w 794"/>
                  <a:gd name="T29" fmla="*/ 1533 h 1631"/>
                  <a:gd name="T30" fmla="*/ 187 w 794"/>
                  <a:gd name="T31" fmla="*/ 258 h 1631"/>
                  <a:gd name="T32" fmla="*/ 143 w 794"/>
                  <a:gd name="T33" fmla="*/ 258 h 1631"/>
                  <a:gd name="T34" fmla="*/ 143 w 794"/>
                  <a:gd name="T35" fmla="*/ 722 h 1631"/>
                  <a:gd name="T36" fmla="*/ 72 w 794"/>
                  <a:gd name="T37" fmla="*/ 793 h 1631"/>
                  <a:gd name="T38" fmla="*/ 0 w 794"/>
                  <a:gd name="T39" fmla="*/ 722 h 1631"/>
                  <a:gd name="T40" fmla="*/ 0 w 794"/>
                  <a:gd name="T41" fmla="*/ 213 h 1631"/>
                  <a:gd name="T42" fmla="*/ 214 w 794"/>
                  <a:gd name="T43" fmla="*/ 0 h 1631"/>
                  <a:gd name="T44" fmla="*/ 580 w 794"/>
                  <a:gd name="T45" fmla="*/ 0 h 1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94" h="1631">
                    <a:moveTo>
                      <a:pt x="580" y="0"/>
                    </a:moveTo>
                    <a:cubicBezTo>
                      <a:pt x="696" y="0"/>
                      <a:pt x="794" y="98"/>
                      <a:pt x="794" y="213"/>
                    </a:cubicBezTo>
                    <a:cubicBezTo>
                      <a:pt x="794" y="267"/>
                      <a:pt x="794" y="677"/>
                      <a:pt x="794" y="722"/>
                    </a:cubicBezTo>
                    <a:cubicBezTo>
                      <a:pt x="794" y="757"/>
                      <a:pt x="758" y="793"/>
                      <a:pt x="722" y="793"/>
                    </a:cubicBezTo>
                    <a:cubicBezTo>
                      <a:pt x="678" y="793"/>
                      <a:pt x="651" y="757"/>
                      <a:pt x="651" y="722"/>
                    </a:cubicBezTo>
                    <a:cubicBezTo>
                      <a:pt x="651" y="677"/>
                      <a:pt x="651" y="258"/>
                      <a:pt x="651" y="258"/>
                    </a:cubicBezTo>
                    <a:cubicBezTo>
                      <a:pt x="615" y="258"/>
                      <a:pt x="615" y="258"/>
                      <a:pt x="615" y="258"/>
                    </a:cubicBezTo>
                    <a:cubicBezTo>
                      <a:pt x="615" y="258"/>
                      <a:pt x="615" y="1453"/>
                      <a:pt x="615" y="1533"/>
                    </a:cubicBezTo>
                    <a:cubicBezTo>
                      <a:pt x="615" y="1586"/>
                      <a:pt x="562" y="1631"/>
                      <a:pt x="508" y="1631"/>
                    </a:cubicBezTo>
                    <a:cubicBezTo>
                      <a:pt x="464" y="1631"/>
                      <a:pt x="419" y="1586"/>
                      <a:pt x="419" y="1533"/>
                    </a:cubicBezTo>
                    <a:cubicBezTo>
                      <a:pt x="419" y="1453"/>
                      <a:pt x="419" y="793"/>
                      <a:pt x="419" y="793"/>
                    </a:cubicBezTo>
                    <a:cubicBezTo>
                      <a:pt x="375" y="793"/>
                      <a:pt x="375" y="793"/>
                      <a:pt x="375" y="793"/>
                    </a:cubicBezTo>
                    <a:cubicBezTo>
                      <a:pt x="375" y="793"/>
                      <a:pt x="375" y="1453"/>
                      <a:pt x="375" y="1533"/>
                    </a:cubicBezTo>
                    <a:cubicBezTo>
                      <a:pt x="375" y="1586"/>
                      <a:pt x="330" y="1631"/>
                      <a:pt x="277" y="1631"/>
                    </a:cubicBezTo>
                    <a:cubicBezTo>
                      <a:pt x="223" y="1631"/>
                      <a:pt x="187" y="1586"/>
                      <a:pt x="187" y="1533"/>
                    </a:cubicBezTo>
                    <a:cubicBezTo>
                      <a:pt x="187" y="1453"/>
                      <a:pt x="187" y="258"/>
                      <a:pt x="187" y="258"/>
                    </a:cubicBezTo>
                    <a:cubicBezTo>
                      <a:pt x="143" y="258"/>
                      <a:pt x="143" y="258"/>
                      <a:pt x="143" y="258"/>
                    </a:cubicBezTo>
                    <a:cubicBezTo>
                      <a:pt x="143" y="258"/>
                      <a:pt x="143" y="677"/>
                      <a:pt x="143" y="722"/>
                    </a:cubicBezTo>
                    <a:cubicBezTo>
                      <a:pt x="143" y="757"/>
                      <a:pt x="116" y="793"/>
                      <a:pt x="72" y="793"/>
                    </a:cubicBezTo>
                    <a:cubicBezTo>
                      <a:pt x="36" y="793"/>
                      <a:pt x="0" y="757"/>
                      <a:pt x="0" y="722"/>
                    </a:cubicBezTo>
                    <a:cubicBezTo>
                      <a:pt x="0" y="677"/>
                      <a:pt x="0" y="267"/>
                      <a:pt x="0" y="213"/>
                    </a:cubicBezTo>
                    <a:cubicBezTo>
                      <a:pt x="0" y="98"/>
                      <a:pt x="98" y="0"/>
                      <a:pt x="214" y="0"/>
                    </a:cubicBezTo>
                    <a:cubicBezTo>
                      <a:pt x="277" y="0"/>
                      <a:pt x="517" y="0"/>
                      <a:pt x="5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43" name="Freeform 35"/>
              <p:cNvSpPr>
                <a:spLocks/>
              </p:cNvSpPr>
              <p:nvPr/>
            </p:nvSpPr>
            <p:spPr bwMode="auto">
              <a:xfrm>
                <a:off x="4867348" y="2165469"/>
                <a:ext cx="72099" cy="72099"/>
              </a:xfrm>
              <a:custGeom>
                <a:avLst/>
                <a:gdLst>
                  <a:gd name="T0" fmla="*/ 0 w 330"/>
                  <a:gd name="T1" fmla="*/ 169 h 330"/>
                  <a:gd name="T2" fmla="*/ 169 w 330"/>
                  <a:gd name="T3" fmla="*/ 330 h 330"/>
                  <a:gd name="T4" fmla="*/ 330 w 330"/>
                  <a:gd name="T5" fmla="*/ 169 h 330"/>
                  <a:gd name="T6" fmla="*/ 169 w 330"/>
                  <a:gd name="T7" fmla="*/ 0 h 330"/>
                  <a:gd name="T8" fmla="*/ 0 w 330"/>
                  <a:gd name="T9" fmla="*/ 169 h 330"/>
                </a:gdLst>
                <a:ahLst/>
                <a:cxnLst>
                  <a:cxn ang="0">
                    <a:pos x="T0" y="T1"/>
                  </a:cxn>
                  <a:cxn ang="0">
                    <a:pos x="T2" y="T3"/>
                  </a:cxn>
                  <a:cxn ang="0">
                    <a:pos x="T4" y="T5"/>
                  </a:cxn>
                  <a:cxn ang="0">
                    <a:pos x="T6" y="T7"/>
                  </a:cxn>
                  <a:cxn ang="0">
                    <a:pos x="T8" y="T9"/>
                  </a:cxn>
                </a:cxnLst>
                <a:rect l="0" t="0" r="r" b="b"/>
                <a:pathLst>
                  <a:path w="330" h="330">
                    <a:moveTo>
                      <a:pt x="0" y="169"/>
                    </a:moveTo>
                    <a:cubicBezTo>
                      <a:pt x="0" y="259"/>
                      <a:pt x="71" y="330"/>
                      <a:pt x="169" y="330"/>
                    </a:cubicBezTo>
                    <a:cubicBezTo>
                      <a:pt x="259" y="330"/>
                      <a:pt x="330" y="259"/>
                      <a:pt x="330" y="169"/>
                    </a:cubicBezTo>
                    <a:cubicBezTo>
                      <a:pt x="330" y="71"/>
                      <a:pt x="259" y="0"/>
                      <a:pt x="169" y="0"/>
                    </a:cubicBezTo>
                    <a:cubicBezTo>
                      <a:pt x="71" y="0"/>
                      <a:pt x="0" y="71"/>
                      <a:pt x="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nvGrpSpPr>
            <p:cNvPr id="221" name="Group 220"/>
            <p:cNvGrpSpPr/>
            <p:nvPr/>
          </p:nvGrpSpPr>
          <p:grpSpPr>
            <a:xfrm>
              <a:off x="9290680" y="3633625"/>
              <a:ext cx="147165" cy="372276"/>
              <a:chOff x="4348935" y="2165469"/>
              <a:chExt cx="173677" cy="439342"/>
            </a:xfrm>
            <a:grpFill/>
          </p:grpSpPr>
          <p:sp>
            <p:nvSpPr>
              <p:cNvPr id="240" name="Freeform 34"/>
              <p:cNvSpPr>
                <a:spLocks/>
              </p:cNvSpPr>
              <p:nvPr/>
            </p:nvSpPr>
            <p:spPr bwMode="auto">
              <a:xfrm>
                <a:off x="4348935" y="2247513"/>
                <a:ext cx="173677" cy="357298"/>
              </a:xfrm>
              <a:custGeom>
                <a:avLst/>
                <a:gdLst>
                  <a:gd name="T0" fmla="*/ 580 w 794"/>
                  <a:gd name="T1" fmla="*/ 0 h 1631"/>
                  <a:gd name="T2" fmla="*/ 794 w 794"/>
                  <a:gd name="T3" fmla="*/ 213 h 1631"/>
                  <a:gd name="T4" fmla="*/ 794 w 794"/>
                  <a:gd name="T5" fmla="*/ 722 h 1631"/>
                  <a:gd name="T6" fmla="*/ 722 w 794"/>
                  <a:gd name="T7" fmla="*/ 793 h 1631"/>
                  <a:gd name="T8" fmla="*/ 651 w 794"/>
                  <a:gd name="T9" fmla="*/ 722 h 1631"/>
                  <a:gd name="T10" fmla="*/ 651 w 794"/>
                  <a:gd name="T11" fmla="*/ 258 h 1631"/>
                  <a:gd name="T12" fmla="*/ 615 w 794"/>
                  <a:gd name="T13" fmla="*/ 258 h 1631"/>
                  <a:gd name="T14" fmla="*/ 615 w 794"/>
                  <a:gd name="T15" fmla="*/ 1533 h 1631"/>
                  <a:gd name="T16" fmla="*/ 508 w 794"/>
                  <a:gd name="T17" fmla="*/ 1631 h 1631"/>
                  <a:gd name="T18" fmla="*/ 419 w 794"/>
                  <a:gd name="T19" fmla="*/ 1533 h 1631"/>
                  <a:gd name="T20" fmla="*/ 419 w 794"/>
                  <a:gd name="T21" fmla="*/ 793 h 1631"/>
                  <a:gd name="T22" fmla="*/ 375 w 794"/>
                  <a:gd name="T23" fmla="*/ 793 h 1631"/>
                  <a:gd name="T24" fmla="*/ 375 w 794"/>
                  <a:gd name="T25" fmla="*/ 1533 h 1631"/>
                  <a:gd name="T26" fmla="*/ 277 w 794"/>
                  <a:gd name="T27" fmla="*/ 1631 h 1631"/>
                  <a:gd name="T28" fmla="*/ 187 w 794"/>
                  <a:gd name="T29" fmla="*/ 1533 h 1631"/>
                  <a:gd name="T30" fmla="*/ 187 w 794"/>
                  <a:gd name="T31" fmla="*/ 258 h 1631"/>
                  <a:gd name="T32" fmla="*/ 143 w 794"/>
                  <a:gd name="T33" fmla="*/ 258 h 1631"/>
                  <a:gd name="T34" fmla="*/ 143 w 794"/>
                  <a:gd name="T35" fmla="*/ 722 h 1631"/>
                  <a:gd name="T36" fmla="*/ 72 w 794"/>
                  <a:gd name="T37" fmla="*/ 793 h 1631"/>
                  <a:gd name="T38" fmla="*/ 0 w 794"/>
                  <a:gd name="T39" fmla="*/ 722 h 1631"/>
                  <a:gd name="T40" fmla="*/ 0 w 794"/>
                  <a:gd name="T41" fmla="*/ 213 h 1631"/>
                  <a:gd name="T42" fmla="*/ 214 w 794"/>
                  <a:gd name="T43" fmla="*/ 0 h 1631"/>
                  <a:gd name="T44" fmla="*/ 580 w 794"/>
                  <a:gd name="T45" fmla="*/ 0 h 1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94" h="1631">
                    <a:moveTo>
                      <a:pt x="580" y="0"/>
                    </a:moveTo>
                    <a:cubicBezTo>
                      <a:pt x="696" y="0"/>
                      <a:pt x="794" y="98"/>
                      <a:pt x="794" y="213"/>
                    </a:cubicBezTo>
                    <a:cubicBezTo>
                      <a:pt x="794" y="267"/>
                      <a:pt x="794" y="677"/>
                      <a:pt x="794" y="722"/>
                    </a:cubicBezTo>
                    <a:cubicBezTo>
                      <a:pt x="794" y="757"/>
                      <a:pt x="758" y="793"/>
                      <a:pt x="722" y="793"/>
                    </a:cubicBezTo>
                    <a:cubicBezTo>
                      <a:pt x="678" y="793"/>
                      <a:pt x="651" y="757"/>
                      <a:pt x="651" y="722"/>
                    </a:cubicBezTo>
                    <a:cubicBezTo>
                      <a:pt x="651" y="677"/>
                      <a:pt x="651" y="258"/>
                      <a:pt x="651" y="258"/>
                    </a:cubicBezTo>
                    <a:cubicBezTo>
                      <a:pt x="615" y="258"/>
                      <a:pt x="615" y="258"/>
                      <a:pt x="615" y="258"/>
                    </a:cubicBezTo>
                    <a:cubicBezTo>
                      <a:pt x="615" y="258"/>
                      <a:pt x="615" y="1453"/>
                      <a:pt x="615" y="1533"/>
                    </a:cubicBezTo>
                    <a:cubicBezTo>
                      <a:pt x="615" y="1586"/>
                      <a:pt x="562" y="1631"/>
                      <a:pt x="508" y="1631"/>
                    </a:cubicBezTo>
                    <a:cubicBezTo>
                      <a:pt x="464" y="1631"/>
                      <a:pt x="419" y="1586"/>
                      <a:pt x="419" y="1533"/>
                    </a:cubicBezTo>
                    <a:cubicBezTo>
                      <a:pt x="419" y="1453"/>
                      <a:pt x="419" y="793"/>
                      <a:pt x="419" y="793"/>
                    </a:cubicBezTo>
                    <a:cubicBezTo>
                      <a:pt x="375" y="793"/>
                      <a:pt x="375" y="793"/>
                      <a:pt x="375" y="793"/>
                    </a:cubicBezTo>
                    <a:cubicBezTo>
                      <a:pt x="375" y="793"/>
                      <a:pt x="375" y="1453"/>
                      <a:pt x="375" y="1533"/>
                    </a:cubicBezTo>
                    <a:cubicBezTo>
                      <a:pt x="375" y="1586"/>
                      <a:pt x="330" y="1631"/>
                      <a:pt x="277" y="1631"/>
                    </a:cubicBezTo>
                    <a:cubicBezTo>
                      <a:pt x="223" y="1631"/>
                      <a:pt x="187" y="1586"/>
                      <a:pt x="187" y="1533"/>
                    </a:cubicBezTo>
                    <a:cubicBezTo>
                      <a:pt x="187" y="1453"/>
                      <a:pt x="187" y="258"/>
                      <a:pt x="187" y="258"/>
                    </a:cubicBezTo>
                    <a:cubicBezTo>
                      <a:pt x="143" y="258"/>
                      <a:pt x="143" y="258"/>
                      <a:pt x="143" y="258"/>
                    </a:cubicBezTo>
                    <a:cubicBezTo>
                      <a:pt x="143" y="258"/>
                      <a:pt x="143" y="677"/>
                      <a:pt x="143" y="722"/>
                    </a:cubicBezTo>
                    <a:cubicBezTo>
                      <a:pt x="143" y="757"/>
                      <a:pt x="116" y="793"/>
                      <a:pt x="72" y="793"/>
                    </a:cubicBezTo>
                    <a:cubicBezTo>
                      <a:pt x="36" y="793"/>
                      <a:pt x="0" y="757"/>
                      <a:pt x="0" y="722"/>
                    </a:cubicBezTo>
                    <a:cubicBezTo>
                      <a:pt x="0" y="677"/>
                      <a:pt x="0" y="267"/>
                      <a:pt x="0" y="213"/>
                    </a:cubicBezTo>
                    <a:cubicBezTo>
                      <a:pt x="0" y="98"/>
                      <a:pt x="98" y="0"/>
                      <a:pt x="214" y="0"/>
                    </a:cubicBezTo>
                    <a:cubicBezTo>
                      <a:pt x="277" y="0"/>
                      <a:pt x="517" y="0"/>
                      <a:pt x="5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41" name="Freeform 35"/>
              <p:cNvSpPr>
                <a:spLocks/>
              </p:cNvSpPr>
              <p:nvPr/>
            </p:nvSpPr>
            <p:spPr bwMode="auto">
              <a:xfrm>
                <a:off x="4399724" y="2165469"/>
                <a:ext cx="72099" cy="72099"/>
              </a:xfrm>
              <a:custGeom>
                <a:avLst/>
                <a:gdLst>
                  <a:gd name="T0" fmla="*/ 0 w 330"/>
                  <a:gd name="T1" fmla="*/ 169 h 330"/>
                  <a:gd name="T2" fmla="*/ 169 w 330"/>
                  <a:gd name="T3" fmla="*/ 330 h 330"/>
                  <a:gd name="T4" fmla="*/ 330 w 330"/>
                  <a:gd name="T5" fmla="*/ 169 h 330"/>
                  <a:gd name="T6" fmla="*/ 169 w 330"/>
                  <a:gd name="T7" fmla="*/ 0 h 330"/>
                  <a:gd name="T8" fmla="*/ 0 w 330"/>
                  <a:gd name="T9" fmla="*/ 169 h 330"/>
                </a:gdLst>
                <a:ahLst/>
                <a:cxnLst>
                  <a:cxn ang="0">
                    <a:pos x="T0" y="T1"/>
                  </a:cxn>
                  <a:cxn ang="0">
                    <a:pos x="T2" y="T3"/>
                  </a:cxn>
                  <a:cxn ang="0">
                    <a:pos x="T4" y="T5"/>
                  </a:cxn>
                  <a:cxn ang="0">
                    <a:pos x="T6" y="T7"/>
                  </a:cxn>
                  <a:cxn ang="0">
                    <a:pos x="T8" y="T9"/>
                  </a:cxn>
                </a:cxnLst>
                <a:rect l="0" t="0" r="r" b="b"/>
                <a:pathLst>
                  <a:path w="330" h="330">
                    <a:moveTo>
                      <a:pt x="0" y="169"/>
                    </a:moveTo>
                    <a:cubicBezTo>
                      <a:pt x="0" y="259"/>
                      <a:pt x="71" y="330"/>
                      <a:pt x="169" y="330"/>
                    </a:cubicBezTo>
                    <a:cubicBezTo>
                      <a:pt x="259" y="330"/>
                      <a:pt x="330" y="259"/>
                      <a:pt x="330" y="169"/>
                    </a:cubicBezTo>
                    <a:cubicBezTo>
                      <a:pt x="330" y="71"/>
                      <a:pt x="259" y="0"/>
                      <a:pt x="169" y="0"/>
                    </a:cubicBezTo>
                    <a:cubicBezTo>
                      <a:pt x="71" y="0"/>
                      <a:pt x="0" y="71"/>
                      <a:pt x="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nvGrpSpPr>
            <p:cNvPr id="222" name="Group 221"/>
            <p:cNvGrpSpPr/>
            <p:nvPr/>
          </p:nvGrpSpPr>
          <p:grpSpPr>
            <a:xfrm>
              <a:off x="9476800" y="3633625"/>
              <a:ext cx="175153" cy="373780"/>
              <a:chOff x="4543922" y="2165469"/>
              <a:chExt cx="206707" cy="441118"/>
            </a:xfrm>
            <a:grpFill/>
          </p:grpSpPr>
          <p:sp>
            <p:nvSpPr>
              <p:cNvPr id="238" name="Freeform 36"/>
              <p:cNvSpPr>
                <a:spLocks/>
              </p:cNvSpPr>
              <p:nvPr/>
            </p:nvSpPr>
            <p:spPr bwMode="auto">
              <a:xfrm>
                <a:off x="4612469" y="2165469"/>
                <a:ext cx="72099" cy="72099"/>
              </a:xfrm>
              <a:custGeom>
                <a:avLst/>
                <a:gdLst>
                  <a:gd name="T0" fmla="*/ 0 w 329"/>
                  <a:gd name="T1" fmla="*/ 169 h 330"/>
                  <a:gd name="T2" fmla="*/ 160 w 329"/>
                  <a:gd name="T3" fmla="*/ 330 h 330"/>
                  <a:gd name="T4" fmla="*/ 329 w 329"/>
                  <a:gd name="T5" fmla="*/ 169 h 330"/>
                  <a:gd name="T6" fmla="*/ 160 w 329"/>
                  <a:gd name="T7" fmla="*/ 0 h 330"/>
                  <a:gd name="T8" fmla="*/ 0 w 329"/>
                  <a:gd name="T9" fmla="*/ 169 h 330"/>
                </a:gdLst>
                <a:ahLst/>
                <a:cxnLst>
                  <a:cxn ang="0">
                    <a:pos x="T0" y="T1"/>
                  </a:cxn>
                  <a:cxn ang="0">
                    <a:pos x="T2" y="T3"/>
                  </a:cxn>
                  <a:cxn ang="0">
                    <a:pos x="T4" y="T5"/>
                  </a:cxn>
                  <a:cxn ang="0">
                    <a:pos x="T6" y="T7"/>
                  </a:cxn>
                  <a:cxn ang="0">
                    <a:pos x="T8" y="T9"/>
                  </a:cxn>
                </a:cxnLst>
                <a:rect l="0" t="0" r="r" b="b"/>
                <a:pathLst>
                  <a:path w="329" h="330">
                    <a:moveTo>
                      <a:pt x="0" y="169"/>
                    </a:moveTo>
                    <a:cubicBezTo>
                      <a:pt x="0" y="259"/>
                      <a:pt x="71" y="330"/>
                      <a:pt x="160" y="330"/>
                    </a:cubicBezTo>
                    <a:cubicBezTo>
                      <a:pt x="258" y="330"/>
                      <a:pt x="329" y="259"/>
                      <a:pt x="329" y="169"/>
                    </a:cubicBezTo>
                    <a:cubicBezTo>
                      <a:pt x="329" y="71"/>
                      <a:pt x="258" y="0"/>
                      <a:pt x="160" y="0"/>
                    </a:cubicBezTo>
                    <a:cubicBezTo>
                      <a:pt x="71" y="0"/>
                      <a:pt x="0" y="71"/>
                      <a:pt x="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39" name="Freeform 37"/>
              <p:cNvSpPr>
                <a:spLocks/>
              </p:cNvSpPr>
              <p:nvPr/>
            </p:nvSpPr>
            <p:spPr bwMode="auto">
              <a:xfrm>
                <a:off x="4543922" y="2247513"/>
                <a:ext cx="206707" cy="359074"/>
              </a:xfrm>
              <a:custGeom>
                <a:avLst/>
                <a:gdLst>
                  <a:gd name="T0" fmla="*/ 935 w 944"/>
                  <a:gd name="T1" fmla="*/ 641 h 1640"/>
                  <a:gd name="T2" fmla="*/ 793 w 944"/>
                  <a:gd name="T3" fmla="*/ 151 h 1640"/>
                  <a:gd name="T4" fmla="*/ 606 w 944"/>
                  <a:gd name="T5" fmla="*/ 0 h 1640"/>
                  <a:gd name="T6" fmla="*/ 338 w 944"/>
                  <a:gd name="T7" fmla="*/ 0 h 1640"/>
                  <a:gd name="T8" fmla="*/ 151 w 944"/>
                  <a:gd name="T9" fmla="*/ 151 h 1640"/>
                  <a:gd name="T10" fmla="*/ 8 w 944"/>
                  <a:gd name="T11" fmla="*/ 641 h 1640"/>
                  <a:gd name="T12" fmla="*/ 53 w 944"/>
                  <a:gd name="T13" fmla="*/ 722 h 1640"/>
                  <a:gd name="T14" fmla="*/ 133 w 944"/>
                  <a:gd name="T15" fmla="*/ 677 h 1640"/>
                  <a:gd name="T16" fmla="*/ 267 w 944"/>
                  <a:gd name="T17" fmla="*/ 222 h 1640"/>
                  <a:gd name="T18" fmla="*/ 312 w 944"/>
                  <a:gd name="T19" fmla="*/ 222 h 1640"/>
                  <a:gd name="T20" fmla="*/ 80 w 944"/>
                  <a:gd name="T21" fmla="*/ 980 h 1640"/>
                  <a:gd name="T22" fmla="*/ 294 w 944"/>
                  <a:gd name="T23" fmla="*/ 980 h 1640"/>
                  <a:gd name="T24" fmla="*/ 294 w 944"/>
                  <a:gd name="T25" fmla="*/ 1560 h 1640"/>
                  <a:gd name="T26" fmla="*/ 374 w 944"/>
                  <a:gd name="T27" fmla="*/ 1640 h 1640"/>
                  <a:gd name="T28" fmla="*/ 454 w 944"/>
                  <a:gd name="T29" fmla="*/ 1560 h 1640"/>
                  <a:gd name="T30" fmla="*/ 454 w 944"/>
                  <a:gd name="T31" fmla="*/ 980 h 1640"/>
                  <a:gd name="T32" fmla="*/ 490 w 944"/>
                  <a:gd name="T33" fmla="*/ 980 h 1640"/>
                  <a:gd name="T34" fmla="*/ 490 w 944"/>
                  <a:gd name="T35" fmla="*/ 1560 h 1640"/>
                  <a:gd name="T36" fmla="*/ 570 w 944"/>
                  <a:gd name="T37" fmla="*/ 1640 h 1640"/>
                  <a:gd name="T38" fmla="*/ 650 w 944"/>
                  <a:gd name="T39" fmla="*/ 1560 h 1640"/>
                  <a:gd name="T40" fmla="*/ 650 w 944"/>
                  <a:gd name="T41" fmla="*/ 980 h 1640"/>
                  <a:gd name="T42" fmla="*/ 864 w 944"/>
                  <a:gd name="T43" fmla="*/ 980 h 1640"/>
                  <a:gd name="T44" fmla="*/ 641 w 944"/>
                  <a:gd name="T45" fmla="*/ 222 h 1640"/>
                  <a:gd name="T46" fmla="*/ 677 w 944"/>
                  <a:gd name="T47" fmla="*/ 222 h 1640"/>
                  <a:gd name="T48" fmla="*/ 811 w 944"/>
                  <a:gd name="T49" fmla="*/ 677 h 1640"/>
                  <a:gd name="T50" fmla="*/ 891 w 944"/>
                  <a:gd name="T51" fmla="*/ 722 h 1640"/>
                  <a:gd name="T52" fmla="*/ 935 w 944"/>
                  <a:gd name="T53" fmla="*/ 641 h 1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4" h="1640">
                    <a:moveTo>
                      <a:pt x="935" y="641"/>
                    </a:moveTo>
                    <a:cubicBezTo>
                      <a:pt x="926" y="615"/>
                      <a:pt x="855" y="356"/>
                      <a:pt x="793" y="151"/>
                    </a:cubicBezTo>
                    <a:cubicBezTo>
                      <a:pt x="775" y="80"/>
                      <a:pt x="686" y="0"/>
                      <a:pt x="606" y="0"/>
                    </a:cubicBezTo>
                    <a:cubicBezTo>
                      <a:pt x="570" y="0"/>
                      <a:pt x="374" y="0"/>
                      <a:pt x="338" y="0"/>
                    </a:cubicBezTo>
                    <a:cubicBezTo>
                      <a:pt x="258" y="0"/>
                      <a:pt x="178" y="80"/>
                      <a:pt x="151" y="151"/>
                    </a:cubicBezTo>
                    <a:cubicBezTo>
                      <a:pt x="89" y="356"/>
                      <a:pt x="17" y="615"/>
                      <a:pt x="8" y="641"/>
                    </a:cubicBezTo>
                    <a:cubicBezTo>
                      <a:pt x="0" y="677"/>
                      <a:pt x="17" y="713"/>
                      <a:pt x="53" y="722"/>
                    </a:cubicBezTo>
                    <a:cubicBezTo>
                      <a:pt x="89" y="731"/>
                      <a:pt x="124" y="713"/>
                      <a:pt x="133" y="677"/>
                    </a:cubicBezTo>
                    <a:cubicBezTo>
                      <a:pt x="151" y="624"/>
                      <a:pt x="267" y="222"/>
                      <a:pt x="267" y="222"/>
                    </a:cubicBezTo>
                    <a:cubicBezTo>
                      <a:pt x="312" y="222"/>
                      <a:pt x="312" y="222"/>
                      <a:pt x="312" y="222"/>
                    </a:cubicBezTo>
                    <a:cubicBezTo>
                      <a:pt x="80" y="980"/>
                      <a:pt x="80" y="980"/>
                      <a:pt x="80" y="980"/>
                    </a:cubicBezTo>
                    <a:cubicBezTo>
                      <a:pt x="294" y="980"/>
                      <a:pt x="294" y="980"/>
                      <a:pt x="294" y="980"/>
                    </a:cubicBezTo>
                    <a:cubicBezTo>
                      <a:pt x="294" y="1248"/>
                      <a:pt x="294" y="1524"/>
                      <a:pt x="294" y="1560"/>
                    </a:cubicBezTo>
                    <a:cubicBezTo>
                      <a:pt x="294" y="1604"/>
                      <a:pt x="329" y="1640"/>
                      <a:pt x="374" y="1640"/>
                    </a:cubicBezTo>
                    <a:cubicBezTo>
                      <a:pt x="418" y="1640"/>
                      <a:pt x="454" y="1604"/>
                      <a:pt x="454" y="1560"/>
                    </a:cubicBezTo>
                    <a:cubicBezTo>
                      <a:pt x="454" y="1497"/>
                      <a:pt x="454" y="980"/>
                      <a:pt x="454" y="980"/>
                    </a:cubicBezTo>
                    <a:cubicBezTo>
                      <a:pt x="490" y="980"/>
                      <a:pt x="490" y="980"/>
                      <a:pt x="490" y="980"/>
                    </a:cubicBezTo>
                    <a:cubicBezTo>
                      <a:pt x="490" y="980"/>
                      <a:pt x="490" y="1497"/>
                      <a:pt x="490" y="1560"/>
                    </a:cubicBezTo>
                    <a:cubicBezTo>
                      <a:pt x="490" y="1604"/>
                      <a:pt x="525" y="1640"/>
                      <a:pt x="570" y="1640"/>
                    </a:cubicBezTo>
                    <a:cubicBezTo>
                      <a:pt x="615" y="1640"/>
                      <a:pt x="650" y="1604"/>
                      <a:pt x="650" y="1560"/>
                    </a:cubicBezTo>
                    <a:cubicBezTo>
                      <a:pt x="650" y="1524"/>
                      <a:pt x="650" y="1248"/>
                      <a:pt x="650" y="980"/>
                    </a:cubicBezTo>
                    <a:cubicBezTo>
                      <a:pt x="864" y="980"/>
                      <a:pt x="864" y="980"/>
                      <a:pt x="864" y="980"/>
                    </a:cubicBezTo>
                    <a:cubicBezTo>
                      <a:pt x="641" y="222"/>
                      <a:pt x="641" y="222"/>
                      <a:pt x="641" y="222"/>
                    </a:cubicBezTo>
                    <a:cubicBezTo>
                      <a:pt x="677" y="222"/>
                      <a:pt x="677" y="222"/>
                      <a:pt x="677" y="222"/>
                    </a:cubicBezTo>
                    <a:cubicBezTo>
                      <a:pt x="677" y="222"/>
                      <a:pt x="793" y="624"/>
                      <a:pt x="811" y="677"/>
                    </a:cubicBezTo>
                    <a:cubicBezTo>
                      <a:pt x="820" y="713"/>
                      <a:pt x="855" y="731"/>
                      <a:pt x="891" y="722"/>
                    </a:cubicBezTo>
                    <a:cubicBezTo>
                      <a:pt x="926" y="713"/>
                      <a:pt x="944" y="677"/>
                      <a:pt x="935" y="6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nvGrpSpPr>
            <p:cNvPr id="223" name="Group 222"/>
            <p:cNvGrpSpPr/>
            <p:nvPr/>
          </p:nvGrpSpPr>
          <p:grpSpPr>
            <a:xfrm>
              <a:off x="9076571" y="3633625"/>
              <a:ext cx="175153" cy="373780"/>
              <a:chOff x="4543922" y="2165469"/>
              <a:chExt cx="206707" cy="441118"/>
            </a:xfrm>
            <a:grpFill/>
          </p:grpSpPr>
          <p:sp>
            <p:nvSpPr>
              <p:cNvPr id="236" name="Freeform 36"/>
              <p:cNvSpPr>
                <a:spLocks/>
              </p:cNvSpPr>
              <p:nvPr/>
            </p:nvSpPr>
            <p:spPr bwMode="auto">
              <a:xfrm>
                <a:off x="4612469" y="2165469"/>
                <a:ext cx="72099" cy="72099"/>
              </a:xfrm>
              <a:custGeom>
                <a:avLst/>
                <a:gdLst>
                  <a:gd name="T0" fmla="*/ 0 w 329"/>
                  <a:gd name="T1" fmla="*/ 169 h 330"/>
                  <a:gd name="T2" fmla="*/ 160 w 329"/>
                  <a:gd name="T3" fmla="*/ 330 h 330"/>
                  <a:gd name="T4" fmla="*/ 329 w 329"/>
                  <a:gd name="T5" fmla="*/ 169 h 330"/>
                  <a:gd name="T6" fmla="*/ 160 w 329"/>
                  <a:gd name="T7" fmla="*/ 0 h 330"/>
                  <a:gd name="T8" fmla="*/ 0 w 329"/>
                  <a:gd name="T9" fmla="*/ 169 h 330"/>
                </a:gdLst>
                <a:ahLst/>
                <a:cxnLst>
                  <a:cxn ang="0">
                    <a:pos x="T0" y="T1"/>
                  </a:cxn>
                  <a:cxn ang="0">
                    <a:pos x="T2" y="T3"/>
                  </a:cxn>
                  <a:cxn ang="0">
                    <a:pos x="T4" y="T5"/>
                  </a:cxn>
                  <a:cxn ang="0">
                    <a:pos x="T6" y="T7"/>
                  </a:cxn>
                  <a:cxn ang="0">
                    <a:pos x="T8" y="T9"/>
                  </a:cxn>
                </a:cxnLst>
                <a:rect l="0" t="0" r="r" b="b"/>
                <a:pathLst>
                  <a:path w="329" h="330">
                    <a:moveTo>
                      <a:pt x="0" y="169"/>
                    </a:moveTo>
                    <a:cubicBezTo>
                      <a:pt x="0" y="259"/>
                      <a:pt x="71" y="330"/>
                      <a:pt x="160" y="330"/>
                    </a:cubicBezTo>
                    <a:cubicBezTo>
                      <a:pt x="258" y="330"/>
                      <a:pt x="329" y="259"/>
                      <a:pt x="329" y="169"/>
                    </a:cubicBezTo>
                    <a:cubicBezTo>
                      <a:pt x="329" y="71"/>
                      <a:pt x="258" y="0"/>
                      <a:pt x="160" y="0"/>
                    </a:cubicBezTo>
                    <a:cubicBezTo>
                      <a:pt x="71" y="0"/>
                      <a:pt x="0" y="71"/>
                      <a:pt x="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37" name="Freeform 37"/>
              <p:cNvSpPr>
                <a:spLocks/>
              </p:cNvSpPr>
              <p:nvPr/>
            </p:nvSpPr>
            <p:spPr bwMode="auto">
              <a:xfrm>
                <a:off x="4543922" y="2247513"/>
                <a:ext cx="206707" cy="359074"/>
              </a:xfrm>
              <a:custGeom>
                <a:avLst/>
                <a:gdLst>
                  <a:gd name="T0" fmla="*/ 935 w 944"/>
                  <a:gd name="T1" fmla="*/ 641 h 1640"/>
                  <a:gd name="T2" fmla="*/ 793 w 944"/>
                  <a:gd name="T3" fmla="*/ 151 h 1640"/>
                  <a:gd name="T4" fmla="*/ 606 w 944"/>
                  <a:gd name="T5" fmla="*/ 0 h 1640"/>
                  <a:gd name="T6" fmla="*/ 338 w 944"/>
                  <a:gd name="T7" fmla="*/ 0 h 1640"/>
                  <a:gd name="T8" fmla="*/ 151 w 944"/>
                  <a:gd name="T9" fmla="*/ 151 h 1640"/>
                  <a:gd name="T10" fmla="*/ 8 w 944"/>
                  <a:gd name="T11" fmla="*/ 641 h 1640"/>
                  <a:gd name="T12" fmla="*/ 53 w 944"/>
                  <a:gd name="T13" fmla="*/ 722 h 1640"/>
                  <a:gd name="T14" fmla="*/ 133 w 944"/>
                  <a:gd name="T15" fmla="*/ 677 h 1640"/>
                  <a:gd name="T16" fmla="*/ 267 w 944"/>
                  <a:gd name="T17" fmla="*/ 222 h 1640"/>
                  <a:gd name="T18" fmla="*/ 312 w 944"/>
                  <a:gd name="T19" fmla="*/ 222 h 1640"/>
                  <a:gd name="T20" fmla="*/ 80 w 944"/>
                  <a:gd name="T21" fmla="*/ 980 h 1640"/>
                  <a:gd name="T22" fmla="*/ 294 w 944"/>
                  <a:gd name="T23" fmla="*/ 980 h 1640"/>
                  <a:gd name="T24" fmla="*/ 294 w 944"/>
                  <a:gd name="T25" fmla="*/ 1560 h 1640"/>
                  <a:gd name="T26" fmla="*/ 374 w 944"/>
                  <a:gd name="T27" fmla="*/ 1640 h 1640"/>
                  <a:gd name="T28" fmla="*/ 454 w 944"/>
                  <a:gd name="T29" fmla="*/ 1560 h 1640"/>
                  <a:gd name="T30" fmla="*/ 454 w 944"/>
                  <a:gd name="T31" fmla="*/ 980 h 1640"/>
                  <a:gd name="T32" fmla="*/ 490 w 944"/>
                  <a:gd name="T33" fmla="*/ 980 h 1640"/>
                  <a:gd name="T34" fmla="*/ 490 w 944"/>
                  <a:gd name="T35" fmla="*/ 1560 h 1640"/>
                  <a:gd name="T36" fmla="*/ 570 w 944"/>
                  <a:gd name="T37" fmla="*/ 1640 h 1640"/>
                  <a:gd name="T38" fmla="*/ 650 w 944"/>
                  <a:gd name="T39" fmla="*/ 1560 h 1640"/>
                  <a:gd name="T40" fmla="*/ 650 w 944"/>
                  <a:gd name="T41" fmla="*/ 980 h 1640"/>
                  <a:gd name="T42" fmla="*/ 864 w 944"/>
                  <a:gd name="T43" fmla="*/ 980 h 1640"/>
                  <a:gd name="T44" fmla="*/ 641 w 944"/>
                  <a:gd name="T45" fmla="*/ 222 h 1640"/>
                  <a:gd name="T46" fmla="*/ 677 w 944"/>
                  <a:gd name="T47" fmla="*/ 222 h 1640"/>
                  <a:gd name="T48" fmla="*/ 811 w 944"/>
                  <a:gd name="T49" fmla="*/ 677 h 1640"/>
                  <a:gd name="T50" fmla="*/ 891 w 944"/>
                  <a:gd name="T51" fmla="*/ 722 h 1640"/>
                  <a:gd name="T52" fmla="*/ 935 w 944"/>
                  <a:gd name="T53" fmla="*/ 641 h 1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4" h="1640">
                    <a:moveTo>
                      <a:pt x="935" y="641"/>
                    </a:moveTo>
                    <a:cubicBezTo>
                      <a:pt x="926" y="615"/>
                      <a:pt x="855" y="356"/>
                      <a:pt x="793" y="151"/>
                    </a:cubicBezTo>
                    <a:cubicBezTo>
                      <a:pt x="775" y="80"/>
                      <a:pt x="686" y="0"/>
                      <a:pt x="606" y="0"/>
                    </a:cubicBezTo>
                    <a:cubicBezTo>
                      <a:pt x="570" y="0"/>
                      <a:pt x="374" y="0"/>
                      <a:pt x="338" y="0"/>
                    </a:cubicBezTo>
                    <a:cubicBezTo>
                      <a:pt x="258" y="0"/>
                      <a:pt x="178" y="80"/>
                      <a:pt x="151" y="151"/>
                    </a:cubicBezTo>
                    <a:cubicBezTo>
                      <a:pt x="89" y="356"/>
                      <a:pt x="17" y="615"/>
                      <a:pt x="8" y="641"/>
                    </a:cubicBezTo>
                    <a:cubicBezTo>
                      <a:pt x="0" y="677"/>
                      <a:pt x="17" y="713"/>
                      <a:pt x="53" y="722"/>
                    </a:cubicBezTo>
                    <a:cubicBezTo>
                      <a:pt x="89" y="731"/>
                      <a:pt x="124" y="713"/>
                      <a:pt x="133" y="677"/>
                    </a:cubicBezTo>
                    <a:cubicBezTo>
                      <a:pt x="151" y="624"/>
                      <a:pt x="267" y="222"/>
                      <a:pt x="267" y="222"/>
                    </a:cubicBezTo>
                    <a:cubicBezTo>
                      <a:pt x="312" y="222"/>
                      <a:pt x="312" y="222"/>
                      <a:pt x="312" y="222"/>
                    </a:cubicBezTo>
                    <a:cubicBezTo>
                      <a:pt x="80" y="980"/>
                      <a:pt x="80" y="980"/>
                      <a:pt x="80" y="980"/>
                    </a:cubicBezTo>
                    <a:cubicBezTo>
                      <a:pt x="294" y="980"/>
                      <a:pt x="294" y="980"/>
                      <a:pt x="294" y="980"/>
                    </a:cubicBezTo>
                    <a:cubicBezTo>
                      <a:pt x="294" y="1248"/>
                      <a:pt x="294" y="1524"/>
                      <a:pt x="294" y="1560"/>
                    </a:cubicBezTo>
                    <a:cubicBezTo>
                      <a:pt x="294" y="1604"/>
                      <a:pt x="329" y="1640"/>
                      <a:pt x="374" y="1640"/>
                    </a:cubicBezTo>
                    <a:cubicBezTo>
                      <a:pt x="418" y="1640"/>
                      <a:pt x="454" y="1604"/>
                      <a:pt x="454" y="1560"/>
                    </a:cubicBezTo>
                    <a:cubicBezTo>
                      <a:pt x="454" y="1497"/>
                      <a:pt x="454" y="980"/>
                      <a:pt x="454" y="980"/>
                    </a:cubicBezTo>
                    <a:cubicBezTo>
                      <a:pt x="490" y="980"/>
                      <a:pt x="490" y="980"/>
                      <a:pt x="490" y="980"/>
                    </a:cubicBezTo>
                    <a:cubicBezTo>
                      <a:pt x="490" y="980"/>
                      <a:pt x="490" y="1497"/>
                      <a:pt x="490" y="1560"/>
                    </a:cubicBezTo>
                    <a:cubicBezTo>
                      <a:pt x="490" y="1604"/>
                      <a:pt x="525" y="1640"/>
                      <a:pt x="570" y="1640"/>
                    </a:cubicBezTo>
                    <a:cubicBezTo>
                      <a:pt x="615" y="1640"/>
                      <a:pt x="650" y="1604"/>
                      <a:pt x="650" y="1560"/>
                    </a:cubicBezTo>
                    <a:cubicBezTo>
                      <a:pt x="650" y="1524"/>
                      <a:pt x="650" y="1248"/>
                      <a:pt x="650" y="980"/>
                    </a:cubicBezTo>
                    <a:cubicBezTo>
                      <a:pt x="864" y="980"/>
                      <a:pt x="864" y="980"/>
                      <a:pt x="864" y="980"/>
                    </a:cubicBezTo>
                    <a:cubicBezTo>
                      <a:pt x="641" y="222"/>
                      <a:pt x="641" y="222"/>
                      <a:pt x="641" y="222"/>
                    </a:cubicBezTo>
                    <a:cubicBezTo>
                      <a:pt x="677" y="222"/>
                      <a:pt x="677" y="222"/>
                      <a:pt x="677" y="222"/>
                    </a:cubicBezTo>
                    <a:cubicBezTo>
                      <a:pt x="677" y="222"/>
                      <a:pt x="793" y="624"/>
                      <a:pt x="811" y="677"/>
                    </a:cubicBezTo>
                    <a:cubicBezTo>
                      <a:pt x="820" y="713"/>
                      <a:pt x="855" y="731"/>
                      <a:pt x="891" y="722"/>
                    </a:cubicBezTo>
                    <a:cubicBezTo>
                      <a:pt x="926" y="713"/>
                      <a:pt x="944" y="677"/>
                      <a:pt x="935" y="6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nvGrpSpPr>
            <p:cNvPr id="224" name="Group 223"/>
            <p:cNvGrpSpPr/>
            <p:nvPr/>
          </p:nvGrpSpPr>
          <p:grpSpPr>
            <a:xfrm>
              <a:off x="9086620" y="3191652"/>
              <a:ext cx="147165" cy="372276"/>
              <a:chOff x="6240737" y="2165469"/>
              <a:chExt cx="173677" cy="439342"/>
            </a:xfrm>
            <a:grpFill/>
          </p:grpSpPr>
          <p:sp>
            <p:nvSpPr>
              <p:cNvPr id="234" name="Freeform 34"/>
              <p:cNvSpPr>
                <a:spLocks/>
              </p:cNvSpPr>
              <p:nvPr/>
            </p:nvSpPr>
            <p:spPr bwMode="auto">
              <a:xfrm>
                <a:off x="6240737" y="2247513"/>
                <a:ext cx="173677" cy="357298"/>
              </a:xfrm>
              <a:custGeom>
                <a:avLst/>
                <a:gdLst>
                  <a:gd name="T0" fmla="*/ 580 w 794"/>
                  <a:gd name="T1" fmla="*/ 0 h 1631"/>
                  <a:gd name="T2" fmla="*/ 794 w 794"/>
                  <a:gd name="T3" fmla="*/ 213 h 1631"/>
                  <a:gd name="T4" fmla="*/ 794 w 794"/>
                  <a:gd name="T5" fmla="*/ 722 h 1631"/>
                  <a:gd name="T6" fmla="*/ 722 w 794"/>
                  <a:gd name="T7" fmla="*/ 793 h 1631"/>
                  <a:gd name="T8" fmla="*/ 651 w 794"/>
                  <a:gd name="T9" fmla="*/ 722 h 1631"/>
                  <a:gd name="T10" fmla="*/ 651 w 794"/>
                  <a:gd name="T11" fmla="*/ 258 h 1631"/>
                  <a:gd name="T12" fmla="*/ 615 w 794"/>
                  <a:gd name="T13" fmla="*/ 258 h 1631"/>
                  <a:gd name="T14" fmla="*/ 615 w 794"/>
                  <a:gd name="T15" fmla="*/ 1533 h 1631"/>
                  <a:gd name="T16" fmla="*/ 508 w 794"/>
                  <a:gd name="T17" fmla="*/ 1631 h 1631"/>
                  <a:gd name="T18" fmla="*/ 419 w 794"/>
                  <a:gd name="T19" fmla="*/ 1533 h 1631"/>
                  <a:gd name="T20" fmla="*/ 419 w 794"/>
                  <a:gd name="T21" fmla="*/ 793 h 1631"/>
                  <a:gd name="T22" fmla="*/ 375 w 794"/>
                  <a:gd name="T23" fmla="*/ 793 h 1631"/>
                  <a:gd name="T24" fmla="*/ 375 w 794"/>
                  <a:gd name="T25" fmla="*/ 1533 h 1631"/>
                  <a:gd name="T26" fmla="*/ 277 w 794"/>
                  <a:gd name="T27" fmla="*/ 1631 h 1631"/>
                  <a:gd name="T28" fmla="*/ 187 w 794"/>
                  <a:gd name="T29" fmla="*/ 1533 h 1631"/>
                  <a:gd name="T30" fmla="*/ 187 w 794"/>
                  <a:gd name="T31" fmla="*/ 258 h 1631"/>
                  <a:gd name="T32" fmla="*/ 143 w 794"/>
                  <a:gd name="T33" fmla="*/ 258 h 1631"/>
                  <a:gd name="T34" fmla="*/ 143 w 794"/>
                  <a:gd name="T35" fmla="*/ 722 h 1631"/>
                  <a:gd name="T36" fmla="*/ 72 w 794"/>
                  <a:gd name="T37" fmla="*/ 793 h 1631"/>
                  <a:gd name="T38" fmla="*/ 0 w 794"/>
                  <a:gd name="T39" fmla="*/ 722 h 1631"/>
                  <a:gd name="T40" fmla="*/ 0 w 794"/>
                  <a:gd name="T41" fmla="*/ 213 h 1631"/>
                  <a:gd name="T42" fmla="*/ 214 w 794"/>
                  <a:gd name="T43" fmla="*/ 0 h 1631"/>
                  <a:gd name="T44" fmla="*/ 580 w 794"/>
                  <a:gd name="T45" fmla="*/ 0 h 1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94" h="1631">
                    <a:moveTo>
                      <a:pt x="580" y="0"/>
                    </a:moveTo>
                    <a:cubicBezTo>
                      <a:pt x="696" y="0"/>
                      <a:pt x="794" y="98"/>
                      <a:pt x="794" y="213"/>
                    </a:cubicBezTo>
                    <a:cubicBezTo>
                      <a:pt x="794" y="267"/>
                      <a:pt x="794" y="677"/>
                      <a:pt x="794" y="722"/>
                    </a:cubicBezTo>
                    <a:cubicBezTo>
                      <a:pt x="794" y="757"/>
                      <a:pt x="758" y="793"/>
                      <a:pt x="722" y="793"/>
                    </a:cubicBezTo>
                    <a:cubicBezTo>
                      <a:pt x="678" y="793"/>
                      <a:pt x="651" y="757"/>
                      <a:pt x="651" y="722"/>
                    </a:cubicBezTo>
                    <a:cubicBezTo>
                      <a:pt x="651" y="677"/>
                      <a:pt x="651" y="258"/>
                      <a:pt x="651" y="258"/>
                    </a:cubicBezTo>
                    <a:cubicBezTo>
                      <a:pt x="615" y="258"/>
                      <a:pt x="615" y="258"/>
                      <a:pt x="615" y="258"/>
                    </a:cubicBezTo>
                    <a:cubicBezTo>
                      <a:pt x="615" y="258"/>
                      <a:pt x="615" y="1453"/>
                      <a:pt x="615" y="1533"/>
                    </a:cubicBezTo>
                    <a:cubicBezTo>
                      <a:pt x="615" y="1586"/>
                      <a:pt x="562" y="1631"/>
                      <a:pt x="508" y="1631"/>
                    </a:cubicBezTo>
                    <a:cubicBezTo>
                      <a:pt x="464" y="1631"/>
                      <a:pt x="419" y="1586"/>
                      <a:pt x="419" y="1533"/>
                    </a:cubicBezTo>
                    <a:cubicBezTo>
                      <a:pt x="419" y="1453"/>
                      <a:pt x="419" y="793"/>
                      <a:pt x="419" y="793"/>
                    </a:cubicBezTo>
                    <a:cubicBezTo>
                      <a:pt x="375" y="793"/>
                      <a:pt x="375" y="793"/>
                      <a:pt x="375" y="793"/>
                    </a:cubicBezTo>
                    <a:cubicBezTo>
                      <a:pt x="375" y="793"/>
                      <a:pt x="375" y="1453"/>
                      <a:pt x="375" y="1533"/>
                    </a:cubicBezTo>
                    <a:cubicBezTo>
                      <a:pt x="375" y="1586"/>
                      <a:pt x="330" y="1631"/>
                      <a:pt x="277" y="1631"/>
                    </a:cubicBezTo>
                    <a:cubicBezTo>
                      <a:pt x="223" y="1631"/>
                      <a:pt x="187" y="1586"/>
                      <a:pt x="187" y="1533"/>
                    </a:cubicBezTo>
                    <a:cubicBezTo>
                      <a:pt x="187" y="1453"/>
                      <a:pt x="187" y="258"/>
                      <a:pt x="187" y="258"/>
                    </a:cubicBezTo>
                    <a:cubicBezTo>
                      <a:pt x="143" y="258"/>
                      <a:pt x="143" y="258"/>
                      <a:pt x="143" y="258"/>
                    </a:cubicBezTo>
                    <a:cubicBezTo>
                      <a:pt x="143" y="258"/>
                      <a:pt x="143" y="677"/>
                      <a:pt x="143" y="722"/>
                    </a:cubicBezTo>
                    <a:cubicBezTo>
                      <a:pt x="143" y="757"/>
                      <a:pt x="116" y="793"/>
                      <a:pt x="72" y="793"/>
                    </a:cubicBezTo>
                    <a:cubicBezTo>
                      <a:pt x="36" y="793"/>
                      <a:pt x="0" y="757"/>
                      <a:pt x="0" y="722"/>
                    </a:cubicBezTo>
                    <a:cubicBezTo>
                      <a:pt x="0" y="677"/>
                      <a:pt x="0" y="267"/>
                      <a:pt x="0" y="213"/>
                    </a:cubicBezTo>
                    <a:cubicBezTo>
                      <a:pt x="0" y="98"/>
                      <a:pt x="98" y="0"/>
                      <a:pt x="214" y="0"/>
                    </a:cubicBezTo>
                    <a:cubicBezTo>
                      <a:pt x="277" y="0"/>
                      <a:pt x="517" y="0"/>
                      <a:pt x="5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35" name="Freeform 35"/>
              <p:cNvSpPr>
                <a:spLocks/>
              </p:cNvSpPr>
              <p:nvPr/>
            </p:nvSpPr>
            <p:spPr bwMode="auto">
              <a:xfrm>
                <a:off x="6291526" y="2165469"/>
                <a:ext cx="72099" cy="72099"/>
              </a:xfrm>
              <a:custGeom>
                <a:avLst/>
                <a:gdLst>
                  <a:gd name="T0" fmla="*/ 0 w 330"/>
                  <a:gd name="T1" fmla="*/ 169 h 330"/>
                  <a:gd name="T2" fmla="*/ 169 w 330"/>
                  <a:gd name="T3" fmla="*/ 330 h 330"/>
                  <a:gd name="T4" fmla="*/ 330 w 330"/>
                  <a:gd name="T5" fmla="*/ 169 h 330"/>
                  <a:gd name="T6" fmla="*/ 169 w 330"/>
                  <a:gd name="T7" fmla="*/ 0 h 330"/>
                  <a:gd name="T8" fmla="*/ 0 w 330"/>
                  <a:gd name="T9" fmla="*/ 169 h 330"/>
                </a:gdLst>
                <a:ahLst/>
                <a:cxnLst>
                  <a:cxn ang="0">
                    <a:pos x="T0" y="T1"/>
                  </a:cxn>
                  <a:cxn ang="0">
                    <a:pos x="T2" y="T3"/>
                  </a:cxn>
                  <a:cxn ang="0">
                    <a:pos x="T4" y="T5"/>
                  </a:cxn>
                  <a:cxn ang="0">
                    <a:pos x="T6" y="T7"/>
                  </a:cxn>
                  <a:cxn ang="0">
                    <a:pos x="T8" y="T9"/>
                  </a:cxn>
                </a:cxnLst>
                <a:rect l="0" t="0" r="r" b="b"/>
                <a:pathLst>
                  <a:path w="330" h="330">
                    <a:moveTo>
                      <a:pt x="0" y="169"/>
                    </a:moveTo>
                    <a:cubicBezTo>
                      <a:pt x="0" y="259"/>
                      <a:pt x="71" y="330"/>
                      <a:pt x="169" y="330"/>
                    </a:cubicBezTo>
                    <a:cubicBezTo>
                      <a:pt x="259" y="330"/>
                      <a:pt x="330" y="259"/>
                      <a:pt x="330" y="169"/>
                    </a:cubicBezTo>
                    <a:cubicBezTo>
                      <a:pt x="330" y="71"/>
                      <a:pt x="259" y="0"/>
                      <a:pt x="169" y="0"/>
                    </a:cubicBezTo>
                    <a:cubicBezTo>
                      <a:pt x="71" y="0"/>
                      <a:pt x="0" y="71"/>
                      <a:pt x="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nvGrpSpPr>
            <p:cNvPr id="225" name="Group 224"/>
            <p:cNvGrpSpPr/>
            <p:nvPr/>
          </p:nvGrpSpPr>
          <p:grpSpPr>
            <a:xfrm>
              <a:off x="9487832" y="3191652"/>
              <a:ext cx="147165" cy="372276"/>
              <a:chOff x="4348935" y="2165469"/>
              <a:chExt cx="173677" cy="439342"/>
            </a:xfrm>
            <a:grpFill/>
          </p:grpSpPr>
          <p:sp>
            <p:nvSpPr>
              <p:cNvPr id="232" name="Freeform 34"/>
              <p:cNvSpPr>
                <a:spLocks/>
              </p:cNvSpPr>
              <p:nvPr/>
            </p:nvSpPr>
            <p:spPr bwMode="auto">
              <a:xfrm>
                <a:off x="4348935" y="2247513"/>
                <a:ext cx="173677" cy="357298"/>
              </a:xfrm>
              <a:custGeom>
                <a:avLst/>
                <a:gdLst>
                  <a:gd name="T0" fmla="*/ 580 w 794"/>
                  <a:gd name="T1" fmla="*/ 0 h 1631"/>
                  <a:gd name="T2" fmla="*/ 794 w 794"/>
                  <a:gd name="T3" fmla="*/ 213 h 1631"/>
                  <a:gd name="T4" fmla="*/ 794 w 794"/>
                  <a:gd name="T5" fmla="*/ 722 h 1631"/>
                  <a:gd name="T6" fmla="*/ 722 w 794"/>
                  <a:gd name="T7" fmla="*/ 793 h 1631"/>
                  <a:gd name="T8" fmla="*/ 651 w 794"/>
                  <a:gd name="T9" fmla="*/ 722 h 1631"/>
                  <a:gd name="T10" fmla="*/ 651 w 794"/>
                  <a:gd name="T11" fmla="*/ 258 h 1631"/>
                  <a:gd name="T12" fmla="*/ 615 w 794"/>
                  <a:gd name="T13" fmla="*/ 258 h 1631"/>
                  <a:gd name="T14" fmla="*/ 615 w 794"/>
                  <a:gd name="T15" fmla="*/ 1533 h 1631"/>
                  <a:gd name="T16" fmla="*/ 508 w 794"/>
                  <a:gd name="T17" fmla="*/ 1631 h 1631"/>
                  <a:gd name="T18" fmla="*/ 419 w 794"/>
                  <a:gd name="T19" fmla="*/ 1533 h 1631"/>
                  <a:gd name="T20" fmla="*/ 419 w 794"/>
                  <a:gd name="T21" fmla="*/ 793 h 1631"/>
                  <a:gd name="T22" fmla="*/ 375 w 794"/>
                  <a:gd name="T23" fmla="*/ 793 h 1631"/>
                  <a:gd name="T24" fmla="*/ 375 w 794"/>
                  <a:gd name="T25" fmla="*/ 1533 h 1631"/>
                  <a:gd name="T26" fmla="*/ 277 w 794"/>
                  <a:gd name="T27" fmla="*/ 1631 h 1631"/>
                  <a:gd name="T28" fmla="*/ 187 w 794"/>
                  <a:gd name="T29" fmla="*/ 1533 h 1631"/>
                  <a:gd name="T30" fmla="*/ 187 w 794"/>
                  <a:gd name="T31" fmla="*/ 258 h 1631"/>
                  <a:gd name="T32" fmla="*/ 143 w 794"/>
                  <a:gd name="T33" fmla="*/ 258 h 1631"/>
                  <a:gd name="T34" fmla="*/ 143 w 794"/>
                  <a:gd name="T35" fmla="*/ 722 h 1631"/>
                  <a:gd name="T36" fmla="*/ 72 w 794"/>
                  <a:gd name="T37" fmla="*/ 793 h 1631"/>
                  <a:gd name="T38" fmla="*/ 0 w 794"/>
                  <a:gd name="T39" fmla="*/ 722 h 1631"/>
                  <a:gd name="T40" fmla="*/ 0 w 794"/>
                  <a:gd name="T41" fmla="*/ 213 h 1631"/>
                  <a:gd name="T42" fmla="*/ 214 w 794"/>
                  <a:gd name="T43" fmla="*/ 0 h 1631"/>
                  <a:gd name="T44" fmla="*/ 580 w 794"/>
                  <a:gd name="T45" fmla="*/ 0 h 1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94" h="1631">
                    <a:moveTo>
                      <a:pt x="580" y="0"/>
                    </a:moveTo>
                    <a:cubicBezTo>
                      <a:pt x="696" y="0"/>
                      <a:pt x="794" y="98"/>
                      <a:pt x="794" y="213"/>
                    </a:cubicBezTo>
                    <a:cubicBezTo>
                      <a:pt x="794" y="267"/>
                      <a:pt x="794" y="677"/>
                      <a:pt x="794" y="722"/>
                    </a:cubicBezTo>
                    <a:cubicBezTo>
                      <a:pt x="794" y="757"/>
                      <a:pt x="758" y="793"/>
                      <a:pt x="722" y="793"/>
                    </a:cubicBezTo>
                    <a:cubicBezTo>
                      <a:pt x="678" y="793"/>
                      <a:pt x="651" y="757"/>
                      <a:pt x="651" y="722"/>
                    </a:cubicBezTo>
                    <a:cubicBezTo>
                      <a:pt x="651" y="677"/>
                      <a:pt x="651" y="258"/>
                      <a:pt x="651" y="258"/>
                    </a:cubicBezTo>
                    <a:cubicBezTo>
                      <a:pt x="615" y="258"/>
                      <a:pt x="615" y="258"/>
                      <a:pt x="615" y="258"/>
                    </a:cubicBezTo>
                    <a:cubicBezTo>
                      <a:pt x="615" y="258"/>
                      <a:pt x="615" y="1453"/>
                      <a:pt x="615" y="1533"/>
                    </a:cubicBezTo>
                    <a:cubicBezTo>
                      <a:pt x="615" y="1586"/>
                      <a:pt x="562" y="1631"/>
                      <a:pt x="508" y="1631"/>
                    </a:cubicBezTo>
                    <a:cubicBezTo>
                      <a:pt x="464" y="1631"/>
                      <a:pt x="419" y="1586"/>
                      <a:pt x="419" y="1533"/>
                    </a:cubicBezTo>
                    <a:cubicBezTo>
                      <a:pt x="419" y="1453"/>
                      <a:pt x="419" y="793"/>
                      <a:pt x="419" y="793"/>
                    </a:cubicBezTo>
                    <a:cubicBezTo>
                      <a:pt x="375" y="793"/>
                      <a:pt x="375" y="793"/>
                      <a:pt x="375" y="793"/>
                    </a:cubicBezTo>
                    <a:cubicBezTo>
                      <a:pt x="375" y="793"/>
                      <a:pt x="375" y="1453"/>
                      <a:pt x="375" y="1533"/>
                    </a:cubicBezTo>
                    <a:cubicBezTo>
                      <a:pt x="375" y="1586"/>
                      <a:pt x="330" y="1631"/>
                      <a:pt x="277" y="1631"/>
                    </a:cubicBezTo>
                    <a:cubicBezTo>
                      <a:pt x="223" y="1631"/>
                      <a:pt x="187" y="1586"/>
                      <a:pt x="187" y="1533"/>
                    </a:cubicBezTo>
                    <a:cubicBezTo>
                      <a:pt x="187" y="1453"/>
                      <a:pt x="187" y="258"/>
                      <a:pt x="187" y="258"/>
                    </a:cubicBezTo>
                    <a:cubicBezTo>
                      <a:pt x="143" y="258"/>
                      <a:pt x="143" y="258"/>
                      <a:pt x="143" y="258"/>
                    </a:cubicBezTo>
                    <a:cubicBezTo>
                      <a:pt x="143" y="258"/>
                      <a:pt x="143" y="677"/>
                      <a:pt x="143" y="722"/>
                    </a:cubicBezTo>
                    <a:cubicBezTo>
                      <a:pt x="143" y="757"/>
                      <a:pt x="116" y="793"/>
                      <a:pt x="72" y="793"/>
                    </a:cubicBezTo>
                    <a:cubicBezTo>
                      <a:pt x="36" y="793"/>
                      <a:pt x="0" y="757"/>
                      <a:pt x="0" y="722"/>
                    </a:cubicBezTo>
                    <a:cubicBezTo>
                      <a:pt x="0" y="677"/>
                      <a:pt x="0" y="267"/>
                      <a:pt x="0" y="213"/>
                    </a:cubicBezTo>
                    <a:cubicBezTo>
                      <a:pt x="0" y="98"/>
                      <a:pt x="98" y="0"/>
                      <a:pt x="214" y="0"/>
                    </a:cubicBezTo>
                    <a:cubicBezTo>
                      <a:pt x="277" y="0"/>
                      <a:pt x="517" y="0"/>
                      <a:pt x="5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33" name="Freeform 35"/>
              <p:cNvSpPr>
                <a:spLocks/>
              </p:cNvSpPr>
              <p:nvPr/>
            </p:nvSpPr>
            <p:spPr bwMode="auto">
              <a:xfrm>
                <a:off x="4399724" y="2165469"/>
                <a:ext cx="72099" cy="72099"/>
              </a:xfrm>
              <a:custGeom>
                <a:avLst/>
                <a:gdLst>
                  <a:gd name="T0" fmla="*/ 0 w 330"/>
                  <a:gd name="T1" fmla="*/ 169 h 330"/>
                  <a:gd name="T2" fmla="*/ 169 w 330"/>
                  <a:gd name="T3" fmla="*/ 330 h 330"/>
                  <a:gd name="T4" fmla="*/ 330 w 330"/>
                  <a:gd name="T5" fmla="*/ 169 h 330"/>
                  <a:gd name="T6" fmla="*/ 169 w 330"/>
                  <a:gd name="T7" fmla="*/ 0 h 330"/>
                  <a:gd name="T8" fmla="*/ 0 w 330"/>
                  <a:gd name="T9" fmla="*/ 169 h 330"/>
                </a:gdLst>
                <a:ahLst/>
                <a:cxnLst>
                  <a:cxn ang="0">
                    <a:pos x="T0" y="T1"/>
                  </a:cxn>
                  <a:cxn ang="0">
                    <a:pos x="T2" y="T3"/>
                  </a:cxn>
                  <a:cxn ang="0">
                    <a:pos x="T4" y="T5"/>
                  </a:cxn>
                  <a:cxn ang="0">
                    <a:pos x="T6" y="T7"/>
                  </a:cxn>
                  <a:cxn ang="0">
                    <a:pos x="T8" y="T9"/>
                  </a:cxn>
                </a:cxnLst>
                <a:rect l="0" t="0" r="r" b="b"/>
                <a:pathLst>
                  <a:path w="330" h="330">
                    <a:moveTo>
                      <a:pt x="0" y="169"/>
                    </a:moveTo>
                    <a:cubicBezTo>
                      <a:pt x="0" y="259"/>
                      <a:pt x="71" y="330"/>
                      <a:pt x="169" y="330"/>
                    </a:cubicBezTo>
                    <a:cubicBezTo>
                      <a:pt x="259" y="330"/>
                      <a:pt x="330" y="259"/>
                      <a:pt x="330" y="169"/>
                    </a:cubicBezTo>
                    <a:cubicBezTo>
                      <a:pt x="330" y="71"/>
                      <a:pt x="259" y="0"/>
                      <a:pt x="169" y="0"/>
                    </a:cubicBezTo>
                    <a:cubicBezTo>
                      <a:pt x="71" y="0"/>
                      <a:pt x="0" y="71"/>
                      <a:pt x="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nvGrpSpPr>
            <p:cNvPr id="226" name="Group 225"/>
            <p:cNvGrpSpPr/>
            <p:nvPr/>
          </p:nvGrpSpPr>
          <p:grpSpPr>
            <a:xfrm>
              <a:off x="9273232" y="3191652"/>
              <a:ext cx="175153" cy="373780"/>
              <a:chOff x="4543922" y="2165469"/>
              <a:chExt cx="206707" cy="441118"/>
            </a:xfrm>
            <a:grpFill/>
          </p:grpSpPr>
          <p:sp>
            <p:nvSpPr>
              <p:cNvPr id="230" name="Freeform 36"/>
              <p:cNvSpPr>
                <a:spLocks/>
              </p:cNvSpPr>
              <p:nvPr/>
            </p:nvSpPr>
            <p:spPr bwMode="auto">
              <a:xfrm>
                <a:off x="4612469" y="2165469"/>
                <a:ext cx="72099" cy="72099"/>
              </a:xfrm>
              <a:custGeom>
                <a:avLst/>
                <a:gdLst>
                  <a:gd name="T0" fmla="*/ 0 w 329"/>
                  <a:gd name="T1" fmla="*/ 169 h 330"/>
                  <a:gd name="T2" fmla="*/ 160 w 329"/>
                  <a:gd name="T3" fmla="*/ 330 h 330"/>
                  <a:gd name="T4" fmla="*/ 329 w 329"/>
                  <a:gd name="T5" fmla="*/ 169 h 330"/>
                  <a:gd name="T6" fmla="*/ 160 w 329"/>
                  <a:gd name="T7" fmla="*/ 0 h 330"/>
                  <a:gd name="T8" fmla="*/ 0 w 329"/>
                  <a:gd name="T9" fmla="*/ 169 h 330"/>
                </a:gdLst>
                <a:ahLst/>
                <a:cxnLst>
                  <a:cxn ang="0">
                    <a:pos x="T0" y="T1"/>
                  </a:cxn>
                  <a:cxn ang="0">
                    <a:pos x="T2" y="T3"/>
                  </a:cxn>
                  <a:cxn ang="0">
                    <a:pos x="T4" y="T5"/>
                  </a:cxn>
                  <a:cxn ang="0">
                    <a:pos x="T6" y="T7"/>
                  </a:cxn>
                  <a:cxn ang="0">
                    <a:pos x="T8" y="T9"/>
                  </a:cxn>
                </a:cxnLst>
                <a:rect l="0" t="0" r="r" b="b"/>
                <a:pathLst>
                  <a:path w="329" h="330">
                    <a:moveTo>
                      <a:pt x="0" y="169"/>
                    </a:moveTo>
                    <a:cubicBezTo>
                      <a:pt x="0" y="259"/>
                      <a:pt x="71" y="330"/>
                      <a:pt x="160" y="330"/>
                    </a:cubicBezTo>
                    <a:cubicBezTo>
                      <a:pt x="258" y="330"/>
                      <a:pt x="329" y="259"/>
                      <a:pt x="329" y="169"/>
                    </a:cubicBezTo>
                    <a:cubicBezTo>
                      <a:pt x="329" y="71"/>
                      <a:pt x="258" y="0"/>
                      <a:pt x="160" y="0"/>
                    </a:cubicBezTo>
                    <a:cubicBezTo>
                      <a:pt x="71" y="0"/>
                      <a:pt x="0" y="71"/>
                      <a:pt x="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31" name="Freeform 37"/>
              <p:cNvSpPr>
                <a:spLocks/>
              </p:cNvSpPr>
              <p:nvPr/>
            </p:nvSpPr>
            <p:spPr bwMode="auto">
              <a:xfrm>
                <a:off x="4543922" y="2247513"/>
                <a:ext cx="206707" cy="359074"/>
              </a:xfrm>
              <a:custGeom>
                <a:avLst/>
                <a:gdLst>
                  <a:gd name="T0" fmla="*/ 935 w 944"/>
                  <a:gd name="T1" fmla="*/ 641 h 1640"/>
                  <a:gd name="T2" fmla="*/ 793 w 944"/>
                  <a:gd name="T3" fmla="*/ 151 h 1640"/>
                  <a:gd name="T4" fmla="*/ 606 w 944"/>
                  <a:gd name="T5" fmla="*/ 0 h 1640"/>
                  <a:gd name="T6" fmla="*/ 338 w 944"/>
                  <a:gd name="T7" fmla="*/ 0 h 1640"/>
                  <a:gd name="T8" fmla="*/ 151 w 944"/>
                  <a:gd name="T9" fmla="*/ 151 h 1640"/>
                  <a:gd name="T10" fmla="*/ 8 w 944"/>
                  <a:gd name="T11" fmla="*/ 641 h 1640"/>
                  <a:gd name="T12" fmla="*/ 53 w 944"/>
                  <a:gd name="T13" fmla="*/ 722 h 1640"/>
                  <a:gd name="T14" fmla="*/ 133 w 944"/>
                  <a:gd name="T15" fmla="*/ 677 h 1640"/>
                  <a:gd name="T16" fmla="*/ 267 w 944"/>
                  <a:gd name="T17" fmla="*/ 222 h 1640"/>
                  <a:gd name="T18" fmla="*/ 312 w 944"/>
                  <a:gd name="T19" fmla="*/ 222 h 1640"/>
                  <a:gd name="T20" fmla="*/ 80 w 944"/>
                  <a:gd name="T21" fmla="*/ 980 h 1640"/>
                  <a:gd name="T22" fmla="*/ 294 w 944"/>
                  <a:gd name="T23" fmla="*/ 980 h 1640"/>
                  <a:gd name="T24" fmla="*/ 294 w 944"/>
                  <a:gd name="T25" fmla="*/ 1560 h 1640"/>
                  <a:gd name="T26" fmla="*/ 374 w 944"/>
                  <a:gd name="T27" fmla="*/ 1640 h 1640"/>
                  <a:gd name="T28" fmla="*/ 454 w 944"/>
                  <a:gd name="T29" fmla="*/ 1560 h 1640"/>
                  <a:gd name="T30" fmla="*/ 454 w 944"/>
                  <a:gd name="T31" fmla="*/ 980 h 1640"/>
                  <a:gd name="T32" fmla="*/ 490 w 944"/>
                  <a:gd name="T33" fmla="*/ 980 h 1640"/>
                  <a:gd name="T34" fmla="*/ 490 w 944"/>
                  <a:gd name="T35" fmla="*/ 1560 h 1640"/>
                  <a:gd name="T36" fmla="*/ 570 w 944"/>
                  <a:gd name="T37" fmla="*/ 1640 h 1640"/>
                  <a:gd name="T38" fmla="*/ 650 w 944"/>
                  <a:gd name="T39" fmla="*/ 1560 h 1640"/>
                  <a:gd name="T40" fmla="*/ 650 w 944"/>
                  <a:gd name="T41" fmla="*/ 980 h 1640"/>
                  <a:gd name="T42" fmla="*/ 864 w 944"/>
                  <a:gd name="T43" fmla="*/ 980 h 1640"/>
                  <a:gd name="T44" fmla="*/ 641 w 944"/>
                  <a:gd name="T45" fmla="*/ 222 h 1640"/>
                  <a:gd name="T46" fmla="*/ 677 w 944"/>
                  <a:gd name="T47" fmla="*/ 222 h 1640"/>
                  <a:gd name="T48" fmla="*/ 811 w 944"/>
                  <a:gd name="T49" fmla="*/ 677 h 1640"/>
                  <a:gd name="T50" fmla="*/ 891 w 944"/>
                  <a:gd name="T51" fmla="*/ 722 h 1640"/>
                  <a:gd name="T52" fmla="*/ 935 w 944"/>
                  <a:gd name="T53" fmla="*/ 641 h 1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4" h="1640">
                    <a:moveTo>
                      <a:pt x="935" y="641"/>
                    </a:moveTo>
                    <a:cubicBezTo>
                      <a:pt x="926" y="615"/>
                      <a:pt x="855" y="356"/>
                      <a:pt x="793" y="151"/>
                    </a:cubicBezTo>
                    <a:cubicBezTo>
                      <a:pt x="775" y="80"/>
                      <a:pt x="686" y="0"/>
                      <a:pt x="606" y="0"/>
                    </a:cubicBezTo>
                    <a:cubicBezTo>
                      <a:pt x="570" y="0"/>
                      <a:pt x="374" y="0"/>
                      <a:pt x="338" y="0"/>
                    </a:cubicBezTo>
                    <a:cubicBezTo>
                      <a:pt x="258" y="0"/>
                      <a:pt x="178" y="80"/>
                      <a:pt x="151" y="151"/>
                    </a:cubicBezTo>
                    <a:cubicBezTo>
                      <a:pt x="89" y="356"/>
                      <a:pt x="17" y="615"/>
                      <a:pt x="8" y="641"/>
                    </a:cubicBezTo>
                    <a:cubicBezTo>
                      <a:pt x="0" y="677"/>
                      <a:pt x="17" y="713"/>
                      <a:pt x="53" y="722"/>
                    </a:cubicBezTo>
                    <a:cubicBezTo>
                      <a:pt x="89" y="731"/>
                      <a:pt x="124" y="713"/>
                      <a:pt x="133" y="677"/>
                    </a:cubicBezTo>
                    <a:cubicBezTo>
                      <a:pt x="151" y="624"/>
                      <a:pt x="267" y="222"/>
                      <a:pt x="267" y="222"/>
                    </a:cubicBezTo>
                    <a:cubicBezTo>
                      <a:pt x="312" y="222"/>
                      <a:pt x="312" y="222"/>
                      <a:pt x="312" y="222"/>
                    </a:cubicBezTo>
                    <a:cubicBezTo>
                      <a:pt x="80" y="980"/>
                      <a:pt x="80" y="980"/>
                      <a:pt x="80" y="980"/>
                    </a:cubicBezTo>
                    <a:cubicBezTo>
                      <a:pt x="294" y="980"/>
                      <a:pt x="294" y="980"/>
                      <a:pt x="294" y="980"/>
                    </a:cubicBezTo>
                    <a:cubicBezTo>
                      <a:pt x="294" y="1248"/>
                      <a:pt x="294" y="1524"/>
                      <a:pt x="294" y="1560"/>
                    </a:cubicBezTo>
                    <a:cubicBezTo>
                      <a:pt x="294" y="1604"/>
                      <a:pt x="329" y="1640"/>
                      <a:pt x="374" y="1640"/>
                    </a:cubicBezTo>
                    <a:cubicBezTo>
                      <a:pt x="418" y="1640"/>
                      <a:pt x="454" y="1604"/>
                      <a:pt x="454" y="1560"/>
                    </a:cubicBezTo>
                    <a:cubicBezTo>
                      <a:pt x="454" y="1497"/>
                      <a:pt x="454" y="980"/>
                      <a:pt x="454" y="980"/>
                    </a:cubicBezTo>
                    <a:cubicBezTo>
                      <a:pt x="490" y="980"/>
                      <a:pt x="490" y="980"/>
                      <a:pt x="490" y="980"/>
                    </a:cubicBezTo>
                    <a:cubicBezTo>
                      <a:pt x="490" y="980"/>
                      <a:pt x="490" y="1497"/>
                      <a:pt x="490" y="1560"/>
                    </a:cubicBezTo>
                    <a:cubicBezTo>
                      <a:pt x="490" y="1604"/>
                      <a:pt x="525" y="1640"/>
                      <a:pt x="570" y="1640"/>
                    </a:cubicBezTo>
                    <a:cubicBezTo>
                      <a:pt x="615" y="1640"/>
                      <a:pt x="650" y="1604"/>
                      <a:pt x="650" y="1560"/>
                    </a:cubicBezTo>
                    <a:cubicBezTo>
                      <a:pt x="650" y="1524"/>
                      <a:pt x="650" y="1248"/>
                      <a:pt x="650" y="980"/>
                    </a:cubicBezTo>
                    <a:cubicBezTo>
                      <a:pt x="864" y="980"/>
                      <a:pt x="864" y="980"/>
                      <a:pt x="864" y="980"/>
                    </a:cubicBezTo>
                    <a:cubicBezTo>
                      <a:pt x="641" y="222"/>
                      <a:pt x="641" y="222"/>
                      <a:pt x="641" y="222"/>
                    </a:cubicBezTo>
                    <a:cubicBezTo>
                      <a:pt x="677" y="222"/>
                      <a:pt x="677" y="222"/>
                      <a:pt x="677" y="222"/>
                    </a:cubicBezTo>
                    <a:cubicBezTo>
                      <a:pt x="677" y="222"/>
                      <a:pt x="793" y="624"/>
                      <a:pt x="811" y="677"/>
                    </a:cubicBezTo>
                    <a:cubicBezTo>
                      <a:pt x="820" y="713"/>
                      <a:pt x="855" y="731"/>
                      <a:pt x="891" y="722"/>
                    </a:cubicBezTo>
                    <a:cubicBezTo>
                      <a:pt x="926" y="713"/>
                      <a:pt x="944" y="677"/>
                      <a:pt x="935" y="6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nvGrpSpPr>
            <p:cNvPr id="227" name="Group 226"/>
            <p:cNvGrpSpPr/>
            <p:nvPr/>
          </p:nvGrpSpPr>
          <p:grpSpPr>
            <a:xfrm>
              <a:off x="9674444" y="3191652"/>
              <a:ext cx="175153" cy="373780"/>
              <a:chOff x="4543922" y="2165469"/>
              <a:chExt cx="206707" cy="441118"/>
            </a:xfrm>
            <a:grpFill/>
          </p:grpSpPr>
          <p:sp>
            <p:nvSpPr>
              <p:cNvPr id="228" name="Freeform 36"/>
              <p:cNvSpPr>
                <a:spLocks/>
              </p:cNvSpPr>
              <p:nvPr/>
            </p:nvSpPr>
            <p:spPr bwMode="auto">
              <a:xfrm>
                <a:off x="4612469" y="2165469"/>
                <a:ext cx="72099" cy="72099"/>
              </a:xfrm>
              <a:custGeom>
                <a:avLst/>
                <a:gdLst>
                  <a:gd name="T0" fmla="*/ 0 w 329"/>
                  <a:gd name="T1" fmla="*/ 169 h 330"/>
                  <a:gd name="T2" fmla="*/ 160 w 329"/>
                  <a:gd name="T3" fmla="*/ 330 h 330"/>
                  <a:gd name="T4" fmla="*/ 329 w 329"/>
                  <a:gd name="T5" fmla="*/ 169 h 330"/>
                  <a:gd name="T6" fmla="*/ 160 w 329"/>
                  <a:gd name="T7" fmla="*/ 0 h 330"/>
                  <a:gd name="T8" fmla="*/ 0 w 329"/>
                  <a:gd name="T9" fmla="*/ 169 h 330"/>
                </a:gdLst>
                <a:ahLst/>
                <a:cxnLst>
                  <a:cxn ang="0">
                    <a:pos x="T0" y="T1"/>
                  </a:cxn>
                  <a:cxn ang="0">
                    <a:pos x="T2" y="T3"/>
                  </a:cxn>
                  <a:cxn ang="0">
                    <a:pos x="T4" y="T5"/>
                  </a:cxn>
                  <a:cxn ang="0">
                    <a:pos x="T6" y="T7"/>
                  </a:cxn>
                  <a:cxn ang="0">
                    <a:pos x="T8" y="T9"/>
                  </a:cxn>
                </a:cxnLst>
                <a:rect l="0" t="0" r="r" b="b"/>
                <a:pathLst>
                  <a:path w="329" h="330">
                    <a:moveTo>
                      <a:pt x="0" y="169"/>
                    </a:moveTo>
                    <a:cubicBezTo>
                      <a:pt x="0" y="259"/>
                      <a:pt x="71" y="330"/>
                      <a:pt x="160" y="330"/>
                    </a:cubicBezTo>
                    <a:cubicBezTo>
                      <a:pt x="258" y="330"/>
                      <a:pt x="329" y="259"/>
                      <a:pt x="329" y="169"/>
                    </a:cubicBezTo>
                    <a:cubicBezTo>
                      <a:pt x="329" y="71"/>
                      <a:pt x="258" y="0"/>
                      <a:pt x="160" y="0"/>
                    </a:cubicBezTo>
                    <a:cubicBezTo>
                      <a:pt x="71" y="0"/>
                      <a:pt x="0" y="71"/>
                      <a:pt x="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29" name="Freeform 37"/>
              <p:cNvSpPr>
                <a:spLocks/>
              </p:cNvSpPr>
              <p:nvPr/>
            </p:nvSpPr>
            <p:spPr bwMode="auto">
              <a:xfrm>
                <a:off x="4543922" y="2247513"/>
                <a:ext cx="206707" cy="359074"/>
              </a:xfrm>
              <a:custGeom>
                <a:avLst/>
                <a:gdLst>
                  <a:gd name="T0" fmla="*/ 935 w 944"/>
                  <a:gd name="T1" fmla="*/ 641 h 1640"/>
                  <a:gd name="T2" fmla="*/ 793 w 944"/>
                  <a:gd name="T3" fmla="*/ 151 h 1640"/>
                  <a:gd name="T4" fmla="*/ 606 w 944"/>
                  <a:gd name="T5" fmla="*/ 0 h 1640"/>
                  <a:gd name="T6" fmla="*/ 338 w 944"/>
                  <a:gd name="T7" fmla="*/ 0 h 1640"/>
                  <a:gd name="T8" fmla="*/ 151 w 944"/>
                  <a:gd name="T9" fmla="*/ 151 h 1640"/>
                  <a:gd name="T10" fmla="*/ 8 w 944"/>
                  <a:gd name="T11" fmla="*/ 641 h 1640"/>
                  <a:gd name="T12" fmla="*/ 53 w 944"/>
                  <a:gd name="T13" fmla="*/ 722 h 1640"/>
                  <a:gd name="T14" fmla="*/ 133 w 944"/>
                  <a:gd name="T15" fmla="*/ 677 h 1640"/>
                  <a:gd name="T16" fmla="*/ 267 w 944"/>
                  <a:gd name="T17" fmla="*/ 222 h 1640"/>
                  <a:gd name="T18" fmla="*/ 312 w 944"/>
                  <a:gd name="T19" fmla="*/ 222 h 1640"/>
                  <a:gd name="T20" fmla="*/ 80 w 944"/>
                  <a:gd name="T21" fmla="*/ 980 h 1640"/>
                  <a:gd name="T22" fmla="*/ 294 w 944"/>
                  <a:gd name="T23" fmla="*/ 980 h 1640"/>
                  <a:gd name="T24" fmla="*/ 294 w 944"/>
                  <a:gd name="T25" fmla="*/ 1560 h 1640"/>
                  <a:gd name="T26" fmla="*/ 374 w 944"/>
                  <a:gd name="T27" fmla="*/ 1640 h 1640"/>
                  <a:gd name="T28" fmla="*/ 454 w 944"/>
                  <a:gd name="T29" fmla="*/ 1560 h 1640"/>
                  <a:gd name="T30" fmla="*/ 454 w 944"/>
                  <a:gd name="T31" fmla="*/ 980 h 1640"/>
                  <a:gd name="T32" fmla="*/ 490 w 944"/>
                  <a:gd name="T33" fmla="*/ 980 h 1640"/>
                  <a:gd name="T34" fmla="*/ 490 w 944"/>
                  <a:gd name="T35" fmla="*/ 1560 h 1640"/>
                  <a:gd name="T36" fmla="*/ 570 w 944"/>
                  <a:gd name="T37" fmla="*/ 1640 h 1640"/>
                  <a:gd name="T38" fmla="*/ 650 w 944"/>
                  <a:gd name="T39" fmla="*/ 1560 h 1640"/>
                  <a:gd name="T40" fmla="*/ 650 w 944"/>
                  <a:gd name="T41" fmla="*/ 980 h 1640"/>
                  <a:gd name="T42" fmla="*/ 864 w 944"/>
                  <a:gd name="T43" fmla="*/ 980 h 1640"/>
                  <a:gd name="T44" fmla="*/ 641 w 944"/>
                  <a:gd name="T45" fmla="*/ 222 h 1640"/>
                  <a:gd name="T46" fmla="*/ 677 w 944"/>
                  <a:gd name="T47" fmla="*/ 222 h 1640"/>
                  <a:gd name="T48" fmla="*/ 811 w 944"/>
                  <a:gd name="T49" fmla="*/ 677 h 1640"/>
                  <a:gd name="T50" fmla="*/ 891 w 944"/>
                  <a:gd name="T51" fmla="*/ 722 h 1640"/>
                  <a:gd name="T52" fmla="*/ 935 w 944"/>
                  <a:gd name="T53" fmla="*/ 641 h 1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4" h="1640">
                    <a:moveTo>
                      <a:pt x="935" y="641"/>
                    </a:moveTo>
                    <a:cubicBezTo>
                      <a:pt x="926" y="615"/>
                      <a:pt x="855" y="356"/>
                      <a:pt x="793" y="151"/>
                    </a:cubicBezTo>
                    <a:cubicBezTo>
                      <a:pt x="775" y="80"/>
                      <a:pt x="686" y="0"/>
                      <a:pt x="606" y="0"/>
                    </a:cubicBezTo>
                    <a:cubicBezTo>
                      <a:pt x="570" y="0"/>
                      <a:pt x="374" y="0"/>
                      <a:pt x="338" y="0"/>
                    </a:cubicBezTo>
                    <a:cubicBezTo>
                      <a:pt x="258" y="0"/>
                      <a:pt x="178" y="80"/>
                      <a:pt x="151" y="151"/>
                    </a:cubicBezTo>
                    <a:cubicBezTo>
                      <a:pt x="89" y="356"/>
                      <a:pt x="17" y="615"/>
                      <a:pt x="8" y="641"/>
                    </a:cubicBezTo>
                    <a:cubicBezTo>
                      <a:pt x="0" y="677"/>
                      <a:pt x="17" y="713"/>
                      <a:pt x="53" y="722"/>
                    </a:cubicBezTo>
                    <a:cubicBezTo>
                      <a:pt x="89" y="731"/>
                      <a:pt x="124" y="713"/>
                      <a:pt x="133" y="677"/>
                    </a:cubicBezTo>
                    <a:cubicBezTo>
                      <a:pt x="151" y="624"/>
                      <a:pt x="267" y="222"/>
                      <a:pt x="267" y="222"/>
                    </a:cubicBezTo>
                    <a:cubicBezTo>
                      <a:pt x="312" y="222"/>
                      <a:pt x="312" y="222"/>
                      <a:pt x="312" y="222"/>
                    </a:cubicBezTo>
                    <a:cubicBezTo>
                      <a:pt x="80" y="980"/>
                      <a:pt x="80" y="980"/>
                      <a:pt x="80" y="980"/>
                    </a:cubicBezTo>
                    <a:cubicBezTo>
                      <a:pt x="294" y="980"/>
                      <a:pt x="294" y="980"/>
                      <a:pt x="294" y="980"/>
                    </a:cubicBezTo>
                    <a:cubicBezTo>
                      <a:pt x="294" y="1248"/>
                      <a:pt x="294" y="1524"/>
                      <a:pt x="294" y="1560"/>
                    </a:cubicBezTo>
                    <a:cubicBezTo>
                      <a:pt x="294" y="1604"/>
                      <a:pt x="329" y="1640"/>
                      <a:pt x="374" y="1640"/>
                    </a:cubicBezTo>
                    <a:cubicBezTo>
                      <a:pt x="418" y="1640"/>
                      <a:pt x="454" y="1604"/>
                      <a:pt x="454" y="1560"/>
                    </a:cubicBezTo>
                    <a:cubicBezTo>
                      <a:pt x="454" y="1497"/>
                      <a:pt x="454" y="980"/>
                      <a:pt x="454" y="980"/>
                    </a:cubicBezTo>
                    <a:cubicBezTo>
                      <a:pt x="490" y="980"/>
                      <a:pt x="490" y="980"/>
                      <a:pt x="490" y="980"/>
                    </a:cubicBezTo>
                    <a:cubicBezTo>
                      <a:pt x="490" y="980"/>
                      <a:pt x="490" y="1497"/>
                      <a:pt x="490" y="1560"/>
                    </a:cubicBezTo>
                    <a:cubicBezTo>
                      <a:pt x="490" y="1604"/>
                      <a:pt x="525" y="1640"/>
                      <a:pt x="570" y="1640"/>
                    </a:cubicBezTo>
                    <a:cubicBezTo>
                      <a:pt x="615" y="1640"/>
                      <a:pt x="650" y="1604"/>
                      <a:pt x="650" y="1560"/>
                    </a:cubicBezTo>
                    <a:cubicBezTo>
                      <a:pt x="650" y="1524"/>
                      <a:pt x="650" y="1248"/>
                      <a:pt x="650" y="980"/>
                    </a:cubicBezTo>
                    <a:cubicBezTo>
                      <a:pt x="864" y="980"/>
                      <a:pt x="864" y="980"/>
                      <a:pt x="864" y="980"/>
                    </a:cubicBezTo>
                    <a:cubicBezTo>
                      <a:pt x="641" y="222"/>
                      <a:pt x="641" y="222"/>
                      <a:pt x="641" y="222"/>
                    </a:cubicBezTo>
                    <a:cubicBezTo>
                      <a:pt x="677" y="222"/>
                      <a:pt x="677" y="222"/>
                      <a:pt x="677" y="222"/>
                    </a:cubicBezTo>
                    <a:cubicBezTo>
                      <a:pt x="677" y="222"/>
                      <a:pt x="793" y="624"/>
                      <a:pt x="811" y="677"/>
                    </a:cubicBezTo>
                    <a:cubicBezTo>
                      <a:pt x="820" y="713"/>
                      <a:pt x="855" y="731"/>
                      <a:pt x="891" y="722"/>
                    </a:cubicBezTo>
                    <a:cubicBezTo>
                      <a:pt x="926" y="713"/>
                      <a:pt x="944" y="677"/>
                      <a:pt x="935" y="6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sp>
        <p:nvSpPr>
          <p:cNvPr id="2" name="TextBox 1"/>
          <p:cNvSpPr txBox="1"/>
          <p:nvPr/>
        </p:nvSpPr>
        <p:spPr>
          <a:xfrm>
            <a:off x="2500329" y="3503960"/>
            <a:ext cx="1174604" cy="778252"/>
          </a:xfrm>
          <a:prstGeom prst="rect">
            <a:avLst/>
          </a:prstGeom>
          <a:noFill/>
        </p:spPr>
        <p:txBody>
          <a:bodyPr wrap="square" lIns="179238" tIns="143391" rIns="179238" bIns="143391" rtlCol="0">
            <a:spAutoFit/>
          </a:bodyPr>
          <a:lstStyle/>
          <a:p>
            <a:pPr defTabSz="914180">
              <a:lnSpc>
                <a:spcPct val="90000"/>
              </a:lnSpc>
              <a:spcAft>
                <a:spcPts val="588"/>
              </a:spcAft>
            </a:pPr>
            <a:r>
              <a:rPr lang="en-US" sz="3528" dirty="0">
                <a:solidFill>
                  <a:srgbClr val="FFFFFF"/>
                </a:solidFill>
              </a:rPr>
              <a:t>1B+</a:t>
            </a:r>
          </a:p>
        </p:txBody>
      </p:sp>
      <p:sp>
        <p:nvSpPr>
          <p:cNvPr id="248" name="Oval 247"/>
          <p:cNvSpPr/>
          <p:nvPr/>
        </p:nvSpPr>
        <p:spPr bwMode="auto">
          <a:xfrm>
            <a:off x="3407956" y="4670972"/>
            <a:ext cx="1818840" cy="1818840"/>
          </a:xfrm>
          <a:prstGeom prst="ellipse">
            <a:avLst/>
          </a:prstGeom>
          <a:solidFill>
            <a:srgbClr val="0072C6"/>
          </a:solidFill>
          <a:ln w="28575" cap="flat" cmpd="sng" algn="ctr">
            <a:solidFill>
              <a:srgbClr val="FFFFFF"/>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b"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kern="0" dirty="0">
                <a:gradFill>
                  <a:gsLst>
                    <a:gs pos="0">
                      <a:srgbClr val="FFFFFF"/>
                    </a:gs>
                    <a:gs pos="100000">
                      <a:srgbClr val="FFFFFF"/>
                    </a:gs>
                  </a:gsLst>
                  <a:lin ang="5400000" scaled="0"/>
                </a:gradFill>
                <a:ea typeface="Segoe UI" pitchFamily="34" charset="0"/>
                <a:cs typeface="Segoe UI" pitchFamily="34" charset="0"/>
              </a:rPr>
              <a:t>400+ PB</a:t>
            </a:r>
          </a:p>
        </p:txBody>
      </p:sp>
      <p:sp>
        <p:nvSpPr>
          <p:cNvPr id="249" name="Freeform 97"/>
          <p:cNvSpPr>
            <a:spLocks noEditPoints="1"/>
          </p:cNvSpPr>
          <p:nvPr/>
        </p:nvSpPr>
        <p:spPr bwMode="black">
          <a:xfrm>
            <a:off x="4076896" y="5168655"/>
            <a:ext cx="494103" cy="499250"/>
          </a:xfrm>
          <a:custGeom>
            <a:avLst/>
            <a:gdLst>
              <a:gd name="T0" fmla="*/ 0 w 96"/>
              <a:gd name="T1" fmla="*/ 0 h 97"/>
              <a:gd name="T2" fmla="*/ 0 w 96"/>
              <a:gd name="T3" fmla="*/ 97 h 97"/>
              <a:gd name="T4" fmla="*/ 24 w 96"/>
              <a:gd name="T5" fmla="*/ 97 h 97"/>
              <a:gd name="T6" fmla="*/ 24 w 96"/>
              <a:gd name="T7" fmla="*/ 69 h 97"/>
              <a:gd name="T8" fmla="*/ 73 w 96"/>
              <a:gd name="T9" fmla="*/ 69 h 97"/>
              <a:gd name="T10" fmla="*/ 73 w 96"/>
              <a:gd name="T11" fmla="*/ 97 h 97"/>
              <a:gd name="T12" fmla="*/ 96 w 96"/>
              <a:gd name="T13" fmla="*/ 97 h 97"/>
              <a:gd name="T14" fmla="*/ 96 w 96"/>
              <a:gd name="T15" fmla="*/ 0 h 97"/>
              <a:gd name="T16" fmla="*/ 0 w 96"/>
              <a:gd name="T17" fmla="*/ 0 h 97"/>
              <a:gd name="T18" fmla="*/ 80 w 96"/>
              <a:gd name="T19" fmla="*/ 41 h 97"/>
              <a:gd name="T20" fmla="*/ 14 w 96"/>
              <a:gd name="T21" fmla="*/ 41 h 97"/>
              <a:gd name="T22" fmla="*/ 14 w 96"/>
              <a:gd name="T23" fmla="*/ 5 h 97"/>
              <a:gd name="T24" fmla="*/ 80 w 96"/>
              <a:gd name="T25" fmla="*/ 5 h 97"/>
              <a:gd name="T26" fmla="*/ 80 w 96"/>
              <a:gd name="T27" fmla="*/ 41 h 97"/>
              <a:gd name="T28" fmla="*/ 34 w 96"/>
              <a:gd name="T29" fmla="*/ 76 h 97"/>
              <a:gd name="T30" fmla="*/ 50 w 96"/>
              <a:gd name="T31" fmla="*/ 76 h 97"/>
              <a:gd name="T32" fmla="*/ 50 w 96"/>
              <a:gd name="T33" fmla="*/ 97 h 97"/>
              <a:gd name="T34" fmla="*/ 34 w 96"/>
              <a:gd name="T35" fmla="*/ 97 h 97"/>
              <a:gd name="T36" fmla="*/ 34 w 96"/>
              <a:gd name="T37" fmla="*/ 76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6" h="97">
                <a:moveTo>
                  <a:pt x="0" y="0"/>
                </a:moveTo>
                <a:lnTo>
                  <a:pt x="0" y="97"/>
                </a:lnTo>
                <a:lnTo>
                  <a:pt x="24" y="97"/>
                </a:lnTo>
                <a:lnTo>
                  <a:pt x="24" y="69"/>
                </a:lnTo>
                <a:lnTo>
                  <a:pt x="73" y="69"/>
                </a:lnTo>
                <a:lnTo>
                  <a:pt x="73" y="97"/>
                </a:lnTo>
                <a:lnTo>
                  <a:pt x="96" y="97"/>
                </a:lnTo>
                <a:lnTo>
                  <a:pt x="96" y="0"/>
                </a:lnTo>
                <a:lnTo>
                  <a:pt x="0" y="0"/>
                </a:lnTo>
                <a:close/>
                <a:moveTo>
                  <a:pt x="80" y="41"/>
                </a:moveTo>
                <a:lnTo>
                  <a:pt x="14" y="41"/>
                </a:lnTo>
                <a:lnTo>
                  <a:pt x="14" y="5"/>
                </a:lnTo>
                <a:lnTo>
                  <a:pt x="80" y="5"/>
                </a:lnTo>
                <a:lnTo>
                  <a:pt x="80" y="41"/>
                </a:lnTo>
                <a:close/>
                <a:moveTo>
                  <a:pt x="34" y="76"/>
                </a:moveTo>
                <a:lnTo>
                  <a:pt x="50" y="76"/>
                </a:lnTo>
                <a:lnTo>
                  <a:pt x="50" y="97"/>
                </a:lnTo>
                <a:lnTo>
                  <a:pt x="34" y="97"/>
                </a:lnTo>
                <a:lnTo>
                  <a:pt x="34" y="76"/>
                </a:lnTo>
                <a:close/>
              </a:path>
            </a:pathLst>
          </a:custGeom>
          <a:solidFill>
            <a:schemeClr val="bg1"/>
          </a:solidFill>
          <a:ln>
            <a:noFill/>
          </a:ln>
          <a:extLst/>
        </p:spPr>
        <p:txBody>
          <a:bodyPr vert="horz" wrap="square" lIns="91421" tIns="45710" rIns="91421" bIns="45710" numCol="1" anchor="t" anchorCtr="0" compatLnSpc="1">
            <a:prstTxWarp prst="textNoShape">
              <a:avLst/>
            </a:prstTxWarp>
          </a:bodyPr>
          <a:lstStyle/>
          <a:p>
            <a:pPr defTabSz="914180"/>
            <a:endParaRPr lang="en-US" sz="1764" dirty="0">
              <a:solidFill>
                <a:srgbClr val="000000"/>
              </a:solidFill>
            </a:endParaRPr>
          </a:p>
        </p:txBody>
      </p:sp>
    </p:spTree>
    <p:extLst>
      <p:ext uri="{BB962C8B-B14F-4D97-AF65-F5344CB8AC3E}">
        <p14:creationId xmlns:p14="http://schemas.microsoft.com/office/powerpoint/2010/main" val="2470058573"/>
      </p:ext>
    </p:extLst>
  </p:cSld>
  <p:clrMapOvr>
    <a:masterClrMapping/>
  </p:clrMapOvr>
  <p:transition spd="slow">
    <p:push/>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809296" y="2084388"/>
            <a:ext cx="8961438" cy="1795462"/>
          </a:xfrm>
          <a:prstGeom prst="rect">
            <a:avLst/>
          </a:prstGeom>
        </p:spPr>
        <p:txBody>
          <a:bodyPr/>
          <a:lstStyle/>
          <a:p>
            <a:r>
              <a:rPr lang="en-US" sz="6469" dirty="0">
                <a:latin typeface="+mn-lt"/>
              </a:rPr>
              <a:t>Office 365 </a:t>
            </a:r>
            <a:r>
              <a:rPr lang="en-US" sz="6469" dirty="0"/>
              <a:t>is a rich platform ripe for extending and integrating with.</a:t>
            </a:r>
          </a:p>
        </p:txBody>
      </p:sp>
    </p:spTree>
    <p:extLst>
      <p:ext uri="{BB962C8B-B14F-4D97-AF65-F5344CB8AC3E}">
        <p14:creationId xmlns:p14="http://schemas.microsoft.com/office/powerpoint/2010/main" val="3041257167"/>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bg1"/>
                </a:solidFill>
              </a:rPr>
              <a:t>Vision</a:t>
            </a:r>
            <a:endParaRPr lang="en-US" dirty="0">
              <a:solidFill>
                <a:schemeClr val="bg1"/>
              </a:solidFill>
            </a:endParaRPr>
          </a:p>
        </p:txBody>
      </p:sp>
      <p:sp>
        <p:nvSpPr>
          <p:cNvPr id="3" name="Rectangle 2"/>
          <p:cNvSpPr/>
          <p:nvPr/>
        </p:nvSpPr>
        <p:spPr bwMode="auto">
          <a:xfrm>
            <a:off x="0" y="1922979"/>
            <a:ext cx="12188824" cy="2002349"/>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650" fontAlgn="base">
              <a:spcBef>
                <a:spcPct val="0"/>
              </a:spcBef>
              <a:spcAft>
                <a:spcPct val="0"/>
              </a:spcAft>
            </a:pPr>
            <a:endParaRPr lang="en-US" sz="1764" dirty="0">
              <a:gradFill>
                <a:gsLst>
                  <a:gs pos="10619">
                    <a:srgbClr val="505050"/>
                  </a:gs>
                  <a:gs pos="28000">
                    <a:srgbClr val="505050"/>
                  </a:gs>
                </a:gsLst>
                <a:lin ang="5400000" scaled="0"/>
              </a:gradFill>
            </a:endParaRPr>
          </a:p>
        </p:txBody>
      </p:sp>
      <p:grpSp>
        <p:nvGrpSpPr>
          <p:cNvPr id="123" name="Group 122"/>
          <p:cNvGrpSpPr/>
          <p:nvPr/>
        </p:nvGrpSpPr>
        <p:grpSpPr>
          <a:xfrm>
            <a:off x="286285" y="2201395"/>
            <a:ext cx="3905592" cy="2638784"/>
            <a:chOff x="286285" y="2201395"/>
            <a:chExt cx="3905592" cy="2638784"/>
          </a:xfrm>
        </p:grpSpPr>
        <p:grpSp>
          <p:nvGrpSpPr>
            <p:cNvPr id="5" name="Group 4"/>
            <p:cNvGrpSpPr/>
            <p:nvPr/>
          </p:nvGrpSpPr>
          <p:grpSpPr>
            <a:xfrm>
              <a:off x="286285" y="2201395"/>
              <a:ext cx="3695234" cy="1487429"/>
              <a:chOff x="292100" y="1016000"/>
              <a:chExt cx="3770313" cy="1517650"/>
            </a:xfrm>
          </p:grpSpPr>
          <p:sp>
            <p:nvSpPr>
              <p:cNvPr id="6" name="Rectangle 5"/>
              <p:cNvSpPr/>
              <p:nvPr/>
            </p:nvSpPr>
            <p:spPr bwMode="auto">
              <a:xfrm>
                <a:off x="1203489" y="1050925"/>
                <a:ext cx="1896947" cy="111330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 name="Group 6"/>
              <p:cNvGrpSpPr/>
              <p:nvPr/>
            </p:nvGrpSpPr>
            <p:grpSpPr>
              <a:xfrm>
                <a:off x="1160464" y="1016000"/>
                <a:ext cx="1978025" cy="1500188"/>
                <a:chOff x="1363663" y="914400"/>
                <a:chExt cx="1978025" cy="1500188"/>
              </a:xfrm>
            </p:grpSpPr>
            <p:sp>
              <p:nvSpPr>
                <p:cNvPr id="48" name="Rectangle 5"/>
                <p:cNvSpPr>
                  <a:spLocks noChangeArrowheads="1"/>
                </p:cNvSpPr>
                <p:nvPr/>
              </p:nvSpPr>
              <p:spPr bwMode="auto">
                <a:xfrm>
                  <a:off x="1858963" y="2382838"/>
                  <a:ext cx="982663" cy="317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9" name="Freeform 48"/>
                <p:cNvSpPr>
                  <a:spLocks/>
                </p:cNvSpPr>
                <p:nvPr/>
              </p:nvSpPr>
              <p:spPr bwMode="auto">
                <a:xfrm>
                  <a:off x="1363663" y="914400"/>
                  <a:ext cx="1978025" cy="1179513"/>
                </a:xfrm>
                <a:custGeom>
                  <a:avLst/>
                  <a:gdLst>
                    <a:gd name="connsiteX0" fmla="*/ 82097 w 1978025"/>
                    <a:gd name="connsiteY0" fmla="*/ 50800 h 1179513"/>
                    <a:gd name="connsiteX1" fmla="*/ 50800 w 1978025"/>
                    <a:gd name="connsiteY1" fmla="*/ 82163 h 1179513"/>
                    <a:gd name="connsiteX2" fmla="*/ 50800 w 1978025"/>
                    <a:gd name="connsiteY2" fmla="*/ 1054410 h 1179513"/>
                    <a:gd name="connsiteX3" fmla="*/ 82097 w 1978025"/>
                    <a:gd name="connsiteY3" fmla="*/ 1079500 h 1179513"/>
                    <a:gd name="connsiteX4" fmla="*/ 1891075 w 1978025"/>
                    <a:gd name="connsiteY4" fmla="*/ 1079500 h 1179513"/>
                    <a:gd name="connsiteX5" fmla="*/ 1916113 w 1978025"/>
                    <a:gd name="connsiteY5" fmla="*/ 1054410 h 1179513"/>
                    <a:gd name="connsiteX6" fmla="*/ 1916113 w 1978025"/>
                    <a:gd name="connsiteY6" fmla="*/ 82163 h 1179513"/>
                    <a:gd name="connsiteX7" fmla="*/ 1891075 w 1978025"/>
                    <a:gd name="connsiteY7" fmla="*/ 50800 h 1179513"/>
                    <a:gd name="connsiteX8" fmla="*/ 82097 w 1978025"/>
                    <a:gd name="connsiteY8" fmla="*/ 50800 h 1179513"/>
                    <a:gd name="connsiteX9" fmla="*/ 62596 w 1978025"/>
                    <a:gd name="connsiteY9" fmla="*/ 0 h 1179513"/>
                    <a:gd name="connsiteX10" fmla="*/ 1915429 w 1978025"/>
                    <a:gd name="connsiteY10" fmla="*/ 0 h 1179513"/>
                    <a:gd name="connsiteX11" fmla="*/ 1978025 w 1978025"/>
                    <a:gd name="connsiteY11" fmla="*/ 62740 h 1179513"/>
                    <a:gd name="connsiteX12" fmla="*/ 1978025 w 1978025"/>
                    <a:gd name="connsiteY12" fmla="*/ 1116773 h 1179513"/>
                    <a:gd name="connsiteX13" fmla="*/ 1915429 w 1978025"/>
                    <a:gd name="connsiteY13" fmla="*/ 1179513 h 1179513"/>
                    <a:gd name="connsiteX14" fmla="*/ 62596 w 1978025"/>
                    <a:gd name="connsiteY14" fmla="*/ 1179513 h 1179513"/>
                    <a:gd name="connsiteX15" fmla="*/ 0 w 1978025"/>
                    <a:gd name="connsiteY15" fmla="*/ 1116773 h 1179513"/>
                    <a:gd name="connsiteX16" fmla="*/ 0 w 1978025"/>
                    <a:gd name="connsiteY16" fmla="*/ 62740 h 1179513"/>
                    <a:gd name="connsiteX17" fmla="*/ 62596 w 1978025"/>
                    <a:gd name="connsiteY17" fmla="*/ 0 h 1179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8025" h="1179513">
                      <a:moveTo>
                        <a:pt x="82097" y="50800"/>
                      </a:moveTo>
                      <a:cubicBezTo>
                        <a:pt x="63319" y="50800"/>
                        <a:pt x="50800" y="63345"/>
                        <a:pt x="50800" y="82163"/>
                      </a:cubicBezTo>
                      <a:cubicBezTo>
                        <a:pt x="50800" y="82163"/>
                        <a:pt x="50800" y="82163"/>
                        <a:pt x="50800" y="1054410"/>
                      </a:cubicBezTo>
                      <a:cubicBezTo>
                        <a:pt x="50800" y="1066955"/>
                        <a:pt x="63319" y="1079500"/>
                        <a:pt x="82097" y="1079500"/>
                      </a:cubicBezTo>
                      <a:cubicBezTo>
                        <a:pt x="82097" y="1079500"/>
                        <a:pt x="82097" y="1079500"/>
                        <a:pt x="1891075" y="1079500"/>
                      </a:cubicBezTo>
                      <a:cubicBezTo>
                        <a:pt x="1903594" y="1079500"/>
                        <a:pt x="1916113" y="1066955"/>
                        <a:pt x="1916113" y="1054410"/>
                      </a:cubicBezTo>
                      <a:lnTo>
                        <a:pt x="1916113" y="82163"/>
                      </a:lnTo>
                      <a:cubicBezTo>
                        <a:pt x="1916113" y="63345"/>
                        <a:pt x="1903594" y="50800"/>
                        <a:pt x="1891075" y="50800"/>
                      </a:cubicBezTo>
                      <a:cubicBezTo>
                        <a:pt x="1891075" y="50800"/>
                        <a:pt x="1891075" y="50800"/>
                        <a:pt x="82097" y="50800"/>
                      </a:cubicBezTo>
                      <a:close/>
                      <a:moveTo>
                        <a:pt x="62596" y="0"/>
                      </a:moveTo>
                      <a:cubicBezTo>
                        <a:pt x="1915429" y="0"/>
                        <a:pt x="1915429" y="0"/>
                        <a:pt x="1915429" y="0"/>
                      </a:cubicBezTo>
                      <a:cubicBezTo>
                        <a:pt x="1946727" y="0"/>
                        <a:pt x="1978025" y="25096"/>
                        <a:pt x="1978025" y="62740"/>
                      </a:cubicBezTo>
                      <a:lnTo>
                        <a:pt x="1978025" y="1116773"/>
                      </a:lnTo>
                      <a:cubicBezTo>
                        <a:pt x="1978025" y="1154417"/>
                        <a:pt x="1946727" y="1179513"/>
                        <a:pt x="1915429" y="1179513"/>
                      </a:cubicBezTo>
                      <a:cubicBezTo>
                        <a:pt x="62596" y="1179513"/>
                        <a:pt x="62596" y="1179513"/>
                        <a:pt x="62596" y="1179513"/>
                      </a:cubicBezTo>
                      <a:cubicBezTo>
                        <a:pt x="25038" y="1179513"/>
                        <a:pt x="0" y="1154417"/>
                        <a:pt x="0" y="1116773"/>
                      </a:cubicBezTo>
                      <a:cubicBezTo>
                        <a:pt x="0" y="62740"/>
                        <a:pt x="0" y="62740"/>
                        <a:pt x="0" y="62740"/>
                      </a:cubicBezTo>
                      <a:cubicBezTo>
                        <a:pt x="0" y="25096"/>
                        <a:pt x="25038" y="0"/>
                        <a:pt x="62596" y="0"/>
                      </a:cubicBezTo>
                      <a:close/>
                    </a:path>
                  </a:pathLst>
                </a:custGeom>
                <a:solidFill>
                  <a:srgbClr val="000000"/>
                </a:solidFill>
                <a:ln>
                  <a:noFill/>
                </a:ln>
                <a:extLst/>
              </p:spPr>
              <p:txBody>
                <a:bodyPr vert="horz" wrap="square" lIns="89619" tIns="44809" rIns="89619" bIns="44809" numCol="1" anchor="t" anchorCtr="0" compatLnSpc="1">
                  <a:prstTxWarp prst="textNoShape">
                    <a:avLst/>
                  </a:prstTxWarp>
                  <a:noAutofit/>
                </a:bodyPr>
                <a:lstStyle/>
                <a:p>
                  <a:pPr defTabSz="914093"/>
                  <a:endParaRPr lang="en-US" sz="1764">
                    <a:solidFill>
                      <a:srgbClr val="FFFFFF"/>
                    </a:solidFill>
                  </a:endParaRPr>
                </a:p>
              </p:txBody>
            </p:sp>
            <p:sp>
              <p:nvSpPr>
                <p:cNvPr id="50" name="Rectangle 33"/>
                <p:cNvSpPr>
                  <a:spLocks noChangeArrowheads="1"/>
                </p:cNvSpPr>
                <p:nvPr/>
              </p:nvSpPr>
              <p:spPr bwMode="auto">
                <a:xfrm>
                  <a:off x="2309813" y="2081213"/>
                  <a:ext cx="80963" cy="3206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sp>
            <p:nvSpPr>
              <p:cNvPr id="8" name="Oval 115"/>
              <p:cNvSpPr>
                <a:spLocks noChangeArrowheads="1"/>
              </p:cNvSpPr>
              <p:nvPr/>
            </p:nvSpPr>
            <p:spPr bwMode="auto">
              <a:xfrm>
                <a:off x="1422401" y="1611312"/>
                <a:ext cx="20638" cy="190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nvGrpSpPr>
              <p:cNvPr id="9" name="Group 8"/>
              <p:cNvGrpSpPr/>
              <p:nvPr/>
            </p:nvGrpSpPr>
            <p:grpSpPr>
              <a:xfrm>
                <a:off x="1264391" y="1121515"/>
                <a:ext cx="1751120" cy="977160"/>
                <a:chOff x="3305410" y="464807"/>
                <a:chExt cx="993287" cy="554274"/>
              </a:xfrm>
            </p:grpSpPr>
            <p:sp>
              <p:nvSpPr>
                <p:cNvPr id="36" name="Rectangle 35"/>
                <p:cNvSpPr/>
                <p:nvPr/>
              </p:nvSpPr>
              <p:spPr bwMode="auto">
                <a:xfrm>
                  <a:off x="3305410" y="464807"/>
                  <a:ext cx="74317" cy="743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7" name="Rectangle 36"/>
                <p:cNvSpPr/>
                <p:nvPr/>
              </p:nvSpPr>
              <p:spPr bwMode="auto">
                <a:xfrm>
                  <a:off x="3392488" y="464807"/>
                  <a:ext cx="906209" cy="74317"/>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8" name="Rectangle 37"/>
                <p:cNvSpPr/>
                <p:nvPr/>
              </p:nvSpPr>
              <p:spPr bwMode="auto">
                <a:xfrm>
                  <a:off x="3305410" y="558053"/>
                  <a:ext cx="993287" cy="461028"/>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9" name="Freeform 303"/>
                <p:cNvSpPr>
                  <a:spLocks noEditPoints="1"/>
                </p:cNvSpPr>
                <p:nvPr/>
              </p:nvSpPr>
              <p:spPr bwMode="auto">
                <a:xfrm>
                  <a:off x="3315378" y="477061"/>
                  <a:ext cx="51918" cy="49841"/>
                </a:xfrm>
                <a:custGeom>
                  <a:avLst/>
                  <a:gdLst>
                    <a:gd name="T0" fmla="*/ 528 w 1440"/>
                    <a:gd name="T1" fmla="*/ 191 h 1371"/>
                    <a:gd name="T2" fmla="*/ 864 w 1440"/>
                    <a:gd name="T3" fmla="*/ 526 h 1371"/>
                    <a:gd name="T4" fmla="*/ 528 w 1440"/>
                    <a:gd name="T5" fmla="*/ 861 h 1371"/>
                    <a:gd name="T6" fmla="*/ 208 w 1440"/>
                    <a:gd name="T7" fmla="*/ 526 h 1371"/>
                    <a:gd name="T8" fmla="*/ 528 w 1440"/>
                    <a:gd name="T9" fmla="*/ 191 h 1371"/>
                    <a:gd name="T10" fmla="*/ 528 w 1440"/>
                    <a:gd name="T11" fmla="*/ 0 h 1371"/>
                    <a:gd name="T12" fmla="*/ 0 w 1440"/>
                    <a:gd name="T13" fmla="*/ 526 h 1371"/>
                    <a:gd name="T14" fmla="*/ 528 w 1440"/>
                    <a:gd name="T15" fmla="*/ 1052 h 1371"/>
                    <a:gd name="T16" fmla="*/ 880 w 1440"/>
                    <a:gd name="T17" fmla="*/ 924 h 1371"/>
                    <a:gd name="T18" fmla="*/ 1280 w 1440"/>
                    <a:gd name="T19" fmla="*/ 1339 h 1371"/>
                    <a:gd name="T20" fmla="*/ 1408 w 1440"/>
                    <a:gd name="T21" fmla="*/ 1339 h 1371"/>
                    <a:gd name="T22" fmla="*/ 1408 w 1440"/>
                    <a:gd name="T23" fmla="*/ 1339 h 1371"/>
                    <a:gd name="T24" fmla="*/ 1408 w 1440"/>
                    <a:gd name="T25" fmla="*/ 1211 h 1371"/>
                    <a:gd name="T26" fmla="*/ 976 w 1440"/>
                    <a:gd name="T27" fmla="*/ 797 h 1371"/>
                    <a:gd name="T28" fmla="*/ 1056 w 1440"/>
                    <a:gd name="T29" fmla="*/ 526 h 1371"/>
                    <a:gd name="T30" fmla="*/ 528 w 1440"/>
                    <a:gd name="T31" fmla="*/ 0 h 1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40" h="1371">
                      <a:moveTo>
                        <a:pt x="528" y="191"/>
                      </a:moveTo>
                      <a:cubicBezTo>
                        <a:pt x="704" y="191"/>
                        <a:pt x="864" y="350"/>
                        <a:pt x="864" y="526"/>
                      </a:cubicBezTo>
                      <a:cubicBezTo>
                        <a:pt x="864" y="701"/>
                        <a:pt x="704" y="861"/>
                        <a:pt x="528" y="861"/>
                      </a:cubicBezTo>
                      <a:cubicBezTo>
                        <a:pt x="352" y="861"/>
                        <a:pt x="208" y="701"/>
                        <a:pt x="208" y="526"/>
                      </a:cubicBezTo>
                      <a:cubicBezTo>
                        <a:pt x="208" y="350"/>
                        <a:pt x="352" y="191"/>
                        <a:pt x="528" y="191"/>
                      </a:cubicBezTo>
                      <a:close/>
                      <a:moveTo>
                        <a:pt x="528" y="0"/>
                      </a:moveTo>
                      <a:cubicBezTo>
                        <a:pt x="240" y="0"/>
                        <a:pt x="0" y="239"/>
                        <a:pt x="0" y="526"/>
                      </a:cubicBezTo>
                      <a:cubicBezTo>
                        <a:pt x="0" y="813"/>
                        <a:pt x="240" y="1052"/>
                        <a:pt x="528" y="1052"/>
                      </a:cubicBezTo>
                      <a:cubicBezTo>
                        <a:pt x="656" y="1052"/>
                        <a:pt x="784" y="1004"/>
                        <a:pt x="880" y="924"/>
                      </a:cubicBezTo>
                      <a:cubicBezTo>
                        <a:pt x="1280" y="1339"/>
                        <a:pt x="1280" y="1339"/>
                        <a:pt x="1280" y="1339"/>
                      </a:cubicBezTo>
                      <a:cubicBezTo>
                        <a:pt x="1312" y="1371"/>
                        <a:pt x="1376" y="1371"/>
                        <a:pt x="1408" y="1339"/>
                      </a:cubicBezTo>
                      <a:cubicBezTo>
                        <a:pt x="1408" y="1339"/>
                        <a:pt x="1408" y="1339"/>
                        <a:pt x="1408" y="1339"/>
                      </a:cubicBezTo>
                      <a:cubicBezTo>
                        <a:pt x="1440" y="1307"/>
                        <a:pt x="1440" y="1243"/>
                        <a:pt x="1408" y="1211"/>
                      </a:cubicBezTo>
                      <a:cubicBezTo>
                        <a:pt x="976" y="797"/>
                        <a:pt x="976" y="797"/>
                        <a:pt x="976" y="797"/>
                      </a:cubicBezTo>
                      <a:cubicBezTo>
                        <a:pt x="1040" y="717"/>
                        <a:pt x="1056" y="621"/>
                        <a:pt x="1056" y="526"/>
                      </a:cubicBezTo>
                      <a:cubicBezTo>
                        <a:pt x="1056" y="239"/>
                        <a:pt x="816" y="0"/>
                        <a:pt x="528"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7" tIns="44802" rIns="89607" bIns="44802" numCol="1" anchor="t" anchorCtr="0" compatLnSpc="1">
                  <a:prstTxWarp prst="textNoShape">
                    <a:avLst/>
                  </a:prstTxWarp>
                </a:bodyPr>
                <a:lstStyle/>
                <a:p>
                  <a:pPr defTabSz="913918"/>
                  <a:endParaRPr lang="en-US" sz="1764">
                    <a:solidFill>
                      <a:srgbClr val="FFFFFF"/>
                    </a:solidFill>
                  </a:endParaRPr>
                </a:p>
              </p:txBody>
            </p:sp>
            <p:cxnSp>
              <p:nvCxnSpPr>
                <p:cNvPr id="40" name="Straight Connector 39"/>
                <p:cNvCxnSpPr/>
                <p:nvPr/>
              </p:nvCxnSpPr>
              <p:spPr>
                <a:xfrm>
                  <a:off x="3366983" y="625545"/>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3366983" y="672832"/>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3366983" y="720120"/>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3366983" y="767407"/>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3366983" y="814694"/>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3366983" y="861982"/>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3366983" y="909269"/>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3366983" y="956558"/>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0" name="Group 9"/>
              <p:cNvGrpSpPr/>
              <p:nvPr/>
            </p:nvGrpSpPr>
            <p:grpSpPr>
              <a:xfrm>
                <a:off x="2838450" y="1767176"/>
                <a:ext cx="1223963" cy="766474"/>
                <a:chOff x="2838450" y="1767176"/>
                <a:chExt cx="1223963" cy="766474"/>
              </a:xfrm>
            </p:grpSpPr>
            <p:grpSp>
              <p:nvGrpSpPr>
                <p:cNvPr id="30" name="Group 29"/>
                <p:cNvGrpSpPr/>
                <p:nvPr/>
              </p:nvGrpSpPr>
              <p:grpSpPr>
                <a:xfrm>
                  <a:off x="2838450" y="1767176"/>
                  <a:ext cx="1223963" cy="766474"/>
                  <a:chOff x="2439988" y="1517650"/>
                  <a:chExt cx="1622425" cy="1016000"/>
                </a:xfrm>
              </p:grpSpPr>
              <p:sp>
                <p:nvSpPr>
                  <p:cNvPr id="32" name="Rectangle 31"/>
                  <p:cNvSpPr/>
                  <p:nvPr/>
                </p:nvSpPr>
                <p:spPr bwMode="auto">
                  <a:xfrm>
                    <a:off x="2501924" y="1605756"/>
                    <a:ext cx="1508101" cy="830475"/>
                  </a:xfrm>
                  <a:prstGeom prst="rect">
                    <a:avLst/>
                  </a:prstGeom>
                  <a:solidFill>
                    <a:srgbClr val="EB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3" name="Group 158"/>
                  <p:cNvGrpSpPr>
                    <a:grpSpLocks noChangeAspect="1"/>
                  </p:cNvGrpSpPr>
                  <p:nvPr/>
                </p:nvGrpSpPr>
                <p:grpSpPr bwMode="auto">
                  <a:xfrm>
                    <a:off x="2439988" y="1517650"/>
                    <a:ext cx="1622425" cy="1016000"/>
                    <a:chOff x="1537" y="956"/>
                    <a:chExt cx="1022" cy="640"/>
                  </a:xfrm>
                </p:grpSpPr>
                <p:sp>
                  <p:nvSpPr>
                    <p:cNvPr id="34" name="Freeform 159"/>
                    <p:cNvSpPr>
                      <a:spLocks noEditPoints="1"/>
                    </p:cNvSpPr>
                    <p:nvPr/>
                  </p:nvSpPr>
                  <p:spPr bwMode="auto">
                    <a:xfrm>
                      <a:off x="1537" y="956"/>
                      <a:ext cx="1022" cy="640"/>
                    </a:xfrm>
                    <a:custGeom>
                      <a:avLst/>
                      <a:gdLst>
                        <a:gd name="T0" fmla="*/ 284 w 289"/>
                        <a:gd name="T1" fmla="*/ 0 h 180"/>
                        <a:gd name="T2" fmla="*/ 4 w 289"/>
                        <a:gd name="T3" fmla="*/ 0 h 180"/>
                        <a:gd name="T4" fmla="*/ 0 w 289"/>
                        <a:gd name="T5" fmla="*/ 5 h 180"/>
                        <a:gd name="T6" fmla="*/ 0 w 289"/>
                        <a:gd name="T7" fmla="*/ 175 h 180"/>
                        <a:gd name="T8" fmla="*/ 4 w 289"/>
                        <a:gd name="T9" fmla="*/ 180 h 180"/>
                        <a:gd name="T10" fmla="*/ 284 w 289"/>
                        <a:gd name="T11" fmla="*/ 180 h 180"/>
                        <a:gd name="T12" fmla="*/ 289 w 289"/>
                        <a:gd name="T13" fmla="*/ 175 h 180"/>
                        <a:gd name="T14" fmla="*/ 289 w 289"/>
                        <a:gd name="T15" fmla="*/ 5 h 180"/>
                        <a:gd name="T16" fmla="*/ 284 w 289"/>
                        <a:gd name="T17" fmla="*/ 0 h 180"/>
                        <a:gd name="T18" fmla="*/ 275 w 289"/>
                        <a:gd name="T19" fmla="*/ 157 h 180"/>
                        <a:gd name="T20" fmla="*/ 271 w 289"/>
                        <a:gd name="T21" fmla="*/ 161 h 180"/>
                        <a:gd name="T22" fmla="*/ 18 w 289"/>
                        <a:gd name="T23" fmla="*/ 161 h 180"/>
                        <a:gd name="T24" fmla="*/ 14 w 289"/>
                        <a:gd name="T25" fmla="*/ 157 h 180"/>
                        <a:gd name="T26" fmla="*/ 14 w 289"/>
                        <a:gd name="T27" fmla="*/ 21 h 180"/>
                        <a:gd name="T28" fmla="*/ 18 w 289"/>
                        <a:gd name="T29" fmla="*/ 17 h 180"/>
                        <a:gd name="T30" fmla="*/ 271 w 289"/>
                        <a:gd name="T31" fmla="*/ 17 h 180"/>
                        <a:gd name="T32" fmla="*/ 275 w 289"/>
                        <a:gd name="T33" fmla="*/ 21 h 180"/>
                        <a:gd name="T34" fmla="*/ 275 w 289"/>
                        <a:gd name="T35" fmla="*/ 157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9" h="180">
                          <a:moveTo>
                            <a:pt x="284" y="0"/>
                          </a:moveTo>
                          <a:cubicBezTo>
                            <a:pt x="4" y="0"/>
                            <a:pt x="4" y="0"/>
                            <a:pt x="4" y="0"/>
                          </a:cubicBezTo>
                          <a:cubicBezTo>
                            <a:pt x="2" y="0"/>
                            <a:pt x="0" y="2"/>
                            <a:pt x="0" y="5"/>
                          </a:cubicBezTo>
                          <a:cubicBezTo>
                            <a:pt x="0" y="175"/>
                            <a:pt x="0" y="175"/>
                            <a:pt x="0" y="175"/>
                          </a:cubicBezTo>
                          <a:cubicBezTo>
                            <a:pt x="0" y="178"/>
                            <a:pt x="2" y="180"/>
                            <a:pt x="4" y="180"/>
                          </a:cubicBezTo>
                          <a:cubicBezTo>
                            <a:pt x="284" y="180"/>
                            <a:pt x="284" y="180"/>
                            <a:pt x="284" y="180"/>
                          </a:cubicBezTo>
                          <a:cubicBezTo>
                            <a:pt x="287" y="180"/>
                            <a:pt x="289" y="178"/>
                            <a:pt x="289" y="175"/>
                          </a:cubicBezTo>
                          <a:cubicBezTo>
                            <a:pt x="289" y="5"/>
                            <a:pt x="289" y="5"/>
                            <a:pt x="289" y="5"/>
                          </a:cubicBezTo>
                          <a:cubicBezTo>
                            <a:pt x="289" y="2"/>
                            <a:pt x="287" y="0"/>
                            <a:pt x="284" y="0"/>
                          </a:cubicBezTo>
                          <a:close/>
                          <a:moveTo>
                            <a:pt x="275" y="157"/>
                          </a:moveTo>
                          <a:cubicBezTo>
                            <a:pt x="275" y="160"/>
                            <a:pt x="273" y="161"/>
                            <a:pt x="271" y="161"/>
                          </a:cubicBezTo>
                          <a:cubicBezTo>
                            <a:pt x="18" y="161"/>
                            <a:pt x="18" y="161"/>
                            <a:pt x="18" y="161"/>
                          </a:cubicBezTo>
                          <a:cubicBezTo>
                            <a:pt x="16" y="161"/>
                            <a:pt x="14" y="160"/>
                            <a:pt x="14" y="157"/>
                          </a:cubicBezTo>
                          <a:cubicBezTo>
                            <a:pt x="14" y="21"/>
                            <a:pt x="14" y="21"/>
                            <a:pt x="14" y="21"/>
                          </a:cubicBezTo>
                          <a:cubicBezTo>
                            <a:pt x="14" y="19"/>
                            <a:pt x="16" y="17"/>
                            <a:pt x="18" y="17"/>
                          </a:cubicBezTo>
                          <a:cubicBezTo>
                            <a:pt x="271" y="17"/>
                            <a:pt x="271" y="17"/>
                            <a:pt x="271" y="17"/>
                          </a:cubicBezTo>
                          <a:cubicBezTo>
                            <a:pt x="273" y="17"/>
                            <a:pt x="275" y="19"/>
                            <a:pt x="275" y="21"/>
                          </a:cubicBezTo>
                          <a:lnTo>
                            <a:pt x="275"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5" name="Oval 160"/>
                    <p:cNvSpPr>
                      <a:spLocks noChangeArrowheads="1"/>
                    </p:cNvSpPr>
                    <p:nvPr/>
                  </p:nvSpPr>
                  <p:spPr bwMode="auto">
                    <a:xfrm>
                      <a:off x="2036" y="1550"/>
                      <a:ext cx="25" cy="2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sp>
              <p:nvSpPr>
                <p:cNvPr id="31" name="Freeform 23"/>
                <p:cNvSpPr>
                  <a:spLocks noChangeAspect="1" noEditPoints="1"/>
                </p:cNvSpPr>
                <p:nvPr/>
              </p:nvSpPr>
              <p:spPr bwMode="auto">
                <a:xfrm>
                  <a:off x="3098093" y="2038982"/>
                  <a:ext cx="704677" cy="222862"/>
                </a:xfrm>
                <a:custGeom>
                  <a:avLst/>
                  <a:gdLst>
                    <a:gd name="T0" fmla="*/ 1442 w 2741"/>
                    <a:gd name="T1" fmla="*/ 572 h 865"/>
                    <a:gd name="T2" fmla="*/ 1224 w 2741"/>
                    <a:gd name="T3" fmla="*/ 701 h 865"/>
                    <a:gd name="T4" fmla="*/ 1012 w 2741"/>
                    <a:gd name="T5" fmla="*/ 576 h 865"/>
                    <a:gd name="T6" fmla="*/ 1012 w 2741"/>
                    <a:gd name="T7" fmla="*/ 295 h 865"/>
                    <a:gd name="T8" fmla="*/ 1233 w 2741"/>
                    <a:gd name="T9" fmla="*/ 165 h 865"/>
                    <a:gd name="T10" fmla="*/ 1442 w 2741"/>
                    <a:gd name="T11" fmla="*/ 291 h 865"/>
                    <a:gd name="T12" fmla="*/ 1408 w 2741"/>
                    <a:gd name="T13" fmla="*/ 435 h 865"/>
                    <a:gd name="T14" fmla="*/ 1229 w 2741"/>
                    <a:gd name="T15" fmla="*/ 220 h 865"/>
                    <a:gd name="T16" fmla="*/ 1068 w 2741"/>
                    <a:gd name="T17" fmla="*/ 323 h 865"/>
                    <a:gd name="T18" fmla="*/ 1067 w 2741"/>
                    <a:gd name="T19" fmla="*/ 545 h 865"/>
                    <a:gd name="T20" fmla="*/ 1224 w 2741"/>
                    <a:gd name="T21" fmla="*/ 646 h 865"/>
                    <a:gd name="T22" fmla="*/ 1408 w 2741"/>
                    <a:gd name="T23" fmla="*/ 435 h 865"/>
                    <a:gd name="T24" fmla="*/ 1695 w 2741"/>
                    <a:gd name="T25" fmla="*/ 186 h 865"/>
                    <a:gd name="T26" fmla="*/ 1632 w 2741"/>
                    <a:gd name="T27" fmla="*/ 322 h 865"/>
                    <a:gd name="T28" fmla="*/ 1719 w 2741"/>
                    <a:gd name="T29" fmla="*/ 372 h 865"/>
                    <a:gd name="T30" fmla="*/ 1632 w 2741"/>
                    <a:gd name="T31" fmla="*/ 692 h 865"/>
                    <a:gd name="T32" fmla="*/ 1573 w 2741"/>
                    <a:gd name="T33" fmla="*/ 372 h 865"/>
                    <a:gd name="T34" fmla="*/ 1510 w 2741"/>
                    <a:gd name="T35" fmla="*/ 322 h 865"/>
                    <a:gd name="T36" fmla="*/ 1573 w 2741"/>
                    <a:gd name="T37" fmla="*/ 262 h 865"/>
                    <a:gd name="T38" fmla="*/ 1691 w 2741"/>
                    <a:gd name="T39" fmla="*/ 136 h 865"/>
                    <a:gd name="T40" fmla="*/ 1734 w 2741"/>
                    <a:gd name="T41" fmla="*/ 196 h 865"/>
                    <a:gd name="T42" fmla="*/ 1898 w 2741"/>
                    <a:gd name="T43" fmla="*/ 186 h 865"/>
                    <a:gd name="T44" fmla="*/ 1836 w 2741"/>
                    <a:gd name="T45" fmla="*/ 322 h 865"/>
                    <a:gd name="T46" fmla="*/ 1923 w 2741"/>
                    <a:gd name="T47" fmla="*/ 372 h 865"/>
                    <a:gd name="T48" fmla="*/ 1836 w 2741"/>
                    <a:gd name="T49" fmla="*/ 692 h 865"/>
                    <a:gd name="T50" fmla="*/ 1777 w 2741"/>
                    <a:gd name="T51" fmla="*/ 372 h 865"/>
                    <a:gd name="T52" fmla="*/ 1714 w 2741"/>
                    <a:gd name="T53" fmla="*/ 322 h 865"/>
                    <a:gd name="T54" fmla="*/ 1777 w 2741"/>
                    <a:gd name="T55" fmla="*/ 262 h 865"/>
                    <a:gd name="T56" fmla="*/ 1895 w 2741"/>
                    <a:gd name="T57" fmla="*/ 136 h 865"/>
                    <a:gd name="T58" fmla="*/ 1938 w 2741"/>
                    <a:gd name="T59" fmla="*/ 196 h 865"/>
                    <a:gd name="T60" fmla="*/ 2036 w 2741"/>
                    <a:gd name="T61" fmla="*/ 217 h 865"/>
                    <a:gd name="T62" fmla="*/ 1981 w 2741"/>
                    <a:gd name="T63" fmla="*/ 217 h 865"/>
                    <a:gd name="T64" fmla="*/ 1981 w 2741"/>
                    <a:gd name="T65" fmla="*/ 162 h 865"/>
                    <a:gd name="T66" fmla="*/ 2036 w 2741"/>
                    <a:gd name="T67" fmla="*/ 162 h 865"/>
                    <a:gd name="T68" fmla="*/ 2037 w 2741"/>
                    <a:gd name="T69" fmla="*/ 692 h 865"/>
                    <a:gd name="T70" fmla="*/ 1978 w 2741"/>
                    <a:gd name="T71" fmla="*/ 322 h 865"/>
                    <a:gd name="T72" fmla="*/ 2037 w 2741"/>
                    <a:gd name="T73" fmla="*/ 692 h 865"/>
                    <a:gd name="T74" fmla="*/ 2274 w 2741"/>
                    <a:gd name="T75" fmla="*/ 701 h 865"/>
                    <a:gd name="T76" fmla="*/ 2120 w 2741"/>
                    <a:gd name="T77" fmla="*/ 612 h 865"/>
                    <a:gd name="T78" fmla="*/ 2151 w 2741"/>
                    <a:gd name="T79" fmla="*/ 369 h 865"/>
                    <a:gd name="T80" fmla="*/ 2376 w 2741"/>
                    <a:gd name="T81" fmla="*/ 332 h 865"/>
                    <a:gd name="T82" fmla="*/ 2288 w 2741"/>
                    <a:gd name="T83" fmla="*/ 364 h 865"/>
                    <a:gd name="T84" fmla="*/ 2159 w 2741"/>
                    <a:gd name="T85" fmla="*/ 511 h 865"/>
                    <a:gd name="T86" fmla="*/ 2285 w 2741"/>
                    <a:gd name="T87" fmla="*/ 651 h 865"/>
                    <a:gd name="T88" fmla="*/ 2376 w 2741"/>
                    <a:gd name="T89" fmla="*/ 675 h 865"/>
                    <a:gd name="T90" fmla="*/ 2480 w 2741"/>
                    <a:gd name="T91" fmla="*/ 522 h 865"/>
                    <a:gd name="T92" fmla="*/ 2600 w 2741"/>
                    <a:gd name="T93" fmla="*/ 651 h 865"/>
                    <a:gd name="T94" fmla="*/ 2715 w 2741"/>
                    <a:gd name="T95" fmla="*/ 666 h 865"/>
                    <a:gd name="T96" fmla="*/ 2463 w 2741"/>
                    <a:gd name="T97" fmla="*/ 650 h 865"/>
                    <a:gd name="T98" fmla="*/ 2440 w 2741"/>
                    <a:gd name="T99" fmla="*/ 408 h 865"/>
                    <a:gd name="T100" fmla="*/ 2588 w 2741"/>
                    <a:gd name="T101" fmla="*/ 313 h 865"/>
                    <a:gd name="T102" fmla="*/ 2741 w 2741"/>
                    <a:gd name="T103" fmla="*/ 491 h 865"/>
                    <a:gd name="T104" fmla="*/ 2680 w 2741"/>
                    <a:gd name="T105" fmla="*/ 472 h 865"/>
                    <a:gd name="T106" fmla="*/ 2588 w 2741"/>
                    <a:gd name="T107" fmla="*/ 364 h 865"/>
                    <a:gd name="T108" fmla="*/ 2480 w 2741"/>
                    <a:gd name="T109" fmla="*/ 472 h 865"/>
                    <a:gd name="T110" fmla="*/ 721 w 2741"/>
                    <a:gd name="T111" fmla="*/ 793 h 865"/>
                    <a:gd name="T112" fmla="*/ 721 w 2741"/>
                    <a:gd name="T113" fmla="*/ 74 h 865"/>
                    <a:gd name="T114" fmla="*/ 1 w 2741"/>
                    <a:gd name="T115" fmla="*/ 174 h 865"/>
                    <a:gd name="T116" fmla="*/ 0 w 2741"/>
                    <a:gd name="T117" fmla="*/ 694 h 865"/>
                    <a:gd name="T118" fmla="*/ 158 w 2741"/>
                    <a:gd name="T119" fmla="*/ 209 h 865"/>
                    <a:gd name="T120" fmla="*/ 464 w 2741"/>
                    <a:gd name="T121" fmla="*/ 758 h 865"/>
                    <a:gd name="T122" fmla="*/ 464 w 2741"/>
                    <a:gd name="T123" fmla="*/ 865 h 865"/>
                    <a:gd name="T124" fmla="*/ 721 w 2741"/>
                    <a:gd name="T125" fmla="*/ 794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41" h="865">
                      <a:moveTo>
                        <a:pt x="1472" y="427"/>
                      </a:moveTo>
                      <a:cubicBezTo>
                        <a:pt x="1472" y="482"/>
                        <a:pt x="1462" y="530"/>
                        <a:pt x="1442" y="572"/>
                      </a:cubicBezTo>
                      <a:cubicBezTo>
                        <a:pt x="1421" y="613"/>
                        <a:pt x="1392" y="645"/>
                        <a:pt x="1355" y="668"/>
                      </a:cubicBezTo>
                      <a:cubicBezTo>
                        <a:pt x="1317" y="690"/>
                        <a:pt x="1274" y="701"/>
                        <a:pt x="1224" y="701"/>
                      </a:cubicBezTo>
                      <a:cubicBezTo>
                        <a:pt x="1177" y="701"/>
                        <a:pt x="1135" y="691"/>
                        <a:pt x="1098" y="669"/>
                      </a:cubicBezTo>
                      <a:cubicBezTo>
                        <a:pt x="1061" y="647"/>
                        <a:pt x="1032" y="616"/>
                        <a:pt x="1012" y="576"/>
                      </a:cubicBezTo>
                      <a:cubicBezTo>
                        <a:pt x="991" y="536"/>
                        <a:pt x="981" y="490"/>
                        <a:pt x="981" y="439"/>
                      </a:cubicBezTo>
                      <a:cubicBezTo>
                        <a:pt x="981" y="384"/>
                        <a:pt x="992" y="336"/>
                        <a:pt x="1012" y="295"/>
                      </a:cubicBezTo>
                      <a:cubicBezTo>
                        <a:pt x="1033" y="253"/>
                        <a:pt x="1062" y="221"/>
                        <a:pt x="1100" y="199"/>
                      </a:cubicBezTo>
                      <a:cubicBezTo>
                        <a:pt x="1139" y="176"/>
                        <a:pt x="1183" y="165"/>
                        <a:pt x="1233" y="165"/>
                      </a:cubicBezTo>
                      <a:cubicBezTo>
                        <a:pt x="1279" y="165"/>
                        <a:pt x="1321" y="176"/>
                        <a:pt x="1357" y="198"/>
                      </a:cubicBezTo>
                      <a:cubicBezTo>
                        <a:pt x="1394" y="220"/>
                        <a:pt x="1422" y="251"/>
                        <a:pt x="1442" y="291"/>
                      </a:cubicBezTo>
                      <a:cubicBezTo>
                        <a:pt x="1462" y="330"/>
                        <a:pt x="1472" y="376"/>
                        <a:pt x="1472" y="427"/>
                      </a:cubicBezTo>
                      <a:close/>
                      <a:moveTo>
                        <a:pt x="1408" y="435"/>
                      </a:moveTo>
                      <a:cubicBezTo>
                        <a:pt x="1408" y="367"/>
                        <a:pt x="1392" y="314"/>
                        <a:pt x="1361" y="276"/>
                      </a:cubicBezTo>
                      <a:cubicBezTo>
                        <a:pt x="1329" y="239"/>
                        <a:pt x="1285" y="220"/>
                        <a:pt x="1229" y="220"/>
                      </a:cubicBezTo>
                      <a:cubicBezTo>
                        <a:pt x="1193" y="220"/>
                        <a:pt x="1161" y="229"/>
                        <a:pt x="1133" y="247"/>
                      </a:cubicBezTo>
                      <a:cubicBezTo>
                        <a:pt x="1105" y="265"/>
                        <a:pt x="1084" y="290"/>
                        <a:pt x="1068" y="323"/>
                      </a:cubicBezTo>
                      <a:cubicBezTo>
                        <a:pt x="1053" y="356"/>
                        <a:pt x="1045" y="393"/>
                        <a:pt x="1045" y="434"/>
                      </a:cubicBezTo>
                      <a:cubicBezTo>
                        <a:pt x="1045" y="475"/>
                        <a:pt x="1052" y="512"/>
                        <a:pt x="1067" y="545"/>
                      </a:cubicBezTo>
                      <a:cubicBezTo>
                        <a:pt x="1082" y="577"/>
                        <a:pt x="1103" y="602"/>
                        <a:pt x="1131" y="620"/>
                      </a:cubicBezTo>
                      <a:cubicBezTo>
                        <a:pt x="1158" y="638"/>
                        <a:pt x="1189" y="646"/>
                        <a:pt x="1224" y="646"/>
                      </a:cubicBezTo>
                      <a:cubicBezTo>
                        <a:pt x="1282" y="646"/>
                        <a:pt x="1327" y="628"/>
                        <a:pt x="1359" y="590"/>
                      </a:cubicBezTo>
                      <a:cubicBezTo>
                        <a:pt x="1392" y="552"/>
                        <a:pt x="1408" y="501"/>
                        <a:pt x="1408" y="435"/>
                      </a:cubicBezTo>
                      <a:close/>
                      <a:moveTo>
                        <a:pt x="1734" y="196"/>
                      </a:moveTo>
                      <a:cubicBezTo>
                        <a:pt x="1722" y="190"/>
                        <a:pt x="1709" y="186"/>
                        <a:pt x="1695" y="186"/>
                      </a:cubicBezTo>
                      <a:cubicBezTo>
                        <a:pt x="1653" y="186"/>
                        <a:pt x="1632" y="213"/>
                        <a:pt x="1632" y="265"/>
                      </a:cubicBezTo>
                      <a:cubicBezTo>
                        <a:pt x="1632" y="322"/>
                        <a:pt x="1632" y="322"/>
                        <a:pt x="1632" y="322"/>
                      </a:cubicBezTo>
                      <a:cubicBezTo>
                        <a:pt x="1719" y="322"/>
                        <a:pt x="1719" y="322"/>
                        <a:pt x="1719" y="322"/>
                      </a:cubicBezTo>
                      <a:cubicBezTo>
                        <a:pt x="1719" y="372"/>
                        <a:pt x="1719" y="372"/>
                        <a:pt x="1719" y="372"/>
                      </a:cubicBezTo>
                      <a:cubicBezTo>
                        <a:pt x="1632" y="372"/>
                        <a:pt x="1632" y="372"/>
                        <a:pt x="1632" y="372"/>
                      </a:cubicBezTo>
                      <a:cubicBezTo>
                        <a:pt x="1632" y="692"/>
                        <a:pt x="1632" y="692"/>
                        <a:pt x="1632" y="692"/>
                      </a:cubicBezTo>
                      <a:cubicBezTo>
                        <a:pt x="1573" y="692"/>
                        <a:pt x="1573" y="692"/>
                        <a:pt x="1573" y="692"/>
                      </a:cubicBezTo>
                      <a:cubicBezTo>
                        <a:pt x="1573" y="372"/>
                        <a:pt x="1573" y="372"/>
                        <a:pt x="1573" y="372"/>
                      </a:cubicBezTo>
                      <a:cubicBezTo>
                        <a:pt x="1510" y="372"/>
                        <a:pt x="1510" y="372"/>
                        <a:pt x="1510" y="372"/>
                      </a:cubicBezTo>
                      <a:cubicBezTo>
                        <a:pt x="1510" y="322"/>
                        <a:pt x="1510" y="322"/>
                        <a:pt x="1510" y="322"/>
                      </a:cubicBezTo>
                      <a:cubicBezTo>
                        <a:pt x="1573" y="322"/>
                        <a:pt x="1573" y="322"/>
                        <a:pt x="1573" y="322"/>
                      </a:cubicBezTo>
                      <a:cubicBezTo>
                        <a:pt x="1573" y="262"/>
                        <a:pt x="1573" y="262"/>
                        <a:pt x="1573" y="262"/>
                      </a:cubicBezTo>
                      <a:cubicBezTo>
                        <a:pt x="1573" y="224"/>
                        <a:pt x="1584" y="194"/>
                        <a:pt x="1606" y="171"/>
                      </a:cubicBezTo>
                      <a:cubicBezTo>
                        <a:pt x="1629" y="148"/>
                        <a:pt x="1657" y="136"/>
                        <a:pt x="1691" y="136"/>
                      </a:cubicBezTo>
                      <a:cubicBezTo>
                        <a:pt x="1709" y="136"/>
                        <a:pt x="1723" y="138"/>
                        <a:pt x="1734" y="143"/>
                      </a:cubicBezTo>
                      <a:lnTo>
                        <a:pt x="1734" y="196"/>
                      </a:lnTo>
                      <a:close/>
                      <a:moveTo>
                        <a:pt x="1938" y="196"/>
                      </a:moveTo>
                      <a:cubicBezTo>
                        <a:pt x="1926" y="190"/>
                        <a:pt x="1913" y="186"/>
                        <a:pt x="1898" y="186"/>
                      </a:cubicBezTo>
                      <a:cubicBezTo>
                        <a:pt x="1857" y="186"/>
                        <a:pt x="1836" y="213"/>
                        <a:pt x="1836" y="265"/>
                      </a:cubicBezTo>
                      <a:cubicBezTo>
                        <a:pt x="1836" y="322"/>
                        <a:pt x="1836" y="322"/>
                        <a:pt x="1836" y="322"/>
                      </a:cubicBezTo>
                      <a:cubicBezTo>
                        <a:pt x="1923" y="322"/>
                        <a:pt x="1923" y="322"/>
                        <a:pt x="1923" y="322"/>
                      </a:cubicBezTo>
                      <a:cubicBezTo>
                        <a:pt x="1923" y="372"/>
                        <a:pt x="1923" y="372"/>
                        <a:pt x="1923" y="372"/>
                      </a:cubicBezTo>
                      <a:cubicBezTo>
                        <a:pt x="1836" y="372"/>
                        <a:pt x="1836" y="372"/>
                        <a:pt x="1836" y="372"/>
                      </a:cubicBezTo>
                      <a:cubicBezTo>
                        <a:pt x="1836" y="692"/>
                        <a:pt x="1836" y="692"/>
                        <a:pt x="1836" y="692"/>
                      </a:cubicBezTo>
                      <a:cubicBezTo>
                        <a:pt x="1777" y="692"/>
                        <a:pt x="1777" y="692"/>
                        <a:pt x="1777" y="692"/>
                      </a:cubicBezTo>
                      <a:cubicBezTo>
                        <a:pt x="1777" y="372"/>
                        <a:pt x="1777" y="372"/>
                        <a:pt x="1777" y="372"/>
                      </a:cubicBezTo>
                      <a:cubicBezTo>
                        <a:pt x="1714" y="372"/>
                        <a:pt x="1714" y="372"/>
                        <a:pt x="1714" y="372"/>
                      </a:cubicBezTo>
                      <a:cubicBezTo>
                        <a:pt x="1714" y="322"/>
                        <a:pt x="1714" y="322"/>
                        <a:pt x="1714" y="322"/>
                      </a:cubicBezTo>
                      <a:cubicBezTo>
                        <a:pt x="1777" y="322"/>
                        <a:pt x="1777" y="322"/>
                        <a:pt x="1777" y="322"/>
                      </a:cubicBezTo>
                      <a:cubicBezTo>
                        <a:pt x="1777" y="262"/>
                        <a:pt x="1777" y="262"/>
                        <a:pt x="1777" y="262"/>
                      </a:cubicBezTo>
                      <a:cubicBezTo>
                        <a:pt x="1777" y="224"/>
                        <a:pt x="1788" y="194"/>
                        <a:pt x="1810" y="171"/>
                      </a:cubicBezTo>
                      <a:cubicBezTo>
                        <a:pt x="1832" y="148"/>
                        <a:pt x="1861" y="136"/>
                        <a:pt x="1895" y="136"/>
                      </a:cubicBezTo>
                      <a:cubicBezTo>
                        <a:pt x="1913" y="136"/>
                        <a:pt x="1927" y="138"/>
                        <a:pt x="1938" y="143"/>
                      </a:cubicBezTo>
                      <a:lnTo>
                        <a:pt x="1938" y="196"/>
                      </a:lnTo>
                      <a:close/>
                      <a:moveTo>
                        <a:pt x="2047" y="189"/>
                      </a:moveTo>
                      <a:cubicBezTo>
                        <a:pt x="2047" y="200"/>
                        <a:pt x="2043" y="210"/>
                        <a:pt x="2036" y="217"/>
                      </a:cubicBezTo>
                      <a:cubicBezTo>
                        <a:pt x="2028" y="224"/>
                        <a:pt x="2019" y="228"/>
                        <a:pt x="2008" y="228"/>
                      </a:cubicBezTo>
                      <a:cubicBezTo>
                        <a:pt x="1997" y="228"/>
                        <a:pt x="1988" y="224"/>
                        <a:pt x="1981" y="217"/>
                      </a:cubicBezTo>
                      <a:cubicBezTo>
                        <a:pt x="1973" y="210"/>
                        <a:pt x="1970" y="201"/>
                        <a:pt x="1970" y="189"/>
                      </a:cubicBezTo>
                      <a:cubicBezTo>
                        <a:pt x="1970" y="179"/>
                        <a:pt x="1973" y="170"/>
                        <a:pt x="1981" y="162"/>
                      </a:cubicBezTo>
                      <a:cubicBezTo>
                        <a:pt x="1988" y="155"/>
                        <a:pt x="1997" y="151"/>
                        <a:pt x="2008" y="151"/>
                      </a:cubicBezTo>
                      <a:cubicBezTo>
                        <a:pt x="2019" y="151"/>
                        <a:pt x="2029" y="155"/>
                        <a:pt x="2036" y="162"/>
                      </a:cubicBezTo>
                      <a:cubicBezTo>
                        <a:pt x="2044" y="170"/>
                        <a:pt x="2047" y="179"/>
                        <a:pt x="2047" y="189"/>
                      </a:cubicBezTo>
                      <a:close/>
                      <a:moveTo>
                        <a:pt x="2037" y="692"/>
                      </a:moveTo>
                      <a:cubicBezTo>
                        <a:pt x="1978" y="692"/>
                        <a:pt x="1978" y="692"/>
                        <a:pt x="1978" y="692"/>
                      </a:cubicBezTo>
                      <a:cubicBezTo>
                        <a:pt x="1978" y="322"/>
                        <a:pt x="1978" y="322"/>
                        <a:pt x="1978" y="322"/>
                      </a:cubicBezTo>
                      <a:cubicBezTo>
                        <a:pt x="2037" y="322"/>
                        <a:pt x="2037" y="322"/>
                        <a:pt x="2037" y="322"/>
                      </a:cubicBezTo>
                      <a:lnTo>
                        <a:pt x="2037" y="692"/>
                      </a:lnTo>
                      <a:close/>
                      <a:moveTo>
                        <a:pt x="2376" y="675"/>
                      </a:moveTo>
                      <a:cubicBezTo>
                        <a:pt x="2347" y="693"/>
                        <a:pt x="2313" y="701"/>
                        <a:pt x="2274" y="701"/>
                      </a:cubicBezTo>
                      <a:cubicBezTo>
                        <a:pt x="2240" y="701"/>
                        <a:pt x="2210" y="694"/>
                        <a:pt x="2183" y="678"/>
                      </a:cubicBezTo>
                      <a:cubicBezTo>
                        <a:pt x="2156" y="663"/>
                        <a:pt x="2135" y="641"/>
                        <a:pt x="2120" y="612"/>
                      </a:cubicBezTo>
                      <a:cubicBezTo>
                        <a:pt x="2105" y="584"/>
                        <a:pt x="2098" y="552"/>
                        <a:pt x="2098" y="516"/>
                      </a:cubicBezTo>
                      <a:cubicBezTo>
                        <a:pt x="2098" y="455"/>
                        <a:pt x="2116" y="406"/>
                        <a:pt x="2151" y="369"/>
                      </a:cubicBezTo>
                      <a:cubicBezTo>
                        <a:pt x="2186" y="332"/>
                        <a:pt x="2232" y="313"/>
                        <a:pt x="2291" y="313"/>
                      </a:cubicBezTo>
                      <a:cubicBezTo>
                        <a:pt x="2323" y="313"/>
                        <a:pt x="2352" y="319"/>
                        <a:pt x="2376" y="332"/>
                      </a:cubicBezTo>
                      <a:cubicBezTo>
                        <a:pt x="2376" y="393"/>
                        <a:pt x="2376" y="393"/>
                        <a:pt x="2376" y="393"/>
                      </a:cubicBezTo>
                      <a:cubicBezTo>
                        <a:pt x="2349" y="373"/>
                        <a:pt x="2319" y="364"/>
                        <a:pt x="2288" y="364"/>
                      </a:cubicBezTo>
                      <a:cubicBezTo>
                        <a:pt x="2250" y="364"/>
                        <a:pt x="2219" y="377"/>
                        <a:pt x="2195" y="405"/>
                      </a:cubicBezTo>
                      <a:cubicBezTo>
                        <a:pt x="2171" y="432"/>
                        <a:pt x="2159" y="467"/>
                        <a:pt x="2159" y="511"/>
                      </a:cubicBezTo>
                      <a:cubicBezTo>
                        <a:pt x="2159" y="554"/>
                        <a:pt x="2170" y="588"/>
                        <a:pt x="2193" y="613"/>
                      </a:cubicBezTo>
                      <a:cubicBezTo>
                        <a:pt x="2216" y="638"/>
                        <a:pt x="2246" y="651"/>
                        <a:pt x="2285" y="651"/>
                      </a:cubicBezTo>
                      <a:cubicBezTo>
                        <a:pt x="2317" y="651"/>
                        <a:pt x="2347" y="640"/>
                        <a:pt x="2376" y="619"/>
                      </a:cubicBezTo>
                      <a:lnTo>
                        <a:pt x="2376" y="675"/>
                      </a:lnTo>
                      <a:close/>
                      <a:moveTo>
                        <a:pt x="2741" y="522"/>
                      </a:moveTo>
                      <a:cubicBezTo>
                        <a:pt x="2480" y="522"/>
                        <a:pt x="2480" y="522"/>
                        <a:pt x="2480" y="522"/>
                      </a:cubicBezTo>
                      <a:cubicBezTo>
                        <a:pt x="2480" y="564"/>
                        <a:pt x="2492" y="596"/>
                        <a:pt x="2513" y="618"/>
                      </a:cubicBezTo>
                      <a:cubicBezTo>
                        <a:pt x="2534" y="640"/>
                        <a:pt x="2563" y="651"/>
                        <a:pt x="2600" y="651"/>
                      </a:cubicBezTo>
                      <a:cubicBezTo>
                        <a:pt x="2642" y="651"/>
                        <a:pt x="2680" y="637"/>
                        <a:pt x="2715" y="610"/>
                      </a:cubicBezTo>
                      <a:cubicBezTo>
                        <a:pt x="2715" y="666"/>
                        <a:pt x="2715" y="666"/>
                        <a:pt x="2715" y="666"/>
                      </a:cubicBezTo>
                      <a:cubicBezTo>
                        <a:pt x="2683" y="689"/>
                        <a:pt x="2640" y="701"/>
                        <a:pt x="2586" y="701"/>
                      </a:cubicBezTo>
                      <a:cubicBezTo>
                        <a:pt x="2533" y="701"/>
                        <a:pt x="2492" y="684"/>
                        <a:pt x="2463" y="650"/>
                      </a:cubicBezTo>
                      <a:cubicBezTo>
                        <a:pt x="2433" y="616"/>
                        <a:pt x="2418" y="569"/>
                        <a:pt x="2418" y="509"/>
                      </a:cubicBezTo>
                      <a:cubicBezTo>
                        <a:pt x="2418" y="472"/>
                        <a:pt x="2425" y="439"/>
                        <a:pt x="2440" y="408"/>
                      </a:cubicBezTo>
                      <a:cubicBezTo>
                        <a:pt x="2455" y="378"/>
                        <a:pt x="2476" y="355"/>
                        <a:pt x="2502" y="338"/>
                      </a:cubicBezTo>
                      <a:cubicBezTo>
                        <a:pt x="2528" y="321"/>
                        <a:pt x="2557" y="313"/>
                        <a:pt x="2588" y="313"/>
                      </a:cubicBezTo>
                      <a:cubicBezTo>
                        <a:pt x="2636" y="313"/>
                        <a:pt x="2674" y="329"/>
                        <a:pt x="2701" y="360"/>
                      </a:cubicBezTo>
                      <a:cubicBezTo>
                        <a:pt x="2728" y="391"/>
                        <a:pt x="2741" y="435"/>
                        <a:pt x="2741" y="491"/>
                      </a:cubicBezTo>
                      <a:lnTo>
                        <a:pt x="2741" y="522"/>
                      </a:lnTo>
                      <a:close/>
                      <a:moveTo>
                        <a:pt x="2680" y="472"/>
                      </a:moveTo>
                      <a:cubicBezTo>
                        <a:pt x="2680" y="438"/>
                        <a:pt x="2672" y="411"/>
                        <a:pt x="2655" y="392"/>
                      </a:cubicBezTo>
                      <a:cubicBezTo>
                        <a:pt x="2639" y="373"/>
                        <a:pt x="2617" y="364"/>
                        <a:pt x="2588" y="364"/>
                      </a:cubicBezTo>
                      <a:cubicBezTo>
                        <a:pt x="2560" y="364"/>
                        <a:pt x="2537" y="374"/>
                        <a:pt x="2517" y="393"/>
                      </a:cubicBezTo>
                      <a:cubicBezTo>
                        <a:pt x="2498" y="413"/>
                        <a:pt x="2485" y="439"/>
                        <a:pt x="2480" y="472"/>
                      </a:cubicBezTo>
                      <a:lnTo>
                        <a:pt x="2680" y="472"/>
                      </a:lnTo>
                      <a:close/>
                      <a:moveTo>
                        <a:pt x="721" y="793"/>
                      </a:moveTo>
                      <a:cubicBezTo>
                        <a:pt x="721" y="793"/>
                        <a:pt x="721" y="793"/>
                        <a:pt x="721" y="793"/>
                      </a:cubicBezTo>
                      <a:cubicBezTo>
                        <a:pt x="721" y="74"/>
                        <a:pt x="721" y="74"/>
                        <a:pt x="721" y="74"/>
                      </a:cubicBezTo>
                      <a:cubicBezTo>
                        <a:pt x="464" y="0"/>
                        <a:pt x="464" y="0"/>
                        <a:pt x="464" y="0"/>
                      </a:cubicBezTo>
                      <a:cubicBezTo>
                        <a:pt x="1" y="174"/>
                        <a:pt x="1" y="174"/>
                        <a:pt x="1" y="174"/>
                      </a:cubicBezTo>
                      <a:cubicBezTo>
                        <a:pt x="0" y="174"/>
                        <a:pt x="0" y="174"/>
                        <a:pt x="0" y="174"/>
                      </a:cubicBezTo>
                      <a:cubicBezTo>
                        <a:pt x="0" y="694"/>
                        <a:pt x="0" y="694"/>
                        <a:pt x="0" y="694"/>
                      </a:cubicBezTo>
                      <a:cubicBezTo>
                        <a:pt x="158" y="632"/>
                        <a:pt x="158" y="632"/>
                        <a:pt x="158" y="632"/>
                      </a:cubicBezTo>
                      <a:cubicBezTo>
                        <a:pt x="158" y="209"/>
                        <a:pt x="158" y="209"/>
                        <a:pt x="158" y="209"/>
                      </a:cubicBezTo>
                      <a:cubicBezTo>
                        <a:pt x="464" y="136"/>
                        <a:pt x="464" y="136"/>
                        <a:pt x="464" y="136"/>
                      </a:cubicBezTo>
                      <a:cubicBezTo>
                        <a:pt x="464" y="758"/>
                        <a:pt x="464" y="758"/>
                        <a:pt x="464" y="758"/>
                      </a:cubicBezTo>
                      <a:cubicBezTo>
                        <a:pt x="0" y="694"/>
                        <a:pt x="0" y="694"/>
                        <a:pt x="0" y="694"/>
                      </a:cubicBezTo>
                      <a:cubicBezTo>
                        <a:pt x="464" y="865"/>
                        <a:pt x="464" y="865"/>
                        <a:pt x="464" y="865"/>
                      </a:cubicBezTo>
                      <a:cubicBezTo>
                        <a:pt x="464" y="865"/>
                        <a:pt x="464" y="865"/>
                        <a:pt x="464" y="865"/>
                      </a:cubicBezTo>
                      <a:cubicBezTo>
                        <a:pt x="721" y="794"/>
                        <a:pt x="721" y="794"/>
                        <a:pt x="721" y="794"/>
                      </a:cubicBezTo>
                      <a:cubicBezTo>
                        <a:pt x="721" y="793"/>
                        <a:pt x="721" y="793"/>
                        <a:pt x="721" y="793"/>
                      </a:cubicBezTo>
                      <a:close/>
                    </a:path>
                  </a:pathLst>
                </a:custGeom>
                <a:solidFill>
                  <a:schemeClr val="tx1"/>
                </a:solidFill>
                <a:ln>
                  <a:noFill/>
                </a:ln>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nvGrpSpPr>
              <p:cNvPr id="11" name="Group 299"/>
              <p:cNvGrpSpPr>
                <a:grpSpLocks noChangeAspect="1"/>
              </p:cNvGrpSpPr>
              <p:nvPr/>
            </p:nvGrpSpPr>
            <p:grpSpPr bwMode="auto">
              <a:xfrm>
                <a:off x="292100" y="1517955"/>
                <a:ext cx="1885896" cy="1015695"/>
                <a:chOff x="-158" y="615"/>
                <a:chExt cx="2048" cy="1103"/>
              </a:xfrm>
            </p:grpSpPr>
            <p:sp>
              <p:nvSpPr>
                <p:cNvPr id="12" name="Freeform 300"/>
                <p:cNvSpPr>
                  <a:spLocks/>
                </p:cNvSpPr>
                <p:nvPr/>
              </p:nvSpPr>
              <p:spPr bwMode="auto">
                <a:xfrm>
                  <a:off x="102" y="615"/>
                  <a:ext cx="1532" cy="984"/>
                </a:xfrm>
                <a:custGeom>
                  <a:avLst/>
                  <a:gdLst>
                    <a:gd name="T0" fmla="*/ 625 w 646"/>
                    <a:gd name="T1" fmla="*/ 0 h 414"/>
                    <a:gd name="T2" fmla="*/ 22 w 646"/>
                    <a:gd name="T3" fmla="*/ 0 h 414"/>
                    <a:gd name="T4" fmla="*/ 0 w 646"/>
                    <a:gd name="T5" fmla="*/ 22 h 414"/>
                    <a:gd name="T6" fmla="*/ 0 w 646"/>
                    <a:gd name="T7" fmla="*/ 393 h 414"/>
                    <a:gd name="T8" fmla="*/ 22 w 646"/>
                    <a:gd name="T9" fmla="*/ 414 h 414"/>
                    <a:gd name="T10" fmla="*/ 625 w 646"/>
                    <a:gd name="T11" fmla="*/ 414 h 414"/>
                    <a:gd name="T12" fmla="*/ 646 w 646"/>
                    <a:gd name="T13" fmla="*/ 393 h 414"/>
                    <a:gd name="T14" fmla="*/ 646 w 646"/>
                    <a:gd name="T15" fmla="*/ 22 h 414"/>
                    <a:gd name="T16" fmla="*/ 625 w 646"/>
                    <a:gd name="T17" fmla="*/ 0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6" h="414">
                      <a:moveTo>
                        <a:pt x="625" y="0"/>
                      </a:moveTo>
                      <a:cubicBezTo>
                        <a:pt x="22" y="0"/>
                        <a:pt x="22" y="0"/>
                        <a:pt x="22" y="0"/>
                      </a:cubicBezTo>
                      <a:cubicBezTo>
                        <a:pt x="11" y="0"/>
                        <a:pt x="0" y="9"/>
                        <a:pt x="0" y="22"/>
                      </a:cubicBezTo>
                      <a:cubicBezTo>
                        <a:pt x="0" y="393"/>
                        <a:pt x="0" y="393"/>
                        <a:pt x="0" y="393"/>
                      </a:cubicBezTo>
                      <a:cubicBezTo>
                        <a:pt x="0" y="406"/>
                        <a:pt x="11" y="414"/>
                        <a:pt x="22" y="414"/>
                      </a:cubicBezTo>
                      <a:cubicBezTo>
                        <a:pt x="625" y="414"/>
                        <a:pt x="625" y="414"/>
                        <a:pt x="625" y="414"/>
                      </a:cubicBezTo>
                      <a:cubicBezTo>
                        <a:pt x="638" y="414"/>
                        <a:pt x="646" y="406"/>
                        <a:pt x="646" y="393"/>
                      </a:cubicBezTo>
                      <a:cubicBezTo>
                        <a:pt x="646" y="22"/>
                        <a:pt x="646" y="22"/>
                        <a:pt x="646" y="22"/>
                      </a:cubicBezTo>
                      <a:cubicBezTo>
                        <a:pt x="646" y="9"/>
                        <a:pt x="638" y="0"/>
                        <a:pt x="625"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13" name="Freeform 301"/>
                <p:cNvSpPr>
                  <a:spLocks/>
                </p:cNvSpPr>
                <p:nvPr/>
              </p:nvSpPr>
              <p:spPr bwMode="auto">
                <a:xfrm>
                  <a:off x="169" y="672"/>
                  <a:ext cx="1398" cy="865"/>
                </a:xfrm>
                <a:custGeom>
                  <a:avLst/>
                  <a:gdLst>
                    <a:gd name="T0" fmla="*/ 590 w 590"/>
                    <a:gd name="T1" fmla="*/ 364 h 364"/>
                    <a:gd name="T2" fmla="*/ 0 w 590"/>
                    <a:gd name="T3" fmla="*/ 364 h 364"/>
                    <a:gd name="T4" fmla="*/ 0 w 590"/>
                    <a:gd name="T5" fmla="*/ 0 h 364"/>
                    <a:gd name="T6" fmla="*/ 590 w 590"/>
                    <a:gd name="T7" fmla="*/ 0 h 364"/>
                    <a:gd name="T8" fmla="*/ 590 w 590"/>
                    <a:gd name="T9" fmla="*/ 364 h 364"/>
                  </a:gdLst>
                  <a:ahLst/>
                  <a:cxnLst>
                    <a:cxn ang="0">
                      <a:pos x="T0" y="T1"/>
                    </a:cxn>
                    <a:cxn ang="0">
                      <a:pos x="T2" y="T3"/>
                    </a:cxn>
                    <a:cxn ang="0">
                      <a:pos x="T4" y="T5"/>
                    </a:cxn>
                    <a:cxn ang="0">
                      <a:pos x="T6" y="T7"/>
                    </a:cxn>
                    <a:cxn ang="0">
                      <a:pos x="T8" y="T9"/>
                    </a:cxn>
                  </a:cxnLst>
                  <a:rect l="0" t="0" r="r" b="b"/>
                  <a:pathLst>
                    <a:path w="590" h="364">
                      <a:moveTo>
                        <a:pt x="590" y="364"/>
                      </a:moveTo>
                      <a:cubicBezTo>
                        <a:pt x="0" y="364"/>
                        <a:pt x="0" y="364"/>
                        <a:pt x="0" y="364"/>
                      </a:cubicBezTo>
                      <a:cubicBezTo>
                        <a:pt x="0" y="0"/>
                        <a:pt x="0" y="0"/>
                        <a:pt x="0" y="0"/>
                      </a:cubicBezTo>
                      <a:cubicBezTo>
                        <a:pt x="590" y="0"/>
                        <a:pt x="590" y="0"/>
                        <a:pt x="590" y="0"/>
                      </a:cubicBezTo>
                      <a:cubicBezTo>
                        <a:pt x="590" y="364"/>
                        <a:pt x="590" y="364"/>
                        <a:pt x="590" y="364"/>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14" name="Freeform 302"/>
                <p:cNvSpPr>
                  <a:spLocks/>
                </p:cNvSpPr>
                <p:nvPr/>
              </p:nvSpPr>
              <p:spPr bwMode="auto">
                <a:xfrm>
                  <a:off x="-158" y="1637"/>
                  <a:ext cx="2048" cy="81"/>
                </a:xfrm>
                <a:custGeom>
                  <a:avLst/>
                  <a:gdLst>
                    <a:gd name="T0" fmla="*/ 493 w 864"/>
                    <a:gd name="T1" fmla="*/ 0 h 34"/>
                    <a:gd name="T2" fmla="*/ 493 w 864"/>
                    <a:gd name="T3" fmla="*/ 4 h 34"/>
                    <a:gd name="T4" fmla="*/ 484 w 864"/>
                    <a:gd name="T5" fmla="*/ 10 h 34"/>
                    <a:gd name="T6" fmla="*/ 383 w 864"/>
                    <a:gd name="T7" fmla="*/ 10 h 34"/>
                    <a:gd name="T8" fmla="*/ 374 w 864"/>
                    <a:gd name="T9" fmla="*/ 4 h 34"/>
                    <a:gd name="T10" fmla="*/ 374 w 864"/>
                    <a:gd name="T11" fmla="*/ 0 h 34"/>
                    <a:gd name="T12" fmla="*/ 0 w 864"/>
                    <a:gd name="T13" fmla="*/ 0 h 34"/>
                    <a:gd name="T14" fmla="*/ 0 w 864"/>
                    <a:gd name="T15" fmla="*/ 21 h 34"/>
                    <a:gd name="T16" fmla="*/ 28 w 864"/>
                    <a:gd name="T17" fmla="*/ 34 h 34"/>
                    <a:gd name="T18" fmla="*/ 836 w 864"/>
                    <a:gd name="T19" fmla="*/ 34 h 34"/>
                    <a:gd name="T20" fmla="*/ 864 w 864"/>
                    <a:gd name="T21" fmla="*/ 21 h 34"/>
                    <a:gd name="T22" fmla="*/ 864 w 864"/>
                    <a:gd name="T23" fmla="*/ 0 h 34"/>
                    <a:gd name="T24" fmla="*/ 493 w 864"/>
                    <a:gd name="T25"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4" h="34">
                      <a:moveTo>
                        <a:pt x="493" y="0"/>
                      </a:moveTo>
                      <a:cubicBezTo>
                        <a:pt x="493" y="4"/>
                        <a:pt x="493" y="4"/>
                        <a:pt x="493" y="4"/>
                      </a:cubicBezTo>
                      <a:cubicBezTo>
                        <a:pt x="493" y="8"/>
                        <a:pt x="488" y="10"/>
                        <a:pt x="484" y="10"/>
                      </a:cubicBezTo>
                      <a:cubicBezTo>
                        <a:pt x="383" y="10"/>
                        <a:pt x="383" y="10"/>
                        <a:pt x="383" y="10"/>
                      </a:cubicBezTo>
                      <a:cubicBezTo>
                        <a:pt x="378" y="10"/>
                        <a:pt x="374" y="8"/>
                        <a:pt x="374" y="4"/>
                      </a:cubicBezTo>
                      <a:cubicBezTo>
                        <a:pt x="374" y="0"/>
                        <a:pt x="374" y="0"/>
                        <a:pt x="374" y="0"/>
                      </a:cubicBezTo>
                      <a:cubicBezTo>
                        <a:pt x="0" y="0"/>
                        <a:pt x="0" y="0"/>
                        <a:pt x="0" y="0"/>
                      </a:cubicBezTo>
                      <a:cubicBezTo>
                        <a:pt x="0" y="21"/>
                        <a:pt x="0" y="21"/>
                        <a:pt x="0" y="21"/>
                      </a:cubicBezTo>
                      <a:cubicBezTo>
                        <a:pt x="0" y="21"/>
                        <a:pt x="20" y="34"/>
                        <a:pt x="28" y="34"/>
                      </a:cubicBezTo>
                      <a:cubicBezTo>
                        <a:pt x="836" y="34"/>
                        <a:pt x="836" y="34"/>
                        <a:pt x="836" y="34"/>
                      </a:cubicBezTo>
                      <a:cubicBezTo>
                        <a:pt x="845" y="34"/>
                        <a:pt x="864" y="21"/>
                        <a:pt x="864" y="21"/>
                      </a:cubicBezTo>
                      <a:cubicBezTo>
                        <a:pt x="864" y="0"/>
                        <a:pt x="864" y="0"/>
                        <a:pt x="864" y="0"/>
                      </a:cubicBezTo>
                      <a:lnTo>
                        <a:pt x="49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15" name="Rectangle 303"/>
                <p:cNvSpPr>
                  <a:spLocks noChangeArrowheads="1"/>
                </p:cNvSpPr>
                <p:nvPr/>
              </p:nvSpPr>
              <p:spPr bwMode="auto">
                <a:xfrm>
                  <a:off x="169" y="672"/>
                  <a:ext cx="1398" cy="86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16" name="Rectangle 304"/>
                <p:cNvSpPr>
                  <a:spLocks noChangeArrowheads="1"/>
                </p:cNvSpPr>
                <p:nvPr/>
              </p:nvSpPr>
              <p:spPr bwMode="auto">
                <a:xfrm>
                  <a:off x="169" y="672"/>
                  <a:ext cx="1398" cy="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17" name="Rectangle 305"/>
                <p:cNvSpPr>
                  <a:spLocks noChangeArrowheads="1"/>
                </p:cNvSpPr>
                <p:nvPr/>
              </p:nvSpPr>
              <p:spPr bwMode="auto">
                <a:xfrm>
                  <a:off x="240" y="753"/>
                  <a:ext cx="1251" cy="15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18" name="Rectangle 306"/>
                <p:cNvSpPr>
                  <a:spLocks noChangeArrowheads="1"/>
                </p:cNvSpPr>
                <p:nvPr/>
              </p:nvSpPr>
              <p:spPr bwMode="auto">
                <a:xfrm>
                  <a:off x="287" y="793"/>
                  <a:ext cx="621" cy="79"/>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19" name="Rectangle 307"/>
                <p:cNvSpPr>
                  <a:spLocks noChangeArrowheads="1"/>
                </p:cNvSpPr>
                <p:nvPr/>
              </p:nvSpPr>
              <p:spPr bwMode="auto">
                <a:xfrm>
                  <a:off x="1245" y="812"/>
                  <a:ext cx="199" cy="4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20" name="Rectangle 308"/>
                <p:cNvSpPr>
                  <a:spLocks noChangeArrowheads="1"/>
                </p:cNvSpPr>
                <p:nvPr/>
              </p:nvSpPr>
              <p:spPr bwMode="auto">
                <a:xfrm>
                  <a:off x="240" y="995"/>
                  <a:ext cx="1251" cy="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21" name="Rectangle 309"/>
                <p:cNvSpPr>
                  <a:spLocks noChangeArrowheads="1"/>
                </p:cNvSpPr>
                <p:nvPr/>
              </p:nvSpPr>
              <p:spPr bwMode="auto">
                <a:xfrm>
                  <a:off x="240" y="995"/>
                  <a:ext cx="1251" cy="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22" name="Rectangle 310"/>
                <p:cNvSpPr>
                  <a:spLocks noChangeArrowheads="1"/>
                </p:cNvSpPr>
                <p:nvPr/>
              </p:nvSpPr>
              <p:spPr bwMode="auto">
                <a:xfrm>
                  <a:off x="240" y="1112"/>
                  <a:ext cx="1251" cy="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23" name="Rectangle 311"/>
                <p:cNvSpPr>
                  <a:spLocks noChangeArrowheads="1"/>
                </p:cNvSpPr>
                <p:nvPr/>
              </p:nvSpPr>
              <p:spPr bwMode="auto">
                <a:xfrm>
                  <a:off x="240" y="1112"/>
                  <a:ext cx="1251" cy="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24" name="Rectangle 312"/>
                <p:cNvSpPr>
                  <a:spLocks noChangeArrowheads="1"/>
                </p:cNvSpPr>
                <p:nvPr/>
              </p:nvSpPr>
              <p:spPr bwMode="auto">
                <a:xfrm>
                  <a:off x="240" y="1226"/>
                  <a:ext cx="1251" cy="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25" name="Rectangle 313"/>
                <p:cNvSpPr>
                  <a:spLocks noChangeArrowheads="1"/>
                </p:cNvSpPr>
                <p:nvPr/>
              </p:nvSpPr>
              <p:spPr bwMode="auto">
                <a:xfrm>
                  <a:off x="240" y="1226"/>
                  <a:ext cx="1251" cy="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26" name="Rectangle 314"/>
                <p:cNvSpPr>
                  <a:spLocks noChangeArrowheads="1"/>
                </p:cNvSpPr>
                <p:nvPr/>
              </p:nvSpPr>
              <p:spPr bwMode="auto">
                <a:xfrm>
                  <a:off x="240" y="1342"/>
                  <a:ext cx="1251" cy="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27" name="Rectangle 315"/>
                <p:cNvSpPr>
                  <a:spLocks noChangeArrowheads="1"/>
                </p:cNvSpPr>
                <p:nvPr/>
              </p:nvSpPr>
              <p:spPr bwMode="auto">
                <a:xfrm>
                  <a:off x="240" y="1342"/>
                  <a:ext cx="1251" cy="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28" name="Rectangle 316"/>
                <p:cNvSpPr>
                  <a:spLocks noChangeArrowheads="1"/>
                </p:cNvSpPr>
                <p:nvPr/>
              </p:nvSpPr>
              <p:spPr bwMode="auto">
                <a:xfrm>
                  <a:off x="240" y="1449"/>
                  <a:ext cx="1251" cy="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29" name="Freeform 332"/>
                <p:cNvSpPr>
                  <a:spLocks/>
                </p:cNvSpPr>
                <p:nvPr/>
              </p:nvSpPr>
              <p:spPr bwMode="auto">
                <a:xfrm>
                  <a:off x="626" y="1000"/>
                  <a:ext cx="5" cy="2"/>
                </a:xfrm>
                <a:custGeom>
                  <a:avLst/>
                  <a:gdLst>
                    <a:gd name="T0" fmla="*/ 1 w 2"/>
                    <a:gd name="T1" fmla="*/ 0 h 1"/>
                    <a:gd name="T2" fmla="*/ 0 w 2"/>
                    <a:gd name="T3" fmla="*/ 1 h 1"/>
                    <a:gd name="T4" fmla="*/ 2 w 2"/>
                    <a:gd name="T5" fmla="*/ 1 h 1"/>
                    <a:gd name="T6" fmla="*/ 1 w 2"/>
                    <a:gd name="T7" fmla="*/ 0 h 1"/>
                  </a:gdLst>
                  <a:ahLst/>
                  <a:cxnLst>
                    <a:cxn ang="0">
                      <a:pos x="T0" y="T1"/>
                    </a:cxn>
                    <a:cxn ang="0">
                      <a:pos x="T2" y="T3"/>
                    </a:cxn>
                    <a:cxn ang="0">
                      <a:pos x="T4" y="T5"/>
                    </a:cxn>
                    <a:cxn ang="0">
                      <a:pos x="T6" y="T7"/>
                    </a:cxn>
                  </a:cxnLst>
                  <a:rect l="0" t="0" r="r" b="b"/>
                  <a:pathLst>
                    <a:path w="2" h="1">
                      <a:moveTo>
                        <a:pt x="1" y="0"/>
                      </a:moveTo>
                      <a:cubicBezTo>
                        <a:pt x="1" y="1"/>
                        <a:pt x="1" y="1"/>
                        <a:pt x="0" y="1"/>
                      </a:cubicBezTo>
                      <a:cubicBezTo>
                        <a:pt x="2" y="1"/>
                        <a:pt x="2" y="1"/>
                        <a:pt x="2" y="1"/>
                      </a:cubicBezTo>
                      <a:cubicBezTo>
                        <a:pt x="2" y="1"/>
                        <a:pt x="1" y="1"/>
                        <a:pt x="1" y="0"/>
                      </a:cubicBezTo>
                    </a:path>
                  </a:pathLst>
                </a:custGeom>
                <a:solidFill>
                  <a:srgbClr val="F49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grpSp>
          <p:nvGrpSpPr>
            <p:cNvPr id="112" name="Group 111"/>
            <p:cNvGrpSpPr/>
            <p:nvPr/>
          </p:nvGrpSpPr>
          <p:grpSpPr>
            <a:xfrm>
              <a:off x="2375267" y="3079185"/>
              <a:ext cx="309959" cy="610802"/>
              <a:chOff x="2423526" y="2090738"/>
              <a:chExt cx="316257" cy="623212"/>
            </a:xfrm>
          </p:grpSpPr>
          <p:pic>
            <p:nvPicPr>
              <p:cNvPr id="113" name="Picture 112"/>
              <p:cNvPicPr>
                <a:picLocks noChangeAspect="1"/>
              </p:cNvPicPr>
              <p:nvPr/>
            </p:nvPicPr>
            <p:blipFill>
              <a:blip r:embed="rId2"/>
              <a:stretch>
                <a:fillRect/>
              </a:stretch>
            </p:blipFill>
            <p:spPr>
              <a:xfrm>
                <a:off x="2423526" y="2090738"/>
                <a:ext cx="316257" cy="623212"/>
              </a:xfrm>
              <a:prstGeom prst="rect">
                <a:avLst/>
              </a:prstGeom>
            </p:spPr>
          </p:pic>
          <p:grpSp>
            <p:nvGrpSpPr>
              <p:cNvPr id="114" name="Group 113"/>
              <p:cNvGrpSpPr/>
              <p:nvPr/>
            </p:nvGrpSpPr>
            <p:grpSpPr>
              <a:xfrm>
                <a:off x="2451472" y="2218095"/>
                <a:ext cx="260365" cy="417911"/>
                <a:chOff x="2450306" y="2218095"/>
                <a:chExt cx="260365" cy="417911"/>
              </a:xfrm>
            </p:grpSpPr>
            <p:sp>
              <p:nvSpPr>
                <p:cNvPr id="115" name="Rectangle 114"/>
                <p:cNvSpPr/>
                <p:nvPr/>
              </p:nvSpPr>
              <p:spPr bwMode="auto">
                <a:xfrm>
                  <a:off x="2450306" y="2218095"/>
                  <a:ext cx="260365" cy="41791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16" name="Freeform 5"/>
                <p:cNvSpPr>
                  <a:spLocks/>
                </p:cNvSpPr>
                <p:nvPr/>
              </p:nvSpPr>
              <p:spPr bwMode="auto">
                <a:xfrm>
                  <a:off x="2503825" y="2335433"/>
                  <a:ext cx="153326" cy="183235"/>
                </a:xfrm>
                <a:custGeom>
                  <a:avLst/>
                  <a:gdLst>
                    <a:gd name="T0" fmla="*/ 0 w 446"/>
                    <a:gd name="T1" fmla="*/ 107 h 533"/>
                    <a:gd name="T2" fmla="*/ 285 w 446"/>
                    <a:gd name="T3" fmla="*/ 0 h 533"/>
                    <a:gd name="T4" fmla="*/ 446 w 446"/>
                    <a:gd name="T5" fmla="*/ 45 h 533"/>
                    <a:gd name="T6" fmla="*/ 446 w 446"/>
                    <a:gd name="T7" fmla="*/ 485 h 533"/>
                    <a:gd name="T8" fmla="*/ 288 w 446"/>
                    <a:gd name="T9" fmla="*/ 533 h 533"/>
                    <a:gd name="T10" fmla="*/ 0 w 446"/>
                    <a:gd name="T11" fmla="*/ 428 h 533"/>
                    <a:gd name="T12" fmla="*/ 285 w 446"/>
                    <a:gd name="T13" fmla="*/ 466 h 533"/>
                    <a:gd name="T14" fmla="*/ 285 w 446"/>
                    <a:gd name="T15" fmla="*/ 81 h 533"/>
                    <a:gd name="T16" fmla="*/ 96 w 446"/>
                    <a:gd name="T17" fmla="*/ 129 h 533"/>
                    <a:gd name="T18" fmla="*/ 96 w 446"/>
                    <a:gd name="T19" fmla="*/ 387 h 533"/>
                    <a:gd name="T20" fmla="*/ 0 w 446"/>
                    <a:gd name="T21" fmla="*/ 421 h 533"/>
                    <a:gd name="T22" fmla="*/ 0 w 446"/>
                    <a:gd name="T23" fmla="*/ 107 h 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6" h="533">
                      <a:moveTo>
                        <a:pt x="0" y="107"/>
                      </a:moveTo>
                      <a:lnTo>
                        <a:pt x="285" y="0"/>
                      </a:lnTo>
                      <a:lnTo>
                        <a:pt x="446" y="45"/>
                      </a:lnTo>
                      <a:lnTo>
                        <a:pt x="446" y="485"/>
                      </a:lnTo>
                      <a:lnTo>
                        <a:pt x="288" y="533"/>
                      </a:lnTo>
                      <a:lnTo>
                        <a:pt x="0" y="428"/>
                      </a:lnTo>
                      <a:lnTo>
                        <a:pt x="285" y="466"/>
                      </a:lnTo>
                      <a:lnTo>
                        <a:pt x="285" y="81"/>
                      </a:lnTo>
                      <a:lnTo>
                        <a:pt x="96" y="129"/>
                      </a:lnTo>
                      <a:lnTo>
                        <a:pt x="96" y="387"/>
                      </a:lnTo>
                      <a:lnTo>
                        <a:pt x="0" y="421"/>
                      </a:lnTo>
                      <a:lnTo>
                        <a:pt x="0" y="10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sp>
          <p:nvSpPr>
            <p:cNvPr id="117" name="Rectangle 116"/>
            <p:cNvSpPr/>
            <p:nvPr/>
          </p:nvSpPr>
          <p:spPr bwMode="auto">
            <a:xfrm>
              <a:off x="458281" y="3961102"/>
              <a:ext cx="3733596" cy="879077"/>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828" fontAlgn="base">
                <a:lnSpc>
                  <a:spcPct val="90000"/>
                </a:lnSpc>
                <a:spcBef>
                  <a:spcPct val="0"/>
                </a:spcBef>
                <a:spcAft>
                  <a:spcPct val="0"/>
                </a:spcAft>
              </a:pPr>
              <a:endPar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endParaRPr>
            </a:p>
          </p:txBody>
        </p:sp>
        <p:sp>
          <p:nvSpPr>
            <p:cNvPr id="118" name="Rectangle 117"/>
            <p:cNvSpPr/>
            <p:nvPr/>
          </p:nvSpPr>
          <p:spPr bwMode="auto">
            <a:xfrm>
              <a:off x="458281" y="3961102"/>
              <a:ext cx="3733596" cy="8790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828" fontAlgn="base">
                <a:lnSpc>
                  <a:spcPct val="90000"/>
                </a:lnSpc>
                <a:spcBef>
                  <a:spcPct val="0"/>
                </a:spcBef>
                <a:spcAft>
                  <a:spcPct val="0"/>
                </a:spcAft>
              </a:pPr>
              <a: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EXTEND OFFICE </a:t>
              </a:r>
              <a:b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br>
              <a: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EVERYWHERE</a:t>
              </a:r>
            </a:p>
          </p:txBody>
        </p:sp>
      </p:grpSp>
      <p:grpSp>
        <p:nvGrpSpPr>
          <p:cNvPr id="124" name="Group 123"/>
          <p:cNvGrpSpPr/>
          <p:nvPr/>
        </p:nvGrpSpPr>
        <p:grpSpPr>
          <a:xfrm>
            <a:off x="4232707" y="2318590"/>
            <a:ext cx="3733596" cy="2521589"/>
            <a:chOff x="4232707" y="2318590"/>
            <a:chExt cx="3733596" cy="2521589"/>
          </a:xfrm>
        </p:grpSpPr>
        <p:grpSp>
          <p:nvGrpSpPr>
            <p:cNvPr id="51" name="Group 50"/>
            <p:cNvGrpSpPr/>
            <p:nvPr/>
          </p:nvGrpSpPr>
          <p:grpSpPr>
            <a:xfrm>
              <a:off x="5274126" y="2318590"/>
              <a:ext cx="1790866" cy="1527380"/>
              <a:chOff x="5381285" y="1314690"/>
              <a:chExt cx="1827252" cy="1558413"/>
            </a:xfrm>
          </p:grpSpPr>
          <p:grpSp>
            <p:nvGrpSpPr>
              <p:cNvPr id="52" name="Group 51"/>
              <p:cNvGrpSpPr/>
              <p:nvPr/>
            </p:nvGrpSpPr>
            <p:grpSpPr>
              <a:xfrm>
                <a:off x="5381285" y="1533858"/>
                <a:ext cx="676616" cy="1284998"/>
                <a:chOff x="5651685" y="-476444"/>
                <a:chExt cx="1669255" cy="2809977"/>
              </a:xfrm>
            </p:grpSpPr>
            <p:sp>
              <p:nvSpPr>
                <p:cNvPr id="105" name="Rectangle 104"/>
                <p:cNvSpPr/>
                <p:nvPr/>
              </p:nvSpPr>
              <p:spPr bwMode="auto">
                <a:xfrm>
                  <a:off x="6203006" y="-476444"/>
                  <a:ext cx="566612" cy="17145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06" name="Freeform 105"/>
                <p:cNvSpPr/>
                <p:nvPr/>
              </p:nvSpPr>
              <p:spPr bwMode="auto">
                <a:xfrm>
                  <a:off x="5651685" y="-476444"/>
                  <a:ext cx="1669255" cy="2809977"/>
                </a:xfrm>
                <a:custGeom>
                  <a:avLst/>
                  <a:gdLst>
                    <a:gd name="connsiteX0" fmla="*/ 239948 w 1715629"/>
                    <a:gd name="connsiteY0" fmla="*/ 0 h 2809977"/>
                    <a:gd name="connsiteX1" fmla="*/ 622279 w 1715629"/>
                    <a:gd name="connsiteY1" fmla="*/ 0 h 2809977"/>
                    <a:gd name="connsiteX2" fmla="*/ 626704 w 1715629"/>
                    <a:gd name="connsiteY2" fmla="*/ 21916 h 2809977"/>
                    <a:gd name="connsiteX3" fmla="*/ 705692 w 1715629"/>
                    <a:gd name="connsiteY3" fmla="*/ 74273 h 2809977"/>
                    <a:gd name="connsiteX4" fmla="*/ 1009937 w 1715629"/>
                    <a:gd name="connsiteY4" fmla="*/ 74273 h 2809977"/>
                    <a:gd name="connsiteX5" fmla="*/ 1088926 w 1715629"/>
                    <a:gd name="connsiteY5" fmla="*/ 21916 h 2809977"/>
                    <a:gd name="connsiteX6" fmla="*/ 1093350 w 1715629"/>
                    <a:gd name="connsiteY6" fmla="*/ 0 h 2809977"/>
                    <a:gd name="connsiteX7" fmla="*/ 1475681 w 1715629"/>
                    <a:gd name="connsiteY7" fmla="*/ 0 h 2809977"/>
                    <a:gd name="connsiteX8" fmla="*/ 1715629 w 1715629"/>
                    <a:gd name="connsiteY8" fmla="*/ 239948 h 2809977"/>
                    <a:gd name="connsiteX9" fmla="*/ 1715629 w 1715629"/>
                    <a:gd name="connsiteY9" fmla="*/ 2570029 h 2809977"/>
                    <a:gd name="connsiteX10" fmla="*/ 1475681 w 1715629"/>
                    <a:gd name="connsiteY10" fmla="*/ 2809977 h 2809977"/>
                    <a:gd name="connsiteX11" fmla="*/ 239948 w 1715629"/>
                    <a:gd name="connsiteY11" fmla="*/ 2809977 h 2809977"/>
                    <a:gd name="connsiteX12" fmla="*/ 0 w 1715629"/>
                    <a:gd name="connsiteY12" fmla="*/ 2570029 h 2809977"/>
                    <a:gd name="connsiteX13" fmla="*/ 0 w 1715629"/>
                    <a:gd name="connsiteY13" fmla="*/ 239948 h 2809977"/>
                    <a:gd name="connsiteX14" fmla="*/ 239948 w 1715629"/>
                    <a:gd name="connsiteY14" fmla="*/ 0 h 2809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15629" h="2809977">
                      <a:moveTo>
                        <a:pt x="239948" y="0"/>
                      </a:moveTo>
                      <a:lnTo>
                        <a:pt x="622279" y="0"/>
                      </a:lnTo>
                      <a:lnTo>
                        <a:pt x="626704" y="21916"/>
                      </a:lnTo>
                      <a:cubicBezTo>
                        <a:pt x="639718" y="52684"/>
                        <a:pt x="670184" y="74273"/>
                        <a:pt x="705692" y="74273"/>
                      </a:cubicBezTo>
                      <a:lnTo>
                        <a:pt x="1009937" y="74273"/>
                      </a:lnTo>
                      <a:cubicBezTo>
                        <a:pt x="1045446" y="74273"/>
                        <a:pt x="1075912" y="52684"/>
                        <a:pt x="1088926" y="21916"/>
                      </a:cubicBezTo>
                      <a:lnTo>
                        <a:pt x="1093350" y="0"/>
                      </a:lnTo>
                      <a:lnTo>
                        <a:pt x="1475681" y="0"/>
                      </a:lnTo>
                      <a:cubicBezTo>
                        <a:pt x="1608201" y="0"/>
                        <a:pt x="1715629" y="107428"/>
                        <a:pt x="1715629" y="239948"/>
                      </a:cubicBezTo>
                      <a:lnTo>
                        <a:pt x="1715629" y="2570029"/>
                      </a:lnTo>
                      <a:cubicBezTo>
                        <a:pt x="1715629" y="2702549"/>
                        <a:pt x="1608201" y="2809977"/>
                        <a:pt x="1475681" y="2809977"/>
                      </a:cubicBezTo>
                      <a:lnTo>
                        <a:pt x="239948" y="2809977"/>
                      </a:lnTo>
                      <a:cubicBezTo>
                        <a:pt x="107428" y="2809977"/>
                        <a:pt x="0" y="2702549"/>
                        <a:pt x="0" y="2570029"/>
                      </a:cubicBezTo>
                      <a:lnTo>
                        <a:pt x="0" y="239948"/>
                      </a:lnTo>
                      <a:cubicBezTo>
                        <a:pt x="0" y="107428"/>
                        <a:pt x="107428" y="0"/>
                        <a:pt x="239948" y="0"/>
                      </a:cubicBezTo>
                      <a:close/>
                    </a:path>
                  </a:pathLst>
                </a:cu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07" name="Rectangle 106"/>
                <p:cNvSpPr/>
                <p:nvPr/>
              </p:nvSpPr>
              <p:spPr bwMode="auto">
                <a:xfrm>
                  <a:off x="5724555" y="-242769"/>
                  <a:ext cx="1523513" cy="227830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08" name="Group 107"/>
                <p:cNvGrpSpPr/>
                <p:nvPr/>
              </p:nvGrpSpPr>
              <p:grpSpPr>
                <a:xfrm>
                  <a:off x="6124436" y="2123612"/>
                  <a:ext cx="723752" cy="98117"/>
                  <a:chOff x="6147223" y="2123612"/>
                  <a:chExt cx="723752" cy="98117"/>
                </a:xfrm>
              </p:grpSpPr>
              <p:sp>
                <p:nvSpPr>
                  <p:cNvPr id="109" name="Rounded Rectangle 108"/>
                  <p:cNvSpPr/>
                  <p:nvPr/>
                </p:nvSpPr>
                <p:spPr bwMode="auto">
                  <a:xfrm>
                    <a:off x="6366215" y="2123612"/>
                    <a:ext cx="285769" cy="98117"/>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10" name="Oval 109"/>
                  <p:cNvSpPr/>
                  <p:nvPr/>
                </p:nvSpPr>
                <p:spPr bwMode="auto">
                  <a:xfrm>
                    <a:off x="6147223" y="2137745"/>
                    <a:ext cx="69850" cy="6985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11" name="Oval 110"/>
                  <p:cNvSpPr/>
                  <p:nvPr/>
                </p:nvSpPr>
                <p:spPr bwMode="auto">
                  <a:xfrm>
                    <a:off x="6801125" y="2137745"/>
                    <a:ext cx="69850" cy="6985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53" name="Group 52"/>
              <p:cNvGrpSpPr/>
              <p:nvPr/>
            </p:nvGrpSpPr>
            <p:grpSpPr>
              <a:xfrm>
                <a:off x="6515042" y="1543701"/>
                <a:ext cx="693495" cy="1245756"/>
                <a:chOff x="6639402" y="-1425066"/>
                <a:chExt cx="675798" cy="1213966"/>
              </a:xfrm>
            </p:grpSpPr>
            <p:sp>
              <p:nvSpPr>
                <p:cNvPr id="103" name="Freeform 10"/>
                <p:cNvSpPr>
                  <a:spLocks noChangeAspect="1" noEditPoints="1"/>
                </p:cNvSpPr>
                <p:nvPr/>
              </p:nvSpPr>
              <p:spPr bwMode="auto">
                <a:xfrm>
                  <a:off x="6639402" y="-1425066"/>
                  <a:ext cx="675798" cy="1213966"/>
                </a:xfrm>
                <a:custGeom>
                  <a:avLst/>
                  <a:gdLst>
                    <a:gd name="T0" fmla="*/ 148 w 159"/>
                    <a:gd name="T1" fmla="*/ 0 h 288"/>
                    <a:gd name="T2" fmla="*/ 11 w 159"/>
                    <a:gd name="T3" fmla="*/ 0 h 288"/>
                    <a:gd name="T4" fmla="*/ 0 w 159"/>
                    <a:gd name="T5" fmla="*/ 10 h 288"/>
                    <a:gd name="T6" fmla="*/ 0 w 159"/>
                    <a:gd name="T7" fmla="*/ 278 h 288"/>
                    <a:gd name="T8" fmla="*/ 11 w 159"/>
                    <a:gd name="T9" fmla="*/ 288 h 288"/>
                    <a:gd name="T10" fmla="*/ 148 w 159"/>
                    <a:gd name="T11" fmla="*/ 288 h 288"/>
                    <a:gd name="T12" fmla="*/ 159 w 159"/>
                    <a:gd name="T13" fmla="*/ 278 h 288"/>
                    <a:gd name="T14" fmla="*/ 159 w 159"/>
                    <a:gd name="T15" fmla="*/ 10 h 288"/>
                    <a:gd name="T16" fmla="*/ 148 w 159"/>
                    <a:gd name="T17" fmla="*/ 0 h 288"/>
                    <a:gd name="T18" fmla="*/ 36 w 159"/>
                    <a:gd name="T19" fmla="*/ 262 h 288"/>
                    <a:gd name="T20" fmla="*/ 30 w 159"/>
                    <a:gd name="T21" fmla="*/ 262 h 288"/>
                    <a:gd name="T22" fmla="*/ 33 w 159"/>
                    <a:gd name="T23" fmla="*/ 266 h 288"/>
                    <a:gd name="T24" fmla="*/ 32 w 159"/>
                    <a:gd name="T25" fmla="*/ 266 h 288"/>
                    <a:gd name="T26" fmla="*/ 27 w 159"/>
                    <a:gd name="T27" fmla="*/ 262 h 288"/>
                    <a:gd name="T28" fmla="*/ 32 w 159"/>
                    <a:gd name="T29" fmla="*/ 258 h 288"/>
                    <a:gd name="T30" fmla="*/ 33 w 159"/>
                    <a:gd name="T31" fmla="*/ 258 h 288"/>
                    <a:gd name="T32" fmla="*/ 30 w 159"/>
                    <a:gd name="T33" fmla="*/ 261 h 288"/>
                    <a:gd name="T34" fmla="*/ 36 w 159"/>
                    <a:gd name="T35" fmla="*/ 261 h 288"/>
                    <a:gd name="T36" fmla="*/ 36 w 159"/>
                    <a:gd name="T37" fmla="*/ 262 h 288"/>
                    <a:gd name="T38" fmla="*/ 77 w 159"/>
                    <a:gd name="T39" fmla="*/ 268 h 288"/>
                    <a:gd name="T40" fmla="*/ 72 w 159"/>
                    <a:gd name="T41" fmla="*/ 267 h 288"/>
                    <a:gd name="T42" fmla="*/ 72 w 159"/>
                    <a:gd name="T43" fmla="*/ 263 h 288"/>
                    <a:gd name="T44" fmla="*/ 77 w 159"/>
                    <a:gd name="T45" fmla="*/ 263 h 288"/>
                    <a:gd name="T46" fmla="*/ 77 w 159"/>
                    <a:gd name="T47" fmla="*/ 268 h 288"/>
                    <a:gd name="T48" fmla="*/ 77 w 159"/>
                    <a:gd name="T49" fmla="*/ 262 h 288"/>
                    <a:gd name="T50" fmla="*/ 72 w 159"/>
                    <a:gd name="T51" fmla="*/ 262 h 288"/>
                    <a:gd name="T52" fmla="*/ 72 w 159"/>
                    <a:gd name="T53" fmla="*/ 258 h 288"/>
                    <a:gd name="T54" fmla="*/ 77 w 159"/>
                    <a:gd name="T55" fmla="*/ 257 h 288"/>
                    <a:gd name="T56" fmla="*/ 77 w 159"/>
                    <a:gd name="T57" fmla="*/ 262 h 288"/>
                    <a:gd name="T58" fmla="*/ 85 w 159"/>
                    <a:gd name="T59" fmla="*/ 269 h 288"/>
                    <a:gd name="T60" fmla="*/ 78 w 159"/>
                    <a:gd name="T61" fmla="*/ 268 h 288"/>
                    <a:gd name="T62" fmla="*/ 78 w 159"/>
                    <a:gd name="T63" fmla="*/ 263 h 288"/>
                    <a:gd name="T64" fmla="*/ 85 w 159"/>
                    <a:gd name="T65" fmla="*/ 263 h 288"/>
                    <a:gd name="T66" fmla="*/ 85 w 159"/>
                    <a:gd name="T67" fmla="*/ 269 h 288"/>
                    <a:gd name="T68" fmla="*/ 85 w 159"/>
                    <a:gd name="T69" fmla="*/ 262 h 288"/>
                    <a:gd name="T70" fmla="*/ 78 w 159"/>
                    <a:gd name="T71" fmla="*/ 262 h 288"/>
                    <a:gd name="T72" fmla="*/ 78 w 159"/>
                    <a:gd name="T73" fmla="*/ 257 h 288"/>
                    <a:gd name="T74" fmla="*/ 85 w 159"/>
                    <a:gd name="T75" fmla="*/ 256 h 288"/>
                    <a:gd name="T76" fmla="*/ 85 w 159"/>
                    <a:gd name="T77" fmla="*/ 262 h 288"/>
                    <a:gd name="T78" fmla="*/ 126 w 159"/>
                    <a:gd name="T79" fmla="*/ 265 h 288"/>
                    <a:gd name="T80" fmla="*/ 124 w 159"/>
                    <a:gd name="T81" fmla="*/ 264 h 288"/>
                    <a:gd name="T82" fmla="*/ 122 w 159"/>
                    <a:gd name="T83" fmla="*/ 267 h 288"/>
                    <a:gd name="T84" fmla="*/ 121 w 159"/>
                    <a:gd name="T85" fmla="*/ 266 h 288"/>
                    <a:gd name="T86" fmla="*/ 123 w 159"/>
                    <a:gd name="T87" fmla="*/ 264 h 288"/>
                    <a:gd name="T88" fmla="*/ 122 w 159"/>
                    <a:gd name="T89" fmla="*/ 261 h 288"/>
                    <a:gd name="T90" fmla="*/ 126 w 159"/>
                    <a:gd name="T91" fmla="*/ 257 h 288"/>
                    <a:gd name="T92" fmla="*/ 130 w 159"/>
                    <a:gd name="T93" fmla="*/ 261 h 288"/>
                    <a:gd name="T94" fmla="*/ 126 w 159"/>
                    <a:gd name="T95" fmla="*/ 265 h 288"/>
                    <a:gd name="T96" fmla="*/ 143 w 159"/>
                    <a:gd name="T97" fmla="*/ 227 h 288"/>
                    <a:gd name="T98" fmla="*/ 14 w 159"/>
                    <a:gd name="T99" fmla="*/ 227 h 288"/>
                    <a:gd name="T100" fmla="*/ 14 w 159"/>
                    <a:gd name="T101" fmla="*/ 24 h 288"/>
                    <a:gd name="T102" fmla="*/ 143 w 159"/>
                    <a:gd name="T103" fmla="*/ 24 h 288"/>
                    <a:gd name="T104" fmla="*/ 143 w 159"/>
                    <a:gd name="T105" fmla="*/ 227 h 288"/>
                    <a:gd name="T106" fmla="*/ 129 w 159"/>
                    <a:gd name="T107" fmla="*/ 261 h 288"/>
                    <a:gd name="T108" fmla="*/ 126 w 159"/>
                    <a:gd name="T109" fmla="*/ 264 h 288"/>
                    <a:gd name="T110" fmla="*/ 123 w 159"/>
                    <a:gd name="T111" fmla="*/ 261 h 288"/>
                    <a:gd name="T112" fmla="*/ 126 w 159"/>
                    <a:gd name="T113" fmla="*/ 258 h 288"/>
                    <a:gd name="T114" fmla="*/ 129 w 159"/>
                    <a:gd name="T115" fmla="*/ 261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9" h="288">
                      <a:moveTo>
                        <a:pt x="148" y="0"/>
                      </a:moveTo>
                      <a:cubicBezTo>
                        <a:pt x="148" y="0"/>
                        <a:pt x="148" y="0"/>
                        <a:pt x="11" y="0"/>
                      </a:cubicBezTo>
                      <a:cubicBezTo>
                        <a:pt x="5" y="0"/>
                        <a:pt x="0" y="4"/>
                        <a:pt x="0" y="10"/>
                      </a:cubicBezTo>
                      <a:cubicBezTo>
                        <a:pt x="0" y="10"/>
                        <a:pt x="0" y="10"/>
                        <a:pt x="0" y="278"/>
                      </a:cubicBezTo>
                      <a:cubicBezTo>
                        <a:pt x="0" y="284"/>
                        <a:pt x="5" y="288"/>
                        <a:pt x="11" y="288"/>
                      </a:cubicBezTo>
                      <a:cubicBezTo>
                        <a:pt x="11" y="288"/>
                        <a:pt x="11" y="288"/>
                        <a:pt x="148" y="288"/>
                      </a:cubicBezTo>
                      <a:cubicBezTo>
                        <a:pt x="154" y="288"/>
                        <a:pt x="159" y="284"/>
                        <a:pt x="159" y="278"/>
                      </a:cubicBezTo>
                      <a:cubicBezTo>
                        <a:pt x="159" y="10"/>
                        <a:pt x="159" y="10"/>
                        <a:pt x="159" y="10"/>
                      </a:cubicBezTo>
                      <a:cubicBezTo>
                        <a:pt x="159" y="4"/>
                        <a:pt x="154" y="0"/>
                        <a:pt x="148" y="0"/>
                      </a:cubicBezTo>
                      <a:close/>
                      <a:moveTo>
                        <a:pt x="36" y="262"/>
                      </a:moveTo>
                      <a:cubicBezTo>
                        <a:pt x="30" y="262"/>
                        <a:pt x="30" y="262"/>
                        <a:pt x="30" y="262"/>
                      </a:cubicBezTo>
                      <a:cubicBezTo>
                        <a:pt x="33" y="266"/>
                        <a:pt x="33" y="266"/>
                        <a:pt x="33" y="266"/>
                      </a:cubicBezTo>
                      <a:cubicBezTo>
                        <a:pt x="32" y="266"/>
                        <a:pt x="32" y="266"/>
                        <a:pt x="32" y="266"/>
                      </a:cubicBezTo>
                      <a:cubicBezTo>
                        <a:pt x="27" y="262"/>
                        <a:pt x="27" y="262"/>
                        <a:pt x="27" y="262"/>
                      </a:cubicBezTo>
                      <a:cubicBezTo>
                        <a:pt x="32" y="258"/>
                        <a:pt x="32" y="258"/>
                        <a:pt x="32" y="258"/>
                      </a:cubicBezTo>
                      <a:cubicBezTo>
                        <a:pt x="33" y="258"/>
                        <a:pt x="33" y="258"/>
                        <a:pt x="33" y="258"/>
                      </a:cubicBezTo>
                      <a:cubicBezTo>
                        <a:pt x="30" y="261"/>
                        <a:pt x="30" y="261"/>
                        <a:pt x="30" y="261"/>
                      </a:cubicBezTo>
                      <a:cubicBezTo>
                        <a:pt x="36" y="261"/>
                        <a:pt x="36" y="261"/>
                        <a:pt x="36" y="261"/>
                      </a:cubicBezTo>
                      <a:cubicBezTo>
                        <a:pt x="36" y="262"/>
                        <a:pt x="36" y="262"/>
                        <a:pt x="36" y="262"/>
                      </a:cubicBezTo>
                      <a:close/>
                      <a:moveTo>
                        <a:pt x="77" y="268"/>
                      </a:moveTo>
                      <a:cubicBezTo>
                        <a:pt x="72" y="267"/>
                        <a:pt x="72" y="267"/>
                        <a:pt x="72" y="267"/>
                      </a:cubicBezTo>
                      <a:cubicBezTo>
                        <a:pt x="72" y="263"/>
                        <a:pt x="72" y="263"/>
                        <a:pt x="72" y="263"/>
                      </a:cubicBezTo>
                      <a:cubicBezTo>
                        <a:pt x="77" y="263"/>
                        <a:pt x="77" y="263"/>
                        <a:pt x="77" y="263"/>
                      </a:cubicBezTo>
                      <a:lnTo>
                        <a:pt x="77" y="268"/>
                      </a:lnTo>
                      <a:close/>
                      <a:moveTo>
                        <a:pt x="77" y="262"/>
                      </a:moveTo>
                      <a:cubicBezTo>
                        <a:pt x="72" y="262"/>
                        <a:pt x="72" y="262"/>
                        <a:pt x="72" y="262"/>
                      </a:cubicBezTo>
                      <a:cubicBezTo>
                        <a:pt x="72" y="258"/>
                        <a:pt x="72" y="258"/>
                        <a:pt x="72" y="258"/>
                      </a:cubicBezTo>
                      <a:cubicBezTo>
                        <a:pt x="77" y="257"/>
                        <a:pt x="77" y="257"/>
                        <a:pt x="77" y="257"/>
                      </a:cubicBezTo>
                      <a:lnTo>
                        <a:pt x="77" y="262"/>
                      </a:lnTo>
                      <a:close/>
                      <a:moveTo>
                        <a:pt x="85" y="269"/>
                      </a:moveTo>
                      <a:cubicBezTo>
                        <a:pt x="78" y="268"/>
                        <a:pt x="78" y="268"/>
                        <a:pt x="78" y="268"/>
                      </a:cubicBezTo>
                      <a:cubicBezTo>
                        <a:pt x="78" y="263"/>
                        <a:pt x="78" y="263"/>
                        <a:pt x="78" y="263"/>
                      </a:cubicBezTo>
                      <a:cubicBezTo>
                        <a:pt x="85" y="263"/>
                        <a:pt x="85" y="263"/>
                        <a:pt x="85" y="263"/>
                      </a:cubicBezTo>
                      <a:lnTo>
                        <a:pt x="85" y="269"/>
                      </a:lnTo>
                      <a:close/>
                      <a:moveTo>
                        <a:pt x="85" y="262"/>
                      </a:moveTo>
                      <a:cubicBezTo>
                        <a:pt x="78" y="262"/>
                        <a:pt x="78" y="262"/>
                        <a:pt x="78" y="262"/>
                      </a:cubicBezTo>
                      <a:cubicBezTo>
                        <a:pt x="78" y="257"/>
                        <a:pt x="78" y="257"/>
                        <a:pt x="78" y="257"/>
                      </a:cubicBezTo>
                      <a:cubicBezTo>
                        <a:pt x="85" y="256"/>
                        <a:pt x="85" y="256"/>
                        <a:pt x="85" y="256"/>
                      </a:cubicBezTo>
                      <a:lnTo>
                        <a:pt x="85" y="262"/>
                      </a:lnTo>
                      <a:close/>
                      <a:moveTo>
                        <a:pt x="126" y="265"/>
                      </a:moveTo>
                      <a:cubicBezTo>
                        <a:pt x="125" y="265"/>
                        <a:pt x="124" y="265"/>
                        <a:pt x="124" y="264"/>
                      </a:cubicBezTo>
                      <a:cubicBezTo>
                        <a:pt x="124" y="264"/>
                        <a:pt x="124" y="264"/>
                        <a:pt x="122" y="267"/>
                      </a:cubicBezTo>
                      <a:cubicBezTo>
                        <a:pt x="122" y="267"/>
                        <a:pt x="122" y="267"/>
                        <a:pt x="121" y="266"/>
                      </a:cubicBezTo>
                      <a:cubicBezTo>
                        <a:pt x="121" y="266"/>
                        <a:pt x="121" y="266"/>
                        <a:pt x="123" y="264"/>
                      </a:cubicBezTo>
                      <a:cubicBezTo>
                        <a:pt x="122" y="263"/>
                        <a:pt x="122" y="262"/>
                        <a:pt x="122" y="261"/>
                      </a:cubicBezTo>
                      <a:cubicBezTo>
                        <a:pt x="122" y="259"/>
                        <a:pt x="124" y="257"/>
                        <a:pt x="126" y="257"/>
                      </a:cubicBezTo>
                      <a:cubicBezTo>
                        <a:pt x="128" y="257"/>
                        <a:pt x="130" y="259"/>
                        <a:pt x="130" y="261"/>
                      </a:cubicBezTo>
                      <a:cubicBezTo>
                        <a:pt x="130" y="263"/>
                        <a:pt x="128" y="265"/>
                        <a:pt x="126" y="265"/>
                      </a:cubicBezTo>
                      <a:close/>
                      <a:moveTo>
                        <a:pt x="143" y="227"/>
                      </a:moveTo>
                      <a:cubicBezTo>
                        <a:pt x="101" y="227"/>
                        <a:pt x="57" y="227"/>
                        <a:pt x="14" y="227"/>
                      </a:cubicBezTo>
                      <a:cubicBezTo>
                        <a:pt x="14" y="159"/>
                        <a:pt x="14" y="91"/>
                        <a:pt x="14" y="24"/>
                      </a:cubicBezTo>
                      <a:cubicBezTo>
                        <a:pt x="57" y="24"/>
                        <a:pt x="101" y="24"/>
                        <a:pt x="143" y="24"/>
                      </a:cubicBezTo>
                      <a:cubicBezTo>
                        <a:pt x="143" y="91"/>
                        <a:pt x="143" y="159"/>
                        <a:pt x="143" y="227"/>
                      </a:cubicBezTo>
                      <a:close/>
                      <a:moveTo>
                        <a:pt x="129" y="261"/>
                      </a:moveTo>
                      <a:cubicBezTo>
                        <a:pt x="129" y="263"/>
                        <a:pt x="128" y="264"/>
                        <a:pt x="126" y="264"/>
                      </a:cubicBezTo>
                      <a:cubicBezTo>
                        <a:pt x="124" y="264"/>
                        <a:pt x="123" y="263"/>
                        <a:pt x="123" y="261"/>
                      </a:cubicBezTo>
                      <a:cubicBezTo>
                        <a:pt x="123" y="260"/>
                        <a:pt x="124" y="258"/>
                        <a:pt x="126" y="258"/>
                      </a:cubicBezTo>
                      <a:cubicBezTo>
                        <a:pt x="128" y="258"/>
                        <a:pt x="129" y="260"/>
                        <a:pt x="129" y="261"/>
                      </a:cubicBezTo>
                      <a:close/>
                    </a:path>
                  </a:pathLst>
                </a:custGeom>
                <a:solidFill>
                  <a:schemeClr val="tx1"/>
                </a:solidFill>
                <a:ln>
                  <a:noFill/>
                </a:ln>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104" name="Rectangle 103"/>
                <p:cNvSpPr/>
                <p:nvPr/>
              </p:nvSpPr>
              <p:spPr bwMode="auto">
                <a:xfrm>
                  <a:off x="6657420" y="-401045"/>
                  <a:ext cx="639762" cy="14861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54" name="Freeform 5"/>
              <p:cNvSpPr>
                <a:spLocks/>
              </p:cNvSpPr>
              <p:nvPr/>
            </p:nvSpPr>
            <p:spPr bwMode="auto">
              <a:xfrm>
                <a:off x="5883472" y="1314690"/>
                <a:ext cx="786530" cy="1558413"/>
              </a:xfrm>
              <a:custGeom>
                <a:avLst/>
                <a:gdLst>
                  <a:gd name="T0" fmla="*/ 98 w 98"/>
                  <a:gd name="T1" fmla="*/ 193 h 197"/>
                  <a:gd name="T2" fmla="*/ 94 w 98"/>
                  <a:gd name="T3" fmla="*/ 197 h 197"/>
                  <a:gd name="T4" fmla="*/ 4 w 98"/>
                  <a:gd name="T5" fmla="*/ 197 h 197"/>
                  <a:gd name="T6" fmla="*/ 0 w 98"/>
                  <a:gd name="T7" fmla="*/ 193 h 197"/>
                  <a:gd name="T8" fmla="*/ 0 w 98"/>
                  <a:gd name="T9" fmla="*/ 4 h 197"/>
                  <a:gd name="T10" fmla="*/ 4 w 98"/>
                  <a:gd name="T11" fmla="*/ 0 h 197"/>
                  <a:gd name="T12" fmla="*/ 94 w 98"/>
                  <a:gd name="T13" fmla="*/ 0 h 197"/>
                  <a:gd name="T14" fmla="*/ 98 w 98"/>
                  <a:gd name="T15" fmla="*/ 4 h 197"/>
                  <a:gd name="T16" fmla="*/ 98 w 98"/>
                  <a:gd name="T17" fmla="*/ 193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197">
                    <a:moveTo>
                      <a:pt x="98" y="193"/>
                    </a:moveTo>
                    <a:cubicBezTo>
                      <a:pt x="98" y="195"/>
                      <a:pt x="96" y="197"/>
                      <a:pt x="94" y="197"/>
                    </a:cubicBezTo>
                    <a:cubicBezTo>
                      <a:pt x="4" y="197"/>
                      <a:pt x="4" y="197"/>
                      <a:pt x="4" y="197"/>
                    </a:cubicBezTo>
                    <a:cubicBezTo>
                      <a:pt x="2" y="197"/>
                      <a:pt x="0" y="195"/>
                      <a:pt x="0" y="193"/>
                    </a:cubicBezTo>
                    <a:cubicBezTo>
                      <a:pt x="0" y="4"/>
                      <a:pt x="0" y="4"/>
                      <a:pt x="0" y="4"/>
                    </a:cubicBezTo>
                    <a:cubicBezTo>
                      <a:pt x="0" y="2"/>
                      <a:pt x="2" y="0"/>
                      <a:pt x="4" y="0"/>
                    </a:cubicBezTo>
                    <a:cubicBezTo>
                      <a:pt x="94" y="0"/>
                      <a:pt x="94" y="0"/>
                      <a:pt x="94" y="0"/>
                    </a:cubicBezTo>
                    <a:cubicBezTo>
                      <a:pt x="96" y="0"/>
                      <a:pt x="98" y="2"/>
                      <a:pt x="98" y="4"/>
                    </a:cubicBezTo>
                    <a:lnTo>
                      <a:pt x="98" y="19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5" name="Freeform 22"/>
              <p:cNvSpPr>
                <a:spLocks/>
              </p:cNvSpPr>
              <p:nvPr/>
            </p:nvSpPr>
            <p:spPr bwMode="auto">
              <a:xfrm>
                <a:off x="6005041" y="2770576"/>
                <a:ext cx="23435" cy="39547"/>
              </a:xfrm>
              <a:custGeom>
                <a:avLst/>
                <a:gdLst>
                  <a:gd name="T0" fmla="*/ 16 w 16"/>
                  <a:gd name="T1" fmla="*/ 27 h 27"/>
                  <a:gd name="T2" fmla="*/ 0 w 16"/>
                  <a:gd name="T3" fmla="*/ 10 h 27"/>
                  <a:gd name="T4" fmla="*/ 16 w 16"/>
                  <a:gd name="T5" fmla="*/ 0 h 27"/>
                </a:gdLst>
                <a:ahLst/>
                <a:cxnLst>
                  <a:cxn ang="0">
                    <a:pos x="T0" y="T1"/>
                  </a:cxn>
                  <a:cxn ang="0">
                    <a:pos x="T2" y="T3"/>
                  </a:cxn>
                  <a:cxn ang="0">
                    <a:pos x="T4" y="T5"/>
                  </a:cxn>
                </a:cxnLst>
                <a:rect l="0" t="0" r="r" b="b"/>
                <a:pathLst>
                  <a:path w="16" h="27">
                    <a:moveTo>
                      <a:pt x="16" y="27"/>
                    </a:moveTo>
                    <a:lnTo>
                      <a:pt x="0" y="10"/>
                    </a:lnTo>
                    <a:lnTo>
                      <a:pt x="16" y="0"/>
                    </a:lnTo>
                  </a:path>
                </a:pathLst>
              </a:custGeom>
              <a:solidFill>
                <a:schemeClr val="tx1"/>
              </a:solidFill>
              <a:ln w="7938" cap="rnd">
                <a:solidFill>
                  <a:srgbClr val="969696"/>
                </a:solidFill>
                <a:prstDash val="solid"/>
                <a:miter lim="800000"/>
                <a:headEnd/>
                <a:tailEnd/>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6" name="Line 23"/>
              <p:cNvSpPr>
                <a:spLocks noChangeShapeType="1"/>
              </p:cNvSpPr>
              <p:nvPr/>
            </p:nvSpPr>
            <p:spPr bwMode="auto">
              <a:xfrm>
                <a:off x="6005041" y="2785223"/>
                <a:ext cx="39547" cy="0"/>
              </a:xfrm>
              <a:prstGeom prst="line">
                <a:avLst/>
              </a:prstGeom>
              <a:noFill/>
              <a:ln w="7938"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7" name="Oval 24"/>
              <p:cNvSpPr>
                <a:spLocks noChangeArrowheads="1"/>
              </p:cNvSpPr>
              <p:nvPr/>
            </p:nvSpPr>
            <p:spPr bwMode="auto">
              <a:xfrm>
                <a:off x="6517676" y="2770576"/>
                <a:ext cx="32223" cy="30759"/>
              </a:xfrm>
              <a:prstGeom prst="ellipse">
                <a:avLst/>
              </a:prstGeom>
              <a:solidFill>
                <a:srgbClr val="000000"/>
              </a:solidFill>
              <a:ln w="7938" cap="rnd">
                <a:solidFill>
                  <a:srgbClr val="969696"/>
                </a:solidFill>
                <a:prstDash val="solid"/>
                <a:miter lim="800000"/>
                <a:headEnd/>
                <a:tailEnd/>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8" name="Line 25"/>
              <p:cNvSpPr>
                <a:spLocks noChangeShapeType="1"/>
              </p:cNvSpPr>
              <p:nvPr/>
            </p:nvSpPr>
            <p:spPr bwMode="auto">
              <a:xfrm flipH="1">
                <a:off x="6508888" y="2794011"/>
                <a:ext cx="8788" cy="16112"/>
              </a:xfrm>
              <a:prstGeom prst="line">
                <a:avLst/>
              </a:prstGeom>
              <a:noFill/>
              <a:ln w="7938"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9" name="Freeform 26"/>
              <p:cNvSpPr>
                <a:spLocks/>
              </p:cNvSpPr>
              <p:nvPr/>
            </p:nvSpPr>
            <p:spPr bwMode="auto">
              <a:xfrm>
                <a:off x="6277470" y="2761788"/>
                <a:ext cx="23435" cy="23435"/>
              </a:xfrm>
              <a:custGeom>
                <a:avLst/>
                <a:gdLst>
                  <a:gd name="T0" fmla="*/ 0 w 16"/>
                  <a:gd name="T1" fmla="*/ 16 h 16"/>
                  <a:gd name="T2" fmla="*/ 16 w 16"/>
                  <a:gd name="T3" fmla="*/ 16 h 16"/>
                  <a:gd name="T4" fmla="*/ 16 w 16"/>
                  <a:gd name="T5" fmla="*/ 0 h 16"/>
                  <a:gd name="T6" fmla="*/ 0 w 16"/>
                  <a:gd name="T7" fmla="*/ 6 h 16"/>
                  <a:gd name="T8" fmla="*/ 0 w 16"/>
                  <a:gd name="T9" fmla="*/ 16 h 16"/>
                </a:gdLst>
                <a:ahLst/>
                <a:cxnLst>
                  <a:cxn ang="0">
                    <a:pos x="T0" y="T1"/>
                  </a:cxn>
                  <a:cxn ang="0">
                    <a:pos x="T2" y="T3"/>
                  </a:cxn>
                  <a:cxn ang="0">
                    <a:pos x="T4" y="T5"/>
                  </a:cxn>
                  <a:cxn ang="0">
                    <a:pos x="T6" y="T7"/>
                  </a:cxn>
                  <a:cxn ang="0">
                    <a:pos x="T8" y="T9"/>
                  </a:cxn>
                </a:cxnLst>
                <a:rect l="0" t="0" r="r" b="b"/>
                <a:pathLst>
                  <a:path w="16" h="16">
                    <a:moveTo>
                      <a:pt x="0" y="16"/>
                    </a:moveTo>
                    <a:lnTo>
                      <a:pt x="16" y="16"/>
                    </a:lnTo>
                    <a:lnTo>
                      <a:pt x="16" y="0"/>
                    </a:lnTo>
                    <a:lnTo>
                      <a:pt x="0" y="6"/>
                    </a:lnTo>
                    <a:lnTo>
                      <a:pt x="0" y="16"/>
                    </a:lnTo>
                    <a:close/>
                  </a:path>
                </a:pathLst>
              </a:cu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0" name="Rectangle 27"/>
              <p:cNvSpPr>
                <a:spLocks noChangeArrowheads="1"/>
              </p:cNvSpPr>
              <p:nvPr/>
            </p:nvSpPr>
            <p:spPr bwMode="auto">
              <a:xfrm>
                <a:off x="6252570" y="2770576"/>
                <a:ext cx="16112" cy="14647"/>
              </a:xfrm>
              <a:prstGeom prst="rect">
                <a:avLst/>
              </a:pr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1" name="Rectangle 28"/>
              <p:cNvSpPr>
                <a:spLocks noChangeArrowheads="1"/>
              </p:cNvSpPr>
              <p:nvPr/>
            </p:nvSpPr>
            <p:spPr bwMode="auto">
              <a:xfrm>
                <a:off x="6277470" y="2785223"/>
                <a:ext cx="23435" cy="24900"/>
              </a:xfrm>
              <a:prstGeom prst="rect">
                <a:avLst/>
              </a:pr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2" name="Rectangle 29"/>
              <p:cNvSpPr>
                <a:spLocks noChangeArrowheads="1"/>
              </p:cNvSpPr>
              <p:nvPr/>
            </p:nvSpPr>
            <p:spPr bwMode="auto">
              <a:xfrm>
                <a:off x="6252570" y="2785223"/>
                <a:ext cx="16112" cy="24900"/>
              </a:xfrm>
              <a:prstGeom prst="rect">
                <a:avLst/>
              </a:pr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3" name="Rectangle 30"/>
              <p:cNvSpPr>
                <a:spLocks noChangeArrowheads="1"/>
              </p:cNvSpPr>
              <p:nvPr/>
            </p:nvSpPr>
            <p:spPr bwMode="auto">
              <a:xfrm>
                <a:off x="6669082" y="2477641"/>
                <a:ext cx="45719" cy="18162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4" name="Freeform 31"/>
              <p:cNvSpPr>
                <a:spLocks/>
              </p:cNvSpPr>
              <p:nvPr/>
            </p:nvSpPr>
            <p:spPr bwMode="auto">
              <a:xfrm>
                <a:off x="6196912" y="1393782"/>
                <a:ext cx="184549" cy="24900"/>
              </a:xfrm>
              <a:custGeom>
                <a:avLst/>
                <a:gdLst>
                  <a:gd name="T0" fmla="*/ 23 w 23"/>
                  <a:gd name="T1" fmla="*/ 2 h 3"/>
                  <a:gd name="T2" fmla="*/ 21 w 23"/>
                  <a:gd name="T3" fmla="*/ 3 h 3"/>
                  <a:gd name="T4" fmla="*/ 1 w 23"/>
                  <a:gd name="T5" fmla="*/ 3 h 3"/>
                  <a:gd name="T6" fmla="*/ 0 w 23"/>
                  <a:gd name="T7" fmla="*/ 2 h 3"/>
                  <a:gd name="T8" fmla="*/ 0 w 23"/>
                  <a:gd name="T9" fmla="*/ 2 h 3"/>
                  <a:gd name="T10" fmla="*/ 1 w 23"/>
                  <a:gd name="T11" fmla="*/ 0 h 3"/>
                  <a:gd name="T12" fmla="*/ 21 w 23"/>
                  <a:gd name="T13" fmla="*/ 0 h 3"/>
                  <a:gd name="T14" fmla="*/ 23 w 23"/>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
                    <a:moveTo>
                      <a:pt x="23" y="2"/>
                    </a:moveTo>
                    <a:cubicBezTo>
                      <a:pt x="23" y="3"/>
                      <a:pt x="22" y="3"/>
                      <a:pt x="21" y="3"/>
                    </a:cubicBezTo>
                    <a:cubicBezTo>
                      <a:pt x="1" y="3"/>
                      <a:pt x="1" y="3"/>
                      <a:pt x="1" y="3"/>
                    </a:cubicBezTo>
                    <a:cubicBezTo>
                      <a:pt x="0" y="3"/>
                      <a:pt x="0" y="3"/>
                      <a:pt x="0" y="2"/>
                    </a:cubicBezTo>
                    <a:cubicBezTo>
                      <a:pt x="0" y="2"/>
                      <a:pt x="0" y="2"/>
                      <a:pt x="0" y="2"/>
                    </a:cubicBezTo>
                    <a:cubicBezTo>
                      <a:pt x="0" y="1"/>
                      <a:pt x="0" y="0"/>
                      <a:pt x="1" y="0"/>
                    </a:cubicBezTo>
                    <a:cubicBezTo>
                      <a:pt x="21" y="0"/>
                      <a:pt x="21" y="0"/>
                      <a:pt x="21" y="0"/>
                    </a:cubicBezTo>
                    <a:cubicBezTo>
                      <a:pt x="22" y="0"/>
                      <a:pt x="23" y="1"/>
                      <a:pt x="23" y="2"/>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5" name="Rectangle 32"/>
              <p:cNvSpPr>
                <a:spLocks noChangeArrowheads="1"/>
              </p:cNvSpPr>
              <p:nvPr/>
            </p:nvSpPr>
            <p:spPr bwMode="auto">
              <a:xfrm>
                <a:off x="5964030" y="1512421"/>
                <a:ext cx="8788" cy="322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6" name="Rectangle 33"/>
              <p:cNvSpPr>
                <a:spLocks noChangeArrowheads="1"/>
              </p:cNvSpPr>
              <p:nvPr/>
            </p:nvSpPr>
            <p:spPr bwMode="auto">
              <a:xfrm>
                <a:off x="5956706" y="1521209"/>
                <a:ext cx="7324" cy="2343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7" name="Rectangle 34"/>
              <p:cNvSpPr>
                <a:spLocks noChangeArrowheads="1"/>
              </p:cNvSpPr>
              <p:nvPr/>
            </p:nvSpPr>
            <p:spPr bwMode="auto">
              <a:xfrm>
                <a:off x="5947918" y="1528532"/>
                <a:ext cx="8788"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8" name="Rectangle 35"/>
              <p:cNvSpPr>
                <a:spLocks noChangeArrowheads="1"/>
              </p:cNvSpPr>
              <p:nvPr/>
            </p:nvSpPr>
            <p:spPr bwMode="auto">
              <a:xfrm>
                <a:off x="5940595" y="1528532"/>
                <a:ext cx="7324"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9" name="Rectangle 36"/>
              <p:cNvSpPr>
                <a:spLocks noChangeArrowheads="1"/>
              </p:cNvSpPr>
              <p:nvPr/>
            </p:nvSpPr>
            <p:spPr bwMode="auto">
              <a:xfrm>
                <a:off x="5931807" y="1537320"/>
                <a:ext cx="8788" cy="732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0" name="Rectangle 37"/>
              <p:cNvSpPr>
                <a:spLocks noChangeArrowheads="1"/>
              </p:cNvSpPr>
              <p:nvPr/>
            </p:nvSpPr>
            <p:spPr bwMode="auto">
              <a:xfrm>
                <a:off x="6492776" y="1512421"/>
                <a:ext cx="32223" cy="322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nvGrpSpPr>
              <p:cNvPr id="71" name="Group 361"/>
              <p:cNvGrpSpPr>
                <a:grpSpLocks noChangeAspect="1"/>
              </p:cNvGrpSpPr>
              <p:nvPr/>
            </p:nvGrpSpPr>
            <p:grpSpPr bwMode="auto">
              <a:xfrm>
                <a:off x="5951133" y="1619769"/>
                <a:ext cx="653662" cy="1067595"/>
                <a:chOff x="3756" y="912"/>
                <a:chExt cx="409" cy="668"/>
              </a:xfrm>
            </p:grpSpPr>
            <p:sp>
              <p:nvSpPr>
                <p:cNvPr id="88" name="Rectangle 362"/>
                <p:cNvSpPr>
                  <a:spLocks noChangeArrowheads="1"/>
                </p:cNvSpPr>
                <p:nvPr/>
              </p:nvSpPr>
              <p:spPr bwMode="auto">
                <a:xfrm>
                  <a:off x="3756" y="912"/>
                  <a:ext cx="91"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9" name="Rectangle 363"/>
                <p:cNvSpPr>
                  <a:spLocks noChangeArrowheads="1"/>
                </p:cNvSpPr>
                <p:nvPr/>
              </p:nvSpPr>
              <p:spPr bwMode="auto">
                <a:xfrm>
                  <a:off x="3857" y="912"/>
                  <a:ext cx="96"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0" name="Rectangle 364"/>
                <p:cNvSpPr>
                  <a:spLocks noChangeArrowheads="1"/>
                </p:cNvSpPr>
                <p:nvPr/>
              </p:nvSpPr>
              <p:spPr bwMode="auto">
                <a:xfrm>
                  <a:off x="3963" y="912"/>
                  <a:ext cx="96"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1" name="Rectangle 365"/>
                <p:cNvSpPr>
                  <a:spLocks noChangeArrowheads="1"/>
                </p:cNvSpPr>
                <p:nvPr/>
              </p:nvSpPr>
              <p:spPr bwMode="auto">
                <a:xfrm>
                  <a:off x="4069" y="912"/>
                  <a:ext cx="96"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2" name="Rectangle 366"/>
                <p:cNvSpPr>
                  <a:spLocks noChangeArrowheads="1"/>
                </p:cNvSpPr>
                <p:nvPr/>
              </p:nvSpPr>
              <p:spPr bwMode="auto">
                <a:xfrm>
                  <a:off x="3756" y="1221"/>
                  <a:ext cx="197" cy="194"/>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3" name="Rectangle 367"/>
                <p:cNvSpPr>
                  <a:spLocks noChangeArrowheads="1"/>
                </p:cNvSpPr>
                <p:nvPr/>
              </p:nvSpPr>
              <p:spPr bwMode="auto">
                <a:xfrm>
                  <a:off x="3756" y="1430"/>
                  <a:ext cx="409" cy="15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4" name="Rectangle 368"/>
                <p:cNvSpPr>
                  <a:spLocks noChangeArrowheads="1"/>
                </p:cNvSpPr>
                <p:nvPr/>
              </p:nvSpPr>
              <p:spPr bwMode="auto">
                <a:xfrm>
                  <a:off x="3963" y="1221"/>
                  <a:ext cx="96" cy="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5" name="Rectangle 369"/>
                <p:cNvSpPr>
                  <a:spLocks noChangeArrowheads="1"/>
                </p:cNvSpPr>
                <p:nvPr/>
              </p:nvSpPr>
              <p:spPr bwMode="auto">
                <a:xfrm>
                  <a:off x="4069" y="1221"/>
                  <a:ext cx="96"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6" name="Rectangle 370"/>
                <p:cNvSpPr>
                  <a:spLocks noChangeArrowheads="1"/>
                </p:cNvSpPr>
                <p:nvPr/>
              </p:nvSpPr>
              <p:spPr bwMode="auto">
                <a:xfrm>
                  <a:off x="3963" y="1321"/>
                  <a:ext cx="96" cy="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7" name="Rectangle 371"/>
                <p:cNvSpPr>
                  <a:spLocks noChangeArrowheads="1"/>
                </p:cNvSpPr>
                <p:nvPr/>
              </p:nvSpPr>
              <p:spPr bwMode="auto">
                <a:xfrm>
                  <a:off x="4069" y="1321"/>
                  <a:ext cx="96" cy="94"/>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8" name="Rectangle 372"/>
                <p:cNvSpPr>
                  <a:spLocks noChangeArrowheads="1"/>
                </p:cNvSpPr>
                <p:nvPr/>
              </p:nvSpPr>
              <p:spPr bwMode="auto">
                <a:xfrm>
                  <a:off x="3756" y="1017"/>
                  <a:ext cx="91" cy="89"/>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9" name="Rectangle 373"/>
                <p:cNvSpPr>
                  <a:spLocks noChangeArrowheads="1"/>
                </p:cNvSpPr>
                <p:nvPr/>
              </p:nvSpPr>
              <p:spPr bwMode="auto">
                <a:xfrm>
                  <a:off x="3857" y="1017"/>
                  <a:ext cx="202" cy="194"/>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100" name="Rectangle 374"/>
                <p:cNvSpPr>
                  <a:spLocks noChangeArrowheads="1"/>
                </p:cNvSpPr>
                <p:nvPr/>
              </p:nvSpPr>
              <p:spPr bwMode="auto">
                <a:xfrm>
                  <a:off x="4069" y="1017"/>
                  <a:ext cx="96" cy="89"/>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101" name="Rectangle 375"/>
                <p:cNvSpPr>
                  <a:spLocks noChangeArrowheads="1"/>
                </p:cNvSpPr>
                <p:nvPr/>
              </p:nvSpPr>
              <p:spPr bwMode="auto">
                <a:xfrm>
                  <a:off x="3756" y="1116"/>
                  <a:ext cx="91" cy="95"/>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102" name="Rectangle 377"/>
                <p:cNvSpPr>
                  <a:spLocks noChangeArrowheads="1"/>
                </p:cNvSpPr>
                <p:nvPr/>
              </p:nvSpPr>
              <p:spPr bwMode="auto">
                <a:xfrm>
                  <a:off x="4069" y="1116"/>
                  <a:ext cx="96" cy="9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sp>
            <p:nvSpPr>
              <p:cNvPr id="72" name="Rectangle 38"/>
              <p:cNvSpPr>
                <a:spLocks noChangeArrowheads="1"/>
              </p:cNvSpPr>
              <p:nvPr/>
            </p:nvSpPr>
            <p:spPr bwMode="auto">
              <a:xfrm>
                <a:off x="6469342" y="1521209"/>
                <a:ext cx="7324"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3" name="Rectangle 72"/>
              <p:cNvSpPr/>
              <p:nvPr/>
            </p:nvSpPr>
            <p:spPr bwMode="auto">
              <a:xfrm>
                <a:off x="6669082" y="1645386"/>
                <a:ext cx="469545" cy="883054"/>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74" name="Rectangle 73"/>
              <p:cNvSpPr/>
              <p:nvPr/>
            </p:nvSpPr>
            <p:spPr bwMode="auto">
              <a:xfrm>
                <a:off x="5419725" y="1745191"/>
                <a:ext cx="463747" cy="81744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5" name="Group 74"/>
              <p:cNvGrpSpPr/>
              <p:nvPr/>
            </p:nvGrpSpPr>
            <p:grpSpPr>
              <a:xfrm>
                <a:off x="6762379" y="1998339"/>
                <a:ext cx="121238" cy="136847"/>
                <a:chOff x="6821706" y="2244827"/>
                <a:chExt cx="122543" cy="138320"/>
              </a:xfrm>
              <a:solidFill>
                <a:schemeClr val="accent6">
                  <a:lumMod val="75000"/>
                </a:schemeClr>
              </a:solidFill>
            </p:grpSpPr>
            <p:sp>
              <p:nvSpPr>
                <p:cNvPr id="86" name="Freeform 24"/>
                <p:cNvSpPr>
                  <a:spLocks/>
                </p:cNvSpPr>
                <p:nvPr/>
              </p:nvSpPr>
              <p:spPr bwMode="auto">
                <a:xfrm>
                  <a:off x="6821706" y="2277082"/>
                  <a:ext cx="122543" cy="106065"/>
                </a:xfrm>
                <a:custGeom>
                  <a:avLst/>
                  <a:gdLst>
                    <a:gd name="T0" fmla="*/ 296 w 296"/>
                    <a:gd name="T1" fmla="*/ 167 h 256"/>
                    <a:gd name="T2" fmla="*/ 274 w 296"/>
                    <a:gd name="T3" fmla="*/ 207 h 256"/>
                    <a:gd name="T4" fmla="*/ 216 w 296"/>
                    <a:gd name="T5" fmla="*/ 256 h 256"/>
                    <a:gd name="T6" fmla="*/ 159 w 296"/>
                    <a:gd name="T7" fmla="*/ 242 h 256"/>
                    <a:gd name="T8" fmla="*/ 101 w 296"/>
                    <a:gd name="T9" fmla="*/ 256 h 256"/>
                    <a:gd name="T10" fmla="*/ 44 w 296"/>
                    <a:gd name="T11" fmla="*/ 210 h 256"/>
                    <a:gd name="T12" fmla="*/ 24 w 296"/>
                    <a:gd name="T13" fmla="*/ 42 h 256"/>
                    <a:gd name="T14" fmla="*/ 94 w 296"/>
                    <a:gd name="T15" fmla="*/ 0 h 256"/>
                    <a:gd name="T16" fmla="*/ 158 w 296"/>
                    <a:gd name="T17" fmla="*/ 15 h 256"/>
                    <a:gd name="T18" fmla="*/ 222 w 296"/>
                    <a:gd name="T19" fmla="*/ 0 h 256"/>
                    <a:gd name="T20" fmla="*/ 286 w 296"/>
                    <a:gd name="T21" fmla="*/ 34 h 256"/>
                    <a:gd name="T22" fmla="*/ 296 w 296"/>
                    <a:gd name="T23" fmla="*/ 16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6" h="256">
                      <a:moveTo>
                        <a:pt x="296" y="167"/>
                      </a:moveTo>
                      <a:cubicBezTo>
                        <a:pt x="288" y="184"/>
                        <a:pt x="284" y="192"/>
                        <a:pt x="274" y="207"/>
                      </a:cubicBezTo>
                      <a:cubicBezTo>
                        <a:pt x="260" y="229"/>
                        <a:pt x="240" y="255"/>
                        <a:pt x="216" y="256"/>
                      </a:cubicBezTo>
                      <a:cubicBezTo>
                        <a:pt x="194" y="256"/>
                        <a:pt x="188" y="241"/>
                        <a:pt x="159" y="242"/>
                      </a:cubicBezTo>
                      <a:cubicBezTo>
                        <a:pt x="129" y="242"/>
                        <a:pt x="123" y="256"/>
                        <a:pt x="101" y="256"/>
                      </a:cubicBezTo>
                      <a:cubicBezTo>
                        <a:pt x="76" y="255"/>
                        <a:pt x="58" y="231"/>
                        <a:pt x="44" y="210"/>
                      </a:cubicBezTo>
                      <a:cubicBezTo>
                        <a:pt x="4" y="150"/>
                        <a:pt x="0" y="80"/>
                        <a:pt x="24" y="42"/>
                      </a:cubicBezTo>
                      <a:cubicBezTo>
                        <a:pt x="42" y="16"/>
                        <a:pt x="69" y="0"/>
                        <a:pt x="94" y="0"/>
                      </a:cubicBezTo>
                      <a:cubicBezTo>
                        <a:pt x="120" y="0"/>
                        <a:pt x="137" y="15"/>
                        <a:pt x="158" y="15"/>
                      </a:cubicBezTo>
                      <a:cubicBezTo>
                        <a:pt x="179" y="15"/>
                        <a:pt x="192" y="0"/>
                        <a:pt x="222" y="0"/>
                      </a:cubicBezTo>
                      <a:cubicBezTo>
                        <a:pt x="245" y="0"/>
                        <a:pt x="269" y="13"/>
                        <a:pt x="286" y="34"/>
                      </a:cubicBezTo>
                      <a:cubicBezTo>
                        <a:pt x="230" y="65"/>
                        <a:pt x="239" y="145"/>
                        <a:pt x="296" y="1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896081"/>
                  <a:endParaRPr lang="en-US" sz="1764">
                    <a:solidFill>
                      <a:srgbClr val="FFFFFF"/>
                    </a:solidFill>
                  </a:endParaRPr>
                </a:p>
              </p:txBody>
            </p:sp>
            <p:sp>
              <p:nvSpPr>
                <p:cNvPr id="87" name="Freeform 25"/>
                <p:cNvSpPr>
                  <a:spLocks/>
                </p:cNvSpPr>
                <p:nvPr/>
              </p:nvSpPr>
              <p:spPr bwMode="auto">
                <a:xfrm>
                  <a:off x="6881337" y="2244827"/>
                  <a:ext cx="30680" cy="33485"/>
                </a:xfrm>
                <a:custGeom>
                  <a:avLst/>
                  <a:gdLst>
                    <a:gd name="T0" fmla="*/ 55 w 74"/>
                    <a:gd name="T1" fmla="*/ 54 h 81"/>
                    <a:gd name="T2" fmla="*/ 71 w 74"/>
                    <a:gd name="T3" fmla="*/ 0 h 81"/>
                    <a:gd name="T4" fmla="*/ 20 w 74"/>
                    <a:gd name="T5" fmla="*/ 28 h 81"/>
                    <a:gd name="T6" fmla="*/ 4 w 74"/>
                    <a:gd name="T7" fmla="*/ 81 h 81"/>
                    <a:gd name="T8" fmla="*/ 55 w 74"/>
                    <a:gd name="T9" fmla="*/ 54 h 81"/>
                  </a:gdLst>
                  <a:ahLst/>
                  <a:cxnLst>
                    <a:cxn ang="0">
                      <a:pos x="T0" y="T1"/>
                    </a:cxn>
                    <a:cxn ang="0">
                      <a:pos x="T2" y="T3"/>
                    </a:cxn>
                    <a:cxn ang="0">
                      <a:pos x="T4" y="T5"/>
                    </a:cxn>
                    <a:cxn ang="0">
                      <a:pos x="T6" y="T7"/>
                    </a:cxn>
                    <a:cxn ang="0">
                      <a:pos x="T8" y="T9"/>
                    </a:cxn>
                  </a:cxnLst>
                  <a:rect l="0" t="0" r="r" b="b"/>
                  <a:pathLst>
                    <a:path w="74" h="81">
                      <a:moveTo>
                        <a:pt x="55" y="54"/>
                      </a:moveTo>
                      <a:cubicBezTo>
                        <a:pt x="66" y="40"/>
                        <a:pt x="74" y="21"/>
                        <a:pt x="71" y="0"/>
                      </a:cubicBezTo>
                      <a:cubicBezTo>
                        <a:pt x="54" y="2"/>
                        <a:pt x="33" y="13"/>
                        <a:pt x="20" y="28"/>
                      </a:cubicBezTo>
                      <a:cubicBezTo>
                        <a:pt x="9" y="41"/>
                        <a:pt x="0" y="61"/>
                        <a:pt x="4" y="81"/>
                      </a:cubicBezTo>
                      <a:cubicBezTo>
                        <a:pt x="23" y="81"/>
                        <a:pt x="44" y="70"/>
                        <a:pt x="55"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896081"/>
                  <a:endParaRPr lang="en-US" sz="1764">
                    <a:solidFill>
                      <a:srgbClr val="FFFFFF"/>
                    </a:solidFill>
                  </a:endParaRPr>
                </a:p>
              </p:txBody>
            </p:sp>
          </p:grpSp>
          <p:grpSp>
            <p:nvGrpSpPr>
              <p:cNvPr id="76" name="Group 75"/>
              <p:cNvGrpSpPr/>
              <p:nvPr/>
            </p:nvGrpSpPr>
            <p:grpSpPr>
              <a:xfrm>
                <a:off x="6744485" y="1563052"/>
                <a:ext cx="157076" cy="1155247"/>
                <a:chOff x="6744485" y="1563052"/>
                <a:chExt cx="157076" cy="1155247"/>
              </a:xfrm>
            </p:grpSpPr>
            <p:sp>
              <p:nvSpPr>
                <p:cNvPr id="81" name="Oval 80"/>
                <p:cNvSpPr/>
                <p:nvPr/>
              </p:nvSpPr>
              <p:spPr bwMode="auto">
                <a:xfrm>
                  <a:off x="6769989" y="2612231"/>
                  <a:ext cx="106068" cy="106068"/>
                </a:xfrm>
                <a:prstGeom prst="ellipse">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82" name="Group 81"/>
                <p:cNvGrpSpPr/>
                <p:nvPr/>
              </p:nvGrpSpPr>
              <p:grpSpPr>
                <a:xfrm>
                  <a:off x="6744485" y="1563052"/>
                  <a:ext cx="157076" cy="52818"/>
                  <a:chOff x="6822277" y="1553528"/>
                  <a:chExt cx="157076" cy="52818"/>
                </a:xfrm>
              </p:grpSpPr>
              <p:sp>
                <p:nvSpPr>
                  <p:cNvPr id="83" name="Rounded Rectangle 82"/>
                  <p:cNvSpPr/>
                  <p:nvPr/>
                </p:nvSpPr>
                <p:spPr bwMode="auto">
                  <a:xfrm>
                    <a:off x="6869625" y="1588058"/>
                    <a:ext cx="109728" cy="18288"/>
                  </a:xfrm>
                  <a:prstGeom prst="roundRect">
                    <a:avLst>
                      <a:gd name="adj" fmla="val 50000"/>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84" name="Oval 83"/>
                  <p:cNvSpPr/>
                  <p:nvPr/>
                </p:nvSpPr>
                <p:spPr bwMode="auto">
                  <a:xfrm>
                    <a:off x="6822277" y="1588058"/>
                    <a:ext cx="18288" cy="18288"/>
                  </a:xfrm>
                  <a:prstGeom prst="ellipse">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85" name="Oval 84"/>
                  <p:cNvSpPr/>
                  <p:nvPr/>
                </p:nvSpPr>
                <p:spPr bwMode="auto">
                  <a:xfrm>
                    <a:off x="6902305" y="1553528"/>
                    <a:ext cx="18288" cy="1828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77" name="Group 76"/>
              <p:cNvGrpSpPr/>
              <p:nvPr/>
            </p:nvGrpSpPr>
            <p:grpSpPr>
              <a:xfrm>
                <a:off x="5444705" y="1680019"/>
                <a:ext cx="948506" cy="959249"/>
                <a:chOff x="5444705" y="1765011"/>
                <a:chExt cx="948506" cy="959249"/>
              </a:xfrm>
            </p:grpSpPr>
            <p:sp>
              <p:nvSpPr>
                <p:cNvPr id="78" name="Rectangle 77"/>
                <p:cNvSpPr/>
                <p:nvPr/>
              </p:nvSpPr>
              <p:spPr bwMode="auto">
                <a:xfrm>
                  <a:off x="5444705" y="1765011"/>
                  <a:ext cx="438767" cy="9592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pic>
              <p:nvPicPr>
                <p:cNvPr id="79" name="Picture 14"/>
                <p:cNvPicPr>
                  <a:picLocks noChangeAspect="1" noChangeArrowheads="1"/>
                </p:cNvPicPr>
                <p:nvPr/>
              </p:nvPicPr>
              <p:blipFill>
                <a:blip r:embed="rId3" cstate="print">
                  <a:lum bright="100000"/>
                  <a:extLst>
                    <a:ext uri="{28A0092B-C50C-407E-A947-70E740481C1C}">
                      <a14:useLocalDpi xmlns:a14="http://schemas.microsoft.com/office/drawing/2010/main" val="0"/>
                    </a:ext>
                  </a:extLst>
                </a:blip>
                <a:srcRect/>
                <a:stretch>
                  <a:fillRect/>
                </a:stretch>
              </p:blipFill>
              <p:spPr bwMode="auto">
                <a:xfrm>
                  <a:off x="5647306" y="2083319"/>
                  <a:ext cx="144572" cy="1691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0" name="Picture 14"/>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r="78098"/>
                <a:stretch/>
              </p:blipFill>
              <p:spPr bwMode="auto">
                <a:xfrm>
                  <a:off x="6139513" y="1886796"/>
                  <a:ext cx="253698" cy="2722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sp>
          <p:nvSpPr>
            <p:cNvPr id="119" name="Rectangle 118"/>
            <p:cNvSpPr/>
            <p:nvPr/>
          </p:nvSpPr>
          <p:spPr bwMode="auto">
            <a:xfrm>
              <a:off x="4232707" y="3961102"/>
              <a:ext cx="3733596" cy="879077"/>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828" fontAlgn="base">
                <a:lnSpc>
                  <a:spcPct val="90000"/>
                </a:lnSpc>
                <a:spcBef>
                  <a:spcPct val="0"/>
                </a:spcBef>
                <a:spcAft>
                  <a:spcPct val="0"/>
                </a:spcAft>
              </a:pPr>
              <a:endPar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endParaRPr>
            </a:p>
          </p:txBody>
        </p:sp>
        <p:sp>
          <p:nvSpPr>
            <p:cNvPr id="120" name="Rectangle 119"/>
            <p:cNvSpPr/>
            <p:nvPr/>
          </p:nvSpPr>
          <p:spPr bwMode="auto">
            <a:xfrm>
              <a:off x="4232707" y="3961102"/>
              <a:ext cx="3733596" cy="8790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828" fontAlgn="base">
                <a:lnSpc>
                  <a:spcPct val="90000"/>
                </a:lnSpc>
                <a:spcBef>
                  <a:spcPct val="0"/>
                </a:spcBef>
                <a:spcAft>
                  <a:spcPct val="0"/>
                </a:spcAft>
              </a:pPr>
              <a: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CONNECT TO </a:t>
              </a:r>
              <a:b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br>
              <a: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OFFICE 365 SERVICES</a:t>
              </a:r>
            </a:p>
          </p:txBody>
        </p:sp>
      </p:grpSp>
      <p:grpSp>
        <p:nvGrpSpPr>
          <p:cNvPr id="125" name="Group 124"/>
          <p:cNvGrpSpPr/>
          <p:nvPr/>
        </p:nvGrpSpPr>
        <p:grpSpPr>
          <a:xfrm>
            <a:off x="7981703" y="2304809"/>
            <a:ext cx="3789186" cy="2535370"/>
            <a:chOff x="7981703" y="2304809"/>
            <a:chExt cx="3789186" cy="2535370"/>
          </a:xfrm>
        </p:grpSpPr>
        <p:pic>
          <p:nvPicPr>
            <p:cNvPr id="4" name="Picture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981703" y="2304809"/>
              <a:ext cx="3789186" cy="1554271"/>
            </a:xfrm>
            <a:prstGeom prst="rect">
              <a:avLst/>
            </a:prstGeom>
          </p:spPr>
        </p:pic>
        <p:sp>
          <p:nvSpPr>
            <p:cNvPr id="121" name="Rectangle 120"/>
            <p:cNvSpPr/>
            <p:nvPr/>
          </p:nvSpPr>
          <p:spPr bwMode="auto">
            <a:xfrm>
              <a:off x="8007134" y="3961102"/>
              <a:ext cx="3733596" cy="879077"/>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828" fontAlgn="base">
                <a:lnSpc>
                  <a:spcPct val="90000"/>
                </a:lnSpc>
                <a:spcBef>
                  <a:spcPct val="0"/>
                </a:spcBef>
                <a:spcAft>
                  <a:spcPct val="0"/>
                </a:spcAft>
              </a:pPr>
              <a:endPar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endParaRPr>
            </a:p>
          </p:txBody>
        </p:sp>
        <p:sp>
          <p:nvSpPr>
            <p:cNvPr id="122" name="Rectangle 121"/>
            <p:cNvSpPr/>
            <p:nvPr/>
          </p:nvSpPr>
          <p:spPr bwMode="auto">
            <a:xfrm>
              <a:off x="8007134" y="3961102"/>
              <a:ext cx="3733596" cy="8790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828" fontAlgn="base">
                <a:lnSpc>
                  <a:spcPct val="90000"/>
                </a:lnSpc>
                <a:spcBef>
                  <a:spcPct val="0"/>
                </a:spcBef>
                <a:spcAft>
                  <a:spcPct val="0"/>
                </a:spcAft>
              </a:pPr>
              <a: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BUILD USING </a:t>
              </a:r>
              <a:b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br>
              <a: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AN OPEN PLATFORM</a:t>
              </a:r>
            </a:p>
          </p:txBody>
        </p:sp>
      </p:grpSp>
      <p:sp>
        <p:nvSpPr>
          <p:cNvPr id="126" name="TextBox 125"/>
          <p:cNvSpPr txBox="1"/>
          <p:nvPr/>
        </p:nvSpPr>
        <p:spPr>
          <a:xfrm>
            <a:off x="0" y="6427808"/>
            <a:ext cx="12188824" cy="369332"/>
          </a:xfrm>
          <a:prstGeom prst="rect">
            <a:avLst/>
          </a:prstGeom>
          <a:noFill/>
        </p:spPr>
        <p:txBody>
          <a:bodyPr wrap="square" lIns="0" tIns="0" rIns="0" bIns="0" rtlCol="0">
            <a:spAutoFit/>
          </a:bodyPr>
          <a:lstStyle/>
          <a:p>
            <a:pPr algn="ctr"/>
            <a:r>
              <a:rPr lang="en-US" sz="2400" spc="-70" dirty="0">
                <a:solidFill>
                  <a:schemeClr val="bg1"/>
                </a:solidFill>
              </a:rPr>
              <a:t>d</a:t>
            </a:r>
            <a:r>
              <a:rPr lang="en-US" sz="2400" spc="-70" dirty="0" smtClean="0">
                <a:solidFill>
                  <a:schemeClr val="bg1"/>
                </a:solidFill>
              </a:rPr>
              <a:t>ev.office.com</a:t>
            </a:r>
          </a:p>
        </p:txBody>
      </p:sp>
    </p:spTree>
    <p:extLst>
      <p:ext uri="{BB962C8B-B14F-4D97-AF65-F5344CB8AC3E}">
        <p14:creationId xmlns:p14="http://schemas.microsoft.com/office/powerpoint/2010/main" val="24620577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700" fill="hold"/>
                                        <p:tgtEl>
                                          <p:spTgt spid="3"/>
                                        </p:tgtEl>
                                        <p:attrNameLst>
                                          <p:attrName>ppt_x</p:attrName>
                                        </p:attrNameLst>
                                      </p:cBhvr>
                                      <p:tavLst>
                                        <p:tav tm="0">
                                          <p:val>
                                            <p:strVal val="0-#ppt_w/2"/>
                                          </p:val>
                                        </p:tav>
                                        <p:tav tm="100000">
                                          <p:val>
                                            <p:strVal val="#ppt_x"/>
                                          </p:val>
                                        </p:tav>
                                      </p:tavLst>
                                    </p:anim>
                                    <p:anim calcmode="lin" valueType="num">
                                      <p:cBhvr additive="base">
                                        <p:cTn id="8" dur="700" fill="hold"/>
                                        <p:tgtEl>
                                          <p:spTgt spid="3"/>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0"/>
                                  </p:stCondLst>
                                  <p:childTnLst>
                                    <p:set>
                                      <p:cBhvr>
                                        <p:cTn id="10" dur="1" fill="hold">
                                          <p:stCondLst>
                                            <p:cond delay="0"/>
                                          </p:stCondLst>
                                        </p:cTn>
                                        <p:tgtEl>
                                          <p:spTgt spid="123"/>
                                        </p:tgtEl>
                                        <p:attrNameLst>
                                          <p:attrName>style.visibility</p:attrName>
                                        </p:attrNameLst>
                                      </p:cBhvr>
                                      <p:to>
                                        <p:strVal val="visible"/>
                                      </p:to>
                                    </p:set>
                                    <p:anim calcmode="lin" valueType="num">
                                      <p:cBhvr additive="base">
                                        <p:cTn id="11" dur="700" fill="hold"/>
                                        <p:tgtEl>
                                          <p:spTgt spid="123"/>
                                        </p:tgtEl>
                                        <p:attrNameLst>
                                          <p:attrName>ppt_x</p:attrName>
                                        </p:attrNameLst>
                                      </p:cBhvr>
                                      <p:tavLst>
                                        <p:tav tm="0">
                                          <p:val>
                                            <p:strVal val="0-#ppt_w/2"/>
                                          </p:val>
                                        </p:tav>
                                        <p:tav tm="100000">
                                          <p:val>
                                            <p:strVal val="#ppt_x"/>
                                          </p:val>
                                        </p:tav>
                                      </p:tavLst>
                                    </p:anim>
                                    <p:anim calcmode="lin" valueType="num">
                                      <p:cBhvr additive="base">
                                        <p:cTn id="12" dur="700" fill="hold"/>
                                        <p:tgtEl>
                                          <p:spTgt spid="123"/>
                                        </p:tgtEl>
                                        <p:attrNameLst>
                                          <p:attrName>ppt_y</p:attrName>
                                        </p:attrNameLst>
                                      </p:cBhvr>
                                      <p:tavLst>
                                        <p:tav tm="0">
                                          <p:val>
                                            <p:strVal val="#ppt_y"/>
                                          </p:val>
                                        </p:tav>
                                        <p:tav tm="100000">
                                          <p:val>
                                            <p:strVal val="#ppt_y"/>
                                          </p:val>
                                        </p:tav>
                                      </p:tavLst>
                                    </p:anim>
                                  </p:childTnLst>
                                </p:cTn>
                              </p:par>
                            </p:childTnLst>
                          </p:cTn>
                        </p:par>
                        <p:par>
                          <p:cTn id="13" fill="hold">
                            <p:stCondLst>
                              <p:cond delay="700"/>
                            </p:stCondLst>
                            <p:childTnLst>
                              <p:par>
                                <p:cTn id="14" presetID="2" presetClass="entr" presetSubtype="8" decel="100000" fill="hold" nodeType="afterEffect">
                                  <p:stCondLst>
                                    <p:cond delay="0"/>
                                  </p:stCondLst>
                                  <p:childTnLst>
                                    <p:set>
                                      <p:cBhvr>
                                        <p:cTn id="15" dur="1" fill="hold">
                                          <p:stCondLst>
                                            <p:cond delay="0"/>
                                          </p:stCondLst>
                                        </p:cTn>
                                        <p:tgtEl>
                                          <p:spTgt spid="124"/>
                                        </p:tgtEl>
                                        <p:attrNameLst>
                                          <p:attrName>style.visibility</p:attrName>
                                        </p:attrNameLst>
                                      </p:cBhvr>
                                      <p:to>
                                        <p:strVal val="visible"/>
                                      </p:to>
                                    </p:set>
                                    <p:anim calcmode="lin" valueType="num">
                                      <p:cBhvr additive="base">
                                        <p:cTn id="16" dur="700" fill="hold"/>
                                        <p:tgtEl>
                                          <p:spTgt spid="124"/>
                                        </p:tgtEl>
                                        <p:attrNameLst>
                                          <p:attrName>ppt_x</p:attrName>
                                        </p:attrNameLst>
                                      </p:cBhvr>
                                      <p:tavLst>
                                        <p:tav tm="0">
                                          <p:val>
                                            <p:strVal val="0-#ppt_w/2"/>
                                          </p:val>
                                        </p:tav>
                                        <p:tav tm="100000">
                                          <p:val>
                                            <p:strVal val="#ppt_x"/>
                                          </p:val>
                                        </p:tav>
                                      </p:tavLst>
                                    </p:anim>
                                    <p:anim calcmode="lin" valueType="num">
                                      <p:cBhvr additive="base">
                                        <p:cTn id="17" dur="700" fill="hold"/>
                                        <p:tgtEl>
                                          <p:spTgt spid="124"/>
                                        </p:tgtEl>
                                        <p:attrNameLst>
                                          <p:attrName>ppt_y</p:attrName>
                                        </p:attrNameLst>
                                      </p:cBhvr>
                                      <p:tavLst>
                                        <p:tav tm="0">
                                          <p:val>
                                            <p:strVal val="#ppt_y"/>
                                          </p:val>
                                        </p:tav>
                                        <p:tav tm="100000">
                                          <p:val>
                                            <p:strVal val="#ppt_y"/>
                                          </p:val>
                                        </p:tav>
                                      </p:tavLst>
                                    </p:anim>
                                  </p:childTnLst>
                                </p:cTn>
                              </p:par>
                            </p:childTnLst>
                          </p:cTn>
                        </p:par>
                        <p:par>
                          <p:cTn id="18" fill="hold">
                            <p:stCondLst>
                              <p:cond delay="1400"/>
                            </p:stCondLst>
                            <p:childTnLst>
                              <p:par>
                                <p:cTn id="19" presetID="2" presetClass="entr" presetSubtype="8" decel="100000" fill="hold" nodeType="afterEffect">
                                  <p:stCondLst>
                                    <p:cond delay="0"/>
                                  </p:stCondLst>
                                  <p:childTnLst>
                                    <p:set>
                                      <p:cBhvr>
                                        <p:cTn id="20" dur="1" fill="hold">
                                          <p:stCondLst>
                                            <p:cond delay="0"/>
                                          </p:stCondLst>
                                        </p:cTn>
                                        <p:tgtEl>
                                          <p:spTgt spid="125"/>
                                        </p:tgtEl>
                                        <p:attrNameLst>
                                          <p:attrName>style.visibility</p:attrName>
                                        </p:attrNameLst>
                                      </p:cBhvr>
                                      <p:to>
                                        <p:strVal val="visible"/>
                                      </p:to>
                                    </p:set>
                                    <p:anim calcmode="lin" valueType="num">
                                      <p:cBhvr additive="base">
                                        <p:cTn id="21" dur="700" fill="hold"/>
                                        <p:tgtEl>
                                          <p:spTgt spid="125"/>
                                        </p:tgtEl>
                                        <p:attrNameLst>
                                          <p:attrName>ppt_x</p:attrName>
                                        </p:attrNameLst>
                                      </p:cBhvr>
                                      <p:tavLst>
                                        <p:tav tm="0">
                                          <p:val>
                                            <p:strVal val="0-#ppt_w/2"/>
                                          </p:val>
                                        </p:tav>
                                        <p:tav tm="100000">
                                          <p:val>
                                            <p:strVal val="#ppt_x"/>
                                          </p:val>
                                        </p:tav>
                                      </p:tavLst>
                                    </p:anim>
                                    <p:anim calcmode="lin" valueType="num">
                                      <p:cBhvr additive="base">
                                        <p:cTn id="22" dur="700" fill="hold"/>
                                        <p:tgtEl>
                                          <p:spTgt spid="125"/>
                                        </p:tgtEl>
                                        <p:attrNameLst>
                                          <p:attrName>ppt_y</p:attrName>
                                        </p:attrNameLst>
                                      </p:cBhvr>
                                      <p:tavLst>
                                        <p:tav tm="0">
                                          <p:val>
                                            <p:strVal val="#ppt_y"/>
                                          </p:val>
                                        </p:tav>
                                        <p:tav tm="100000">
                                          <p:val>
                                            <p:strVal val="#ppt_y"/>
                                          </p:val>
                                        </p:tav>
                                      </p:tavLst>
                                    </p:anim>
                                  </p:childTnLst>
                                </p:cTn>
                              </p:par>
                            </p:childTnLst>
                          </p:cTn>
                        </p:par>
                        <p:par>
                          <p:cTn id="23" fill="hold">
                            <p:stCondLst>
                              <p:cond delay="2100"/>
                            </p:stCondLst>
                            <p:childTnLst>
                              <p:par>
                                <p:cTn id="24" presetID="2" presetClass="entr" presetSubtype="4" fill="hold" grpId="0" nodeType="afterEffect">
                                  <p:stCondLst>
                                    <p:cond delay="0"/>
                                  </p:stCondLst>
                                  <p:childTnLst>
                                    <p:set>
                                      <p:cBhvr>
                                        <p:cTn id="25" dur="1" fill="hold">
                                          <p:stCondLst>
                                            <p:cond delay="0"/>
                                          </p:stCondLst>
                                        </p:cTn>
                                        <p:tgtEl>
                                          <p:spTgt spid="126"/>
                                        </p:tgtEl>
                                        <p:attrNameLst>
                                          <p:attrName>style.visibility</p:attrName>
                                        </p:attrNameLst>
                                      </p:cBhvr>
                                      <p:to>
                                        <p:strVal val="visible"/>
                                      </p:to>
                                    </p:set>
                                    <p:anim calcmode="lin" valueType="num">
                                      <p:cBhvr additive="base">
                                        <p:cTn id="26" dur="500" fill="hold"/>
                                        <p:tgtEl>
                                          <p:spTgt spid="126"/>
                                        </p:tgtEl>
                                        <p:attrNameLst>
                                          <p:attrName>ppt_x</p:attrName>
                                        </p:attrNameLst>
                                      </p:cBhvr>
                                      <p:tavLst>
                                        <p:tav tm="0">
                                          <p:val>
                                            <p:strVal val="#ppt_x"/>
                                          </p:val>
                                        </p:tav>
                                        <p:tav tm="100000">
                                          <p:val>
                                            <p:strVal val="#ppt_x"/>
                                          </p:val>
                                        </p:tav>
                                      </p:tavLst>
                                    </p:anim>
                                    <p:anim calcmode="lin" valueType="num">
                                      <p:cBhvr additive="base">
                                        <p:cTn id="27" dur="500" fill="hold"/>
                                        <p:tgtEl>
                                          <p:spTgt spid="12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26"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2EKljXrwzE.WqpN6KQdJL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mPRJ8Yf3wEGLGoc8JrEKv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FDIPRbYCl0OyTnqL5nG9y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GyCBQFqwkOZHhHjkmPS0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igl21Q.Z0OdBk3hudOFI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PC8DuexgECnHHoQQtq2uw"/>
</p:tagLst>
</file>

<file path=ppt/theme/theme1.xml><?xml version="1.0" encoding="utf-8"?>
<a:theme xmlns:a="http://schemas.openxmlformats.org/drawingml/2006/main" name="5-30055_Office Template 2012 - 16x9 - White Background">
  <a:themeElements>
    <a:clrScheme name="Office light">
      <a:dk1>
        <a:srgbClr val="000000"/>
      </a:dk1>
      <a:lt1>
        <a:srgbClr val="FFFFFF"/>
      </a:lt1>
      <a:dk2>
        <a:srgbClr val="DC3C00"/>
      </a:dk2>
      <a:lt2>
        <a:srgbClr val="797A7D"/>
      </a:lt2>
      <a:accent1>
        <a:srgbClr val="DC3C00"/>
      </a:accent1>
      <a:accent2>
        <a:srgbClr val="FF8C00"/>
      </a:accent2>
      <a:accent3>
        <a:srgbClr val="FFB900"/>
      </a:accent3>
      <a:accent4>
        <a:srgbClr val="007233"/>
      </a:accent4>
      <a:accent5>
        <a:srgbClr val="00188F"/>
      </a:accent5>
      <a:accent6>
        <a:srgbClr val="68217A"/>
      </a:accent6>
      <a:hlink>
        <a:srgbClr val="FF8C00"/>
      </a:hlink>
      <a:folHlink>
        <a:srgbClr val="DC3C0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Office_Template_16x9_WHITE.potx" id="{BAC85760-2BE3-4369-8D6A-792FA239637A}" vid="{0B6ECECE-D832-4A6D-9382-4D4E764C03DC}"/>
    </a:ext>
  </a:extLst>
</a:theme>
</file>

<file path=ppt/theme/theme10.xml><?xml version="1.0" encoding="utf-8"?>
<a:theme xmlns:a="http://schemas.openxmlformats.org/drawingml/2006/main" name="4_TEE14 Speaker PPT Template">
  <a:themeElements>
    <a:clrScheme name="Custom 1">
      <a:dk1>
        <a:srgbClr val="505050"/>
      </a:dk1>
      <a:lt1>
        <a:srgbClr val="FFFFFF"/>
      </a:lt1>
      <a:dk2>
        <a:srgbClr val="442359"/>
      </a:dk2>
      <a:lt2>
        <a:srgbClr val="68217A"/>
      </a:lt2>
      <a:accent1>
        <a:srgbClr val="7FBA00"/>
      </a:accent1>
      <a:accent2>
        <a:srgbClr val="DC3C00"/>
      </a:accent2>
      <a:accent3>
        <a:srgbClr val="002050"/>
      </a:accent3>
      <a:accent4>
        <a:srgbClr val="009E49"/>
      </a:accent4>
      <a:accent5>
        <a:srgbClr val="00B294"/>
      </a:accent5>
      <a:accent6>
        <a:srgbClr val="0072C6"/>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NA_Template_with_TechEd Europe_r03.potx" id="{D1757E1E-F62B-43A3-BA2B-231531828368}" vid="{DB3EECF5-125C-46BC-AC50-75EC4FF82334}"/>
    </a:ext>
  </a:extLst>
</a:theme>
</file>

<file path=ppt/theme/theme11.xml><?xml version="1.0" encoding="utf-8"?>
<a:theme xmlns:a="http://schemas.openxmlformats.org/drawingml/2006/main" name="3-30410_WPC_Breakout_Template_16x9">
  <a:themeElements>
    <a:clrScheme name="Custom 168">
      <a:dk1>
        <a:srgbClr val="505050"/>
      </a:dk1>
      <a:lt1>
        <a:srgbClr val="FFFFFF"/>
      </a:lt1>
      <a:dk2>
        <a:srgbClr val="68217A"/>
      </a:dk2>
      <a:lt2>
        <a:srgbClr val="D2D2D2"/>
      </a:lt2>
      <a:accent1>
        <a:srgbClr val="68217A"/>
      </a:accent1>
      <a:accent2>
        <a:srgbClr val="0072C6"/>
      </a:accent2>
      <a:accent3>
        <a:srgbClr val="008272"/>
      </a:accent3>
      <a:accent4>
        <a:srgbClr val="00BCF2"/>
      </a:accent4>
      <a:accent5>
        <a:srgbClr val="7FBA00"/>
      </a:accent5>
      <a:accent6>
        <a:srgbClr val="FF8C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Breakout_Template.potx" id="{E19D56E8-C416-453B-B7B6-02715B48C872}" vid="{97F69465-83A4-4C5F-A9B2-4A503E466C78}"/>
    </a:ext>
  </a:extLst>
</a:theme>
</file>

<file path=ppt/theme/theme12.xml><?xml version="1.0" encoding="utf-8"?>
<a:theme xmlns:a="http://schemas.openxmlformats.org/drawingml/2006/main" name="1_3-30410_WPC_Breakout_Template_16x9">
  <a:themeElements>
    <a:clrScheme name="Custom 168">
      <a:dk1>
        <a:srgbClr val="505050"/>
      </a:dk1>
      <a:lt1>
        <a:srgbClr val="FFFFFF"/>
      </a:lt1>
      <a:dk2>
        <a:srgbClr val="68217A"/>
      </a:dk2>
      <a:lt2>
        <a:srgbClr val="D2D2D2"/>
      </a:lt2>
      <a:accent1>
        <a:srgbClr val="68217A"/>
      </a:accent1>
      <a:accent2>
        <a:srgbClr val="0072C6"/>
      </a:accent2>
      <a:accent3>
        <a:srgbClr val="008272"/>
      </a:accent3>
      <a:accent4>
        <a:srgbClr val="00BCF2"/>
      </a:accent4>
      <a:accent5>
        <a:srgbClr val="7FBA00"/>
      </a:accent5>
      <a:accent6>
        <a:srgbClr val="FF8C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Breakout_Template.potx" id="{E19D56E8-C416-453B-B7B6-02715B48C872}" vid="{97F69465-83A4-4C5F-A9B2-4A503E466C78}"/>
    </a:ext>
  </a:extLst>
</a:theme>
</file>

<file path=ppt/theme/theme13.xml><?xml version="1.0" encoding="utf-8"?>
<a:theme xmlns:a="http://schemas.openxmlformats.org/drawingml/2006/main" name="2_3-30410_WPC_Breakout_Template_16x9">
  <a:themeElements>
    <a:clrScheme name="Custom 168">
      <a:dk1>
        <a:srgbClr val="505050"/>
      </a:dk1>
      <a:lt1>
        <a:srgbClr val="FFFFFF"/>
      </a:lt1>
      <a:dk2>
        <a:srgbClr val="68217A"/>
      </a:dk2>
      <a:lt2>
        <a:srgbClr val="D2D2D2"/>
      </a:lt2>
      <a:accent1>
        <a:srgbClr val="68217A"/>
      </a:accent1>
      <a:accent2>
        <a:srgbClr val="0072C6"/>
      </a:accent2>
      <a:accent3>
        <a:srgbClr val="008272"/>
      </a:accent3>
      <a:accent4>
        <a:srgbClr val="00BCF2"/>
      </a:accent4>
      <a:accent5>
        <a:srgbClr val="7FBA00"/>
      </a:accent5>
      <a:accent6>
        <a:srgbClr val="FF8C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Breakout_Template.potx" id="{E19D56E8-C416-453B-B7B6-02715B48C872}" vid="{97F69465-83A4-4C5F-A9B2-4A503E466C78}"/>
    </a:ext>
  </a:extLst>
</a:theme>
</file>

<file path=ppt/theme/theme14.xml><?xml version="1.0" encoding="utf-8"?>
<a:theme xmlns:a="http://schemas.openxmlformats.org/drawingml/2006/main" name="1_5-30499_SPC_2014_Dev_Template_16x9">
  <a:themeElements>
    <a:clrScheme name="SPC 2014">
      <a:dk1>
        <a:srgbClr val="505050"/>
      </a:dk1>
      <a:lt1>
        <a:srgbClr val="FFFFFF"/>
      </a:lt1>
      <a:dk2>
        <a:srgbClr val="0072C6"/>
      </a:dk2>
      <a:lt2>
        <a:srgbClr val="E6E6E6"/>
      </a:lt2>
      <a:accent1>
        <a:srgbClr val="00188F"/>
      </a:accent1>
      <a:accent2>
        <a:srgbClr val="00BCF2"/>
      </a:accent2>
      <a:accent3>
        <a:srgbClr val="6DC2E9"/>
      </a:accent3>
      <a:accent4>
        <a:srgbClr val="DC3C00"/>
      </a:accent4>
      <a:accent5>
        <a:srgbClr val="007233"/>
      </a:accent5>
      <a:accent6>
        <a:srgbClr val="442359"/>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harePoint_Conference_2014_Dev_Template" id="{127A4FED-1025-4717-889F-5D34546262E5}" vid="{A48438B8-C300-4E76-B649-FC27DE7D7C28}"/>
    </a:ext>
  </a:extLst>
</a:theme>
</file>

<file path=ppt/theme/theme15.xml><?xml version="1.0" encoding="utf-8"?>
<a:theme xmlns:a="http://schemas.openxmlformats.org/drawingml/2006/main" name="5-30551_TR19_Generic_Template">
  <a:themeElements>
    <a:clrScheme name="TR19 - TV">
      <a:dk1>
        <a:srgbClr val="505050"/>
      </a:dk1>
      <a:lt1>
        <a:srgbClr val="FFFFFF"/>
      </a:lt1>
      <a:dk2>
        <a:srgbClr val="008A00"/>
      </a:dk2>
      <a:lt2>
        <a:srgbClr val="D2D2D2"/>
      </a:lt2>
      <a:accent1>
        <a:srgbClr val="0072C6"/>
      </a:accent1>
      <a:accent2>
        <a:srgbClr val="DC3C00"/>
      </a:accent2>
      <a:accent3>
        <a:srgbClr val="7FBA00"/>
      </a:accent3>
      <a:accent4>
        <a:srgbClr val="FCD116"/>
      </a:accent4>
      <a:accent5>
        <a:srgbClr val="68217A"/>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19_Generic_Template" id="{6CD382EE-15E2-4164-A98D-E559F715F782}" vid="{D32AB32B-F368-4B91-9072-43F8C9438577}"/>
    </a:ext>
  </a:extLst>
</a:theme>
</file>

<file path=ppt/theme/theme16.xml><?xml version="1.0" encoding="utf-8"?>
<a:theme xmlns:a="http://schemas.openxmlformats.org/drawingml/2006/main" name="1_5-30055_Office Template 2012 - 16x9 - White Background">
  <a:themeElements>
    <a:clrScheme name="Office light">
      <a:dk1>
        <a:srgbClr val="000000"/>
      </a:dk1>
      <a:lt1>
        <a:srgbClr val="FFFFFF"/>
      </a:lt1>
      <a:dk2>
        <a:srgbClr val="DC3C00"/>
      </a:dk2>
      <a:lt2>
        <a:srgbClr val="797A7D"/>
      </a:lt2>
      <a:accent1>
        <a:srgbClr val="DC3C00"/>
      </a:accent1>
      <a:accent2>
        <a:srgbClr val="FF8C00"/>
      </a:accent2>
      <a:accent3>
        <a:srgbClr val="FFB900"/>
      </a:accent3>
      <a:accent4>
        <a:srgbClr val="007233"/>
      </a:accent4>
      <a:accent5>
        <a:srgbClr val="00188F"/>
      </a:accent5>
      <a:accent6>
        <a:srgbClr val="68217A"/>
      </a:accent6>
      <a:hlink>
        <a:srgbClr val="FF8C00"/>
      </a:hlink>
      <a:folHlink>
        <a:srgbClr val="DC3C0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Office_Template_16x9_WHITE.potx" id="{BAC85760-2BE3-4369-8D6A-792FA239637A}" vid="{0B6ECECE-D832-4A6D-9382-4D4E764C03DC}"/>
    </a:ext>
  </a:extLst>
</a:theme>
</file>

<file path=ppt/theme/theme17.xml><?xml version="1.0" encoding="utf-8"?>
<a:theme xmlns:a="http://schemas.openxmlformats.org/drawingml/2006/main" name="5_TEE14 Speaker PPT Template">
  <a:themeElements>
    <a:clrScheme name="Custom 1">
      <a:dk1>
        <a:srgbClr val="505050"/>
      </a:dk1>
      <a:lt1>
        <a:srgbClr val="FFFFFF"/>
      </a:lt1>
      <a:dk2>
        <a:srgbClr val="442359"/>
      </a:dk2>
      <a:lt2>
        <a:srgbClr val="68217A"/>
      </a:lt2>
      <a:accent1>
        <a:srgbClr val="7FBA00"/>
      </a:accent1>
      <a:accent2>
        <a:srgbClr val="DC3C00"/>
      </a:accent2>
      <a:accent3>
        <a:srgbClr val="002050"/>
      </a:accent3>
      <a:accent4>
        <a:srgbClr val="009E49"/>
      </a:accent4>
      <a:accent5>
        <a:srgbClr val="00B294"/>
      </a:accent5>
      <a:accent6>
        <a:srgbClr val="0072C6"/>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NA_Template_with_TechEd Europe_r03.potx" id="{D1757E1E-F62B-43A3-BA2B-231531828368}" vid="{DB3EECF5-125C-46BC-AC50-75EC4FF82334}"/>
    </a:ext>
  </a:extLst>
</a:theme>
</file>

<file path=ppt/theme/theme1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5-30055_Office Template 2012 - 16x9 - Colored Accent Slides">
  <a:themeElements>
    <a:clrScheme name="Office dark 2">
      <a:dk1>
        <a:srgbClr val="000000"/>
      </a:dk1>
      <a:lt1>
        <a:srgbClr val="FFFFFF"/>
      </a:lt1>
      <a:dk2>
        <a:srgbClr val="000000"/>
      </a:dk2>
      <a:lt2>
        <a:srgbClr val="FFFFFF"/>
      </a:lt2>
      <a:accent1>
        <a:srgbClr val="0072C6"/>
      </a:accent1>
      <a:accent2>
        <a:srgbClr val="DC3C00"/>
      </a:accent2>
      <a:accent3>
        <a:srgbClr val="007233"/>
      </a:accent3>
      <a:accent4>
        <a:srgbClr val="00188F"/>
      </a:accent4>
      <a:accent5>
        <a:srgbClr val="68217A"/>
      </a:accent5>
      <a:accent6>
        <a:srgbClr val="505050"/>
      </a:accent6>
      <a:hlink>
        <a:srgbClr val="82CAFF"/>
      </a:hlink>
      <a:folHlink>
        <a:srgbClr val="C0E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ffice_Template_16x9_WHITE.potx" id="{BAC85760-2BE3-4369-8D6A-792FA239637A}" vid="{A93E73D1-45C6-4FF9-A009-9C9E7F69F4DC}"/>
    </a:ext>
  </a:extLst>
</a:theme>
</file>

<file path=ppt/theme/theme3.xml><?xml version="1.0" encoding="utf-8"?>
<a:theme xmlns:a="http://schemas.openxmlformats.org/drawingml/2006/main" name="2_TEE14 Speaker PPT Template">
  <a:themeElements>
    <a:clrScheme name="Custom 1">
      <a:dk1>
        <a:srgbClr val="505050"/>
      </a:dk1>
      <a:lt1>
        <a:srgbClr val="FFFFFF"/>
      </a:lt1>
      <a:dk2>
        <a:srgbClr val="442359"/>
      </a:dk2>
      <a:lt2>
        <a:srgbClr val="68217A"/>
      </a:lt2>
      <a:accent1>
        <a:srgbClr val="7FBA00"/>
      </a:accent1>
      <a:accent2>
        <a:srgbClr val="DC3C00"/>
      </a:accent2>
      <a:accent3>
        <a:srgbClr val="002050"/>
      </a:accent3>
      <a:accent4>
        <a:srgbClr val="009E49"/>
      </a:accent4>
      <a:accent5>
        <a:srgbClr val="00B294"/>
      </a:accent5>
      <a:accent6>
        <a:srgbClr val="0072C6"/>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NA_Template_with_TechEd Europe_r03.potx" id="{D1757E1E-F62B-43A3-BA2B-231531828368}" vid="{DB3EECF5-125C-46BC-AC50-75EC4FF82334}"/>
    </a:ext>
  </a:extLst>
</a:theme>
</file>

<file path=ppt/theme/theme4.xml><?xml version="1.0" encoding="utf-8"?>
<a:theme xmlns:a="http://schemas.openxmlformats.org/drawingml/2006/main" name="3_5-30550_MGX_FY15_Breakout_LIGHT_Template">
  <a:themeElements>
    <a:clrScheme name="MGX FY15">
      <a:dk1>
        <a:srgbClr val="505050"/>
      </a:dk1>
      <a:lt1>
        <a:srgbClr val="FFFFFF"/>
      </a:lt1>
      <a:dk2>
        <a:srgbClr val="002050"/>
      </a:dk2>
      <a:lt2>
        <a:srgbClr val="D2D2D2"/>
      </a:lt2>
      <a:accent1>
        <a:srgbClr val="0072C6"/>
      </a:accent1>
      <a:accent2>
        <a:srgbClr val="FFB900"/>
      </a:accent2>
      <a:accent3>
        <a:srgbClr val="002050"/>
      </a:accent3>
      <a:accent4>
        <a:srgbClr val="008272"/>
      </a:accent4>
      <a:accent5>
        <a:srgbClr val="68217A"/>
      </a:accent5>
      <a:accent6>
        <a:srgbClr val="00188F"/>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GXFY15_Breakout_LIGHT_Template [Read-Only]" id="{3100E759-D626-4097-8EC7-30C1778BC86A}" vid="{0026B36F-FD63-475A-9DC7-F4828CB28387}"/>
    </a:ext>
  </a:extLst>
</a:theme>
</file>

<file path=ppt/theme/theme5.xml><?xml version="1.0" encoding="utf-8"?>
<a:theme xmlns:a="http://schemas.openxmlformats.org/drawingml/2006/main" name="4_5-30550_MGX_FY15_Breakout_LIGHT_Template">
  <a:themeElements>
    <a:clrScheme name="MGX FY15">
      <a:dk1>
        <a:srgbClr val="505050"/>
      </a:dk1>
      <a:lt1>
        <a:srgbClr val="FFFFFF"/>
      </a:lt1>
      <a:dk2>
        <a:srgbClr val="002050"/>
      </a:dk2>
      <a:lt2>
        <a:srgbClr val="D2D2D2"/>
      </a:lt2>
      <a:accent1>
        <a:srgbClr val="0072C6"/>
      </a:accent1>
      <a:accent2>
        <a:srgbClr val="FFB900"/>
      </a:accent2>
      <a:accent3>
        <a:srgbClr val="002050"/>
      </a:accent3>
      <a:accent4>
        <a:srgbClr val="008272"/>
      </a:accent4>
      <a:accent5>
        <a:srgbClr val="68217A"/>
      </a:accent5>
      <a:accent6>
        <a:srgbClr val="00188F"/>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GXFY15_Breakout_LIGHT_Template [Read-Only]" id="{3100E759-D626-4097-8EC7-30C1778BC86A}" vid="{0026B36F-FD63-475A-9DC7-F4828CB28387}"/>
    </a:ext>
  </a:extLst>
</a:theme>
</file>

<file path=ppt/theme/theme6.xml><?xml version="1.0" encoding="utf-8"?>
<a:theme xmlns:a="http://schemas.openxmlformats.org/drawingml/2006/main" name="TEE14 Speaker PPT Template">
  <a:themeElements>
    <a:clrScheme name="Custom 1">
      <a:dk1>
        <a:srgbClr val="505050"/>
      </a:dk1>
      <a:lt1>
        <a:srgbClr val="FFFFFF"/>
      </a:lt1>
      <a:dk2>
        <a:srgbClr val="442359"/>
      </a:dk2>
      <a:lt2>
        <a:srgbClr val="68217A"/>
      </a:lt2>
      <a:accent1>
        <a:srgbClr val="7FBA00"/>
      </a:accent1>
      <a:accent2>
        <a:srgbClr val="DC3C00"/>
      </a:accent2>
      <a:accent3>
        <a:srgbClr val="002050"/>
      </a:accent3>
      <a:accent4>
        <a:srgbClr val="009E49"/>
      </a:accent4>
      <a:accent5>
        <a:srgbClr val="00B294"/>
      </a:accent5>
      <a:accent6>
        <a:srgbClr val="0072C6"/>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NA_Template_with_TechEd Europe_r03.potx" id="{D1757E1E-F62B-43A3-BA2B-231531828368}" vid="{DB3EECF5-125C-46BC-AC50-75EC4FF82334}"/>
    </a:ext>
  </a:extLst>
</a:theme>
</file>

<file path=ppt/theme/theme7.xml><?xml version="1.0" encoding="utf-8"?>
<a:theme xmlns:a="http://schemas.openxmlformats.org/drawingml/2006/main" name="5-30499_SPC_2014_Dev_Template_16x9">
  <a:themeElements>
    <a:clrScheme name="SPC 2014">
      <a:dk1>
        <a:srgbClr val="505050"/>
      </a:dk1>
      <a:lt1>
        <a:srgbClr val="FFFFFF"/>
      </a:lt1>
      <a:dk2>
        <a:srgbClr val="0072C6"/>
      </a:dk2>
      <a:lt2>
        <a:srgbClr val="E6E6E6"/>
      </a:lt2>
      <a:accent1>
        <a:srgbClr val="00188F"/>
      </a:accent1>
      <a:accent2>
        <a:srgbClr val="00BCF2"/>
      </a:accent2>
      <a:accent3>
        <a:srgbClr val="6DC2E9"/>
      </a:accent3>
      <a:accent4>
        <a:srgbClr val="DC3C00"/>
      </a:accent4>
      <a:accent5>
        <a:srgbClr val="007233"/>
      </a:accent5>
      <a:accent6>
        <a:srgbClr val="442359"/>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harePoint_Conference_2014_Dev_Template" id="{127A4FED-1025-4717-889F-5D34546262E5}" vid="{A48438B8-C300-4E76-B649-FC27DE7D7C28}"/>
    </a:ext>
  </a:extLst>
</a:theme>
</file>

<file path=ppt/theme/theme8.xml><?xml version="1.0" encoding="utf-8"?>
<a:theme xmlns:a="http://schemas.openxmlformats.org/drawingml/2006/main" name="1_TEE14 Speaker PPT Template">
  <a:themeElements>
    <a:clrScheme name="Custom 1">
      <a:dk1>
        <a:srgbClr val="505050"/>
      </a:dk1>
      <a:lt1>
        <a:srgbClr val="FFFFFF"/>
      </a:lt1>
      <a:dk2>
        <a:srgbClr val="442359"/>
      </a:dk2>
      <a:lt2>
        <a:srgbClr val="68217A"/>
      </a:lt2>
      <a:accent1>
        <a:srgbClr val="7FBA00"/>
      </a:accent1>
      <a:accent2>
        <a:srgbClr val="DC3C00"/>
      </a:accent2>
      <a:accent3>
        <a:srgbClr val="002050"/>
      </a:accent3>
      <a:accent4>
        <a:srgbClr val="009E49"/>
      </a:accent4>
      <a:accent5>
        <a:srgbClr val="00B294"/>
      </a:accent5>
      <a:accent6>
        <a:srgbClr val="0072C6"/>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NA_Template_with_TechEd Europe_r03.potx" id="{D1757E1E-F62B-43A3-BA2B-231531828368}" vid="{DB3EECF5-125C-46BC-AC50-75EC4FF82334}"/>
    </a:ext>
  </a:extLst>
</a:theme>
</file>

<file path=ppt/theme/theme9.xml><?xml version="1.0" encoding="utf-8"?>
<a:theme xmlns:a="http://schemas.openxmlformats.org/drawingml/2006/main" name="3_TEE14 Speaker PPT Template">
  <a:themeElements>
    <a:clrScheme name="Custom 1">
      <a:dk1>
        <a:srgbClr val="505050"/>
      </a:dk1>
      <a:lt1>
        <a:srgbClr val="FFFFFF"/>
      </a:lt1>
      <a:dk2>
        <a:srgbClr val="442359"/>
      </a:dk2>
      <a:lt2>
        <a:srgbClr val="68217A"/>
      </a:lt2>
      <a:accent1>
        <a:srgbClr val="7FBA00"/>
      </a:accent1>
      <a:accent2>
        <a:srgbClr val="DC3C00"/>
      </a:accent2>
      <a:accent3>
        <a:srgbClr val="002050"/>
      </a:accent3>
      <a:accent4>
        <a:srgbClr val="009E49"/>
      </a:accent4>
      <a:accent5>
        <a:srgbClr val="00B294"/>
      </a:accent5>
      <a:accent6>
        <a:srgbClr val="0072C6"/>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NA_Template_with_TechEd Europe_r03.potx" id="{D1757E1E-F62B-43A3-BA2B-231531828368}" vid="{DB3EECF5-125C-46BC-AC50-75EC4FF82334}"/>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129ea19f-d41c-490c-b792-d75d4c5bb285">
      <UserInfo>
        <DisplayName>Sine Rix</DisplayName>
        <AccountId>305</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8933C8E54A4E6B45BAD31F8AF78EFE6B" ma:contentTypeVersion="1" ma:contentTypeDescription="Create a new document." ma:contentTypeScope="" ma:versionID="15b7bb53edad1133bed35b1d428482ef">
  <xsd:schema xmlns:xsd="http://www.w3.org/2001/XMLSchema" xmlns:xs="http://www.w3.org/2001/XMLSchema" xmlns:p="http://schemas.microsoft.com/office/2006/metadata/properties" xmlns:ns3="129ea19f-d41c-490c-b792-d75d4c5bb285" targetNamespace="http://schemas.microsoft.com/office/2006/metadata/properties" ma:root="true" ma:fieldsID="3a4140641906b6a3a3f92bda476ab356" ns3:_="">
    <xsd:import namespace="129ea19f-d41c-490c-b792-d75d4c5bb285"/>
    <xsd:element name="properties">
      <xsd:complexType>
        <xsd:sequence>
          <xsd:element name="documentManagement">
            <xsd:complexType>
              <xsd:all>
                <xsd:element ref="ns3: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29ea19f-d41c-490c-b792-d75d4c5bb285"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A593625-DB14-4FB0-B5A9-3269FA9C120B}">
  <ds:schemaRefs>
    <ds:schemaRef ds:uri="http://purl.org/dc/terms/"/>
    <ds:schemaRef ds:uri="http://schemas.openxmlformats.org/package/2006/metadata/core-properties"/>
    <ds:schemaRef ds:uri="http://purl.org/dc/dcmitype/"/>
    <ds:schemaRef ds:uri="http://schemas.microsoft.com/office/infopath/2007/PartnerControls"/>
    <ds:schemaRef ds:uri="http://schemas.microsoft.com/office/2006/documentManagement/types"/>
    <ds:schemaRef ds:uri="http://schemas.microsoft.com/office/2006/metadata/properties"/>
    <ds:schemaRef ds:uri="129ea19f-d41c-490c-b792-d75d4c5bb285"/>
    <ds:schemaRef ds:uri="http://www.w3.org/XML/1998/namespace"/>
    <ds:schemaRef ds:uri="http://purl.org/dc/elements/1.1/"/>
  </ds:schemaRefs>
</ds:datastoreItem>
</file>

<file path=customXml/itemProps2.xml><?xml version="1.0" encoding="utf-8"?>
<ds:datastoreItem xmlns:ds="http://schemas.openxmlformats.org/officeDocument/2006/customXml" ds:itemID="{AC84DE61-AAFA-4CA5-B126-12CE50188C6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29ea19f-d41c-490c-b792-d75d4c5bb28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1E0CE18-CA03-4891-9CD8-3448778E3D5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_Template_16x9_WHITE</Template>
  <TotalTime>0</TotalTime>
  <Words>4676</Words>
  <Application>Microsoft Office PowerPoint</Application>
  <PresentationFormat>Custom</PresentationFormat>
  <Paragraphs>580</Paragraphs>
  <Slides>50</Slides>
  <Notes>33</Notes>
  <HiddenSlides>3</HiddenSlides>
  <MMClips>0</MMClips>
  <ScaleCrop>false</ScaleCrop>
  <HeadingPairs>
    <vt:vector size="6" baseType="variant">
      <vt:variant>
        <vt:lpstr>Fonts Used</vt:lpstr>
      </vt:variant>
      <vt:variant>
        <vt:i4>12</vt:i4>
      </vt:variant>
      <vt:variant>
        <vt:lpstr>Theme</vt:lpstr>
      </vt:variant>
      <vt:variant>
        <vt:i4>17</vt:i4>
      </vt:variant>
      <vt:variant>
        <vt:lpstr>Slide Titles</vt:lpstr>
      </vt:variant>
      <vt:variant>
        <vt:i4>50</vt:i4>
      </vt:variant>
    </vt:vector>
  </HeadingPairs>
  <TitlesOfParts>
    <vt:vector size="79" baseType="lpstr">
      <vt:lpstr>Arial</vt:lpstr>
      <vt:lpstr>Calibri</vt:lpstr>
      <vt:lpstr>Consolas</vt:lpstr>
      <vt:lpstr>Courier New</vt:lpstr>
      <vt:lpstr>Segoe Pro Light</vt:lpstr>
      <vt:lpstr>Segoe Semibold</vt:lpstr>
      <vt:lpstr>Segoe UI</vt:lpstr>
      <vt:lpstr>Segoe UI Black</vt:lpstr>
      <vt:lpstr>Segoe UI Light</vt:lpstr>
      <vt:lpstr>Segoe UI Semibold</vt:lpstr>
      <vt:lpstr>Segoe UI Semilight</vt:lpstr>
      <vt:lpstr>Wingdings</vt:lpstr>
      <vt:lpstr>5-30055_Office Template 2012 - 16x9 - White Background</vt:lpstr>
      <vt:lpstr>5-30055_Office Template 2012 - 16x9 - Colored Accent Slides</vt:lpstr>
      <vt:lpstr>2_TEE14 Speaker PPT Template</vt:lpstr>
      <vt:lpstr>3_5-30550_MGX_FY15_Breakout_LIGHT_Template</vt:lpstr>
      <vt:lpstr>4_5-30550_MGX_FY15_Breakout_LIGHT_Template</vt:lpstr>
      <vt:lpstr>TEE14 Speaker PPT Template</vt:lpstr>
      <vt:lpstr>5-30499_SPC_2014_Dev_Template_16x9</vt:lpstr>
      <vt:lpstr>1_TEE14 Speaker PPT Template</vt:lpstr>
      <vt:lpstr>3_TEE14 Speaker PPT Template</vt:lpstr>
      <vt:lpstr>4_TEE14 Speaker PPT Template</vt:lpstr>
      <vt:lpstr>3-30410_WPC_Breakout_Template_16x9</vt:lpstr>
      <vt:lpstr>1_3-30410_WPC_Breakout_Template_16x9</vt:lpstr>
      <vt:lpstr>2_3-30410_WPC_Breakout_Template_16x9</vt:lpstr>
      <vt:lpstr>1_5-30499_SPC_2014_Dev_Template_16x9</vt:lpstr>
      <vt:lpstr>5-30551_TR19_Generic_Template</vt:lpstr>
      <vt:lpstr>1_5-30055_Office Template 2012 - 16x9 - White Background</vt:lpstr>
      <vt:lpstr>5_TEE14 Speaker PPT Template</vt:lpstr>
      <vt:lpstr>Office 365 Development</vt:lpstr>
      <vt:lpstr>Agenda</vt:lpstr>
      <vt:lpstr>PowerPoint Presentation</vt:lpstr>
      <vt:lpstr>"The most strategic developer surface area for us is Office 365“  - Satya Nadella </vt:lpstr>
      <vt:lpstr>Where are we?</vt:lpstr>
      <vt:lpstr>Technology journey</vt:lpstr>
      <vt:lpstr>The Opportunity </vt:lpstr>
      <vt:lpstr>Office 365 is a rich platform ripe for extending and integrating with.</vt:lpstr>
      <vt:lpstr>Vision</vt:lpstr>
      <vt:lpstr>Vision</vt:lpstr>
      <vt:lpstr>Office 365 App Model</vt:lpstr>
      <vt:lpstr>App Model Redux</vt:lpstr>
      <vt:lpstr>What’s New</vt:lpstr>
      <vt:lpstr>Apps for Office A new way to build extensions for Office</vt:lpstr>
      <vt:lpstr>Mobile friendly Write once, run everywhere</vt:lpstr>
      <vt:lpstr>PowerPoint Presentation</vt:lpstr>
      <vt:lpstr>Demo</vt:lpstr>
      <vt:lpstr>App Model Development</vt:lpstr>
      <vt:lpstr>Benefits of the new app model</vt:lpstr>
      <vt:lpstr>App for SharePoint</vt:lpstr>
      <vt:lpstr>Full Page Connected App  Provider Hosted  in Azure </vt:lpstr>
      <vt:lpstr>Demo</vt:lpstr>
      <vt:lpstr>Distribution choices</vt:lpstr>
      <vt:lpstr>Corporate App Catalog</vt:lpstr>
      <vt:lpstr>Connect to Office 365 services</vt:lpstr>
      <vt:lpstr>Robust Office 365 APIs</vt:lpstr>
      <vt:lpstr>Office 365 APIs</vt:lpstr>
      <vt:lpstr>Robust Office 365 APIs</vt:lpstr>
      <vt:lpstr>Office 365 services for Apps</vt:lpstr>
      <vt:lpstr>Office 365 device apps</vt:lpstr>
      <vt:lpstr>Common Consent</vt:lpstr>
      <vt:lpstr>The SharePoint client APIs</vt:lpstr>
      <vt:lpstr>Office 365 APIs </vt:lpstr>
      <vt:lpstr>IFTTT</vt:lpstr>
      <vt:lpstr>DEMO</vt:lpstr>
      <vt:lpstr>.NET SDK</vt:lpstr>
      <vt:lpstr>Cross platform</vt:lpstr>
      <vt:lpstr>Native</vt:lpstr>
      <vt:lpstr>PowerPoint Presentation</vt:lpstr>
      <vt:lpstr>Continuous innovation</vt:lpstr>
      <vt:lpstr>Resources</vt:lpstr>
      <vt:lpstr>http://dev.office.com</vt:lpstr>
      <vt:lpstr>Patterns &amp; Practices</vt:lpstr>
      <vt:lpstr>http://www.github.com/OfficeDev</vt:lpstr>
      <vt:lpstr>Virtual Academy Courses</vt:lpstr>
      <vt:lpstr>http://blogs.office.com</vt:lpstr>
      <vt:lpstr>http://www.office.com/roadmap</vt:lpstr>
      <vt:lpstr>Engage</vt:lpstr>
      <vt:lpstr>PowerPoint Presentation</vt:lpstr>
      <vt:lpstr>PowerPoint Presentation</vt:lpstr>
    </vt:vector>
  </TitlesOfParts>
  <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4-07-11T16:37:45Z</dcterms:created>
  <dcterms:modified xsi:type="dcterms:W3CDTF">2015-02-09T10:19: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MyDocuments">
    <vt:bool>true</vt:bool>
  </property>
  <property fmtid="{D5CDD505-2E9C-101B-9397-08002B2CF9AE}" pid="3" name="ContentTypeId">
    <vt:lpwstr>0x0101008933C8E54A4E6B45BAD31F8AF78EFE6B</vt:lpwstr>
  </property>
  <property fmtid="{D5CDD505-2E9C-101B-9397-08002B2CF9AE}" pid="4" name="DocVizMetadataToken">
    <vt:lpwstr>300x187x1</vt:lpwstr>
  </property>
</Properties>
</file>